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9.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0.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7" r:id="rId2"/>
    <p:sldMasterId id="2147483691" r:id="rId3"/>
    <p:sldMasterId id="2147483704" r:id="rId4"/>
  </p:sldMasterIdLst>
  <p:notesMasterIdLst>
    <p:notesMasterId r:id="rId51"/>
  </p:notesMasterIdLst>
  <p:sldIdLst>
    <p:sldId id="2652" r:id="rId5"/>
    <p:sldId id="2758" r:id="rId6"/>
    <p:sldId id="1911" r:id="rId7"/>
    <p:sldId id="1914" r:id="rId8"/>
    <p:sldId id="1916" r:id="rId9"/>
    <p:sldId id="1838" r:id="rId10"/>
    <p:sldId id="1908" r:id="rId11"/>
    <p:sldId id="1864" r:id="rId12"/>
    <p:sldId id="1866" r:id="rId13"/>
    <p:sldId id="1897" r:id="rId14"/>
    <p:sldId id="1893" r:id="rId15"/>
    <p:sldId id="1845" r:id="rId16"/>
    <p:sldId id="1871" r:id="rId17"/>
    <p:sldId id="1873" r:id="rId18"/>
    <p:sldId id="1874" r:id="rId19"/>
    <p:sldId id="1919" r:id="rId20"/>
    <p:sldId id="3415" r:id="rId21"/>
    <p:sldId id="3416" r:id="rId22"/>
    <p:sldId id="3417" r:id="rId23"/>
    <p:sldId id="3418" r:id="rId24"/>
    <p:sldId id="3419" r:id="rId25"/>
    <p:sldId id="3420" r:id="rId26"/>
    <p:sldId id="3421" r:id="rId27"/>
    <p:sldId id="3422" r:id="rId28"/>
    <p:sldId id="3423" r:id="rId29"/>
    <p:sldId id="3424" r:id="rId30"/>
    <p:sldId id="3425" r:id="rId31"/>
    <p:sldId id="3426" r:id="rId32"/>
    <p:sldId id="3427" r:id="rId33"/>
    <p:sldId id="3428" r:id="rId34"/>
    <p:sldId id="3429" r:id="rId35"/>
    <p:sldId id="3430" r:id="rId36"/>
    <p:sldId id="3431" r:id="rId37"/>
    <p:sldId id="3432" r:id="rId38"/>
    <p:sldId id="3433" r:id="rId39"/>
    <p:sldId id="3434" r:id="rId40"/>
    <p:sldId id="3435" r:id="rId41"/>
    <p:sldId id="3436" r:id="rId42"/>
    <p:sldId id="3437" r:id="rId43"/>
    <p:sldId id="3438" r:id="rId44"/>
    <p:sldId id="3439" r:id="rId45"/>
    <p:sldId id="3440" r:id="rId46"/>
    <p:sldId id="3441" r:id="rId47"/>
    <p:sldId id="3442" r:id="rId48"/>
    <p:sldId id="3443" r:id="rId49"/>
    <p:sldId id="285" r:id="rId50"/>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3887"/>
    <p:restoredTop sz="96405"/>
  </p:normalViewPr>
  <p:slideViewPr>
    <p:cSldViewPr snapToGrid="0" snapToObjects="1">
      <p:cViewPr varScale="1">
        <p:scale>
          <a:sx n="137" d="100"/>
          <a:sy n="137" d="100"/>
        </p:scale>
        <p:origin x="200" y="61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109792761318405E-2"/>
          <c:y val="0"/>
          <c:w val="0.81978041447736316"/>
          <c:h val="0.92057854200834777"/>
        </c:manualLayout>
      </c:layout>
      <c:scatterChart>
        <c:scatterStyle val="lineMarker"/>
        <c:varyColors val="0"/>
        <c:ser>
          <c:idx val="0"/>
          <c:order val="0"/>
          <c:tx>
            <c:strRef>
              <c:f>Sheet1!$B$1</c:f>
              <c:strCache>
                <c:ptCount val="1"/>
                <c:pt idx="0">
                  <c:v>Column1</c:v>
                </c:pt>
              </c:strCache>
            </c:strRef>
          </c:tx>
          <c:spPr>
            <a:ln w="28575" cap="rnd">
              <a:noFill/>
              <a:round/>
            </a:ln>
            <a:effectLst/>
          </c:spPr>
          <c:marker>
            <c:symbol val="square"/>
            <c:size val="5"/>
            <c:spPr>
              <a:solidFill>
                <a:schemeClr val="accent2"/>
              </a:solidFill>
              <a:ln w="9525">
                <a:noFill/>
              </a:ln>
              <a:effectLst/>
            </c:spPr>
          </c:marker>
          <c:dPt>
            <c:idx val="1"/>
            <c:marker>
              <c:symbol val="square"/>
              <c:size val="5"/>
              <c:spPr>
                <a:solidFill>
                  <a:schemeClr val="accent2"/>
                </a:solidFill>
                <a:ln w="9525">
                  <a:noFill/>
                </a:ln>
                <a:effectLst/>
              </c:spPr>
            </c:marker>
            <c:bubble3D val="0"/>
            <c:extLst>
              <c:ext xmlns:c16="http://schemas.microsoft.com/office/drawing/2014/chart" uri="{C3380CC4-5D6E-409C-BE32-E72D297353CC}">
                <c16:uniqueId val="{00000001-1179-40B6-B142-988F3C979996}"/>
              </c:ext>
            </c:extLst>
          </c:dPt>
          <c:dPt>
            <c:idx val="3"/>
            <c:marker>
              <c:symbol val="square"/>
              <c:size val="5"/>
              <c:spPr>
                <a:solidFill>
                  <a:schemeClr val="accent2"/>
                </a:solidFill>
                <a:ln w="9525">
                  <a:noFill/>
                </a:ln>
                <a:effectLst/>
              </c:spPr>
            </c:marker>
            <c:bubble3D val="0"/>
            <c:extLst>
              <c:ext xmlns:c16="http://schemas.microsoft.com/office/drawing/2014/chart" uri="{C3380CC4-5D6E-409C-BE32-E72D297353CC}">
                <c16:uniqueId val="{00000002-1179-40B6-B142-988F3C979996}"/>
              </c:ext>
            </c:extLst>
          </c:dPt>
          <c:dPt>
            <c:idx val="5"/>
            <c:marker>
              <c:symbol val="square"/>
              <c:size val="5"/>
              <c:spPr>
                <a:solidFill>
                  <a:schemeClr val="accent2"/>
                </a:solidFill>
                <a:ln w="9525">
                  <a:noFill/>
                </a:ln>
                <a:effectLst/>
              </c:spPr>
            </c:marker>
            <c:bubble3D val="0"/>
            <c:extLst>
              <c:ext xmlns:c16="http://schemas.microsoft.com/office/drawing/2014/chart" uri="{C3380CC4-5D6E-409C-BE32-E72D297353CC}">
                <c16:uniqueId val="{00000003-1179-40B6-B142-988F3C979996}"/>
              </c:ext>
            </c:extLst>
          </c:dPt>
          <c:dPt>
            <c:idx val="7"/>
            <c:marker>
              <c:symbol val="square"/>
              <c:size val="5"/>
              <c:spPr>
                <a:solidFill>
                  <a:schemeClr val="accent2"/>
                </a:solidFill>
                <a:ln w="9525">
                  <a:noFill/>
                </a:ln>
                <a:effectLst/>
              </c:spPr>
            </c:marker>
            <c:bubble3D val="0"/>
            <c:extLst>
              <c:ext xmlns:c16="http://schemas.microsoft.com/office/drawing/2014/chart" uri="{C3380CC4-5D6E-409C-BE32-E72D297353CC}">
                <c16:uniqueId val="{00000004-1179-40B6-B142-988F3C979996}"/>
              </c:ext>
            </c:extLst>
          </c:dPt>
          <c:dPt>
            <c:idx val="9"/>
            <c:marker>
              <c:symbol val="square"/>
              <c:size val="5"/>
              <c:spPr>
                <a:solidFill>
                  <a:schemeClr val="accent2"/>
                </a:solidFill>
                <a:ln w="9525">
                  <a:noFill/>
                </a:ln>
                <a:effectLst/>
              </c:spPr>
            </c:marker>
            <c:bubble3D val="0"/>
            <c:extLst>
              <c:ext xmlns:c16="http://schemas.microsoft.com/office/drawing/2014/chart" uri="{C3380CC4-5D6E-409C-BE32-E72D297353CC}">
                <c16:uniqueId val="{00000005-1179-40B6-B142-988F3C979996}"/>
              </c:ext>
            </c:extLst>
          </c:dPt>
          <c:dPt>
            <c:idx val="12"/>
            <c:marker>
              <c:symbol val="square"/>
              <c:size val="5"/>
              <c:spPr>
                <a:solidFill>
                  <a:schemeClr val="accent2"/>
                </a:solidFill>
                <a:ln w="9525">
                  <a:noFill/>
                </a:ln>
                <a:effectLst/>
              </c:spPr>
            </c:marker>
            <c:bubble3D val="0"/>
            <c:extLst>
              <c:ext xmlns:c16="http://schemas.microsoft.com/office/drawing/2014/chart" uri="{C3380CC4-5D6E-409C-BE32-E72D297353CC}">
                <c16:uniqueId val="{00000006-1179-40B6-B142-988F3C979996}"/>
              </c:ext>
            </c:extLst>
          </c:dPt>
          <c:dPt>
            <c:idx val="14"/>
            <c:marker>
              <c:symbol val="square"/>
              <c:size val="5"/>
              <c:spPr>
                <a:solidFill>
                  <a:schemeClr val="accent2"/>
                </a:solidFill>
                <a:ln w="9525">
                  <a:noFill/>
                </a:ln>
                <a:effectLst/>
              </c:spPr>
            </c:marker>
            <c:bubble3D val="0"/>
            <c:extLst>
              <c:ext xmlns:c16="http://schemas.microsoft.com/office/drawing/2014/chart" uri="{C3380CC4-5D6E-409C-BE32-E72D297353CC}">
                <c16:uniqueId val="{00000007-1179-40B6-B142-988F3C979996}"/>
              </c:ext>
            </c:extLst>
          </c:dPt>
          <c:dPt>
            <c:idx val="16"/>
            <c:marker>
              <c:symbol val="square"/>
              <c:size val="5"/>
              <c:spPr>
                <a:solidFill>
                  <a:schemeClr val="accent2"/>
                </a:solidFill>
                <a:ln w="9525">
                  <a:noFill/>
                </a:ln>
                <a:effectLst/>
              </c:spPr>
            </c:marker>
            <c:bubble3D val="0"/>
            <c:extLst>
              <c:ext xmlns:c16="http://schemas.microsoft.com/office/drawing/2014/chart" uri="{C3380CC4-5D6E-409C-BE32-E72D297353CC}">
                <c16:uniqueId val="{00000008-1179-40B6-B142-988F3C979996}"/>
              </c:ext>
            </c:extLst>
          </c:dPt>
          <c:errBars>
            <c:errDir val="x"/>
            <c:errBarType val="both"/>
            <c:errValType val="cust"/>
            <c:noEndCap val="0"/>
            <c:plus>
              <c:numRef>
                <c:f>Sheet1!$G$2:$G$18</c:f>
                <c:numCache>
                  <c:formatCode>General</c:formatCode>
                  <c:ptCount val="17"/>
                  <c:pt idx="0">
                    <c:v>9.9999999999999978E-2</c:v>
                  </c:pt>
                  <c:pt idx="1">
                    <c:v>0.1100000000000001</c:v>
                  </c:pt>
                  <c:pt idx="2">
                    <c:v>0.13999999999999996</c:v>
                  </c:pt>
                  <c:pt idx="3">
                    <c:v>0.11000000000000004</c:v>
                  </c:pt>
                  <c:pt idx="4">
                    <c:v>0.20999999999999996</c:v>
                  </c:pt>
                  <c:pt idx="5">
                    <c:v>0.44999999999999996</c:v>
                  </c:pt>
                  <c:pt idx="6">
                    <c:v>1.3</c:v>
                  </c:pt>
                  <c:pt idx="7">
                    <c:v>0.71</c:v>
                  </c:pt>
                  <c:pt idx="8">
                    <c:v>0.54</c:v>
                  </c:pt>
                  <c:pt idx="9">
                    <c:v>0.43999999999999995</c:v>
                  </c:pt>
                  <c:pt idx="11">
                    <c:v>0.18000000000000005</c:v>
                  </c:pt>
                  <c:pt idx="12">
                    <c:v>0.14999999999999997</c:v>
                  </c:pt>
                  <c:pt idx="13">
                    <c:v>1.26</c:v>
                  </c:pt>
                  <c:pt idx="14">
                    <c:v>0.19999999999999996</c:v>
                  </c:pt>
                  <c:pt idx="15">
                    <c:v>0.10999999999999999</c:v>
                  </c:pt>
                  <c:pt idx="16">
                    <c:v>8.9999999999999969E-2</c:v>
                  </c:pt>
                </c:numCache>
              </c:numRef>
            </c:plus>
            <c:minus>
              <c:numRef>
                <c:f>Sheet1!$H$2:$H$18</c:f>
                <c:numCache>
                  <c:formatCode>General</c:formatCode>
                  <c:ptCount val="17"/>
                  <c:pt idx="0">
                    <c:v>8.0000000000000016E-2</c:v>
                  </c:pt>
                  <c:pt idx="1">
                    <c:v>8.9999999999999969E-2</c:v>
                  </c:pt>
                  <c:pt idx="2">
                    <c:v>0.10000000000000003</c:v>
                  </c:pt>
                  <c:pt idx="3">
                    <c:v>7.999999999999996E-2</c:v>
                  </c:pt>
                  <c:pt idx="4">
                    <c:v>0.17000000000000004</c:v>
                  </c:pt>
                  <c:pt idx="5">
                    <c:v>0.28000000000000003</c:v>
                  </c:pt>
                  <c:pt idx="6">
                    <c:v>0.63</c:v>
                  </c:pt>
                  <c:pt idx="7">
                    <c:v>0.41000000000000003</c:v>
                  </c:pt>
                  <c:pt idx="8">
                    <c:v>0.33999999999999997</c:v>
                  </c:pt>
                  <c:pt idx="9">
                    <c:v>0.28999999999999992</c:v>
                  </c:pt>
                  <c:pt idx="11">
                    <c:v>0.13999999999999996</c:v>
                  </c:pt>
                  <c:pt idx="12">
                    <c:v>0.10999999999999999</c:v>
                  </c:pt>
                  <c:pt idx="13">
                    <c:v>0.56000000000000005</c:v>
                  </c:pt>
                  <c:pt idx="14">
                    <c:v>0.15000000000000002</c:v>
                  </c:pt>
                  <c:pt idx="15">
                    <c:v>9.0000000000000024E-2</c:v>
                  </c:pt>
                  <c:pt idx="16">
                    <c:v>8.0000000000000016E-2</c:v>
                  </c:pt>
                </c:numCache>
              </c:numRef>
            </c:minus>
            <c:spPr>
              <a:noFill/>
              <a:ln w="9525" cap="flat" cmpd="sng" algn="ctr">
                <a:solidFill>
                  <a:schemeClr val="accent2"/>
                </a:solidFill>
                <a:round/>
              </a:ln>
              <a:effectLst/>
            </c:spPr>
          </c:errBars>
          <c:xVal>
            <c:numRef>
              <c:f>Sheet1!$A$2:$A$18</c:f>
              <c:numCache>
                <c:formatCode>General</c:formatCode>
                <c:ptCount val="17"/>
                <c:pt idx="0" formatCode="0.00">
                  <c:v>0.52</c:v>
                </c:pt>
                <c:pt idx="2" formatCode="0.00">
                  <c:v>0.45</c:v>
                </c:pt>
                <c:pt idx="4" formatCode="0.00">
                  <c:v>0.68</c:v>
                </c:pt>
                <c:pt idx="6" formatCode="0.00">
                  <c:v>1.22</c:v>
                </c:pt>
                <c:pt idx="8" formatCode="0.00">
                  <c:v>0.98</c:v>
                </c:pt>
                <c:pt idx="11" formatCode="0.00">
                  <c:v>0.56999999999999995</c:v>
                </c:pt>
                <c:pt idx="13" formatCode="0.00">
                  <c:v>0.99</c:v>
                </c:pt>
                <c:pt idx="15" formatCode="0.00">
                  <c:v>0.54</c:v>
                </c:pt>
              </c:numCache>
            </c:numRef>
          </c:xVal>
          <c:yVal>
            <c:numRef>
              <c:f>Sheet1!$C$2:$C$18</c:f>
              <c:numCache>
                <c:formatCode>General</c:formatCode>
                <c:ptCount val="17"/>
                <c:pt idx="0">
                  <c:v>0.5</c:v>
                </c:pt>
                <c:pt idx="1">
                  <c:v>1.5</c:v>
                </c:pt>
                <c:pt idx="2">
                  <c:v>2.5</c:v>
                </c:pt>
                <c:pt idx="3">
                  <c:v>3.5</c:v>
                </c:pt>
                <c:pt idx="4">
                  <c:v>4.5</c:v>
                </c:pt>
                <c:pt idx="5">
                  <c:v>5.5</c:v>
                </c:pt>
                <c:pt idx="6">
                  <c:v>6.5</c:v>
                </c:pt>
                <c:pt idx="7">
                  <c:v>7.5</c:v>
                </c:pt>
                <c:pt idx="8">
                  <c:v>8.5</c:v>
                </c:pt>
                <c:pt idx="9">
                  <c:v>9.5</c:v>
                </c:pt>
                <c:pt idx="11">
                  <c:v>11.5</c:v>
                </c:pt>
                <c:pt idx="12">
                  <c:v>12.5</c:v>
                </c:pt>
                <c:pt idx="13">
                  <c:v>13.5</c:v>
                </c:pt>
                <c:pt idx="14">
                  <c:v>14.5</c:v>
                </c:pt>
                <c:pt idx="15">
                  <c:v>15.5</c:v>
                </c:pt>
                <c:pt idx="16">
                  <c:v>16.5</c:v>
                </c:pt>
              </c:numCache>
            </c:numRef>
          </c:yVal>
          <c:smooth val="0"/>
          <c:extLst>
            <c:ext xmlns:c16="http://schemas.microsoft.com/office/drawing/2014/chart" uri="{C3380CC4-5D6E-409C-BE32-E72D297353CC}">
              <c16:uniqueId val="{00000000-1179-40B6-B142-988F3C979996}"/>
            </c:ext>
          </c:extLst>
        </c:ser>
        <c:ser>
          <c:idx val="1"/>
          <c:order val="1"/>
          <c:tx>
            <c:strRef>
              <c:f>Sheet1!$B$1</c:f>
              <c:strCache>
                <c:ptCount val="1"/>
                <c:pt idx="0">
                  <c:v>Column1</c:v>
                </c:pt>
              </c:strCache>
            </c:strRef>
          </c:tx>
          <c:spPr>
            <a:ln w="25400" cap="rnd">
              <a:noFill/>
              <a:round/>
            </a:ln>
            <a:effectLst/>
          </c:spPr>
          <c:marker>
            <c:symbol val="square"/>
            <c:size val="5"/>
            <c:spPr>
              <a:solidFill>
                <a:schemeClr val="accent5"/>
              </a:solidFill>
              <a:ln w="9525">
                <a:noFill/>
              </a:ln>
              <a:effectLst/>
            </c:spPr>
          </c:marker>
          <c:errBars>
            <c:errDir val="x"/>
            <c:errBarType val="both"/>
            <c:errValType val="cust"/>
            <c:noEndCap val="0"/>
            <c:plus>
              <c:numRef>
                <c:f>Sheet1!$I$2:$I$18</c:f>
                <c:numCache>
                  <c:formatCode>General</c:formatCode>
                  <c:ptCount val="17"/>
                  <c:pt idx="0">
                    <c:v>9.9999999999999978E-2</c:v>
                  </c:pt>
                  <c:pt idx="1">
                    <c:v>0.1100000000000001</c:v>
                  </c:pt>
                  <c:pt idx="2">
                    <c:v>0.13999999999999996</c:v>
                  </c:pt>
                  <c:pt idx="3">
                    <c:v>0.11000000000000004</c:v>
                  </c:pt>
                  <c:pt idx="4">
                    <c:v>0.20999999999999996</c:v>
                  </c:pt>
                  <c:pt idx="5">
                    <c:v>0.44999999999999996</c:v>
                  </c:pt>
                  <c:pt idx="6">
                    <c:v>1.3</c:v>
                  </c:pt>
                  <c:pt idx="7">
                    <c:v>0.71</c:v>
                  </c:pt>
                  <c:pt idx="8">
                    <c:v>0.54</c:v>
                  </c:pt>
                  <c:pt idx="9">
                    <c:v>0.43999999999999995</c:v>
                  </c:pt>
                  <c:pt idx="11">
                    <c:v>0.18000000000000005</c:v>
                  </c:pt>
                  <c:pt idx="12">
                    <c:v>0.14999999999999997</c:v>
                  </c:pt>
                  <c:pt idx="13">
                    <c:v>1.26</c:v>
                  </c:pt>
                  <c:pt idx="14">
                    <c:v>0.19999999999999996</c:v>
                  </c:pt>
                  <c:pt idx="15">
                    <c:v>0.10999999999999999</c:v>
                  </c:pt>
                  <c:pt idx="16">
                    <c:v>8.9999999999999969E-2</c:v>
                  </c:pt>
                </c:numCache>
              </c:numRef>
            </c:plus>
            <c:minus>
              <c:numRef>
                <c:f>Sheet1!$J$2:$J$18</c:f>
                <c:numCache>
                  <c:formatCode>General</c:formatCode>
                  <c:ptCount val="17"/>
                  <c:pt idx="0">
                    <c:v>8.0000000000000016E-2</c:v>
                  </c:pt>
                  <c:pt idx="1">
                    <c:v>8.9999999999999969E-2</c:v>
                  </c:pt>
                  <c:pt idx="2">
                    <c:v>0.10000000000000003</c:v>
                  </c:pt>
                  <c:pt idx="3">
                    <c:v>7.999999999999996E-2</c:v>
                  </c:pt>
                  <c:pt idx="4">
                    <c:v>0.17000000000000004</c:v>
                  </c:pt>
                  <c:pt idx="5">
                    <c:v>0.28000000000000003</c:v>
                  </c:pt>
                  <c:pt idx="6">
                    <c:v>0.63</c:v>
                  </c:pt>
                  <c:pt idx="7">
                    <c:v>0.41000000000000003</c:v>
                  </c:pt>
                  <c:pt idx="8">
                    <c:v>0.33999999999999997</c:v>
                  </c:pt>
                  <c:pt idx="9">
                    <c:v>0.28999999999999992</c:v>
                  </c:pt>
                  <c:pt idx="11">
                    <c:v>0.13999999999999996</c:v>
                  </c:pt>
                  <c:pt idx="12">
                    <c:v>0.10999999999999999</c:v>
                  </c:pt>
                  <c:pt idx="13">
                    <c:v>0.56000000000000005</c:v>
                  </c:pt>
                  <c:pt idx="14">
                    <c:v>0.15000000000000002</c:v>
                  </c:pt>
                  <c:pt idx="15">
                    <c:v>9.0000000000000024E-2</c:v>
                  </c:pt>
                  <c:pt idx="16">
                    <c:v>8.0000000000000016E-2</c:v>
                  </c:pt>
                </c:numCache>
              </c:numRef>
            </c:minus>
            <c:spPr>
              <a:noFill/>
              <a:ln w="9525" cap="flat" cmpd="sng" algn="ctr">
                <a:solidFill>
                  <a:schemeClr val="accent5"/>
                </a:solidFill>
                <a:round/>
              </a:ln>
              <a:effectLst/>
            </c:spPr>
          </c:errBars>
          <c:xVal>
            <c:numRef>
              <c:f>Sheet1!$B$2:$B$18</c:f>
              <c:numCache>
                <c:formatCode>0.00</c:formatCode>
                <c:ptCount val="17"/>
                <c:pt idx="1">
                  <c:v>0.56999999999999995</c:v>
                </c:pt>
                <c:pt idx="3">
                  <c:v>0.42</c:v>
                </c:pt>
                <c:pt idx="5">
                  <c:v>0.79</c:v>
                </c:pt>
                <c:pt idx="7">
                  <c:v>0.98</c:v>
                </c:pt>
                <c:pt idx="9">
                  <c:v>0.94</c:v>
                </c:pt>
                <c:pt idx="12">
                  <c:v>0.42</c:v>
                </c:pt>
                <c:pt idx="14">
                  <c:v>0.8</c:v>
                </c:pt>
                <c:pt idx="16">
                  <c:v>0.52</c:v>
                </c:pt>
              </c:numCache>
            </c:numRef>
          </c:xVal>
          <c:yVal>
            <c:numRef>
              <c:f>Sheet1!$C$2:$C$18</c:f>
              <c:numCache>
                <c:formatCode>General</c:formatCode>
                <c:ptCount val="17"/>
                <c:pt idx="0">
                  <c:v>0.5</c:v>
                </c:pt>
                <c:pt idx="1">
                  <c:v>1.5</c:v>
                </c:pt>
                <c:pt idx="2">
                  <c:v>2.5</c:v>
                </c:pt>
                <c:pt idx="3">
                  <c:v>3.5</c:v>
                </c:pt>
                <c:pt idx="4">
                  <c:v>4.5</c:v>
                </c:pt>
                <c:pt idx="5">
                  <c:v>5.5</c:v>
                </c:pt>
                <c:pt idx="6">
                  <c:v>6.5</c:v>
                </c:pt>
                <c:pt idx="7">
                  <c:v>7.5</c:v>
                </c:pt>
                <c:pt idx="8">
                  <c:v>8.5</c:v>
                </c:pt>
                <c:pt idx="9">
                  <c:v>9.5</c:v>
                </c:pt>
                <c:pt idx="11">
                  <c:v>11.5</c:v>
                </c:pt>
                <c:pt idx="12">
                  <c:v>12.5</c:v>
                </c:pt>
                <c:pt idx="13">
                  <c:v>13.5</c:v>
                </c:pt>
                <c:pt idx="14">
                  <c:v>14.5</c:v>
                </c:pt>
                <c:pt idx="15">
                  <c:v>15.5</c:v>
                </c:pt>
                <c:pt idx="16">
                  <c:v>16.5</c:v>
                </c:pt>
              </c:numCache>
            </c:numRef>
          </c:yVal>
          <c:smooth val="0"/>
          <c:extLst>
            <c:ext xmlns:c16="http://schemas.microsoft.com/office/drawing/2014/chart" uri="{C3380CC4-5D6E-409C-BE32-E72D297353CC}">
              <c16:uniqueId val="{00000009-1179-40B6-B142-988F3C979996}"/>
            </c:ext>
          </c:extLst>
        </c:ser>
        <c:dLbls>
          <c:showLegendKey val="0"/>
          <c:showVal val="0"/>
          <c:showCatName val="0"/>
          <c:showSerName val="0"/>
          <c:showPercent val="0"/>
          <c:showBubbleSize val="0"/>
        </c:dLbls>
        <c:axId val="990562544"/>
        <c:axId val="787563952"/>
      </c:scatterChart>
      <c:valAx>
        <c:axId val="990562544"/>
        <c:scaling>
          <c:orientation val="minMax"/>
          <c:max val="2"/>
        </c:scaling>
        <c:delete val="0"/>
        <c:axPos val="b"/>
        <c:numFmt formatCode="0.0" sourceLinked="0"/>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Gene Sans Light" panose="00000400000000000000" pitchFamily="50" charset="0"/>
                <a:ea typeface="+mn-ea"/>
                <a:cs typeface="+mn-cs"/>
              </a:defRPr>
            </a:pPr>
            <a:endParaRPr lang="en-US"/>
          </a:p>
        </c:txPr>
        <c:crossAx val="787563952"/>
        <c:crosses val="max"/>
        <c:crossBetween val="midCat"/>
        <c:majorUnit val="0.5"/>
      </c:valAx>
      <c:valAx>
        <c:axId val="787563952"/>
        <c:scaling>
          <c:orientation val="maxMin"/>
          <c:max val="17"/>
          <c:min val="-1"/>
        </c:scaling>
        <c:delete val="0"/>
        <c:axPos val="l"/>
        <c:numFmt formatCode="General" sourceLinked="1"/>
        <c:majorTickMark val="none"/>
        <c:minorTickMark val="none"/>
        <c:tickLblPos val="none"/>
        <c:spPr>
          <a:noFill/>
          <a:ln w="9525" cap="flat" cmpd="sng" algn="ctr">
            <a:solidFill>
              <a:schemeClr val="bg1">
                <a:lumMod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Gene Sans Light" panose="00000400000000000000" pitchFamily="50" charset="0"/>
                <a:ea typeface="+mn-ea"/>
                <a:cs typeface="+mn-cs"/>
              </a:defRPr>
            </a:pPr>
            <a:endParaRPr lang="en-US"/>
          </a:p>
        </c:txPr>
        <c:crossAx val="990562544"/>
        <c:crossesAt val="1"/>
        <c:crossBetween val="midCat"/>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Gene Sans Light" panose="00000400000000000000" pitchFamily="50"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109792761318405E-2"/>
          <c:y val="0"/>
          <c:w val="0.81352129799093587"/>
          <c:h val="0.92057854200834777"/>
        </c:manualLayout>
      </c:layout>
      <c:scatterChart>
        <c:scatterStyle val="lineMarker"/>
        <c:varyColors val="0"/>
        <c:ser>
          <c:idx val="0"/>
          <c:order val="0"/>
          <c:spPr>
            <a:ln w="28575" cap="rnd">
              <a:noFill/>
              <a:round/>
            </a:ln>
            <a:effectLst/>
          </c:spPr>
          <c:marker>
            <c:symbol val="square"/>
            <c:size val="5"/>
            <c:spPr>
              <a:solidFill>
                <a:schemeClr val="accent2"/>
              </a:solidFill>
              <a:ln w="9525">
                <a:noFill/>
              </a:ln>
              <a:effectLst/>
            </c:spPr>
          </c:marker>
          <c:dPt>
            <c:idx val="1"/>
            <c:marker>
              <c:symbol val="square"/>
              <c:size val="5"/>
              <c:spPr>
                <a:solidFill>
                  <a:schemeClr val="accent2"/>
                </a:solidFill>
                <a:ln w="9525">
                  <a:noFill/>
                </a:ln>
                <a:effectLst/>
              </c:spPr>
            </c:marker>
            <c:bubble3D val="0"/>
            <c:extLst>
              <c:ext xmlns:c16="http://schemas.microsoft.com/office/drawing/2014/chart" uri="{C3380CC4-5D6E-409C-BE32-E72D297353CC}">
                <c16:uniqueId val="{00000000-9B37-4602-BD3C-4460338D08CC}"/>
              </c:ext>
            </c:extLst>
          </c:dPt>
          <c:dPt>
            <c:idx val="3"/>
            <c:marker>
              <c:symbol val="square"/>
              <c:size val="5"/>
              <c:spPr>
                <a:solidFill>
                  <a:schemeClr val="accent2"/>
                </a:solidFill>
                <a:ln w="9525">
                  <a:noFill/>
                </a:ln>
                <a:effectLst/>
              </c:spPr>
            </c:marker>
            <c:bubble3D val="0"/>
            <c:extLst>
              <c:ext xmlns:c16="http://schemas.microsoft.com/office/drawing/2014/chart" uri="{C3380CC4-5D6E-409C-BE32-E72D297353CC}">
                <c16:uniqueId val="{00000001-9B37-4602-BD3C-4460338D08CC}"/>
              </c:ext>
            </c:extLst>
          </c:dPt>
          <c:dPt>
            <c:idx val="5"/>
            <c:marker>
              <c:symbol val="square"/>
              <c:size val="5"/>
              <c:spPr>
                <a:solidFill>
                  <a:schemeClr val="accent2"/>
                </a:solidFill>
                <a:ln w="9525">
                  <a:noFill/>
                </a:ln>
                <a:effectLst/>
              </c:spPr>
            </c:marker>
            <c:bubble3D val="0"/>
            <c:extLst>
              <c:ext xmlns:c16="http://schemas.microsoft.com/office/drawing/2014/chart" uri="{C3380CC4-5D6E-409C-BE32-E72D297353CC}">
                <c16:uniqueId val="{00000002-9B37-4602-BD3C-4460338D08CC}"/>
              </c:ext>
            </c:extLst>
          </c:dPt>
          <c:dPt>
            <c:idx val="7"/>
            <c:marker>
              <c:symbol val="square"/>
              <c:size val="5"/>
              <c:spPr>
                <a:solidFill>
                  <a:schemeClr val="accent2"/>
                </a:solidFill>
                <a:ln w="9525">
                  <a:noFill/>
                </a:ln>
                <a:effectLst/>
              </c:spPr>
            </c:marker>
            <c:bubble3D val="0"/>
            <c:extLst>
              <c:ext xmlns:c16="http://schemas.microsoft.com/office/drawing/2014/chart" uri="{C3380CC4-5D6E-409C-BE32-E72D297353CC}">
                <c16:uniqueId val="{00000003-9B37-4602-BD3C-4460338D08CC}"/>
              </c:ext>
            </c:extLst>
          </c:dPt>
          <c:dPt>
            <c:idx val="9"/>
            <c:marker>
              <c:symbol val="square"/>
              <c:size val="5"/>
              <c:spPr>
                <a:solidFill>
                  <a:schemeClr val="accent2"/>
                </a:solidFill>
                <a:ln w="9525">
                  <a:noFill/>
                </a:ln>
                <a:effectLst/>
              </c:spPr>
            </c:marker>
            <c:bubble3D val="0"/>
            <c:extLst>
              <c:ext xmlns:c16="http://schemas.microsoft.com/office/drawing/2014/chart" uri="{C3380CC4-5D6E-409C-BE32-E72D297353CC}">
                <c16:uniqueId val="{00000004-9B37-4602-BD3C-4460338D08CC}"/>
              </c:ext>
            </c:extLst>
          </c:dPt>
          <c:dPt>
            <c:idx val="12"/>
            <c:marker>
              <c:symbol val="square"/>
              <c:size val="5"/>
              <c:spPr>
                <a:solidFill>
                  <a:schemeClr val="accent2"/>
                </a:solidFill>
                <a:ln w="9525">
                  <a:noFill/>
                </a:ln>
                <a:effectLst/>
              </c:spPr>
            </c:marker>
            <c:bubble3D val="0"/>
            <c:extLst>
              <c:ext xmlns:c16="http://schemas.microsoft.com/office/drawing/2014/chart" uri="{C3380CC4-5D6E-409C-BE32-E72D297353CC}">
                <c16:uniqueId val="{00000005-9B37-4602-BD3C-4460338D08CC}"/>
              </c:ext>
            </c:extLst>
          </c:dPt>
          <c:dPt>
            <c:idx val="14"/>
            <c:marker>
              <c:symbol val="square"/>
              <c:size val="5"/>
              <c:spPr>
                <a:solidFill>
                  <a:schemeClr val="accent2"/>
                </a:solidFill>
                <a:ln w="9525">
                  <a:noFill/>
                </a:ln>
                <a:effectLst/>
              </c:spPr>
            </c:marker>
            <c:bubble3D val="0"/>
            <c:extLst>
              <c:ext xmlns:c16="http://schemas.microsoft.com/office/drawing/2014/chart" uri="{C3380CC4-5D6E-409C-BE32-E72D297353CC}">
                <c16:uniqueId val="{00000006-9B37-4602-BD3C-4460338D08CC}"/>
              </c:ext>
            </c:extLst>
          </c:dPt>
          <c:dPt>
            <c:idx val="16"/>
            <c:marker>
              <c:symbol val="square"/>
              <c:size val="5"/>
              <c:spPr>
                <a:solidFill>
                  <a:schemeClr val="accent2"/>
                </a:solidFill>
                <a:ln w="9525">
                  <a:noFill/>
                </a:ln>
                <a:effectLst/>
              </c:spPr>
            </c:marker>
            <c:bubble3D val="0"/>
            <c:extLst>
              <c:ext xmlns:c16="http://schemas.microsoft.com/office/drawing/2014/chart" uri="{C3380CC4-5D6E-409C-BE32-E72D297353CC}">
                <c16:uniqueId val="{00000007-9B37-4602-BD3C-4460338D08CC}"/>
              </c:ext>
            </c:extLst>
          </c:dPt>
          <c:errBars>
            <c:errDir val="x"/>
            <c:errBarType val="both"/>
            <c:errValType val="cust"/>
            <c:noEndCap val="0"/>
            <c:plus>
              <c:numRef>
                <c:f>Sheet1!$F$2:$F$12</c:f>
                <c:numCache>
                  <c:formatCode>General</c:formatCode>
                  <c:ptCount val="11"/>
                  <c:pt idx="2">
                    <c:v>0.13</c:v>
                  </c:pt>
                  <c:pt idx="3">
                    <c:v>0.37</c:v>
                  </c:pt>
                  <c:pt idx="4">
                    <c:v>0.18999999999999995</c:v>
                  </c:pt>
                  <c:pt idx="6">
                    <c:v>0.10999999999999999</c:v>
                  </c:pt>
                  <c:pt idx="7">
                    <c:v>0.72000000000000008</c:v>
                  </c:pt>
                  <c:pt idx="9">
                    <c:v>0.43000000000000005</c:v>
                  </c:pt>
                  <c:pt idx="10">
                    <c:v>0.12</c:v>
                  </c:pt>
                </c:numCache>
              </c:numRef>
            </c:plus>
            <c:minus>
              <c:numRef>
                <c:f>Sheet1!$G$2:$G$12</c:f>
                <c:numCache>
                  <c:formatCode>General</c:formatCode>
                  <c:ptCount val="11"/>
                  <c:pt idx="2">
                    <c:v>0.10999999999999999</c:v>
                  </c:pt>
                  <c:pt idx="3">
                    <c:v>0.22999999999999998</c:v>
                  </c:pt>
                  <c:pt idx="4">
                    <c:v>0.15000000000000002</c:v>
                  </c:pt>
                  <c:pt idx="6">
                    <c:v>9.0000000000000024E-2</c:v>
                  </c:pt>
                  <c:pt idx="7">
                    <c:v>0.4</c:v>
                  </c:pt>
                  <c:pt idx="9">
                    <c:v>0.26</c:v>
                  </c:pt>
                  <c:pt idx="10">
                    <c:v>0.10000000000000003</c:v>
                  </c:pt>
                </c:numCache>
              </c:numRef>
            </c:minus>
            <c:spPr>
              <a:noFill/>
              <a:ln w="9525" cap="flat" cmpd="sng" algn="ctr">
                <a:solidFill>
                  <a:schemeClr val="accent2"/>
                </a:solidFill>
                <a:round/>
              </a:ln>
              <a:effectLst/>
            </c:spPr>
          </c:errBars>
          <c:xVal>
            <c:numRef>
              <c:f>Sheet1!$A$2:$A$12</c:f>
              <c:numCache>
                <c:formatCode>General</c:formatCode>
                <c:ptCount val="11"/>
                <c:pt idx="2" formatCode="0.00">
                  <c:v>0.5</c:v>
                </c:pt>
                <c:pt idx="3" formatCode="0.00">
                  <c:v>0.57999999999999996</c:v>
                </c:pt>
                <c:pt idx="4" formatCode="0.00">
                  <c:v>0.63</c:v>
                </c:pt>
                <c:pt idx="6" formatCode="0.00">
                  <c:v>0.51</c:v>
                </c:pt>
                <c:pt idx="7" formatCode="0.00">
                  <c:v>0.89</c:v>
                </c:pt>
                <c:pt idx="9" formatCode="0.00">
                  <c:v>0.62</c:v>
                </c:pt>
                <c:pt idx="10" formatCode="0.00">
                  <c:v>0.53</c:v>
                </c:pt>
              </c:numCache>
            </c:numRef>
          </c:xVal>
          <c:yVal>
            <c:numRef>
              <c:f>Sheet1!$B$2:$B$12</c:f>
              <c:numCache>
                <c:formatCode>General</c:formatCode>
                <c:ptCount val="11"/>
                <c:pt idx="0">
                  <c:v>0.5</c:v>
                </c:pt>
                <c:pt idx="1">
                  <c:v>1.5</c:v>
                </c:pt>
                <c:pt idx="2">
                  <c:v>2.5</c:v>
                </c:pt>
                <c:pt idx="3">
                  <c:v>3.5</c:v>
                </c:pt>
                <c:pt idx="4">
                  <c:v>4.5</c:v>
                </c:pt>
                <c:pt idx="5">
                  <c:v>5.5</c:v>
                </c:pt>
                <c:pt idx="6">
                  <c:v>6.5</c:v>
                </c:pt>
                <c:pt idx="7">
                  <c:v>7.5</c:v>
                </c:pt>
                <c:pt idx="8">
                  <c:v>8.5</c:v>
                </c:pt>
                <c:pt idx="9">
                  <c:v>9.5</c:v>
                </c:pt>
                <c:pt idx="10">
                  <c:v>10.5</c:v>
                </c:pt>
              </c:numCache>
            </c:numRef>
          </c:yVal>
          <c:smooth val="0"/>
          <c:extLst>
            <c:ext xmlns:c15="http://schemas.microsoft.com/office/drawing/2012/chart" uri="{02D57815-91ED-43cb-92C2-25804820EDAC}">
              <c15:filteredSeriesTitle>
                <c15:tx>
                  <c:strRef>
                    <c:extLst>
                      <c:ext uri="{02D57815-91ED-43cb-92C2-25804820EDAC}">
                        <c15:formulaRef>
                          <c15:sqref>Sheet1!#REF!</c15:sqref>
                        </c15:formulaRef>
                      </c:ext>
                    </c:extLst>
                    <c:strCache>
                      <c:ptCount val="1"/>
                      <c:pt idx="0">
                        <c:v>#REF!</c:v>
                      </c:pt>
                    </c:strCache>
                  </c:strRef>
                </c15:tx>
              </c15:filteredSeriesTitle>
            </c:ext>
            <c:ext xmlns:c16="http://schemas.microsoft.com/office/drawing/2014/chart" uri="{C3380CC4-5D6E-409C-BE32-E72D297353CC}">
              <c16:uniqueId val="{00000008-9B37-4602-BD3C-4460338D08CC}"/>
            </c:ext>
          </c:extLst>
        </c:ser>
        <c:dLbls>
          <c:showLegendKey val="0"/>
          <c:showVal val="0"/>
          <c:showCatName val="0"/>
          <c:showSerName val="0"/>
          <c:showPercent val="0"/>
          <c:showBubbleSize val="0"/>
        </c:dLbls>
        <c:axId val="990562544"/>
        <c:axId val="787563952"/>
      </c:scatterChart>
      <c:valAx>
        <c:axId val="990562544"/>
        <c:scaling>
          <c:orientation val="minMax"/>
          <c:max val="1.5"/>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Gene Sans Light" panose="00000400000000000000" pitchFamily="50" charset="0"/>
                <a:ea typeface="+mn-ea"/>
                <a:cs typeface="+mn-cs"/>
              </a:defRPr>
            </a:pPr>
            <a:endParaRPr lang="en-US"/>
          </a:p>
        </c:txPr>
        <c:crossAx val="787563952"/>
        <c:crosses val="max"/>
        <c:crossBetween val="midCat"/>
        <c:majorUnit val="0.5"/>
      </c:valAx>
      <c:valAx>
        <c:axId val="787563952"/>
        <c:scaling>
          <c:orientation val="maxMin"/>
          <c:max val="11"/>
          <c:min val="0"/>
        </c:scaling>
        <c:delete val="0"/>
        <c:axPos val="l"/>
        <c:numFmt formatCode="General" sourceLinked="1"/>
        <c:majorTickMark val="none"/>
        <c:minorTickMark val="none"/>
        <c:tickLblPos val="none"/>
        <c:spPr>
          <a:noFill/>
          <a:ln w="9525" cap="flat" cmpd="sng" algn="ctr">
            <a:solidFill>
              <a:schemeClr val="bg1">
                <a:lumMod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Gene Sans Light" panose="00000400000000000000" pitchFamily="50" charset="0"/>
                <a:ea typeface="+mn-ea"/>
                <a:cs typeface="+mn-cs"/>
              </a:defRPr>
            </a:pPr>
            <a:endParaRPr lang="en-US"/>
          </a:p>
        </c:txPr>
        <c:crossAx val="990562544"/>
        <c:crossesAt val="1"/>
        <c:crossBetween val="midCat"/>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Gene Sans Light" panose="00000400000000000000" pitchFamily="50"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03173561083127"/>
          <c:y val="0.17811051102177938"/>
          <c:w val="0.82662733448935388"/>
          <c:h val="0.67959052456976288"/>
        </c:manualLayout>
      </c:layout>
      <c:barChart>
        <c:barDir val="col"/>
        <c:grouping val="stacked"/>
        <c:varyColors val="0"/>
        <c:ser>
          <c:idx val="0"/>
          <c:order val="0"/>
          <c:tx>
            <c:strRef>
              <c:f>Sheet1!$B$1</c:f>
              <c:strCache>
                <c:ptCount val="1"/>
                <c:pt idx="0">
                  <c:v>SD and POD</c:v>
                </c:pt>
              </c:strCache>
            </c:strRef>
          </c:tx>
          <c:spPr>
            <a:solidFill>
              <a:schemeClr val="accent5"/>
            </a:solidFill>
            <a:ln>
              <a:noFill/>
            </a:ln>
            <a:effectLst/>
          </c:spPr>
          <c:invertIfNegative val="0"/>
          <c:dLbls>
            <c:dLbl>
              <c:idx val="0"/>
              <c:tx>
                <c:rich>
                  <a:bodyPr/>
                  <a:lstStyle/>
                  <a:p>
                    <a:r>
                      <a:rPr lang="en-US" dirty="0"/>
                      <a:t>9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527-4B41-A1F7-8D2220388F5C}"/>
                </c:ext>
              </c:extLst>
            </c:dLbl>
            <c:dLbl>
              <c:idx val="1"/>
              <c:tx>
                <c:rich>
                  <a:bodyPr/>
                  <a:lstStyle/>
                  <a:p>
                    <a:r>
                      <a:rPr lang="en-US" dirty="0"/>
                      <a:t>8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527-4B41-A1F7-8D2220388F5C}"/>
                </c:ext>
              </c:extLst>
            </c:dLbl>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Gene Sans" panose="00000500000000000000" pitchFamily="50"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ednisone ≥ 10 mg
(n = 51)</c:v>
                </c:pt>
                <c:pt idx="1">
                  <c:v>Prednisone &lt; 10 mg
(n = 400)</c:v>
                </c:pt>
              </c:strCache>
            </c:strRef>
          </c:cat>
          <c:val>
            <c:numRef>
              <c:f>Sheet1!$B$2:$B$3</c:f>
              <c:numCache>
                <c:formatCode>General</c:formatCode>
                <c:ptCount val="2"/>
                <c:pt idx="0">
                  <c:v>48</c:v>
                </c:pt>
                <c:pt idx="1">
                  <c:v>324</c:v>
                </c:pt>
              </c:numCache>
            </c:numRef>
          </c:val>
          <c:extLst>
            <c:ext xmlns:c16="http://schemas.microsoft.com/office/drawing/2014/chart" uri="{C3380CC4-5D6E-409C-BE32-E72D297353CC}">
              <c16:uniqueId val="{00000002-B527-4B41-A1F7-8D2220388F5C}"/>
            </c:ext>
          </c:extLst>
        </c:ser>
        <c:ser>
          <c:idx val="1"/>
          <c:order val="1"/>
          <c:tx>
            <c:strRef>
              <c:f>Sheet1!$C$1</c:f>
              <c:strCache>
                <c:ptCount val="1"/>
                <c:pt idx="0">
                  <c:v>CR and PR</c:v>
                </c:pt>
              </c:strCache>
            </c:strRef>
          </c:tx>
          <c:spPr>
            <a:solidFill>
              <a:schemeClr val="bg2"/>
            </a:solidFill>
            <a:ln>
              <a:noFill/>
            </a:ln>
            <a:effectLst/>
          </c:spPr>
          <c:invertIfNegative val="0"/>
          <c:dLbls>
            <c:dLbl>
              <c:idx val="0"/>
              <c:layout>
                <c:manualLayout>
                  <c:x val="-0.14955422610287961"/>
                  <c:y val="0"/>
                </c:manualLayout>
              </c:layout>
              <c:tx>
                <c:rich>
                  <a:bodyPr/>
                  <a:lstStyle/>
                  <a:p>
                    <a:r>
                      <a:rPr lang="en-US" dirty="0">
                        <a:solidFill>
                          <a:schemeClr val="tx1"/>
                        </a:solidFill>
                      </a:rPr>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527-4B41-A1F7-8D2220388F5C}"/>
                </c:ext>
              </c:extLst>
            </c:dLbl>
            <c:dLbl>
              <c:idx val="1"/>
              <c:tx>
                <c:rich>
                  <a:bodyPr/>
                  <a:lstStyle/>
                  <a:p>
                    <a:r>
                      <a:rPr lang="en-US"/>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527-4B41-A1F7-8D2220388F5C}"/>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Gene Sans" panose="00000500000000000000" pitchFamily="50"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rednisone ≥ 10 mg
(n = 51)</c:v>
                </c:pt>
                <c:pt idx="1">
                  <c:v>Prednisone &lt; 10 mg
(n = 400)</c:v>
                </c:pt>
              </c:strCache>
            </c:strRef>
          </c:cat>
          <c:val>
            <c:numRef>
              <c:f>Sheet1!$C$2:$C$3</c:f>
              <c:numCache>
                <c:formatCode>General</c:formatCode>
                <c:ptCount val="2"/>
                <c:pt idx="0">
                  <c:v>3</c:v>
                </c:pt>
                <c:pt idx="1">
                  <c:v>76</c:v>
                </c:pt>
              </c:numCache>
            </c:numRef>
          </c:val>
          <c:extLst>
            <c:ext xmlns:c16="http://schemas.microsoft.com/office/drawing/2014/chart" uri="{C3380CC4-5D6E-409C-BE32-E72D297353CC}">
              <c16:uniqueId val="{00000005-B527-4B41-A1F7-8D2220388F5C}"/>
            </c:ext>
          </c:extLst>
        </c:ser>
        <c:dLbls>
          <c:showLegendKey val="0"/>
          <c:showVal val="0"/>
          <c:showCatName val="0"/>
          <c:showSerName val="0"/>
          <c:showPercent val="0"/>
          <c:showBubbleSize val="0"/>
        </c:dLbls>
        <c:gapWidth val="80"/>
        <c:overlap val="100"/>
        <c:axId val="713779440"/>
        <c:axId val="713774192"/>
      </c:barChart>
      <c:catAx>
        <c:axId val="713779440"/>
        <c:scaling>
          <c:orientation val="minMax"/>
        </c:scaling>
        <c:delete val="0"/>
        <c:axPos val="b"/>
        <c:numFmt formatCode="General" sourceLinked="1"/>
        <c:majorTickMark val="none"/>
        <c:minorTickMark val="none"/>
        <c:tickLblPos val="nextTo"/>
        <c:spPr>
          <a:noFill/>
          <a:ln w="12700" cap="flat" cmpd="sng" algn="ctr">
            <a:solidFill>
              <a:schemeClr val="bg1">
                <a:lumMod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Gene Sans Light" panose="00000400000000000000" pitchFamily="50" charset="0"/>
                <a:ea typeface="+mn-ea"/>
                <a:cs typeface="+mn-cs"/>
              </a:defRPr>
            </a:pPr>
            <a:endParaRPr lang="en-US"/>
          </a:p>
        </c:txPr>
        <c:crossAx val="713774192"/>
        <c:crosses val="autoZero"/>
        <c:auto val="1"/>
        <c:lblAlgn val="ctr"/>
        <c:lblOffset val="100"/>
        <c:noMultiLvlLbl val="0"/>
      </c:catAx>
      <c:valAx>
        <c:axId val="713774192"/>
        <c:scaling>
          <c:orientation val="minMax"/>
          <c:max val="400"/>
        </c:scaling>
        <c:delete val="0"/>
        <c:axPos val="l"/>
        <c:title>
          <c:tx>
            <c:rich>
              <a:bodyPr rot="-5400000" spcFirstLastPara="1" vertOverflow="ellipsis" vert="horz" wrap="square" anchor="ctr" anchorCtr="1"/>
              <a:lstStyle/>
              <a:p>
                <a:pPr>
                  <a:defRPr sz="1000" b="1" i="0" u="none" strike="noStrike" kern="1200" baseline="0">
                    <a:solidFill>
                      <a:schemeClr val="tx2"/>
                    </a:solidFill>
                    <a:latin typeface="Gene Sans" panose="00000500000000000000" pitchFamily="50" charset="0"/>
                    <a:ea typeface="+mn-ea"/>
                    <a:cs typeface="+mn-cs"/>
                  </a:defRPr>
                </a:pPr>
                <a:r>
                  <a:rPr lang="en-US" b="1">
                    <a:solidFill>
                      <a:schemeClr val="tx2"/>
                    </a:solidFill>
                    <a:latin typeface="Gene Sans" panose="00000500000000000000" pitchFamily="50" charset="0"/>
                  </a:rPr>
                  <a:t>No. of Patients</a:t>
                </a:r>
              </a:p>
            </c:rich>
          </c:tx>
          <c:layout>
            <c:manualLayout>
              <c:xMode val="edge"/>
              <c:yMode val="edge"/>
              <c:x val="1.1295243534675216E-3"/>
              <c:y val="0.31149522014144132"/>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2"/>
                  </a:solidFill>
                  <a:latin typeface="Gene Sans" panose="00000500000000000000" pitchFamily="50" charset="0"/>
                  <a:ea typeface="+mn-ea"/>
                  <a:cs typeface="+mn-cs"/>
                </a:defRPr>
              </a:pPr>
              <a:endParaRPr lang="en-US"/>
            </a:p>
          </c:txPr>
        </c:title>
        <c:numFmt formatCode="General" sourceLinked="1"/>
        <c:majorTickMark val="none"/>
        <c:minorTickMark val="none"/>
        <c:tickLblPos val="nextTo"/>
        <c:spPr>
          <a:noFill/>
          <a:ln w="12700">
            <a:solidFill>
              <a:schemeClr val="bg1">
                <a:lumMod val="75000"/>
              </a:schemeClr>
            </a:solidFill>
          </a:ln>
          <a:effectLst/>
        </c:spPr>
        <c:txPr>
          <a:bodyPr rot="-60000000" spcFirstLastPara="1" vertOverflow="ellipsis" vert="horz" wrap="square" anchor="ctr" anchorCtr="1"/>
          <a:lstStyle/>
          <a:p>
            <a:pPr>
              <a:defRPr sz="1000" b="0" i="0" u="none" strike="noStrike" kern="1200" baseline="0">
                <a:solidFill>
                  <a:schemeClr val="tx1"/>
                </a:solidFill>
                <a:latin typeface="Gene Sans Light" panose="00000400000000000000" pitchFamily="50" charset="0"/>
                <a:ea typeface="+mn-ea"/>
                <a:cs typeface="+mn-cs"/>
              </a:defRPr>
            </a:pPr>
            <a:endParaRPr lang="en-US"/>
          </a:p>
        </c:txPr>
        <c:crossAx val="713779440"/>
        <c:crosses val="autoZero"/>
        <c:crossBetween val="between"/>
        <c:majorUnit val="100"/>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Gene Sans Light" panose="00000400000000000000" pitchFamily="50"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Gene Sans Light" panose="00000400000000000000" pitchFamily="50"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047749313026012"/>
          <c:y val="6.2552444202055593E-2"/>
          <c:w val="0.78186216159599764"/>
          <c:h val="0.71760414735690181"/>
        </c:manualLayout>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solidFill>
                <a:schemeClr val="accent1"/>
              </a:solidFill>
              <a:ln w="9525">
                <a:solidFill>
                  <a:schemeClr val="accent1"/>
                </a:solidFill>
              </a:ln>
              <a:effectLst/>
            </c:spPr>
          </c:marker>
          <c:xVal>
            <c:numRef>
              <c:f>Sheet1!$A$2:$A$4</c:f>
              <c:numCache>
                <c:formatCode>General</c:formatCode>
                <c:ptCount val="3"/>
              </c:numCache>
            </c:numRef>
          </c:xVal>
          <c:yVal>
            <c:numRef>
              <c:f>Sheet1!$B$2:$B$4</c:f>
              <c:numCache>
                <c:formatCode>General</c:formatCode>
                <c:ptCount val="3"/>
              </c:numCache>
            </c:numRef>
          </c:yVal>
          <c:smooth val="0"/>
          <c:extLst>
            <c:ext xmlns:c16="http://schemas.microsoft.com/office/drawing/2014/chart" uri="{C3380CC4-5D6E-409C-BE32-E72D297353CC}">
              <c16:uniqueId val="{00000000-2ECB-4C04-B25A-65EF319F64E6}"/>
            </c:ext>
          </c:extLst>
        </c:ser>
        <c:dLbls>
          <c:showLegendKey val="0"/>
          <c:showVal val="0"/>
          <c:showCatName val="0"/>
          <c:showSerName val="0"/>
          <c:showPercent val="0"/>
          <c:showBubbleSize val="0"/>
        </c:dLbls>
        <c:axId val="222163647"/>
        <c:axId val="465086255"/>
      </c:scatterChart>
      <c:valAx>
        <c:axId val="222163647"/>
        <c:scaling>
          <c:orientation val="minMax"/>
          <c:max val="72"/>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r>
                  <a:rPr lang="en-US" b="1" dirty="0">
                    <a:solidFill>
                      <a:schemeClr val="tx1"/>
                    </a:solidFill>
                    <a:latin typeface="Gene Sans Light" panose="00000400000000000000" pitchFamily="2" charset="0"/>
                  </a:rPr>
                  <a:t>Time Elapsed (months)</a:t>
                </a:r>
              </a:p>
            </c:rich>
          </c:tx>
          <c:layout>
            <c:manualLayout>
              <c:xMode val="edge"/>
              <c:yMode val="edge"/>
              <c:x val="0.40312357553963057"/>
              <c:y val="0.90660417249819847"/>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endParaRPr lang="en-US"/>
            </a:p>
          </c:txPr>
        </c:title>
        <c:numFmt formatCode="General" sourceLinked="1"/>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endParaRPr lang="en-US"/>
          </a:p>
        </c:txPr>
        <c:crossAx val="465086255"/>
        <c:crosses val="autoZero"/>
        <c:crossBetween val="midCat"/>
        <c:majorUnit val="12"/>
      </c:valAx>
      <c:valAx>
        <c:axId val="465086255"/>
        <c:scaling>
          <c:orientation val="minMax"/>
          <c:max val="100"/>
          <c:min val="0"/>
        </c:scaling>
        <c:delete val="0"/>
        <c:axPos val="l"/>
        <c:title>
          <c:tx>
            <c:rich>
              <a:bodyPr rot="-540000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r>
                  <a:rPr lang="en-IN" b="1" dirty="0">
                    <a:solidFill>
                      <a:schemeClr val="tx1"/>
                    </a:solidFill>
                    <a:latin typeface="Gene Sans Light" panose="00000400000000000000" pitchFamily="2" charset="0"/>
                  </a:rPr>
                  <a:t>Progression−Free Survival (%)</a:t>
                </a:r>
              </a:p>
            </c:rich>
          </c:tx>
          <c:layout>
            <c:manualLayout>
              <c:xMode val="edge"/>
              <c:yMode val="edge"/>
              <c:x val="0"/>
              <c:y val="0.1089544251435514"/>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endParaRPr lang="en-US"/>
            </a:p>
          </c:txPr>
        </c:title>
        <c:numFmt formatCode="#,##0.0" sourceLinked="0"/>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endParaRPr lang="en-US"/>
          </a:p>
        </c:txPr>
        <c:crossAx val="222163647"/>
        <c:crosses val="autoZero"/>
        <c:crossBetween val="midCat"/>
        <c:majorUnit val="5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047749313026012"/>
          <c:y val="6.2552444202055593E-2"/>
          <c:w val="0.78186216159599764"/>
          <c:h val="0.71760414735690181"/>
        </c:manualLayout>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solidFill>
                <a:schemeClr val="accent1"/>
              </a:solidFill>
              <a:ln w="9525">
                <a:solidFill>
                  <a:schemeClr val="accent1"/>
                </a:solidFill>
              </a:ln>
              <a:effectLst/>
            </c:spPr>
          </c:marker>
          <c:xVal>
            <c:numRef>
              <c:f>Sheet1!$A$2:$A$4</c:f>
              <c:numCache>
                <c:formatCode>General</c:formatCode>
                <c:ptCount val="3"/>
              </c:numCache>
            </c:numRef>
          </c:xVal>
          <c:yVal>
            <c:numRef>
              <c:f>Sheet1!$B$2:$B$4</c:f>
              <c:numCache>
                <c:formatCode>General</c:formatCode>
                <c:ptCount val="3"/>
              </c:numCache>
            </c:numRef>
          </c:yVal>
          <c:smooth val="0"/>
          <c:extLst>
            <c:ext xmlns:c16="http://schemas.microsoft.com/office/drawing/2014/chart" uri="{C3380CC4-5D6E-409C-BE32-E72D297353CC}">
              <c16:uniqueId val="{00000000-F927-4B76-A845-845AF1D0EB00}"/>
            </c:ext>
          </c:extLst>
        </c:ser>
        <c:dLbls>
          <c:showLegendKey val="0"/>
          <c:showVal val="0"/>
          <c:showCatName val="0"/>
          <c:showSerName val="0"/>
          <c:showPercent val="0"/>
          <c:showBubbleSize val="0"/>
        </c:dLbls>
        <c:axId val="222163647"/>
        <c:axId val="465086255"/>
      </c:scatterChart>
      <c:valAx>
        <c:axId val="222163647"/>
        <c:scaling>
          <c:orientation val="minMax"/>
          <c:max val="72"/>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r>
                  <a:rPr lang="en-US" b="1" dirty="0">
                    <a:solidFill>
                      <a:schemeClr val="tx1"/>
                    </a:solidFill>
                    <a:latin typeface="Gene Sans Light" panose="00000400000000000000" pitchFamily="2" charset="0"/>
                  </a:rPr>
                  <a:t>Time Elapsed (months)</a:t>
                </a:r>
              </a:p>
            </c:rich>
          </c:tx>
          <c:layout>
            <c:manualLayout>
              <c:xMode val="edge"/>
              <c:yMode val="edge"/>
              <c:x val="0.40320844634576253"/>
              <c:y val="0.91267568418064215"/>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endParaRPr lang="en-US"/>
            </a:p>
          </c:txPr>
        </c:title>
        <c:numFmt formatCode="General" sourceLinked="1"/>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endParaRPr lang="en-US"/>
          </a:p>
        </c:txPr>
        <c:crossAx val="465086255"/>
        <c:crosses val="autoZero"/>
        <c:crossBetween val="midCat"/>
        <c:majorUnit val="12"/>
      </c:valAx>
      <c:valAx>
        <c:axId val="465086255"/>
        <c:scaling>
          <c:orientation val="minMax"/>
          <c:max val="100"/>
          <c:min val="0"/>
        </c:scaling>
        <c:delete val="0"/>
        <c:axPos val="l"/>
        <c:title>
          <c:tx>
            <c:rich>
              <a:bodyPr rot="-540000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r>
                  <a:rPr lang="en-IN" b="1" dirty="0">
                    <a:solidFill>
                      <a:schemeClr val="tx1"/>
                    </a:solidFill>
                    <a:latin typeface="Gene Sans Light" panose="00000400000000000000" pitchFamily="2" charset="0"/>
                  </a:rPr>
                  <a:t>Overall Survival (%)</a:t>
                </a:r>
              </a:p>
            </c:rich>
          </c:tx>
          <c:layout>
            <c:manualLayout>
              <c:xMode val="edge"/>
              <c:yMode val="edge"/>
              <c:x val="0"/>
              <c:y val="0.22860064920627862"/>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endParaRPr lang="en-US"/>
            </a:p>
          </c:txPr>
        </c:title>
        <c:numFmt formatCode="#,##0.0" sourceLinked="0"/>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endParaRPr lang="en-US"/>
          </a:p>
        </c:txPr>
        <c:crossAx val="222163647"/>
        <c:crosses val="autoZero"/>
        <c:crossBetween val="midCat"/>
        <c:majorUnit val="5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337175346379293"/>
          <c:y val="3.3736835114621819E-2"/>
          <c:w val="0.82592619957357882"/>
          <c:h val="0.77659577774641997"/>
        </c:manualLayout>
      </c:layout>
      <c:barChart>
        <c:barDir val="col"/>
        <c:grouping val="stacked"/>
        <c:varyColors val="0"/>
        <c:ser>
          <c:idx val="0"/>
          <c:order val="0"/>
          <c:tx>
            <c:strRef>
              <c:f>Sheet1!$B$1</c:f>
              <c:strCache>
                <c:ptCount val="1"/>
                <c:pt idx="0">
                  <c:v>Column1</c:v>
                </c:pt>
              </c:strCache>
            </c:strRef>
          </c:tx>
          <c:spPr>
            <a:solidFill>
              <a:schemeClr val="accent4"/>
            </a:solidFill>
            <a:ln>
              <a:noFill/>
            </a:ln>
            <a:effectLst/>
          </c:spPr>
          <c:invertIfNegative val="0"/>
          <c:dPt>
            <c:idx val="1"/>
            <c:invertIfNegative val="0"/>
            <c:bubble3D val="0"/>
            <c:spPr>
              <a:solidFill>
                <a:schemeClr val="accent5"/>
              </a:solidFill>
              <a:ln>
                <a:noFill/>
              </a:ln>
              <a:effectLst/>
            </c:spPr>
            <c:extLst>
              <c:ext xmlns:c16="http://schemas.microsoft.com/office/drawing/2014/chart" uri="{C3380CC4-5D6E-409C-BE32-E72D297353CC}">
                <c16:uniqueId val="{00000001-003C-46A0-B6DE-0250A506CCE8}"/>
              </c:ext>
            </c:extLst>
          </c:dPt>
          <c:dPt>
            <c:idx val="2"/>
            <c:invertIfNegative val="0"/>
            <c:bubble3D val="0"/>
            <c:spPr>
              <a:solidFill>
                <a:schemeClr val="tx1"/>
              </a:solidFill>
              <a:ln>
                <a:noFill/>
              </a:ln>
              <a:effectLst/>
            </c:spPr>
            <c:extLst>
              <c:ext xmlns:c16="http://schemas.microsoft.com/office/drawing/2014/chart" uri="{C3380CC4-5D6E-409C-BE32-E72D297353CC}">
                <c16:uniqueId val="{00000002-003C-46A0-B6DE-0250A506CCE8}"/>
              </c:ext>
            </c:extLst>
          </c:dPt>
          <c:dLbls>
            <c:dLbl>
              <c:idx val="0"/>
              <c:tx>
                <c:rich>
                  <a:bodyPr/>
                  <a:lstStyle/>
                  <a:p>
                    <a:fld id="{D3E6E7BE-6FC0-48AD-9A18-FB8E15968030}" type="VALUE">
                      <a:rPr lang="en-US" smtClean="0"/>
                      <a:pPr/>
                      <a:t>[VALUE]</a:t>
                    </a:fld>
                    <a:br>
                      <a:rPr lang="en-US" dirty="0"/>
                    </a:br>
                    <a:r>
                      <a:rPr lang="en-US" dirty="0"/>
                      <a:t>(110/557)</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03C-46A0-B6DE-0250A506CCE8}"/>
                </c:ext>
              </c:extLst>
            </c:dLbl>
            <c:dLbl>
              <c:idx val="1"/>
              <c:tx>
                <c:rich>
                  <a:bodyPr/>
                  <a:lstStyle/>
                  <a:p>
                    <a:fld id="{62FA64E6-FA88-426C-BE6B-4B62F8D2378D}" type="VALUE">
                      <a:rPr lang="en-US" smtClean="0"/>
                      <a:pPr/>
                      <a:t>[VALUE]</a:t>
                    </a:fld>
                    <a:br>
                      <a:rPr lang="en-US" dirty="0"/>
                    </a:br>
                    <a:r>
                      <a:rPr lang="en-US" dirty="0"/>
                      <a:t>(6/27)</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03C-46A0-B6DE-0250A506CCE8}"/>
                </c:ext>
              </c:extLst>
            </c:dLbl>
            <c:dLbl>
              <c:idx val="2"/>
              <c:tx>
                <c:rich>
                  <a:bodyPr/>
                  <a:lstStyle/>
                  <a:p>
                    <a:fld id="{8D8A0719-1A23-46D5-B05A-35210B625810}" type="VALUE">
                      <a:rPr lang="en-US" smtClean="0"/>
                      <a:pPr/>
                      <a:t>[VALUE]</a:t>
                    </a:fld>
                    <a:br>
                      <a:rPr lang="en-US" dirty="0"/>
                    </a:br>
                    <a:r>
                      <a:rPr lang="en-US" dirty="0"/>
                      <a:t>(4/66)</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003C-46A0-B6DE-0250A506CCE8}"/>
                </c:ext>
              </c:extLst>
            </c:dLbl>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Gene Sans Light" panose="00000400000000000000"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dnisone
0 to &lt; 10 mg</c:v>
                </c:pt>
                <c:pt idx="1">
                  <c:v>Prednisone ≥10
cancer-unrelated
indications</c:v>
                </c:pt>
                <c:pt idx="2">
                  <c:v>Prednisone ≥10
cancer-related
palliation</c:v>
                </c:pt>
              </c:strCache>
            </c:strRef>
          </c:cat>
          <c:val>
            <c:numRef>
              <c:f>Sheet1!$B$2:$B$4</c:f>
              <c:numCache>
                <c:formatCode>General</c:formatCode>
                <c:ptCount val="3"/>
                <c:pt idx="0">
                  <c:v>19.7</c:v>
                </c:pt>
                <c:pt idx="1">
                  <c:v>22.2</c:v>
                </c:pt>
                <c:pt idx="2">
                  <c:v>6.1</c:v>
                </c:pt>
              </c:numCache>
            </c:numRef>
          </c:val>
          <c:extLst>
            <c:ext xmlns:c16="http://schemas.microsoft.com/office/drawing/2014/chart" uri="{C3380CC4-5D6E-409C-BE32-E72D297353CC}">
              <c16:uniqueId val="{00000003-003C-46A0-B6DE-0250A506CCE8}"/>
            </c:ext>
          </c:extLst>
        </c:ser>
        <c:dLbls>
          <c:showLegendKey val="0"/>
          <c:showVal val="0"/>
          <c:showCatName val="0"/>
          <c:showSerName val="0"/>
          <c:showPercent val="0"/>
          <c:showBubbleSize val="0"/>
        </c:dLbls>
        <c:gapWidth val="80"/>
        <c:overlap val="100"/>
        <c:axId val="713779440"/>
        <c:axId val="713774192"/>
      </c:barChart>
      <c:catAx>
        <c:axId val="713779440"/>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Gene Sans Light" panose="00000400000000000000" pitchFamily="2" charset="0"/>
                <a:ea typeface="+mn-ea"/>
                <a:cs typeface="+mn-cs"/>
              </a:defRPr>
            </a:pPr>
            <a:endParaRPr lang="en-US"/>
          </a:p>
        </c:txPr>
        <c:crossAx val="713774192"/>
        <c:crosses val="autoZero"/>
        <c:auto val="1"/>
        <c:lblAlgn val="ctr"/>
        <c:lblOffset val="100"/>
        <c:noMultiLvlLbl val="0"/>
      </c:catAx>
      <c:valAx>
        <c:axId val="713774192"/>
        <c:scaling>
          <c:orientation val="minMax"/>
          <c:max val="25"/>
        </c:scaling>
        <c:delete val="0"/>
        <c:axPos val="l"/>
        <c:title>
          <c:tx>
            <c:rich>
              <a:bodyPr rot="-5400000" spcFirstLastPara="1" vertOverflow="ellipsis" vert="horz" wrap="square" anchor="ctr" anchorCtr="1"/>
              <a:lstStyle/>
              <a:p>
                <a:pPr>
                  <a:defRPr sz="1000" b="1" i="0" u="none" strike="noStrike" kern="1200" baseline="0">
                    <a:solidFill>
                      <a:schemeClr val="tx1"/>
                    </a:solidFill>
                    <a:latin typeface="Gene Sans Light" panose="00000400000000000000" pitchFamily="2" charset="0"/>
                    <a:ea typeface="+mn-ea"/>
                    <a:cs typeface="+mn-cs"/>
                  </a:defRPr>
                </a:pPr>
                <a:r>
                  <a:rPr lang="en-US" b="1"/>
                  <a:t>Overall Response Rate (%)</a:t>
                </a:r>
              </a:p>
            </c:rich>
          </c:tx>
          <c:layout>
            <c:manualLayout>
              <c:xMode val="edge"/>
              <c:yMode val="edge"/>
              <c:x val="3.3306370794559774E-2"/>
              <c:y val="0.16779366479087995"/>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tx1"/>
                  </a:solidFill>
                  <a:latin typeface="Gene Sans Light" panose="00000400000000000000" pitchFamily="2" charset="0"/>
                  <a:ea typeface="+mn-ea"/>
                  <a:cs typeface="+mn-cs"/>
                </a:defRPr>
              </a:pPr>
              <a:endParaRPr lang="en-US"/>
            </a:p>
          </c:txPr>
        </c:title>
        <c:numFmt formatCode="General" sourceLinked="1"/>
        <c:majorTickMark val="none"/>
        <c:minorTickMark val="none"/>
        <c:tickLblPos val="nextTo"/>
        <c:spPr>
          <a:noFill/>
          <a:ln w="9525">
            <a:solidFill>
              <a:schemeClr val="bg1">
                <a:lumMod val="75000"/>
              </a:schemeClr>
            </a:solidFill>
          </a:ln>
          <a:effectLst/>
        </c:spPr>
        <c:txPr>
          <a:bodyPr rot="-60000000" spcFirstLastPara="1" vertOverflow="ellipsis" vert="horz" wrap="square" anchor="ctr" anchorCtr="1"/>
          <a:lstStyle/>
          <a:p>
            <a:pPr>
              <a:defRPr sz="1000" b="0" i="0" u="none" strike="noStrike" kern="1200" baseline="0">
                <a:solidFill>
                  <a:schemeClr val="tx1"/>
                </a:solidFill>
                <a:latin typeface="Gene Sans Light" panose="00000400000000000000" pitchFamily="2" charset="0"/>
                <a:ea typeface="+mn-ea"/>
                <a:cs typeface="+mn-cs"/>
              </a:defRPr>
            </a:pPr>
            <a:endParaRPr lang="en-US"/>
          </a:p>
        </c:txPr>
        <c:crossAx val="713779440"/>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latin typeface="Gene Sans Light" panose="00000400000000000000" pitchFamily="2"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solidFill>
                <a:schemeClr val="accent1"/>
              </a:solidFill>
              <a:ln w="9525">
                <a:solidFill>
                  <a:schemeClr val="accent1"/>
                </a:solidFill>
              </a:ln>
              <a:effectLst/>
            </c:spPr>
          </c:marker>
          <c:xVal>
            <c:numRef>
              <c:f>Sheet1!$A$2:$A$4</c:f>
              <c:numCache>
                <c:formatCode>General</c:formatCode>
                <c:ptCount val="3"/>
              </c:numCache>
            </c:numRef>
          </c:xVal>
          <c:yVal>
            <c:numRef>
              <c:f>Sheet1!$B$2:$B$4</c:f>
              <c:numCache>
                <c:formatCode>General</c:formatCode>
                <c:ptCount val="3"/>
              </c:numCache>
            </c:numRef>
          </c:yVal>
          <c:smooth val="0"/>
          <c:extLst>
            <c:ext xmlns:c16="http://schemas.microsoft.com/office/drawing/2014/chart" uri="{C3380CC4-5D6E-409C-BE32-E72D297353CC}">
              <c16:uniqueId val="{00000000-AFF2-4AC6-BBDD-DA255E93C05A}"/>
            </c:ext>
          </c:extLst>
        </c:ser>
        <c:dLbls>
          <c:showLegendKey val="0"/>
          <c:showVal val="0"/>
          <c:showCatName val="0"/>
          <c:showSerName val="0"/>
          <c:showPercent val="0"/>
          <c:showBubbleSize val="0"/>
        </c:dLbls>
        <c:axId val="222163647"/>
        <c:axId val="465086255"/>
      </c:scatterChart>
      <c:valAx>
        <c:axId val="222163647"/>
        <c:scaling>
          <c:orientation val="minMax"/>
          <c:max val="60"/>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r>
                  <a:rPr lang="en-US" b="1" dirty="0">
                    <a:solidFill>
                      <a:schemeClr val="tx1"/>
                    </a:solidFill>
                    <a:latin typeface="Gene Sans Light" panose="00000400000000000000" pitchFamily="2" charset="0"/>
                  </a:rPr>
                  <a:t>Time Since Start of Treatment (months)</a:t>
                </a:r>
              </a:p>
            </c:rich>
          </c:tx>
          <c:layout>
            <c:manualLayout>
              <c:xMode val="edge"/>
              <c:yMode val="edge"/>
              <c:x val="0.30132381889763782"/>
              <c:y val="0.8980108591401343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endParaRPr lang="en-US"/>
            </a:p>
          </c:txPr>
        </c:title>
        <c:numFmt formatCode="General" sourceLinked="1"/>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endParaRPr lang="en-US"/>
          </a:p>
        </c:txPr>
        <c:crossAx val="465086255"/>
        <c:crosses val="autoZero"/>
        <c:crossBetween val="midCat"/>
        <c:majorUnit val="12"/>
      </c:valAx>
      <c:valAx>
        <c:axId val="465086255"/>
        <c:scaling>
          <c:orientation val="minMax"/>
          <c:max val="1"/>
          <c:min val="0"/>
        </c:scaling>
        <c:delete val="0"/>
        <c:axPos val="l"/>
        <c:title>
          <c:tx>
            <c:rich>
              <a:bodyPr rot="-540000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r>
                  <a:rPr lang="en-IN" b="1" dirty="0">
                    <a:solidFill>
                      <a:schemeClr val="tx1"/>
                    </a:solidFill>
                    <a:latin typeface="Gene Sans Light" panose="00000400000000000000" pitchFamily="2" charset="0"/>
                  </a:rPr>
                  <a:t>Progression−Free Survival </a:t>
                </a:r>
              </a:p>
              <a:p>
                <a:pPr>
                  <a:defRPr>
                    <a:latin typeface="Gene Sans Light" panose="00000400000000000000" pitchFamily="2" charset="0"/>
                  </a:defRPr>
                </a:pPr>
                <a:r>
                  <a:rPr lang="en-IN" b="1" dirty="0">
                    <a:solidFill>
                      <a:schemeClr val="tx1"/>
                    </a:solidFill>
                    <a:latin typeface="Gene Sans Light" panose="00000400000000000000" pitchFamily="2" charset="0"/>
                  </a:rPr>
                  <a:t>(probability)</a:t>
                </a:r>
              </a:p>
            </c:rich>
          </c:tx>
          <c:layout>
            <c:manualLayout>
              <c:xMode val="edge"/>
              <c:yMode val="edge"/>
              <c:x val="0"/>
              <c:y val="0.12602727949255954"/>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endParaRPr lang="en-US"/>
            </a:p>
          </c:txPr>
        </c:title>
        <c:numFmt formatCode="#,##0.0" sourceLinked="0"/>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endParaRPr lang="en-US"/>
          </a:p>
        </c:txPr>
        <c:crossAx val="222163647"/>
        <c:crosses val="autoZero"/>
        <c:crossBetween val="midCat"/>
        <c:majorUnit val="0.2"/>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solidFill>
                <a:schemeClr val="accent1"/>
              </a:solidFill>
              <a:ln w="9525">
                <a:solidFill>
                  <a:schemeClr val="accent1"/>
                </a:solidFill>
              </a:ln>
              <a:effectLst/>
            </c:spPr>
          </c:marker>
          <c:xVal>
            <c:numRef>
              <c:f>Sheet1!$A$2:$A$4</c:f>
              <c:numCache>
                <c:formatCode>General</c:formatCode>
                <c:ptCount val="3"/>
              </c:numCache>
            </c:numRef>
          </c:xVal>
          <c:yVal>
            <c:numRef>
              <c:f>Sheet1!$B$2:$B$4</c:f>
              <c:numCache>
                <c:formatCode>General</c:formatCode>
                <c:ptCount val="3"/>
              </c:numCache>
            </c:numRef>
          </c:yVal>
          <c:smooth val="0"/>
          <c:extLst>
            <c:ext xmlns:c16="http://schemas.microsoft.com/office/drawing/2014/chart" uri="{C3380CC4-5D6E-409C-BE32-E72D297353CC}">
              <c16:uniqueId val="{00000000-A98E-4DB5-938E-6516B9E8E61B}"/>
            </c:ext>
          </c:extLst>
        </c:ser>
        <c:dLbls>
          <c:showLegendKey val="0"/>
          <c:showVal val="0"/>
          <c:showCatName val="0"/>
          <c:showSerName val="0"/>
          <c:showPercent val="0"/>
          <c:showBubbleSize val="0"/>
        </c:dLbls>
        <c:axId val="222163647"/>
        <c:axId val="465086255"/>
      </c:scatterChart>
      <c:valAx>
        <c:axId val="222163647"/>
        <c:scaling>
          <c:orientation val="minMax"/>
          <c:max val="72"/>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r>
                  <a:rPr lang="en-US" b="1" dirty="0">
                    <a:solidFill>
                      <a:schemeClr val="tx1"/>
                    </a:solidFill>
                    <a:latin typeface="Gene Sans Light" panose="00000400000000000000" pitchFamily="2" charset="0"/>
                  </a:rPr>
                  <a:t>Time Since Start of Treatment (months)</a:t>
                </a:r>
              </a:p>
            </c:rich>
          </c:tx>
          <c:layout>
            <c:manualLayout>
              <c:xMode val="edge"/>
              <c:yMode val="edge"/>
              <c:x val="0.30230889107611547"/>
              <c:y val="0.9036974449766849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endParaRPr lang="en-US"/>
            </a:p>
          </c:txPr>
        </c:title>
        <c:numFmt formatCode="General" sourceLinked="1"/>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endParaRPr lang="en-US"/>
          </a:p>
        </c:txPr>
        <c:crossAx val="465086255"/>
        <c:crosses val="autoZero"/>
        <c:crossBetween val="midCat"/>
        <c:majorUnit val="12"/>
      </c:valAx>
      <c:valAx>
        <c:axId val="465086255"/>
        <c:scaling>
          <c:orientation val="minMax"/>
          <c:max val="1"/>
          <c:min val="0"/>
        </c:scaling>
        <c:delete val="0"/>
        <c:axPos val="l"/>
        <c:title>
          <c:tx>
            <c:rich>
              <a:bodyPr rot="-540000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r>
                  <a:rPr lang="en-IN" b="1" dirty="0">
                    <a:solidFill>
                      <a:schemeClr val="tx1"/>
                    </a:solidFill>
                    <a:latin typeface="Gene Sans Light" panose="00000400000000000000" pitchFamily="2" charset="0"/>
                  </a:rPr>
                  <a:t>Overall Survival </a:t>
                </a:r>
                <a:br>
                  <a:rPr lang="en-IN" b="1" dirty="0">
                    <a:solidFill>
                      <a:schemeClr val="tx1"/>
                    </a:solidFill>
                    <a:latin typeface="Gene Sans Light" panose="00000400000000000000" pitchFamily="2" charset="0"/>
                  </a:rPr>
                </a:br>
                <a:r>
                  <a:rPr lang="en-IN" b="1" dirty="0">
                    <a:solidFill>
                      <a:schemeClr val="tx1"/>
                    </a:solidFill>
                    <a:latin typeface="Gene Sans Light" panose="00000400000000000000" pitchFamily="2" charset="0"/>
                  </a:rPr>
                  <a:t>(probability)</a:t>
                </a:r>
              </a:p>
            </c:rich>
          </c:tx>
          <c:layout>
            <c:manualLayout>
              <c:xMode val="edge"/>
              <c:yMode val="edge"/>
              <c:x val="0"/>
              <c:y val="0.23975899622356969"/>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endParaRPr lang="en-US"/>
            </a:p>
          </c:txPr>
        </c:title>
        <c:numFmt formatCode="#,##0.0" sourceLinked="0"/>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endParaRPr lang="en-US"/>
          </a:p>
        </c:txPr>
        <c:crossAx val="222163647"/>
        <c:crosses val="autoZero"/>
        <c:crossBetween val="midCat"/>
        <c:majorUnit val="0.2"/>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Sheet1!$B$1</c:f>
              <c:strCache>
                <c:ptCount val="1"/>
                <c:pt idx="0">
                  <c:v>Y-Values</c:v>
                </c:pt>
              </c:strCache>
            </c:strRef>
          </c:tx>
          <c:spPr>
            <a:ln w="28575" cap="rnd">
              <a:noFill/>
              <a:round/>
            </a:ln>
            <a:effectLst/>
          </c:spPr>
          <c:marker>
            <c:symbol val="circle"/>
            <c:size val="5"/>
            <c:spPr>
              <a:solidFill>
                <a:schemeClr val="accent1"/>
              </a:solidFill>
              <a:ln w="9525">
                <a:solidFill>
                  <a:schemeClr val="accent1"/>
                </a:solidFill>
              </a:ln>
              <a:effectLst/>
            </c:spPr>
          </c:marker>
          <c:xVal>
            <c:numRef>
              <c:f>Sheet1!$A$2:$A$4</c:f>
              <c:numCache>
                <c:formatCode>General</c:formatCode>
                <c:ptCount val="3"/>
              </c:numCache>
            </c:numRef>
          </c:xVal>
          <c:yVal>
            <c:numRef>
              <c:f>Sheet1!$B$2:$B$4</c:f>
              <c:numCache>
                <c:formatCode>General</c:formatCode>
                <c:ptCount val="3"/>
              </c:numCache>
            </c:numRef>
          </c:yVal>
          <c:smooth val="0"/>
          <c:extLst>
            <c:ext xmlns:c16="http://schemas.microsoft.com/office/drawing/2014/chart" uri="{C3380CC4-5D6E-409C-BE32-E72D297353CC}">
              <c16:uniqueId val="{00000000-408B-4C1F-BAEB-099E512BC8A5}"/>
            </c:ext>
          </c:extLst>
        </c:ser>
        <c:dLbls>
          <c:showLegendKey val="0"/>
          <c:showVal val="0"/>
          <c:showCatName val="0"/>
          <c:showSerName val="0"/>
          <c:showPercent val="0"/>
          <c:showBubbleSize val="0"/>
        </c:dLbls>
        <c:axId val="222163647"/>
        <c:axId val="465086255"/>
      </c:scatterChart>
      <c:valAx>
        <c:axId val="222163647"/>
        <c:scaling>
          <c:orientation val="minMax"/>
          <c:max val="600"/>
          <c:min val="0"/>
        </c:scaling>
        <c:delete val="0"/>
        <c:axPos val="b"/>
        <c:title>
          <c:tx>
            <c:rich>
              <a:bodyPr rot="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r>
                  <a:rPr lang="en-US" sz="1000" b="1" dirty="0">
                    <a:solidFill>
                      <a:schemeClr val="tx1"/>
                    </a:solidFill>
                    <a:latin typeface="Gene Sans Light" panose="00000400000000000000" pitchFamily="2" charset="0"/>
                  </a:rPr>
                  <a:t>Duration of Response (days)</a:t>
                </a:r>
              </a:p>
            </c:rich>
          </c:tx>
          <c:layout>
            <c:manualLayout>
              <c:xMode val="edge"/>
              <c:yMode val="edge"/>
              <c:x val="0.40546801917797437"/>
              <c:y val="0.8802687113300969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Gene Sans Light" panose="00000400000000000000" pitchFamily="2" charset="0"/>
                  <a:ea typeface="+mn-ea"/>
                  <a:cs typeface="+mn-cs"/>
                </a:defRPr>
              </a:pPr>
              <a:endParaRPr lang="en-US"/>
            </a:p>
          </c:txPr>
        </c:title>
        <c:numFmt formatCode="General" sourceLinked="1"/>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Gene Sans Light" panose="00000400000000000000" pitchFamily="2" charset="0"/>
                <a:ea typeface="+mn-ea"/>
                <a:cs typeface="+mn-cs"/>
              </a:defRPr>
            </a:pPr>
            <a:endParaRPr lang="en-US"/>
          </a:p>
        </c:txPr>
        <c:crossAx val="465086255"/>
        <c:crosses val="autoZero"/>
        <c:crossBetween val="midCat"/>
        <c:majorUnit val="100"/>
      </c:valAx>
      <c:valAx>
        <c:axId val="465086255"/>
        <c:scaling>
          <c:orientation val="minMax"/>
          <c:max val="1"/>
          <c:min val="0"/>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Gene Sans Light" panose="00000400000000000000" pitchFamily="2" charset="0"/>
                    <a:ea typeface="+mn-ea"/>
                    <a:cs typeface="+mn-cs"/>
                  </a:defRPr>
                </a:pPr>
                <a:r>
                  <a:rPr lang="en-IN" sz="1000" b="1" dirty="0">
                    <a:solidFill>
                      <a:schemeClr val="tx1"/>
                    </a:solidFill>
                    <a:latin typeface="Gene Sans Light" panose="00000400000000000000" pitchFamily="2" charset="0"/>
                  </a:rPr>
                  <a:t>Overall Survival (probability)</a:t>
                </a:r>
              </a:p>
            </c:rich>
          </c:tx>
          <c:layout>
            <c:manualLayout>
              <c:xMode val="edge"/>
              <c:yMode val="edge"/>
              <c:x val="1.3100827293042244E-2"/>
              <c:y val="8.0534592800155458E-2"/>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Gene Sans Light" panose="00000400000000000000" pitchFamily="2" charset="0"/>
                  <a:ea typeface="+mn-ea"/>
                  <a:cs typeface="+mn-cs"/>
                </a:defRPr>
              </a:pPr>
              <a:endParaRPr lang="en-US"/>
            </a:p>
          </c:txPr>
        </c:title>
        <c:numFmt formatCode="#,##0.00" sourceLinked="0"/>
        <c:majorTickMark val="none"/>
        <c:minorTickMark val="none"/>
        <c:tickLblPos val="nextTo"/>
        <c:spPr>
          <a:noFill/>
          <a:ln w="9525" cap="flat" cmpd="sng" algn="ctr">
            <a:solidFill>
              <a:srgbClr val="868686"/>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Gene Sans Light" panose="00000400000000000000" pitchFamily="2" charset="0"/>
                <a:ea typeface="+mn-ea"/>
                <a:cs typeface="+mn-cs"/>
              </a:defRPr>
            </a:pPr>
            <a:endParaRPr lang="en-US"/>
          </a:p>
        </c:txPr>
        <c:crossAx val="222163647"/>
        <c:crosses val="autoZero"/>
        <c:crossBetween val="midCat"/>
        <c:majorUnit val="0.25"/>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13AA4E-8CD2-7046-B699-D82F8C002356}" type="datetimeFigureOut">
              <a:rPr lang="en-US" smtClean="0"/>
              <a:t>3/17/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D30689-8A01-8C4F-8D90-C00F3D7721F5}" type="slidenum">
              <a:rPr lang="en-US" smtClean="0"/>
              <a:t>‹#›</a:t>
            </a:fld>
            <a:endParaRPr lang="en-US"/>
          </a:p>
        </p:txBody>
      </p:sp>
    </p:spTree>
    <p:extLst>
      <p:ext uri="{BB962C8B-B14F-4D97-AF65-F5344CB8AC3E}">
        <p14:creationId xmlns:p14="http://schemas.microsoft.com/office/powerpoint/2010/main" val="3479514581"/>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ascopubs.org/doi/pdf/10.1200/JCO.2018.79.0006"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ascopubs.org/doi/pdf/10.1200/JCO.2018.79.0006"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731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a:t>
            </a:fld>
            <a:endParaRPr kumimoji="0" lang="en-US"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1263137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6750" y="935038"/>
            <a:ext cx="8305800" cy="4673600"/>
          </a:xfrm>
        </p:spPr>
      </p:sp>
      <p:sp>
        <p:nvSpPr>
          <p:cNvPr id="3" name="Notes Placeholder 2"/>
          <p:cNvSpPr>
            <a:spLocks noGrp="1"/>
          </p:cNvSpPr>
          <p:nvPr>
            <p:ph type="body" idx="1"/>
          </p:nvPr>
        </p:nvSpPr>
        <p:spPr/>
        <p:txBody>
          <a:bodyPr/>
          <a:lstStyle/>
          <a:p>
            <a:pPr defTabSz="1043605">
              <a:defRPr/>
            </a:pPr>
            <a:endParaRPr lang="en-US" sz="1400" dirty="0"/>
          </a:p>
        </p:txBody>
      </p:sp>
      <p:sp>
        <p:nvSpPr>
          <p:cNvPr id="4" name="Slide Number Placeholder 3"/>
          <p:cNvSpPr>
            <a:spLocks noGrp="1"/>
          </p:cNvSpPr>
          <p:nvPr>
            <p:ph type="sldNum" sz="quarter" idx="10"/>
          </p:nvPr>
        </p:nvSpPr>
        <p:spPr/>
        <p:txBody>
          <a:bodyPr/>
          <a:lstStyle/>
          <a:p>
            <a:pPr marL="0" marR="0" lvl="0" indent="0" algn="l" defTabSz="695719" rtl="0" eaLnBrk="1" fontAlgn="auto" latinLnBrk="0" hangingPunct="1">
              <a:lnSpc>
                <a:spcPct val="100000"/>
              </a:lnSpc>
              <a:spcBef>
                <a:spcPts val="0"/>
              </a:spcBef>
              <a:spcAft>
                <a:spcPts val="0"/>
              </a:spcAft>
              <a:buClr>
                <a:srgbClr val="000000"/>
              </a:buClr>
              <a:buSzTx/>
              <a:buFont typeface="Arial"/>
              <a:buNone/>
              <a:tabLst/>
              <a:defRPr/>
            </a:pPr>
            <a:fld id="{F5C10ACC-796B-4F64-AF97-222A27E91DAA}" type="slidenum">
              <a:rPr kumimoji="0" lang="en-US" sz="1400" b="0" i="0" u="none" strike="noStrike" kern="0" cap="none" spc="0" normalizeH="0" baseline="0" noProof="0" smtClean="0">
                <a:ln>
                  <a:noFill/>
                </a:ln>
                <a:solidFill>
                  <a:prstClr val="black"/>
                </a:solidFill>
                <a:effectLst/>
                <a:uLnTx/>
                <a:uFillTx/>
                <a:latin typeface="Calibri"/>
                <a:cs typeface="Arial"/>
                <a:sym typeface="Arial"/>
              </a:rPr>
              <a:pPr marL="0" marR="0" lvl="0" indent="0" algn="l" defTabSz="695719" rtl="0" eaLnBrk="1" fontAlgn="auto" latinLnBrk="0" hangingPunct="1">
                <a:lnSpc>
                  <a:spcPct val="100000"/>
                </a:lnSpc>
                <a:spcBef>
                  <a:spcPts val="0"/>
                </a:spcBef>
                <a:spcAft>
                  <a:spcPts val="0"/>
                </a:spcAft>
                <a:buClr>
                  <a:srgbClr val="000000"/>
                </a:buClr>
                <a:buSzTx/>
                <a:buFont typeface="Arial"/>
                <a:buNone/>
                <a:tabLst/>
                <a:defRPr/>
              </a:pPr>
              <a:t>10</a:t>
            </a:fld>
            <a:endParaRPr kumimoji="0" lang="en-US" sz="1400" b="0" i="0" u="none" strike="noStrike" kern="0" cap="none" spc="0" normalizeH="0" baseline="0" noProof="0" dirty="0">
              <a:ln>
                <a:noFill/>
              </a:ln>
              <a:solidFill>
                <a:prstClr val="black"/>
              </a:solidFill>
              <a:effectLst/>
              <a:uLnTx/>
              <a:uFillTx/>
              <a:latin typeface="Calibri"/>
              <a:cs typeface="Arial"/>
              <a:sym typeface="Arial"/>
            </a:endParaRPr>
          </a:p>
        </p:txBody>
      </p:sp>
    </p:spTree>
    <p:extLst>
      <p:ext uri="{BB962C8B-B14F-4D97-AF65-F5344CB8AC3E}">
        <p14:creationId xmlns:p14="http://schemas.microsoft.com/office/powerpoint/2010/main" val="5584244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6750" y="935038"/>
            <a:ext cx="8305800" cy="4673600"/>
          </a:xfrm>
        </p:spPr>
      </p:sp>
      <p:sp>
        <p:nvSpPr>
          <p:cNvPr id="3" name="Notes Placeholder 2"/>
          <p:cNvSpPr>
            <a:spLocks noGrp="1"/>
          </p:cNvSpPr>
          <p:nvPr>
            <p:ph type="body" idx="1"/>
          </p:nvPr>
        </p:nvSpPr>
        <p:spPr/>
        <p:txBody>
          <a:bodyPr/>
          <a:lstStyle/>
          <a:p>
            <a:pPr defTabSz="1043605">
              <a:defRPr/>
            </a:pPr>
            <a:endParaRPr lang="en-US" sz="1400" dirty="0"/>
          </a:p>
        </p:txBody>
      </p:sp>
      <p:sp>
        <p:nvSpPr>
          <p:cNvPr id="4" name="Slide Number Placeholder 3"/>
          <p:cNvSpPr>
            <a:spLocks noGrp="1"/>
          </p:cNvSpPr>
          <p:nvPr>
            <p:ph type="sldNum" sz="quarter" idx="10"/>
          </p:nvPr>
        </p:nvSpPr>
        <p:spPr/>
        <p:txBody>
          <a:bodyPr/>
          <a:lstStyle/>
          <a:p>
            <a:pPr marL="0" marR="0" lvl="0" indent="0" algn="l" defTabSz="695719" rtl="0" eaLnBrk="1" fontAlgn="auto" latinLnBrk="0" hangingPunct="1">
              <a:lnSpc>
                <a:spcPct val="100000"/>
              </a:lnSpc>
              <a:spcBef>
                <a:spcPts val="0"/>
              </a:spcBef>
              <a:spcAft>
                <a:spcPts val="0"/>
              </a:spcAft>
              <a:buClr>
                <a:srgbClr val="000000"/>
              </a:buClr>
              <a:buSzTx/>
              <a:buFont typeface="Arial"/>
              <a:buNone/>
              <a:tabLst/>
              <a:defRPr/>
            </a:pPr>
            <a:fld id="{F5C10ACC-796B-4F64-AF97-222A27E91DAA}" type="slidenum">
              <a:rPr kumimoji="0" lang="en-US" sz="1400" b="0" i="0" u="none" strike="noStrike" kern="0" cap="none" spc="0" normalizeH="0" baseline="0" noProof="0" smtClean="0">
                <a:ln>
                  <a:noFill/>
                </a:ln>
                <a:solidFill>
                  <a:prstClr val="black"/>
                </a:solidFill>
                <a:effectLst/>
                <a:uLnTx/>
                <a:uFillTx/>
                <a:latin typeface="Calibri"/>
                <a:cs typeface="Arial"/>
                <a:sym typeface="Arial"/>
              </a:rPr>
              <a:pPr marL="0" marR="0" lvl="0" indent="0" algn="l" defTabSz="695719" rtl="0" eaLnBrk="1" fontAlgn="auto" latinLnBrk="0" hangingPunct="1">
                <a:lnSpc>
                  <a:spcPct val="100000"/>
                </a:lnSpc>
                <a:spcBef>
                  <a:spcPts val="0"/>
                </a:spcBef>
                <a:spcAft>
                  <a:spcPts val="0"/>
                </a:spcAft>
                <a:buClr>
                  <a:srgbClr val="000000"/>
                </a:buClr>
                <a:buSzTx/>
                <a:buFont typeface="Arial"/>
                <a:buNone/>
                <a:tabLst/>
                <a:defRPr/>
              </a:pPr>
              <a:t>11</a:t>
            </a:fld>
            <a:endParaRPr kumimoji="0" lang="en-US" sz="1400" b="0" i="0" u="none" strike="noStrike" kern="0" cap="none" spc="0" normalizeH="0" baseline="0" noProof="0" dirty="0">
              <a:ln>
                <a:noFill/>
              </a:ln>
              <a:solidFill>
                <a:prstClr val="black"/>
              </a:solidFill>
              <a:effectLst/>
              <a:uLnTx/>
              <a:uFillTx/>
              <a:latin typeface="Calibri"/>
              <a:cs typeface="Arial"/>
              <a:sym typeface="Arial"/>
            </a:endParaRPr>
          </a:p>
        </p:txBody>
      </p:sp>
    </p:spTree>
    <p:extLst>
      <p:ext uri="{BB962C8B-B14F-4D97-AF65-F5344CB8AC3E}">
        <p14:creationId xmlns:p14="http://schemas.microsoft.com/office/powerpoint/2010/main" val="558424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1638" y="1084263"/>
            <a:ext cx="7775576" cy="4375150"/>
          </a:xfrm>
        </p:spPr>
      </p:sp>
      <p:sp>
        <p:nvSpPr>
          <p:cNvPr id="3" name="Notes Placeholder 2"/>
          <p:cNvSpPr>
            <a:spLocks noGrp="1"/>
          </p:cNvSpPr>
          <p:nvPr>
            <p:ph type="body" idx="1"/>
          </p:nvPr>
        </p:nvSpPr>
        <p:spPr/>
        <p:txBody>
          <a:bodyPr/>
          <a:lstStyle/>
          <a:p>
            <a:r>
              <a:rPr lang="en-US" sz="1400" dirty="0">
                <a:latin typeface="Imago" pitchFamily="2" charset="0"/>
              </a:rPr>
              <a:t> </a:t>
            </a:r>
            <a:endParaRPr lang="en-US" dirty="0"/>
          </a:p>
        </p:txBody>
      </p:sp>
    </p:spTree>
    <p:extLst>
      <p:ext uri="{BB962C8B-B14F-4D97-AF65-F5344CB8AC3E}">
        <p14:creationId xmlns:p14="http://schemas.microsoft.com/office/powerpoint/2010/main" val="31246892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1638" y="1084263"/>
            <a:ext cx="7775576" cy="4375150"/>
          </a:xfrm>
        </p:spPr>
      </p:sp>
      <p:sp>
        <p:nvSpPr>
          <p:cNvPr id="3" name="Notes Placeholder 2"/>
          <p:cNvSpPr>
            <a:spLocks noGrp="1"/>
          </p:cNvSpPr>
          <p:nvPr>
            <p:ph type="body" idx="1"/>
          </p:nvPr>
        </p:nvSpPr>
        <p:spPr/>
        <p:txBody>
          <a:bodyPr/>
          <a:lstStyle/>
          <a:p>
            <a:endParaRPr lang="en-US" b="1" dirty="0"/>
          </a:p>
        </p:txBody>
      </p:sp>
    </p:spTree>
    <p:extLst>
      <p:ext uri="{BB962C8B-B14F-4D97-AF65-F5344CB8AC3E}">
        <p14:creationId xmlns:p14="http://schemas.microsoft.com/office/powerpoint/2010/main" val="36369753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1638" y="1084263"/>
            <a:ext cx="7775576" cy="4375150"/>
          </a:xfrm>
        </p:spPr>
      </p:sp>
      <p:sp>
        <p:nvSpPr>
          <p:cNvPr id="3" name="Notes Placeholder 2"/>
          <p:cNvSpPr>
            <a:spLocks noGrp="1"/>
          </p:cNvSpPr>
          <p:nvPr>
            <p:ph type="body" idx="1"/>
          </p:nvPr>
        </p:nvSpPr>
        <p:spPr/>
        <p:txBody>
          <a:bodyPr/>
          <a:lstStyle/>
          <a:p>
            <a:endParaRPr lang="en-US" b="1" dirty="0"/>
          </a:p>
        </p:txBody>
      </p:sp>
    </p:spTree>
    <p:extLst>
      <p:ext uri="{BB962C8B-B14F-4D97-AF65-F5344CB8AC3E}">
        <p14:creationId xmlns:p14="http://schemas.microsoft.com/office/powerpoint/2010/main" val="29133122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1638" y="1084263"/>
            <a:ext cx="7775576" cy="4375150"/>
          </a:xfrm>
        </p:spPr>
      </p:sp>
      <p:sp>
        <p:nvSpPr>
          <p:cNvPr id="3" name="Notes Placeholder 2"/>
          <p:cNvSpPr>
            <a:spLocks noGrp="1"/>
          </p:cNvSpPr>
          <p:nvPr>
            <p:ph type="body" idx="1"/>
          </p:nvPr>
        </p:nvSpPr>
        <p:spPr/>
        <p:txBody>
          <a:bodyPr/>
          <a:lstStyle/>
          <a:p>
            <a:pPr defTabSz="1045417" eaLnBrk="0" fontAlgn="base" hangingPunct="0">
              <a:spcBef>
                <a:spcPct val="30000"/>
              </a:spcBef>
              <a:spcAft>
                <a:spcPct val="0"/>
              </a:spcAft>
              <a:defRPr/>
            </a:pPr>
            <a:endParaRPr lang="en-US" dirty="0"/>
          </a:p>
        </p:txBody>
      </p:sp>
    </p:spTree>
    <p:extLst>
      <p:ext uri="{BB962C8B-B14F-4D97-AF65-F5344CB8AC3E}">
        <p14:creationId xmlns:p14="http://schemas.microsoft.com/office/powerpoint/2010/main" val="27440031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73100"/>
            <a:ext cx="5486400" cy="3086100"/>
          </a:xfrm>
        </p:spPr>
      </p:sp>
      <p:sp>
        <p:nvSpPr>
          <p:cNvPr id="3" name="Notes Placeholder 2"/>
          <p:cNvSpPr>
            <a:spLocks noGrp="1"/>
          </p:cNvSpPr>
          <p:nvPr>
            <p:ph type="body" idx="1"/>
          </p:nvPr>
        </p:nvSpPr>
        <p:spPr/>
        <p:txBody>
          <a:bodyPr>
            <a:normAutofit/>
          </a:bodyPr>
          <a:lstStyle/>
          <a:p>
            <a:endParaRPr lang="en-US" b="0" dirty="0"/>
          </a:p>
        </p:txBody>
      </p:sp>
      <p:sp>
        <p:nvSpPr>
          <p:cNvPr id="4" name="Slide Number Placeholder 3"/>
          <p:cNvSpPr>
            <a:spLocks noGrp="1"/>
          </p:cNvSpPr>
          <p:nvPr>
            <p:ph type="sldNum" sz="quarter" idx="10"/>
          </p:nvPr>
        </p:nvSpPr>
        <p:spPr/>
        <p:txBody>
          <a:bodyPr/>
          <a:lstStyle/>
          <a:p>
            <a:pPr marL="0" marR="0" lvl="0" indent="0" algn="l" defTabSz="695719" rtl="0" eaLnBrk="1" fontAlgn="auto" latinLnBrk="0" hangingPunct="1">
              <a:lnSpc>
                <a:spcPct val="100000"/>
              </a:lnSpc>
              <a:spcBef>
                <a:spcPts val="0"/>
              </a:spcBef>
              <a:spcAft>
                <a:spcPts val="0"/>
              </a:spcAft>
              <a:buClr>
                <a:srgbClr val="000000"/>
              </a:buClr>
              <a:buSzTx/>
              <a:buFont typeface="Arial"/>
              <a:buNone/>
              <a:tabLst/>
              <a:defRPr/>
            </a:pPr>
            <a:fld id="{E416BDBA-AE30-4810-96A8-00F1CA9C15CF}" type="slidenum">
              <a:rPr kumimoji="0" lang="en-US" sz="1400" b="0" i="0" u="none" strike="noStrike" kern="0" cap="none" spc="0" normalizeH="0" baseline="0" noProof="0" smtClean="0">
                <a:ln>
                  <a:noFill/>
                </a:ln>
                <a:solidFill>
                  <a:prstClr val="black"/>
                </a:solidFill>
                <a:effectLst/>
                <a:uLnTx/>
                <a:uFillTx/>
                <a:latin typeface="Calibri"/>
                <a:cs typeface="Arial"/>
                <a:sym typeface="Arial"/>
              </a:rPr>
              <a:pPr marL="0" marR="0" lvl="0" indent="0" algn="l" defTabSz="695719" rtl="0" eaLnBrk="1" fontAlgn="auto" latinLnBrk="0" hangingPunct="1">
                <a:lnSpc>
                  <a:spcPct val="100000"/>
                </a:lnSpc>
                <a:spcBef>
                  <a:spcPts val="0"/>
                </a:spcBef>
                <a:spcAft>
                  <a:spcPts val="0"/>
                </a:spcAft>
                <a:buClr>
                  <a:srgbClr val="000000"/>
                </a:buClr>
                <a:buSzTx/>
                <a:buFont typeface="Arial"/>
                <a:buNone/>
                <a:tabLst/>
                <a:defRPr/>
              </a:pPr>
              <a:t>16</a:t>
            </a:fld>
            <a:endParaRPr kumimoji="0" lang="en-US" sz="1400" b="0" i="0" u="none" strike="noStrike" kern="0" cap="none" spc="0" normalizeH="0" baseline="0" noProof="0" dirty="0">
              <a:ln>
                <a:noFill/>
              </a:ln>
              <a:solidFill>
                <a:prstClr val="black"/>
              </a:solidFill>
              <a:effectLst/>
              <a:uLnTx/>
              <a:uFillTx/>
              <a:latin typeface="Calibri"/>
              <a:cs typeface="Arial"/>
              <a:sym typeface="Arial"/>
            </a:endParaRPr>
          </a:p>
        </p:txBody>
      </p:sp>
    </p:spTree>
    <p:extLst>
      <p:ext uri="{BB962C8B-B14F-4D97-AF65-F5344CB8AC3E}">
        <p14:creationId xmlns:p14="http://schemas.microsoft.com/office/powerpoint/2010/main" val="24657403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
        <p:cNvGrpSpPr/>
        <p:nvPr/>
      </p:nvGrpSpPr>
      <p:grpSpPr>
        <a:xfrm>
          <a:off x="0" y="0"/>
          <a:ext cx="0" cy="0"/>
          <a:chOff x="0" y="0"/>
          <a:chExt cx="0" cy="0"/>
        </a:xfrm>
      </p:grpSpPr>
      <p:sp>
        <p:nvSpPr>
          <p:cNvPr id="261" name="Google Shape;261;p1:notes"/>
          <p:cNvSpPr>
            <a:spLocks noGrp="1" noRot="1" noChangeAspect="1"/>
          </p:cNvSpPr>
          <p:nvPr>
            <p:ph type="sldImg" idx="2"/>
          </p:nvPr>
        </p:nvSpPr>
        <p:spPr>
          <a:xfrm>
            <a:off x="685800" y="6731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62" name="Google Shape;262;p1:notes"/>
          <p:cNvSpPr txBox="1">
            <a:spLocks noGrp="1"/>
          </p:cNvSpPr>
          <p:nvPr>
            <p:ph type="body" idx="1"/>
          </p:nvPr>
        </p:nvSpPr>
        <p:spPr>
          <a:xfrm>
            <a:off x="685800" y="3930631"/>
            <a:ext cx="5486400" cy="4540288"/>
          </a:xfrm>
          <a:prstGeom prst="rect">
            <a:avLst/>
          </a:prstGeom>
          <a:noFill/>
          <a:ln>
            <a:noFill/>
          </a:ln>
        </p:spPr>
        <p:txBody>
          <a:bodyPr spcFirstLastPara="1" wrap="square" lIns="91425" tIns="45700" rIns="91425" bIns="45700" anchor="t" anchorCtr="0">
            <a:noAutofit/>
          </a:bodyPr>
          <a:lstStyle/>
          <a:p>
            <a:pPr marL="457200" lvl="0" indent="0" algn="l" rtl="0">
              <a:lnSpc>
                <a:spcPct val="90000"/>
              </a:lnSpc>
              <a:spcBef>
                <a:spcPts val="1000"/>
              </a:spcBef>
              <a:spcAft>
                <a:spcPts val="0"/>
              </a:spcAft>
              <a:buNone/>
            </a:pPr>
            <a:endParaRPr dirty="0">
              <a:latin typeface="Gene Sans" panose="00000500000000000000" pitchFamily="50" charset="0"/>
            </a:endParaRPr>
          </a:p>
          <a:p>
            <a:pPr marL="171450" lvl="0" indent="-95250" algn="l" rtl="0">
              <a:lnSpc>
                <a:spcPct val="100000"/>
              </a:lnSpc>
              <a:spcBef>
                <a:spcPts val="1000"/>
              </a:spcBef>
              <a:spcAft>
                <a:spcPts val="0"/>
              </a:spcAft>
              <a:buClr>
                <a:schemeClr val="dk1"/>
              </a:buClr>
              <a:buSzPts val="1200"/>
              <a:buNone/>
            </a:pPr>
            <a:endParaRPr dirty="0">
              <a:latin typeface="Gene Sans" panose="00000500000000000000" pitchFamily="50" charset="0"/>
            </a:endParaRPr>
          </a:p>
        </p:txBody>
      </p:sp>
      <p:sp>
        <p:nvSpPr>
          <p:cNvPr id="263" name="Google Shape;263;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Gene Sans" panose="00000500000000000000" pitchFamily="50" charset="0"/>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7</a:t>
            </a:fld>
            <a:endParaRPr kumimoji="0" sz="14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Tree>
    <p:extLst>
      <p:ext uri="{BB962C8B-B14F-4D97-AF65-F5344CB8AC3E}">
        <p14:creationId xmlns:p14="http://schemas.microsoft.com/office/powerpoint/2010/main" val="40476582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
        <p:cNvGrpSpPr/>
        <p:nvPr/>
      </p:nvGrpSpPr>
      <p:grpSpPr>
        <a:xfrm>
          <a:off x="0" y="0"/>
          <a:ext cx="0" cy="0"/>
          <a:chOff x="0" y="0"/>
          <a:chExt cx="0" cy="0"/>
        </a:xfrm>
      </p:grpSpPr>
      <p:sp>
        <p:nvSpPr>
          <p:cNvPr id="126" name="Google Shape;126;p4:notes"/>
          <p:cNvSpPr>
            <a:spLocks noGrp="1" noRot="1" noChangeAspect="1"/>
          </p:cNvSpPr>
          <p:nvPr>
            <p:ph type="sldImg" idx="2"/>
          </p:nvPr>
        </p:nvSpPr>
        <p:spPr>
          <a:xfrm>
            <a:off x="-141288" y="220663"/>
            <a:ext cx="7140576" cy="4017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chemeClr val="dk1"/>
            </a:solidFill>
            <a:prstDash val="solid"/>
            <a:miter lim="800000"/>
            <a:headEnd type="none" w="sm" len="sm"/>
            <a:tailEnd type="none" w="sm" len="sm"/>
          </a:ln>
        </p:spPr>
      </p:sp>
      <p:sp>
        <p:nvSpPr>
          <p:cNvPr id="127" name="Google Shape;127;p4:notes"/>
          <p:cNvSpPr txBox="1">
            <a:spLocks noGrp="1"/>
          </p:cNvSpPr>
          <p:nvPr>
            <p:ph type="body" idx="1"/>
          </p:nvPr>
        </p:nvSpPr>
        <p:spPr>
          <a:xfrm>
            <a:off x="914400" y="4641850"/>
            <a:ext cx="5029200" cy="4516438"/>
          </a:xfrm>
          <a:prstGeom prst="rect">
            <a:avLst/>
          </a:prstGeom>
          <a:noFill/>
          <a:ln>
            <a:noFill/>
          </a:ln>
        </p:spPr>
        <p:txBody>
          <a:bodyPr spcFirstLastPara="1" wrap="square" lIns="90475" tIns="44450" rIns="90475" bIns="44450" anchor="t" anchorCtr="0">
            <a:noAutofit/>
          </a:bodyPr>
          <a:lstStyle/>
          <a:p>
            <a:pPr marL="0" lvl="0" indent="0" algn="l" rtl="0">
              <a:spcBef>
                <a:spcPts val="0"/>
              </a:spcBef>
              <a:spcAft>
                <a:spcPts val="0"/>
              </a:spcAft>
              <a:buNone/>
            </a:pPr>
            <a:endParaRPr/>
          </a:p>
        </p:txBody>
      </p:sp>
      <p:sp>
        <p:nvSpPr>
          <p:cNvPr id="128" name="Google Shape;128;p4:notes"/>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00"/>
              <a:buFont typeface="Arial"/>
              <a:buNone/>
              <a:tabLst/>
              <a:defRPr/>
            </a:pPr>
            <a:endParaRPr kumimoji="0" sz="1000" b="0" i="0" u="none" strike="noStrike" kern="0" cap="none" spc="0" normalizeH="0" baseline="0" noProof="0">
              <a:ln>
                <a:noFill/>
              </a:ln>
              <a:solidFill>
                <a:srgbClr val="6D6E70"/>
              </a:solidFill>
              <a:effectLst/>
              <a:uLnTx/>
              <a:uFillTx/>
              <a:latin typeface="Arial"/>
              <a:ea typeface="Arial"/>
              <a:cs typeface="Arial"/>
              <a:sym typeface="Arial"/>
            </a:endParaRPr>
          </a:p>
        </p:txBody>
      </p:sp>
    </p:spTree>
    <p:extLst>
      <p:ext uri="{BB962C8B-B14F-4D97-AF65-F5344CB8AC3E}">
        <p14:creationId xmlns:p14="http://schemas.microsoft.com/office/powerpoint/2010/main" val="16328744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
        <p:cNvGrpSpPr/>
        <p:nvPr/>
      </p:nvGrpSpPr>
      <p:grpSpPr>
        <a:xfrm>
          <a:off x="0" y="0"/>
          <a:ext cx="0" cy="0"/>
          <a:chOff x="0" y="0"/>
          <a:chExt cx="0" cy="0"/>
        </a:xfrm>
      </p:grpSpPr>
      <p:sp>
        <p:nvSpPr>
          <p:cNvPr id="126" name="Google Shape;126;p4:notes"/>
          <p:cNvSpPr>
            <a:spLocks noGrp="1" noRot="1" noChangeAspect="1"/>
          </p:cNvSpPr>
          <p:nvPr>
            <p:ph type="sldImg" idx="2"/>
          </p:nvPr>
        </p:nvSpPr>
        <p:spPr>
          <a:xfrm>
            <a:off x="-141288" y="220663"/>
            <a:ext cx="7140576" cy="401796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chemeClr val="dk1"/>
            </a:solidFill>
            <a:prstDash val="solid"/>
            <a:miter lim="800000"/>
            <a:headEnd type="none" w="sm" len="sm"/>
            <a:tailEnd type="none" w="sm" len="sm"/>
          </a:ln>
        </p:spPr>
      </p:sp>
      <p:sp>
        <p:nvSpPr>
          <p:cNvPr id="127" name="Google Shape;127;p4:notes"/>
          <p:cNvSpPr txBox="1">
            <a:spLocks noGrp="1"/>
          </p:cNvSpPr>
          <p:nvPr>
            <p:ph type="body" idx="1"/>
          </p:nvPr>
        </p:nvSpPr>
        <p:spPr>
          <a:xfrm>
            <a:off x="914400" y="4641850"/>
            <a:ext cx="5029200" cy="4516438"/>
          </a:xfrm>
          <a:prstGeom prst="rect">
            <a:avLst/>
          </a:prstGeom>
          <a:noFill/>
          <a:ln>
            <a:noFill/>
          </a:ln>
        </p:spPr>
        <p:txBody>
          <a:bodyPr spcFirstLastPara="1" wrap="square" lIns="90475" tIns="44450" rIns="90475" bIns="44450" anchor="t" anchorCtr="0">
            <a:noAutofit/>
          </a:bodyPr>
          <a:lstStyle/>
          <a:p>
            <a:pPr marL="0" lvl="0" indent="0" algn="l" rtl="0">
              <a:spcBef>
                <a:spcPts val="0"/>
              </a:spcBef>
              <a:spcAft>
                <a:spcPts val="0"/>
              </a:spcAft>
              <a:buNone/>
            </a:pPr>
            <a:endParaRPr/>
          </a:p>
        </p:txBody>
      </p:sp>
      <p:sp>
        <p:nvSpPr>
          <p:cNvPr id="128" name="Google Shape;128;p4:notes"/>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000"/>
              <a:buFont typeface="Arial"/>
              <a:buNone/>
              <a:tabLst/>
              <a:defRPr/>
            </a:pPr>
            <a:endParaRPr kumimoji="0" sz="1000" b="0" i="0" u="none" strike="noStrike" kern="0" cap="none" spc="0" normalizeH="0" baseline="0" noProof="0">
              <a:ln>
                <a:noFill/>
              </a:ln>
              <a:solidFill>
                <a:srgbClr val="6D6E70"/>
              </a:solidFill>
              <a:effectLst/>
              <a:uLnTx/>
              <a:uFillTx/>
              <a:latin typeface="Arial"/>
              <a:ea typeface="Arial"/>
              <a:cs typeface="Arial"/>
              <a:sym typeface="Arial"/>
            </a:endParaRPr>
          </a:p>
        </p:txBody>
      </p:sp>
    </p:spTree>
    <p:extLst>
      <p:ext uri="{BB962C8B-B14F-4D97-AF65-F5344CB8AC3E}">
        <p14:creationId xmlns:p14="http://schemas.microsoft.com/office/powerpoint/2010/main" val="438319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731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2100634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6"/>
        <p:cNvGrpSpPr/>
        <p:nvPr/>
      </p:nvGrpSpPr>
      <p:grpSpPr>
        <a:xfrm>
          <a:off x="0" y="0"/>
          <a:ext cx="0" cy="0"/>
          <a:chOff x="0" y="0"/>
          <a:chExt cx="0" cy="0"/>
        </a:xfrm>
      </p:grpSpPr>
      <p:sp>
        <p:nvSpPr>
          <p:cNvPr id="277" name="Google Shape;277;p6:notes"/>
          <p:cNvSpPr txBox="1">
            <a:spLocks noGrp="1"/>
          </p:cNvSpPr>
          <p:nvPr>
            <p:ph type="body" idx="1"/>
          </p:nvPr>
        </p:nvSpPr>
        <p:spPr>
          <a:xfrm>
            <a:off x="914400" y="4641850"/>
            <a:ext cx="5029200" cy="4516438"/>
          </a:xfrm>
          <a:prstGeom prst="rect">
            <a:avLst/>
          </a:prstGeom>
        </p:spPr>
        <p:txBody>
          <a:bodyPr spcFirstLastPara="1" wrap="square" lIns="90475" tIns="44450" rIns="90475" bIns="44450" anchor="t" anchorCtr="0">
            <a:noAutofit/>
          </a:bodyPr>
          <a:lstStyle/>
          <a:p>
            <a:pPr marL="0" lvl="0" indent="0" algn="l" rtl="0">
              <a:spcBef>
                <a:spcPts val="360"/>
              </a:spcBef>
              <a:spcAft>
                <a:spcPts val="0"/>
              </a:spcAft>
              <a:buNone/>
            </a:pPr>
            <a:endParaRPr/>
          </a:p>
        </p:txBody>
      </p:sp>
      <p:sp>
        <p:nvSpPr>
          <p:cNvPr id="278" name="Google Shape;278;p6:notes"/>
          <p:cNvSpPr>
            <a:spLocks noGrp="1" noRot="1" noChangeAspect="1"/>
          </p:cNvSpPr>
          <p:nvPr>
            <p:ph type="sldImg" idx="2"/>
          </p:nvPr>
        </p:nvSpPr>
        <p:spPr>
          <a:xfrm>
            <a:off x="379413" y="850900"/>
            <a:ext cx="6099175" cy="34321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563930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1"/>
        <p:cNvGrpSpPr/>
        <p:nvPr/>
      </p:nvGrpSpPr>
      <p:grpSpPr>
        <a:xfrm>
          <a:off x="0" y="0"/>
          <a:ext cx="0" cy="0"/>
          <a:chOff x="0" y="0"/>
          <a:chExt cx="0" cy="0"/>
        </a:xfrm>
      </p:grpSpPr>
      <p:sp>
        <p:nvSpPr>
          <p:cNvPr id="302" name="Google Shape;302;p7:notes"/>
          <p:cNvSpPr>
            <a:spLocks noGrp="1" noRot="1" noChangeAspect="1"/>
          </p:cNvSpPr>
          <p:nvPr>
            <p:ph type="sldImg" idx="2"/>
          </p:nvPr>
        </p:nvSpPr>
        <p:spPr>
          <a:xfrm>
            <a:off x="379413" y="850900"/>
            <a:ext cx="6099175" cy="34321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chemeClr val="dk1"/>
            </a:solidFill>
            <a:prstDash val="solid"/>
            <a:miter lim="800000"/>
            <a:headEnd type="none" w="sm" len="sm"/>
            <a:tailEnd type="none" w="sm" len="sm"/>
          </a:ln>
        </p:spPr>
      </p:sp>
      <p:sp>
        <p:nvSpPr>
          <p:cNvPr id="303" name="Google Shape;303;p7:notes"/>
          <p:cNvSpPr txBox="1">
            <a:spLocks noGrp="1"/>
          </p:cNvSpPr>
          <p:nvPr>
            <p:ph type="body" idx="1"/>
          </p:nvPr>
        </p:nvSpPr>
        <p:spPr>
          <a:xfrm>
            <a:off x="914400" y="4641850"/>
            <a:ext cx="5029200" cy="4516438"/>
          </a:xfrm>
          <a:prstGeom prst="rect">
            <a:avLst/>
          </a:prstGeom>
          <a:noFill/>
          <a:ln>
            <a:noFill/>
          </a:ln>
        </p:spPr>
        <p:txBody>
          <a:bodyPr spcFirstLastPara="1" wrap="square" lIns="90475" tIns="44450" rIns="90475" bIns="44450" anchor="t" anchorCtr="0">
            <a:noAutofit/>
          </a:bodyPr>
          <a:lstStyle/>
          <a:p>
            <a:pPr marL="0" lvl="0" indent="0" algn="l" rtl="0">
              <a:spcBef>
                <a:spcPts val="0"/>
              </a:spcBef>
              <a:spcAft>
                <a:spcPts val="0"/>
              </a:spcAft>
              <a:buNone/>
            </a:pPr>
            <a:endParaRPr dirty="0"/>
          </a:p>
        </p:txBody>
      </p:sp>
      <p:sp>
        <p:nvSpPr>
          <p:cNvPr id="304" name="Google Shape;304;p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2</a:t>
            </a:fld>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850262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5"/>
        <p:cNvGrpSpPr/>
        <p:nvPr/>
      </p:nvGrpSpPr>
      <p:grpSpPr>
        <a:xfrm>
          <a:off x="0" y="0"/>
          <a:ext cx="0" cy="0"/>
          <a:chOff x="0" y="0"/>
          <a:chExt cx="0" cy="0"/>
        </a:xfrm>
      </p:grpSpPr>
      <p:sp>
        <p:nvSpPr>
          <p:cNvPr id="586" name="Google Shape;586;p9:notes"/>
          <p:cNvSpPr>
            <a:spLocks noGrp="1" noRot="1" noChangeAspect="1"/>
          </p:cNvSpPr>
          <p:nvPr>
            <p:ph type="sldImg" idx="2"/>
          </p:nvPr>
        </p:nvSpPr>
        <p:spPr>
          <a:xfrm>
            <a:off x="379413" y="850900"/>
            <a:ext cx="6099175" cy="34321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chemeClr val="dk1"/>
            </a:solidFill>
            <a:prstDash val="solid"/>
            <a:miter lim="800000"/>
            <a:headEnd type="none" w="sm" len="sm"/>
            <a:tailEnd type="none" w="sm" len="sm"/>
          </a:ln>
        </p:spPr>
      </p:sp>
      <p:sp>
        <p:nvSpPr>
          <p:cNvPr id="587" name="Google Shape;587;p9:notes"/>
          <p:cNvSpPr txBox="1">
            <a:spLocks noGrp="1"/>
          </p:cNvSpPr>
          <p:nvPr>
            <p:ph type="body" idx="1"/>
          </p:nvPr>
        </p:nvSpPr>
        <p:spPr>
          <a:xfrm>
            <a:off x="914400" y="4641850"/>
            <a:ext cx="5029200" cy="4516438"/>
          </a:xfrm>
          <a:prstGeom prst="rect">
            <a:avLst/>
          </a:prstGeom>
          <a:noFill/>
          <a:ln>
            <a:noFill/>
          </a:ln>
        </p:spPr>
        <p:txBody>
          <a:bodyPr spcFirstLastPara="1" wrap="square" lIns="90475" tIns="44450" rIns="90475" bIns="44450" anchor="t" anchorCtr="0">
            <a:noAutofit/>
          </a:bodyPr>
          <a:lstStyle/>
          <a:p>
            <a:pPr marL="0" lvl="0" indent="0" algn="l" rtl="0">
              <a:spcBef>
                <a:spcPts val="0"/>
              </a:spcBef>
              <a:spcAft>
                <a:spcPts val="0"/>
              </a:spcAft>
              <a:buNone/>
            </a:pPr>
            <a:endParaRPr/>
          </a:p>
        </p:txBody>
      </p:sp>
      <p:sp>
        <p:nvSpPr>
          <p:cNvPr id="588" name="Google Shape;588;p9: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3</a:t>
            </a:fld>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7250300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5"/>
        <p:cNvGrpSpPr/>
        <p:nvPr/>
      </p:nvGrpSpPr>
      <p:grpSpPr>
        <a:xfrm>
          <a:off x="0" y="0"/>
          <a:ext cx="0" cy="0"/>
          <a:chOff x="0" y="0"/>
          <a:chExt cx="0" cy="0"/>
        </a:xfrm>
      </p:grpSpPr>
      <p:sp>
        <p:nvSpPr>
          <p:cNvPr id="796" name="Google Shape;796;p12:notes"/>
          <p:cNvSpPr>
            <a:spLocks noGrp="1" noRot="1" noChangeAspect="1"/>
          </p:cNvSpPr>
          <p:nvPr>
            <p:ph type="sldImg" idx="2"/>
          </p:nvPr>
        </p:nvSpPr>
        <p:spPr>
          <a:xfrm>
            <a:off x="379413" y="850900"/>
            <a:ext cx="6099175" cy="34321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chemeClr val="dk1"/>
            </a:solidFill>
            <a:prstDash val="solid"/>
            <a:miter lim="800000"/>
            <a:headEnd type="none" w="sm" len="sm"/>
            <a:tailEnd type="none" w="sm" len="sm"/>
          </a:ln>
        </p:spPr>
      </p:sp>
      <p:sp>
        <p:nvSpPr>
          <p:cNvPr id="797" name="Google Shape;797;p12:notes"/>
          <p:cNvSpPr txBox="1">
            <a:spLocks noGrp="1"/>
          </p:cNvSpPr>
          <p:nvPr>
            <p:ph type="body" idx="1"/>
          </p:nvPr>
        </p:nvSpPr>
        <p:spPr>
          <a:xfrm>
            <a:off x="914400" y="4641850"/>
            <a:ext cx="5029200" cy="4516438"/>
          </a:xfrm>
          <a:prstGeom prst="rect">
            <a:avLst/>
          </a:prstGeom>
          <a:noFill/>
          <a:ln>
            <a:noFill/>
          </a:ln>
        </p:spPr>
        <p:txBody>
          <a:bodyPr spcFirstLastPara="1" wrap="square" lIns="90475" tIns="44450" rIns="90475" bIns="44450" anchor="t" anchorCtr="0">
            <a:noAutofit/>
          </a:bodyPr>
          <a:lstStyle/>
          <a:p>
            <a:pPr marL="0" lvl="0" indent="0" algn="l" rtl="0">
              <a:spcBef>
                <a:spcPts val="0"/>
              </a:spcBef>
              <a:spcAft>
                <a:spcPts val="0"/>
              </a:spcAft>
              <a:buNone/>
            </a:pPr>
            <a:endParaRPr/>
          </a:p>
        </p:txBody>
      </p:sp>
      <p:sp>
        <p:nvSpPr>
          <p:cNvPr id="798" name="Google Shape;798;p1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800" b="0" i="0" u="none" strike="noStrike" kern="0" cap="none" spc="0" normalizeH="0" baseline="0" noProof="0">
                <a:ln>
                  <a:noFill/>
                </a:ln>
                <a:solidFill>
                  <a:srgbClr val="000000"/>
                </a:solidFill>
                <a:effectLst/>
                <a:uLnTx/>
                <a:uFillTx/>
                <a:latin typeface="Arial"/>
                <a:ea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4</a:t>
            </a:fld>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2123064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731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Gene Sans" panose="00000500000000000000" pitchFamily="50" charset="0"/>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7</a:t>
            </a:fld>
            <a:endParaRPr kumimoji="0" lang="en-US" sz="12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Tree>
    <p:extLst>
      <p:ext uri="{BB962C8B-B14F-4D97-AF65-F5344CB8AC3E}">
        <p14:creationId xmlns:p14="http://schemas.microsoft.com/office/powerpoint/2010/main" val="87010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73100"/>
            <a:ext cx="5486400" cy="3086100"/>
          </a:xfrm>
        </p:spPr>
      </p:sp>
      <p:sp>
        <p:nvSpPr>
          <p:cNvPr id="3" name="Notes Placeholder 2"/>
          <p:cNvSpPr>
            <a:spLocks noGrp="1"/>
          </p:cNvSpPr>
          <p:nvPr>
            <p:ph type="body" idx="1"/>
          </p:nvPr>
        </p:nvSpPr>
        <p:spPr/>
        <p:txBody>
          <a:bodyPr/>
          <a:lstStyle/>
          <a:p>
            <a:r>
              <a:rPr lang="en-US" sz="1200" b="0" i="0" u="none" strike="noStrike" cap="none" dirty="0">
                <a:solidFill>
                  <a:schemeClr val="dk1"/>
                </a:solidFill>
                <a:effectLst/>
                <a:latin typeface="Arial"/>
                <a:ea typeface="Arial"/>
                <a:cs typeface="Arial"/>
                <a:sym typeface="Arial"/>
              </a:rPr>
              <a:t>Subgroup analyses of the association between </a:t>
            </a:r>
            <a:r>
              <a:rPr lang="en-US" sz="1200" b="0" i="0" u="none" strike="noStrike" cap="none" dirty="0" err="1">
                <a:solidFill>
                  <a:schemeClr val="dk1"/>
                </a:solidFill>
                <a:effectLst/>
                <a:latin typeface="Arial"/>
                <a:ea typeface="Arial"/>
                <a:cs typeface="Arial"/>
                <a:sym typeface="Arial"/>
              </a:rPr>
              <a:t>irAE</a:t>
            </a:r>
            <a:r>
              <a:rPr lang="en-US" sz="1200" b="0" i="0" u="none" strike="noStrike" cap="none" dirty="0">
                <a:solidFill>
                  <a:schemeClr val="dk1"/>
                </a:solidFill>
                <a:effectLst/>
                <a:latin typeface="Arial"/>
                <a:ea typeface="Arial"/>
                <a:cs typeface="Arial"/>
                <a:sym typeface="Arial"/>
              </a:rPr>
              <a:t> development and OS</a:t>
            </a:r>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Gene Sans" panose="00000500000000000000" pitchFamily="50" charset="0"/>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8</a:t>
            </a:fld>
            <a:endParaRPr kumimoji="0" lang="en-US" sz="12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Tree>
    <p:extLst>
      <p:ext uri="{BB962C8B-B14F-4D97-AF65-F5344CB8AC3E}">
        <p14:creationId xmlns:p14="http://schemas.microsoft.com/office/powerpoint/2010/main" val="6310468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731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Gene Sans" panose="00000500000000000000" pitchFamily="50" charset="0"/>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1</a:t>
            </a:fld>
            <a:endParaRPr kumimoji="0" lang="en-US" sz="12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Tree>
    <p:extLst>
      <p:ext uri="{BB962C8B-B14F-4D97-AF65-F5344CB8AC3E}">
        <p14:creationId xmlns:p14="http://schemas.microsoft.com/office/powerpoint/2010/main" val="27524248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73100"/>
            <a:ext cx="5486400" cy="3086100"/>
          </a:xfrm>
        </p:spPr>
      </p:sp>
      <p:sp>
        <p:nvSpPr>
          <p:cNvPr id="3" name="Notes Placeholder 2"/>
          <p:cNvSpPr>
            <a:spLocks noGrp="1"/>
          </p:cNvSpPr>
          <p:nvPr>
            <p:ph type="body" idx="1"/>
          </p:nvPr>
        </p:nvSpPr>
        <p:spPr/>
        <p:txBody>
          <a:bodyPr/>
          <a:lstStyle/>
          <a:p>
            <a:pPr marL="457200" marR="0" lvl="0" indent="-304800" algn="l" defTabSz="914400" rtl="0" eaLnBrk="1" fontAlgn="auto" latinLnBrk="0" hangingPunct="1">
              <a:lnSpc>
                <a:spcPct val="100000"/>
              </a:lnSpc>
              <a:spcBef>
                <a:spcPts val="0"/>
              </a:spcBef>
              <a:spcAft>
                <a:spcPts val="0"/>
              </a:spcAft>
              <a:buClr>
                <a:schemeClr val="dk1"/>
              </a:buClr>
              <a:buSzPts val="1200"/>
              <a:buFont typeface="Arial"/>
              <a:buChar char="•"/>
              <a:tabLst/>
              <a:defRPr/>
            </a:pPr>
            <a:r>
              <a:rPr lang="en-US" dirty="0"/>
              <a:t>Note: Figures for ORR, PFS, and OS refer to MSKCC dataset. Figures from Gustave </a:t>
            </a:r>
            <a:r>
              <a:rPr lang="en-US" dirty="0" err="1"/>
              <a:t>Roussy</a:t>
            </a:r>
            <a:r>
              <a:rPr lang="en-US" dirty="0"/>
              <a:t> are similar but not shown here. Refer to the publication for more details (</a:t>
            </a:r>
            <a:r>
              <a:rPr lang="en-US" u="sng" dirty="0">
                <a:solidFill>
                  <a:schemeClr val="hlink"/>
                </a:solidFill>
                <a:hlinkClick r:id="rId3"/>
              </a:rPr>
              <a:t>https://ascopubs.org/doi/pdf/10.1200/JCO.2018.79.0006</a:t>
            </a:r>
            <a:r>
              <a:rPr lang="en-US" dirty="0"/>
              <a:t>) </a:t>
            </a:r>
          </a:p>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Gene Sans" panose="00000500000000000000" pitchFamily="50" charset="0"/>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3</a:t>
            </a:fld>
            <a:endParaRPr kumimoji="0" lang="en-US" sz="12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Tree>
    <p:extLst>
      <p:ext uri="{BB962C8B-B14F-4D97-AF65-F5344CB8AC3E}">
        <p14:creationId xmlns:p14="http://schemas.microsoft.com/office/powerpoint/2010/main" val="24904057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73100"/>
            <a:ext cx="5486400" cy="3086100"/>
          </a:xfrm>
        </p:spPr>
      </p:sp>
      <p:sp>
        <p:nvSpPr>
          <p:cNvPr id="3" name="Notes Placeholder 2"/>
          <p:cNvSpPr>
            <a:spLocks noGrp="1"/>
          </p:cNvSpPr>
          <p:nvPr>
            <p:ph type="body" idx="1"/>
          </p:nvPr>
        </p:nvSpPr>
        <p:spPr/>
        <p:txBody>
          <a:bodyPr/>
          <a:lstStyle/>
          <a:p>
            <a:pPr marL="0" marR="0" lvl="0" indent="0" algn="l" rtl="0">
              <a:lnSpc>
                <a:spcPct val="100000"/>
              </a:lnSpc>
              <a:spcBef>
                <a:spcPts val="0"/>
              </a:spcBef>
              <a:spcAft>
                <a:spcPts val="0"/>
              </a:spcAft>
              <a:buClr>
                <a:schemeClr val="dk1"/>
              </a:buClr>
              <a:buSzPts val="1200"/>
              <a:buFont typeface="Arial"/>
              <a:buNone/>
            </a:pPr>
            <a:r>
              <a:rPr lang="en-US" dirty="0"/>
              <a:t>Note: Figures for ORR, PFS, and OS refer to MSKCC dataset. Figures from Gustave </a:t>
            </a:r>
            <a:r>
              <a:rPr lang="en-US" dirty="0" err="1"/>
              <a:t>Roussy</a:t>
            </a:r>
            <a:r>
              <a:rPr lang="en-US" dirty="0"/>
              <a:t> are similar but not shown here. Refer to the publication for more details (</a:t>
            </a:r>
            <a:r>
              <a:rPr lang="en-US" u="sng" dirty="0">
                <a:solidFill>
                  <a:schemeClr val="hlink"/>
                </a:solidFill>
                <a:hlinkClick r:id="rId3"/>
              </a:rPr>
              <a:t>https://ascopubs.org/doi/pdf/10.1200/JCO.2018.79.0006</a:t>
            </a:r>
            <a:r>
              <a:rPr lang="en-US" dirty="0"/>
              <a:t>) </a:t>
            </a:r>
          </a:p>
          <a:p>
            <a:pPr marL="0" lvl="0" indent="0" algn="l" rtl="0">
              <a:spcBef>
                <a:spcPts val="360"/>
              </a:spcBef>
              <a:spcAft>
                <a:spcPts val="0"/>
              </a:spcAft>
              <a:buNone/>
            </a:pPr>
            <a:endParaRPr lang="en-US" dirty="0"/>
          </a:p>
          <a:p>
            <a:endParaRPr lang="en-ID"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4</a:t>
            </a:fld>
            <a:endParaRPr kumimoji="0" lang="en-US" sz="1200" b="0" i="0" u="none" strike="noStrike" kern="0" cap="none" spc="0" normalizeH="0" baseline="0" noProof="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31174251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731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Gene Sans" panose="00000500000000000000" pitchFamily="50" charset="0"/>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5</a:t>
            </a:fld>
            <a:endParaRPr kumimoji="0" lang="en-US" sz="12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Tree>
    <p:extLst>
      <p:ext uri="{BB962C8B-B14F-4D97-AF65-F5344CB8AC3E}">
        <p14:creationId xmlns:p14="http://schemas.microsoft.com/office/powerpoint/2010/main" val="3058756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731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695719" rtl="0" eaLnBrk="1" fontAlgn="auto" latinLnBrk="0" hangingPunct="1">
              <a:lnSpc>
                <a:spcPct val="100000"/>
              </a:lnSpc>
              <a:spcBef>
                <a:spcPts val="0"/>
              </a:spcBef>
              <a:spcAft>
                <a:spcPts val="0"/>
              </a:spcAft>
              <a:buClr>
                <a:srgbClr val="000000"/>
              </a:buClr>
              <a:buSzTx/>
              <a:buFont typeface="Arial"/>
              <a:buNone/>
              <a:tabLst/>
              <a:defRPr/>
            </a:pPr>
            <a:fld id="{998D5474-2A3E-2A4C-B59B-2CDE493D2F4D}" type="slidenum">
              <a:rPr kumimoji="0" lang="en-US" sz="1400" b="0" i="0" u="none" strike="noStrike" kern="0" cap="none" spc="0" normalizeH="0" baseline="0" noProof="0">
                <a:ln>
                  <a:noFill/>
                </a:ln>
                <a:solidFill>
                  <a:prstClr val="black"/>
                </a:solidFill>
                <a:effectLst/>
                <a:uLnTx/>
                <a:uFillTx/>
                <a:latin typeface="Calibri"/>
                <a:cs typeface="Arial"/>
                <a:sym typeface="Arial"/>
              </a:rPr>
              <a:pPr marL="0" marR="0" lvl="0" indent="0" algn="l" defTabSz="695719" rtl="0" eaLnBrk="1" fontAlgn="auto" latinLnBrk="0" hangingPunct="1">
                <a:lnSpc>
                  <a:spcPct val="100000"/>
                </a:lnSpc>
                <a:spcBef>
                  <a:spcPts val="0"/>
                </a:spcBef>
                <a:spcAft>
                  <a:spcPts val="0"/>
                </a:spcAft>
                <a:buClr>
                  <a:srgbClr val="000000"/>
                </a:buClr>
                <a:buSzTx/>
                <a:buFont typeface="Arial"/>
                <a:buNone/>
                <a:tabLst/>
                <a:defRPr/>
              </a:pPr>
              <a:t>3</a:t>
            </a:fld>
            <a:endParaRPr kumimoji="0" lang="en-US" sz="1400" b="0" i="0" u="none" strike="noStrike" kern="0" cap="none" spc="0" normalizeH="0" baseline="0" noProof="0" dirty="0">
              <a:ln>
                <a:noFill/>
              </a:ln>
              <a:solidFill>
                <a:prstClr val="black"/>
              </a:solidFill>
              <a:effectLst/>
              <a:uLnTx/>
              <a:uFillTx/>
              <a:latin typeface="Calibri"/>
              <a:cs typeface="Arial"/>
              <a:sym typeface="Arial"/>
            </a:endParaRPr>
          </a:p>
        </p:txBody>
      </p:sp>
    </p:spTree>
    <p:extLst>
      <p:ext uri="{BB962C8B-B14F-4D97-AF65-F5344CB8AC3E}">
        <p14:creationId xmlns:p14="http://schemas.microsoft.com/office/powerpoint/2010/main" val="40984092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731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Gene Sans" panose="00000500000000000000" pitchFamily="50" charset="0"/>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6</a:t>
            </a:fld>
            <a:endParaRPr kumimoji="0" lang="en-US" sz="12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Tree>
    <p:extLst>
      <p:ext uri="{BB962C8B-B14F-4D97-AF65-F5344CB8AC3E}">
        <p14:creationId xmlns:p14="http://schemas.microsoft.com/office/powerpoint/2010/main" val="30116568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1"/>
        <p:cNvGrpSpPr/>
        <p:nvPr/>
      </p:nvGrpSpPr>
      <p:grpSpPr>
        <a:xfrm>
          <a:off x="0" y="0"/>
          <a:ext cx="0" cy="0"/>
          <a:chOff x="0" y="0"/>
          <a:chExt cx="0" cy="0"/>
        </a:xfrm>
      </p:grpSpPr>
      <p:sp>
        <p:nvSpPr>
          <p:cNvPr id="1162" name="Google Shape;1162;p30:notes"/>
          <p:cNvSpPr>
            <a:spLocks noGrp="1" noRot="1" noChangeAspect="1"/>
          </p:cNvSpPr>
          <p:nvPr>
            <p:ph type="sldImg" idx="2"/>
          </p:nvPr>
        </p:nvSpPr>
        <p:spPr>
          <a:xfrm>
            <a:off x="685800" y="6731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63" name="Google Shape;1163;p30:notes"/>
          <p:cNvSpPr txBox="1">
            <a:spLocks noGrp="1"/>
          </p:cNvSpPr>
          <p:nvPr>
            <p:ph type="body" idx="1"/>
          </p:nvPr>
        </p:nvSpPr>
        <p:spPr>
          <a:xfrm>
            <a:off x="685800" y="3930631"/>
            <a:ext cx="5486400" cy="4540288"/>
          </a:xfrm>
          <a:prstGeom prst="rect">
            <a:avLst/>
          </a:prstGeom>
          <a:noFill/>
          <a:ln>
            <a:noFill/>
          </a:ln>
        </p:spPr>
        <p:txBody>
          <a:bodyPr spcFirstLastPara="1" wrap="square" lIns="91425" tIns="45700" rIns="91425" bIns="45700" anchor="t" anchorCtr="0">
            <a:noAutofit/>
          </a:bodyPr>
          <a:lstStyle/>
          <a:p>
            <a:pPr marL="171450" lvl="0" indent="-171450" algn="l" rtl="0">
              <a:spcBef>
                <a:spcPts val="0"/>
              </a:spcBef>
              <a:spcAft>
                <a:spcPts val="0"/>
              </a:spcAft>
              <a:buClr>
                <a:schemeClr val="dk1"/>
              </a:buClr>
              <a:buSzPts val="1200"/>
              <a:buChar char="•"/>
            </a:pPr>
            <a:endParaRPr dirty="0"/>
          </a:p>
        </p:txBody>
      </p:sp>
      <p:sp>
        <p:nvSpPr>
          <p:cNvPr id="1164" name="Google Shape;1164;p3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6750" y="935038"/>
            <a:ext cx="8305800" cy="46736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695719" rtl="0" eaLnBrk="1" fontAlgn="auto" latinLnBrk="0" hangingPunct="1">
              <a:lnSpc>
                <a:spcPct val="100000"/>
              </a:lnSpc>
              <a:spcBef>
                <a:spcPts val="0"/>
              </a:spcBef>
              <a:spcAft>
                <a:spcPts val="0"/>
              </a:spcAft>
              <a:buClr>
                <a:srgbClr val="000000"/>
              </a:buClr>
              <a:buSzTx/>
              <a:buFont typeface="Arial"/>
              <a:buNone/>
              <a:tabLst/>
              <a:defRPr/>
            </a:pPr>
            <a:fld id="{F5C10ACC-796B-4F64-AF97-222A27E91DAA}" type="slidenum">
              <a:rPr kumimoji="0" lang="en-US" sz="1400" b="0" i="0" u="none" strike="noStrike" kern="0" cap="none" spc="0" normalizeH="0" baseline="0" noProof="0" smtClean="0">
                <a:ln>
                  <a:noFill/>
                </a:ln>
                <a:solidFill>
                  <a:prstClr val="black"/>
                </a:solidFill>
                <a:effectLst/>
                <a:uLnTx/>
                <a:uFillTx/>
                <a:latin typeface="Calibri"/>
                <a:cs typeface="Arial"/>
                <a:sym typeface="Arial"/>
              </a:rPr>
              <a:pPr marL="0" marR="0" lvl="0" indent="0" algn="l" defTabSz="695719" rtl="0" eaLnBrk="1" fontAlgn="auto" latinLnBrk="0" hangingPunct="1">
                <a:lnSpc>
                  <a:spcPct val="100000"/>
                </a:lnSpc>
                <a:spcBef>
                  <a:spcPts val="0"/>
                </a:spcBef>
                <a:spcAft>
                  <a:spcPts val="0"/>
                </a:spcAft>
                <a:buClr>
                  <a:srgbClr val="000000"/>
                </a:buClr>
                <a:buSzTx/>
                <a:buFont typeface="Arial"/>
                <a:buNone/>
                <a:tabLst/>
                <a:defRPr/>
              </a:pPr>
              <a:t>4</a:t>
            </a:fld>
            <a:endParaRPr kumimoji="0" lang="en-US" sz="1400" b="0" i="0" u="none" strike="noStrike" kern="0" cap="none" spc="0" normalizeH="0" baseline="0" noProof="0" dirty="0">
              <a:ln>
                <a:noFill/>
              </a:ln>
              <a:solidFill>
                <a:prstClr val="black"/>
              </a:solidFill>
              <a:effectLst/>
              <a:uLnTx/>
              <a:uFillTx/>
              <a:latin typeface="Calibri"/>
              <a:cs typeface="Arial"/>
              <a:sym typeface="Arial"/>
            </a:endParaRPr>
          </a:p>
        </p:txBody>
      </p:sp>
    </p:spTree>
    <p:extLst>
      <p:ext uri="{BB962C8B-B14F-4D97-AF65-F5344CB8AC3E}">
        <p14:creationId xmlns:p14="http://schemas.microsoft.com/office/powerpoint/2010/main" val="6568115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73100"/>
            <a:ext cx="5486400" cy="3086100"/>
          </a:xfrm>
        </p:spPr>
      </p:sp>
      <p:sp>
        <p:nvSpPr>
          <p:cNvPr id="3" name="Notes Placeholder 2"/>
          <p:cNvSpPr>
            <a:spLocks noGrp="1"/>
          </p:cNvSpPr>
          <p:nvPr>
            <p:ph type="body" idx="1"/>
          </p:nvPr>
        </p:nvSpPr>
        <p:spPr/>
        <p:txBody>
          <a:bodyPr>
            <a:normAutofit/>
          </a:bodyPr>
          <a:lstStyle/>
          <a:p>
            <a:endParaRPr lang="en-US" sz="1400" dirty="0"/>
          </a:p>
        </p:txBody>
      </p:sp>
      <p:sp>
        <p:nvSpPr>
          <p:cNvPr id="4" name="Slide Number Placeholder 3"/>
          <p:cNvSpPr>
            <a:spLocks noGrp="1"/>
          </p:cNvSpPr>
          <p:nvPr>
            <p:ph type="sldNum" sz="quarter" idx="10"/>
          </p:nvPr>
        </p:nvSpPr>
        <p:spPr/>
        <p:txBody>
          <a:bodyPr/>
          <a:lstStyle/>
          <a:p>
            <a:pPr marL="0" marR="0" lvl="0" indent="0" algn="l" defTabSz="695719" rtl="0" eaLnBrk="1" fontAlgn="auto" latinLnBrk="0" hangingPunct="1">
              <a:lnSpc>
                <a:spcPct val="100000"/>
              </a:lnSpc>
              <a:spcBef>
                <a:spcPts val="0"/>
              </a:spcBef>
              <a:spcAft>
                <a:spcPts val="0"/>
              </a:spcAft>
              <a:buClr>
                <a:srgbClr val="000000"/>
              </a:buClr>
              <a:buSzTx/>
              <a:buFont typeface="Arial"/>
              <a:buNone/>
              <a:tabLst/>
              <a:defRPr/>
            </a:pPr>
            <a:fld id="{F5C10ACC-796B-4F64-AF97-222A27E91DAA}" type="slidenum">
              <a:rPr kumimoji="0" lang="en-US" sz="1400" b="0" i="0" u="none" strike="noStrike" kern="0" cap="none" spc="0" normalizeH="0" baseline="0" noProof="0" smtClean="0">
                <a:ln>
                  <a:noFill/>
                </a:ln>
                <a:solidFill>
                  <a:prstClr val="black"/>
                </a:solidFill>
                <a:effectLst/>
                <a:uLnTx/>
                <a:uFillTx/>
                <a:latin typeface="Calibri"/>
                <a:cs typeface="Arial"/>
                <a:sym typeface="Arial"/>
              </a:rPr>
              <a:pPr marL="0" marR="0" lvl="0" indent="0" algn="l" defTabSz="695719" rtl="0" eaLnBrk="1" fontAlgn="auto" latinLnBrk="0" hangingPunct="1">
                <a:lnSpc>
                  <a:spcPct val="100000"/>
                </a:lnSpc>
                <a:spcBef>
                  <a:spcPts val="0"/>
                </a:spcBef>
                <a:spcAft>
                  <a:spcPts val="0"/>
                </a:spcAft>
                <a:buClr>
                  <a:srgbClr val="000000"/>
                </a:buClr>
                <a:buSzTx/>
                <a:buFont typeface="Arial"/>
                <a:buNone/>
                <a:tabLst/>
                <a:defRPr/>
              </a:pPr>
              <a:t>5</a:t>
            </a:fld>
            <a:endParaRPr kumimoji="0" lang="en-US" sz="1400" b="0" i="0" u="none" strike="noStrike" kern="0" cap="none" spc="0" normalizeH="0" baseline="0" noProof="0" dirty="0">
              <a:ln>
                <a:noFill/>
              </a:ln>
              <a:solidFill>
                <a:prstClr val="black"/>
              </a:solidFill>
              <a:effectLst/>
              <a:uLnTx/>
              <a:uFillTx/>
              <a:latin typeface="Calibri"/>
              <a:cs typeface="Arial"/>
              <a:sym typeface="Aria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731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695719" rtl="0" eaLnBrk="1" fontAlgn="auto" latinLnBrk="0" hangingPunct="1">
              <a:lnSpc>
                <a:spcPct val="100000"/>
              </a:lnSpc>
              <a:spcBef>
                <a:spcPts val="0"/>
              </a:spcBef>
              <a:spcAft>
                <a:spcPts val="0"/>
              </a:spcAft>
              <a:buClr>
                <a:srgbClr val="000000"/>
              </a:buClr>
              <a:buSzTx/>
              <a:buFont typeface="Arial"/>
              <a:buNone/>
              <a:tabLst/>
              <a:defRPr/>
            </a:pPr>
            <a:fld id="{998D5474-2A3E-2A4C-B59B-2CDE493D2F4D}" type="slidenum">
              <a:rPr kumimoji="0" lang="en-US" sz="1400" b="0" i="0" u="none" strike="noStrike" kern="0" cap="none" spc="0" normalizeH="0" baseline="0" noProof="0">
                <a:ln>
                  <a:noFill/>
                </a:ln>
                <a:solidFill>
                  <a:prstClr val="black"/>
                </a:solidFill>
                <a:effectLst/>
                <a:uLnTx/>
                <a:uFillTx/>
                <a:latin typeface="Calibri"/>
                <a:cs typeface="Arial"/>
                <a:sym typeface="Arial"/>
              </a:rPr>
              <a:pPr marL="0" marR="0" lvl="0" indent="0" algn="l" defTabSz="695719" rtl="0" eaLnBrk="1" fontAlgn="auto" latinLnBrk="0" hangingPunct="1">
                <a:lnSpc>
                  <a:spcPct val="100000"/>
                </a:lnSpc>
                <a:spcBef>
                  <a:spcPts val="0"/>
                </a:spcBef>
                <a:spcAft>
                  <a:spcPts val="0"/>
                </a:spcAft>
                <a:buClr>
                  <a:srgbClr val="000000"/>
                </a:buClr>
                <a:buSzTx/>
                <a:buFont typeface="Arial"/>
                <a:buNone/>
                <a:tabLst/>
                <a:defRPr/>
              </a:pPr>
              <a:t>6</a:t>
            </a:fld>
            <a:endParaRPr kumimoji="0" lang="en-US" sz="1400" b="0" i="0" u="none" strike="noStrike" kern="0" cap="none" spc="0" normalizeH="0" baseline="0" noProof="0" dirty="0">
              <a:ln>
                <a:noFill/>
              </a:ln>
              <a:solidFill>
                <a:prstClr val="black"/>
              </a:solidFill>
              <a:effectLst/>
              <a:uLnTx/>
              <a:uFillTx/>
              <a:latin typeface="Calibri"/>
              <a:cs typeface="Arial"/>
              <a:sym typeface="Arial"/>
            </a:endParaRPr>
          </a:p>
        </p:txBody>
      </p:sp>
    </p:spTree>
    <p:extLst>
      <p:ext uri="{BB962C8B-B14F-4D97-AF65-F5344CB8AC3E}">
        <p14:creationId xmlns:p14="http://schemas.microsoft.com/office/powerpoint/2010/main" val="40984092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731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1200" b="0" i="0" u="none" strike="noStrike" kern="0" cap="none" spc="0" normalizeH="0" baseline="0" noProof="0" dirty="0">
              <a:ln>
                <a:noFill/>
              </a:ln>
              <a:solidFill>
                <a:srgbClr val="000000"/>
              </a:solidFill>
              <a:effectLst/>
              <a:uLnTx/>
              <a:uFillTx/>
              <a:latin typeface="Arial"/>
              <a:ea typeface="Arial"/>
              <a:cs typeface="Arial"/>
              <a:sym typeface="Arial"/>
            </a:endParaRPr>
          </a:p>
        </p:txBody>
      </p:sp>
    </p:spTree>
    <p:extLst>
      <p:ext uri="{BB962C8B-B14F-4D97-AF65-F5344CB8AC3E}">
        <p14:creationId xmlns:p14="http://schemas.microsoft.com/office/powerpoint/2010/main" val="156783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731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695719" rtl="0" eaLnBrk="1" fontAlgn="auto" latinLnBrk="0" hangingPunct="1">
              <a:lnSpc>
                <a:spcPct val="100000"/>
              </a:lnSpc>
              <a:spcBef>
                <a:spcPts val="0"/>
              </a:spcBef>
              <a:spcAft>
                <a:spcPts val="0"/>
              </a:spcAft>
              <a:buClr>
                <a:srgbClr val="000000"/>
              </a:buClr>
              <a:buSzTx/>
              <a:buFont typeface="Arial"/>
              <a:buNone/>
              <a:tabLst/>
              <a:defRPr/>
            </a:pPr>
            <a:fld id="{998D5474-2A3E-2A4C-B59B-2CDE493D2F4D}" type="slidenum">
              <a:rPr kumimoji="0" lang="en-US" sz="1400" b="0" i="0" u="none" strike="noStrike" kern="0" cap="none" spc="0" normalizeH="0" baseline="0" noProof="0">
                <a:ln>
                  <a:noFill/>
                </a:ln>
                <a:solidFill>
                  <a:prstClr val="black"/>
                </a:solidFill>
                <a:effectLst/>
                <a:uLnTx/>
                <a:uFillTx/>
                <a:latin typeface="Calibri"/>
                <a:cs typeface="Arial"/>
                <a:sym typeface="Arial"/>
              </a:rPr>
              <a:pPr marL="0" marR="0" lvl="0" indent="0" algn="l" defTabSz="695719" rtl="0" eaLnBrk="1" fontAlgn="auto" latinLnBrk="0" hangingPunct="1">
                <a:lnSpc>
                  <a:spcPct val="100000"/>
                </a:lnSpc>
                <a:spcBef>
                  <a:spcPts val="0"/>
                </a:spcBef>
                <a:spcAft>
                  <a:spcPts val="0"/>
                </a:spcAft>
                <a:buClr>
                  <a:srgbClr val="000000"/>
                </a:buClr>
                <a:buSzTx/>
                <a:buFont typeface="Arial"/>
                <a:buNone/>
                <a:tabLst/>
                <a:defRPr/>
              </a:pPr>
              <a:t>8</a:t>
            </a:fld>
            <a:endParaRPr kumimoji="0" lang="en-US" sz="1400" b="0" i="0" u="none" strike="noStrike" kern="0" cap="none" spc="0" normalizeH="0" baseline="0" noProof="0" dirty="0">
              <a:ln>
                <a:noFill/>
              </a:ln>
              <a:solidFill>
                <a:prstClr val="black"/>
              </a:solidFill>
              <a:effectLst/>
              <a:uLnTx/>
              <a:uFillTx/>
              <a:latin typeface="Calibri"/>
              <a:cs typeface="Arial"/>
              <a:sym typeface="Arial"/>
            </a:endParaRPr>
          </a:p>
        </p:txBody>
      </p:sp>
    </p:spTree>
    <p:extLst>
      <p:ext uri="{BB962C8B-B14F-4D97-AF65-F5344CB8AC3E}">
        <p14:creationId xmlns:p14="http://schemas.microsoft.com/office/powerpoint/2010/main" val="40973557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6750" y="935038"/>
            <a:ext cx="8305800" cy="4673600"/>
          </a:xfrm>
        </p:spPr>
      </p:sp>
      <p:sp>
        <p:nvSpPr>
          <p:cNvPr id="3" name="Notes Placeholder 2"/>
          <p:cNvSpPr>
            <a:spLocks noGrp="1"/>
          </p:cNvSpPr>
          <p:nvPr>
            <p:ph type="body" idx="1"/>
          </p:nvPr>
        </p:nvSpPr>
        <p:spPr/>
        <p:txBody>
          <a:bodyPr/>
          <a:lstStyle/>
          <a:p>
            <a:pPr defTabSz="1043605">
              <a:defRPr/>
            </a:pPr>
            <a:endParaRPr lang="en-US" sz="1400" dirty="0"/>
          </a:p>
        </p:txBody>
      </p:sp>
      <p:sp>
        <p:nvSpPr>
          <p:cNvPr id="4" name="Slide Number Placeholder 3"/>
          <p:cNvSpPr>
            <a:spLocks noGrp="1"/>
          </p:cNvSpPr>
          <p:nvPr>
            <p:ph type="sldNum" sz="quarter" idx="10"/>
          </p:nvPr>
        </p:nvSpPr>
        <p:spPr/>
        <p:txBody>
          <a:bodyPr/>
          <a:lstStyle/>
          <a:p>
            <a:pPr marL="0" marR="0" lvl="0" indent="0" algn="l" defTabSz="695719" rtl="0" eaLnBrk="1" fontAlgn="auto" latinLnBrk="0" hangingPunct="1">
              <a:lnSpc>
                <a:spcPct val="100000"/>
              </a:lnSpc>
              <a:spcBef>
                <a:spcPts val="0"/>
              </a:spcBef>
              <a:spcAft>
                <a:spcPts val="0"/>
              </a:spcAft>
              <a:buClr>
                <a:srgbClr val="000000"/>
              </a:buClr>
              <a:buSzTx/>
              <a:buFont typeface="Arial"/>
              <a:buNone/>
              <a:tabLst/>
              <a:defRPr/>
            </a:pPr>
            <a:fld id="{F5C10ACC-796B-4F64-AF97-222A27E91DAA}" type="slidenum">
              <a:rPr kumimoji="0" lang="en-US" sz="1400" b="0" i="0" u="none" strike="noStrike" kern="0" cap="none" spc="0" normalizeH="0" baseline="0" noProof="0" smtClean="0">
                <a:ln>
                  <a:noFill/>
                </a:ln>
                <a:solidFill>
                  <a:prstClr val="black"/>
                </a:solidFill>
                <a:effectLst/>
                <a:uLnTx/>
                <a:uFillTx/>
                <a:latin typeface="Calibri"/>
                <a:cs typeface="Arial"/>
                <a:sym typeface="Arial"/>
              </a:rPr>
              <a:pPr marL="0" marR="0" lvl="0" indent="0" algn="l" defTabSz="695719" rtl="0" eaLnBrk="1" fontAlgn="auto" latinLnBrk="0" hangingPunct="1">
                <a:lnSpc>
                  <a:spcPct val="100000"/>
                </a:lnSpc>
                <a:spcBef>
                  <a:spcPts val="0"/>
                </a:spcBef>
                <a:spcAft>
                  <a:spcPts val="0"/>
                </a:spcAft>
                <a:buClr>
                  <a:srgbClr val="000000"/>
                </a:buClr>
                <a:buSzTx/>
                <a:buFont typeface="Arial"/>
                <a:buNone/>
                <a:tabLst/>
                <a:defRPr/>
              </a:pPr>
              <a:t>9</a:t>
            </a:fld>
            <a:endParaRPr kumimoji="0" lang="en-US" sz="1400" b="0" i="0" u="none" strike="noStrike" kern="0" cap="none" spc="0" normalizeH="0" baseline="0" noProof="0" dirty="0">
              <a:ln>
                <a:noFill/>
              </a:ln>
              <a:solidFill>
                <a:prstClr val="black"/>
              </a:solidFill>
              <a:effectLst/>
              <a:uLnTx/>
              <a:uFillTx/>
              <a:latin typeface="Calibri"/>
              <a:cs typeface="Arial"/>
              <a:sym typeface="Arial"/>
            </a:endParaRPr>
          </a:p>
        </p:txBody>
      </p:sp>
    </p:spTree>
    <p:extLst>
      <p:ext uri="{BB962C8B-B14F-4D97-AF65-F5344CB8AC3E}">
        <p14:creationId xmlns:p14="http://schemas.microsoft.com/office/powerpoint/2010/main" val="5584244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s/slide3.xml"/><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3" preserve="1" userDrawn="1">
  <p:cSld name="Title Slide 3">
    <p:bg>
      <p:bgPr>
        <a:solidFill>
          <a:schemeClr val="lt1"/>
        </a:solidFill>
        <a:effectLst/>
      </p:bgPr>
    </p:bg>
    <p:spTree>
      <p:nvGrpSpPr>
        <p:cNvPr id="1" name="Shape 20"/>
        <p:cNvGrpSpPr/>
        <p:nvPr/>
      </p:nvGrpSpPr>
      <p:grpSpPr>
        <a:xfrm>
          <a:off x="0" y="0"/>
          <a:ext cx="0" cy="0"/>
          <a:chOff x="0" y="0"/>
          <a:chExt cx="0" cy="0"/>
        </a:xfrm>
      </p:grpSpPr>
      <p:grpSp>
        <p:nvGrpSpPr>
          <p:cNvPr id="21" name="Google Shape;21;p34"/>
          <p:cNvGrpSpPr/>
          <p:nvPr/>
        </p:nvGrpSpPr>
        <p:grpSpPr>
          <a:xfrm>
            <a:off x="6234948" y="444810"/>
            <a:ext cx="3064354" cy="4059936"/>
            <a:chOff x="4159643" y="863536"/>
            <a:chExt cx="3872715" cy="5130928"/>
          </a:xfrm>
        </p:grpSpPr>
        <p:pic>
          <p:nvPicPr>
            <p:cNvPr id="22" name="Google Shape;22;p34"/>
            <p:cNvPicPr preferRelativeResize="0"/>
            <p:nvPr/>
          </p:nvPicPr>
          <p:blipFill rotWithShape="1">
            <a:blip r:embed="rId2">
              <a:alphaModFix/>
            </a:blip>
            <a:srcRect l="4199" r="67479"/>
            <a:stretch/>
          </p:blipFill>
          <p:spPr>
            <a:xfrm>
              <a:off x="4159643" y="863536"/>
              <a:ext cx="3872715" cy="5130928"/>
            </a:xfrm>
            <a:prstGeom prst="rect">
              <a:avLst/>
            </a:prstGeom>
            <a:noFill/>
            <a:ln>
              <a:noFill/>
            </a:ln>
          </p:spPr>
        </p:pic>
        <p:grpSp>
          <p:nvGrpSpPr>
            <p:cNvPr id="23" name="Google Shape;23;p34"/>
            <p:cNvGrpSpPr/>
            <p:nvPr/>
          </p:nvGrpSpPr>
          <p:grpSpPr>
            <a:xfrm>
              <a:off x="6731136" y="1549464"/>
              <a:ext cx="569119" cy="414333"/>
              <a:chOff x="10083800" y="2413000"/>
              <a:chExt cx="569119" cy="414333"/>
            </a:xfrm>
          </p:grpSpPr>
          <p:pic>
            <p:nvPicPr>
              <p:cNvPr id="24" name="Google Shape;24;p34"/>
              <p:cNvPicPr preferRelativeResize="0"/>
              <p:nvPr/>
            </p:nvPicPr>
            <p:blipFill rotWithShape="1">
              <a:blip r:embed="rId2">
                <a:alphaModFix/>
              </a:blip>
              <a:srcRect l="23045" t="13400" r="72792" b="78525"/>
              <a:stretch/>
            </p:blipFill>
            <p:spPr>
              <a:xfrm>
                <a:off x="10083800" y="2413000"/>
                <a:ext cx="546000" cy="414333"/>
              </a:xfrm>
              <a:prstGeom prst="rect">
                <a:avLst/>
              </a:prstGeom>
              <a:solidFill>
                <a:schemeClr val="lt1"/>
              </a:solidFill>
              <a:ln>
                <a:noFill/>
              </a:ln>
            </p:spPr>
          </p:pic>
          <p:sp>
            <p:nvSpPr>
              <p:cNvPr id="25" name="Google Shape;25;p34"/>
              <p:cNvSpPr/>
              <p:nvPr/>
            </p:nvSpPr>
            <p:spPr>
              <a:xfrm>
                <a:off x="10426341" y="2533651"/>
                <a:ext cx="226578" cy="13810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26" name="Google Shape;26;p34"/>
              <p:cNvPicPr preferRelativeResize="0"/>
              <p:nvPr/>
            </p:nvPicPr>
            <p:blipFill rotWithShape="1">
              <a:blip r:embed="rId2">
                <a:alphaModFix/>
              </a:blip>
              <a:srcRect l="23911" t="16101" r="75630" b="81882"/>
              <a:stretch/>
            </p:blipFill>
            <p:spPr>
              <a:xfrm>
                <a:off x="10426341" y="2551563"/>
                <a:ext cx="60238" cy="103486"/>
              </a:xfrm>
              <a:prstGeom prst="rect">
                <a:avLst/>
              </a:prstGeom>
              <a:noFill/>
              <a:ln>
                <a:noFill/>
              </a:ln>
            </p:spPr>
          </p:pic>
          <p:pic>
            <p:nvPicPr>
              <p:cNvPr id="27" name="Google Shape;27;p34"/>
              <p:cNvPicPr preferRelativeResize="0"/>
              <p:nvPr/>
            </p:nvPicPr>
            <p:blipFill rotWithShape="1">
              <a:blip r:embed="rId2">
                <a:alphaModFix/>
              </a:blip>
              <a:srcRect l="25670" t="16101" r="73063" b="81882"/>
              <a:stretch/>
            </p:blipFill>
            <p:spPr>
              <a:xfrm>
                <a:off x="10486579" y="2551563"/>
                <a:ext cx="166340" cy="103486"/>
              </a:xfrm>
              <a:prstGeom prst="rect">
                <a:avLst/>
              </a:prstGeom>
              <a:noFill/>
              <a:ln>
                <a:noFill/>
              </a:ln>
            </p:spPr>
          </p:pic>
          <p:sp>
            <p:nvSpPr>
              <p:cNvPr id="28" name="Google Shape;28;p34"/>
              <p:cNvSpPr/>
              <p:nvPr/>
            </p:nvSpPr>
            <p:spPr>
              <a:xfrm>
                <a:off x="10604934" y="2671759"/>
                <a:ext cx="47985" cy="13810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grpSp>
      <p:grpSp>
        <p:nvGrpSpPr>
          <p:cNvPr id="32" name="Google Shape;32;p34"/>
          <p:cNvGrpSpPr/>
          <p:nvPr/>
        </p:nvGrpSpPr>
        <p:grpSpPr>
          <a:xfrm>
            <a:off x="7677111" y="4670092"/>
            <a:ext cx="1070428" cy="293357"/>
            <a:chOff x="1773" y="2562"/>
            <a:chExt cx="1985" cy="544"/>
          </a:xfrm>
        </p:grpSpPr>
        <p:sp>
          <p:nvSpPr>
            <p:cNvPr id="33" name="Google Shape;33;p34"/>
            <p:cNvSpPr/>
            <p:nvPr/>
          </p:nvSpPr>
          <p:spPr>
            <a:xfrm>
              <a:off x="1773" y="2562"/>
              <a:ext cx="1985" cy="304"/>
            </a:xfrm>
            <a:custGeom>
              <a:avLst/>
              <a:gdLst/>
              <a:ahLst/>
              <a:cxnLst/>
              <a:rect l="l" t="t" r="r" b="b"/>
              <a:pathLst>
                <a:path w="299" h="43" extrusionOk="0">
                  <a:moveTo>
                    <a:pt x="29" y="15"/>
                  </a:moveTo>
                  <a:cubicBezTo>
                    <a:pt x="29" y="11"/>
                    <a:pt x="29" y="11"/>
                    <a:pt x="29" y="11"/>
                  </a:cubicBezTo>
                  <a:cubicBezTo>
                    <a:pt x="29" y="11"/>
                    <a:pt x="30" y="5"/>
                    <a:pt x="20" y="5"/>
                  </a:cubicBezTo>
                  <a:cubicBezTo>
                    <a:pt x="10" y="5"/>
                    <a:pt x="10" y="11"/>
                    <a:pt x="10" y="11"/>
                  </a:cubicBezTo>
                  <a:cubicBezTo>
                    <a:pt x="10" y="31"/>
                    <a:pt x="10" y="31"/>
                    <a:pt x="10" y="31"/>
                  </a:cubicBezTo>
                  <a:cubicBezTo>
                    <a:pt x="10" y="31"/>
                    <a:pt x="10" y="37"/>
                    <a:pt x="20" y="37"/>
                  </a:cubicBezTo>
                  <a:cubicBezTo>
                    <a:pt x="29" y="37"/>
                    <a:pt x="29" y="34"/>
                    <a:pt x="29" y="34"/>
                  </a:cubicBezTo>
                  <a:cubicBezTo>
                    <a:pt x="29" y="25"/>
                    <a:pt x="29" y="25"/>
                    <a:pt x="29" y="25"/>
                  </a:cubicBezTo>
                  <a:cubicBezTo>
                    <a:pt x="20" y="25"/>
                    <a:pt x="20" y="25"/>
                    <a:pt x="20" y="25"/>
                  </a:cubicBezTo>
                  <a:cubicBezTo>
                    <a:pt x="20" y="20"/>
                    <a:pt x="20" y="20"/>
                    <a:pt x="20" y="20"/>
                  </a:cubicBezTo>
                  <a:cubicBezTo>
                    <a:pt x="40" y="20"/>
                    <a:pt x="40" y="20"/>
                    <a:pt x="40" y="20"/>
                  </a:cubicBezTo>
                  <a:cubicBezTo>
                    <a:pt x="40" y="34"/>
                    <a:pt x="40" y="34"/>
                    <a:pt x="40" y="34"/>
                  </a:cubicBezTo>
                  <a:cubicBezTo>
                    <a:pt x="40" y="34"/>
                    <a:pt x="36" y="42"/>
                    <a:pt x="20" y="42"/>
                  </a:cubicBezTo>
                  <a:cubicBezTo>
                    <a:pt x="1" y="42"/>
                    <a:pt x="0" y="31"/>
                    <a:pt x="0" y="31"/>
                  </a:cubicBezTo>
                  <a:cubicBezTo>
                    <a:pt x="0" y="11"/>
                    <a:pt x="0" y="11"/>
                    <a:pt x="0" y="11"/>
                  </a:cubicBezTo>
                  <a:cubicBezTo>
                    <a:pt x="0" y="11"/>
                    <a:pt x="1" y="0"/>
                    <a:pt x="20" y="0"/>
                  </a:cubicBezTo>
                  <a:cubicBezTo>
                    <a:pt x="41" y="0"/>
                    <a:pt x="40" y="11"/>
                    <a:pt x="40" y="11"/>
                  </a:cubicBezTo>
                  <a:cubicBezTo>
                    <a:pt x="40" y="15"/>
                    <a:pt x="40" y="15"/>
                    <a:pt x="40" y="15"/>
                  </a:cubicBezTo>
                  <a:lnTo>
                    <a:pt x="29" y="15"/>
                  </a:lnTo>
                  <a:close/>
                  <a:moveTo>
                    <a:pt x="231" y="20"/>
                  </a:moveTo>
                  <a:cubicBezTo>
                    <a:pt x="231" y="20"/>
                    <a:pt x="232" y="12"/>
                    <a:pt x="215" y="12"/>
                  </a:cubicBezTo>
                  <a:cubicBezTo>
                    <a:pt x="199" y="12"/>
                    <a:pt x="200" y="20"/>
                    <a:pt x="200" y="20"/>
                  </a:cubicBezTo>
                  <a:cubicBezTo>
                    <a:pt x="200" y="34"/>
                    <a:pt x="200" y="34"/>
                    <a:pt x="200" y="34"/>
                  </a:cubicBezTo>
                  <a:cubicBezTo>
                    <a:pt x="200" y="34"/>
                    <a:pt x="199" y="42"/>
                    <a:pt x="215" y="42"/>
                  </a:cubicBezTo>
                  <a:cubicBezTo>
                    <a:pt x="232" y="42"/>
                    <a:pt x="231" y="34"/>
                    <a:pt x="231" y="34"/>
                  </a:cubicBezTo>
                  <a:cubicBezTo>
                    <a:pt x="231" y="32"/>
                    <a:pt x="231" y="32"/>
                    <a:pt x="231" y="32"/>
                  </a:cubicBezTo>
                  <a:cubicBezTo>
                    <a:pt x="222" y="32"/>
                    <a:pt x="222" y="32"/>
                    <a:pt x="222" y="32"/>
                  </a:cubicBezTo>
                  <a:cubicBezTo>
                    <a:pt x="222" y="34"/>
                    <a:pt x="222" y="34"/>
                    <a:pt x="222" y="34"/>
                  </a:cubicBezTo>
                  <a:cubicBezTo>
                    <a:pt x="222" y="34"/>
                    <a:pt x="222" y="38"/>
                    <a:pt x="215" y="38"/>
                  </a:cubicBezTo>
                  <a:cubicBezTo>
                    <a:pt x="208" y="38"/>
                    <a:pt x="208" y="34"/>
                    <a:pt x="208" y="34"/>
                  </a:cubicBezTo>
                  <a:cubicBezTo>
                    <a:pt x="208" y="34"/>
                    <a:pt x="208" y="29"/>
                    <a:pt x="208" y="29"/>
                  </a:cubicBezTo>
                  <a:cubicBezTo>
                    <a:pt x="231" y="29"/>
                    <a:pt x="231" y="29"/>
                    <a:pt x="231" y="29"/>
                  </a:cubicBezTo>
                  <a:lnTo>
                    <a:pt x="231" y="20"/>
                  </a:lnTo>
                  <a:close/>
                  <a:moveTo>
                    <a:pt x="215" y="17"/>
                  </a:moveTo>
                  <a:cubicBezTo>
                    <a:pt x="222" y="17"/>
                    <a:pt x="222" y="20"/>
                    <a:pt x="222" y="20"/>
                  </a:cubicBezTo>
                  <a:cubicBezTo>
                    <a:pt x="222" y="20"/>
                    <a:pt x="222" y="24"/>
                    <a:pt x="222" y="24"/>
                  </a:cubicBezTo>
                  <a:cubicBezTo>
                    <a:pt x="208" y="24"/>
                    <a:pt x="208" y="24"/>
                    <a:pt x="208" y="24"/>
                  </a:cubicBezTo>
                  <a:cubicBezTo>
                    <a:pt x="208" y="20"/>
                    <a:pt x="208" y="20"/>
                    <a:pt x="208" y="20"/>
                  </a:cubicBezTo>
                  <a:cubicBezTo>
                    <a:pt x="208" y="20"/>
                    <a:pt x="208" y="17"/>
                    <a:pt x="215" y="17"/>
                  </a:cubicBezTo>
                  <a:close/>
                  <a:moveTo>
                    <a:pt x="265" y="24"/>
                  </a:moveTo>
                  <a:cubicBezTo>
                    <a:pt x="265" y="20"/>
                    <a:pt x="265" y="20"/>
                    <a:pt x="265" y="20"/>
                  </a:cubicBezTo>
                  <a:cubicBezTo>
                    <a:pt x="265" y="20"/>
                    <a:pt x="266" y="12"/>
                    <a:pt x="249" y="12"/>
                  </a:cubicBezTo>
                  <a:cubicBezTo>
                    <a:pt x="233" y="12"/>
                    <a:pt x="234" y="20"/>
                    <a:pt x="234" y="20"/>
                  </a:cubicBezTo>
                  <a:cubicBezTo>
                    <a:pt x="234" y="34"/>
                    <a:pt x="234" y="34"/>
                    <a:pt x="234" y="34"/>
                  </a:cubicBezTo>
                  <a:cubicBezTo>
                    <a:pt x="234" y="34"/>
                    <a:pt x="233" y="42"/>
                    <a:pt x="249" y="42"/>
                  </a:cubicBezTo>
                  <a:cubicBezTo>
                    <a:pt x="266" y="42"/>
                    <a:pt x="265" y="34"/>
                    <a:pt x="265" y="34"/>
                  </a:cubicBezTo>
                  <a:cubicBezTo>
                    <a:pt x="265" y="31"/>
                    <a:pt x="265" y="31"/>
                    <a:pt x="265" y="31"/>
                  </a:cubicBezTo>
                  <a:cubicBezTo>
                    <a:pt x="256" y="31"/>
                    <a:pt x="256" y="31"/>
                    <a:pt x="256" y="31"/>
                  </a:cubicBezTo>
                  <a:cubicBezTo>
                    <a:pt x="256" y="34"/>
                    <a:pt x="256" y="34"/>
                    <a:pt x="256" y="34"/>
                  </a:cubicBezTo>
                  <a:cubicBezTo>
                    <a:pt x="256" y="34"/>
                    <a:pt x="256" y="38"/>
                    <a:pt x="249" y="38"/>
                  </a:cubicBezTo>
                  <a:cubicBezTo>
                    <a:pt x="242" y="38"/>
                    <a:pt x="242" y="34"/>
                    <a:pt x="242" y="34"/>
                  </a:cubicBezTo>
                  <a:cubicBezTo>
                    <a:pt x="242" y="34"/>
                    <a:pt x="242" y="20"/>
                    <a:pt x="242" y="20"/>
                  </a:cubicBezTo>
                  <a:cubicBezTo>
                    <a:pt x="242" y="20"/>
                    <a:pt x="243" y="17"/>
                    <a:pt x="250" y="17"/>
                  </a:cubicBezTo>
                  <a:cubicBezTo>
                    <a:pt x="257" y="17"/>
                    <a:pt x="256" y="20"/>
                    <a:pt x="256" y="20"/>
                  </a:cubicBezTo>
                  <a:cubicBezTo>
                    <a:pt x="256" y="24"/>
                    <a:pt x="256" y="24"/>
                    <a:pt x="256" y="24"/>
                  </a:cubicBezTo>
                  <a:lnTo>
                    <a:pt x="265" y="24"/>
                  </a:lnTo>
                  <a:close/>
                  <a:moveTo>
                    <a:pt x="178" y="18"/>
                  </a:moveTo>
                  <a:cubicBezTo>
                    <a:pt x="180" y="18"/>
                    <a:pt x="180" y="18"/>
                    <a:pt x="180" y="18"/>
                  </a:cubicBezTo>
                  <a:cubicBezTo>
                    <a:pt x="180" y="18"/>
                    <a:pt x="180" y="27"/>
                    <a:pt x="180" y="35"/>
                  </a:cubicBezTo>
                  <a:cubicBezTo>
                    <a:pt x="180" y="42"/>
                    <a:pt x="190" y="43"/>
                    <a:pt x="198" y="42"/>
                  </a:cubicBezTo>
                  <a:cubicBezTo>
                    <a:pt x="198" y="42"/>
                    <a:pt x="198" y="38"/>
                    <a:pt x="198" y="38"/>
                  </a:cubicBezTo>
                  <a:cubicBezTo>
                    <a:pt x="189" y="39"/>
                    <a:pt x="189" y="35"/>
                    <a:pt x="189" y="35"/>
                  </a:cubicBezTo>
                  <a:cubicBezTo>
                    <a:pt x="189" y="18"/>
                    <a:pt x="189" y="18"/>
                    <a:pt x="189" y="18"/>
                  </a:cubicBezTo>
                  <a:cubicBezTo>
                    <a:pt x="198" y="18"/>
                    <a:pt x="198" y="18"/>
                    <a:pt x="198" y="18"/>
                  </a:cubicBezTo>
                  <a:cubicBezTo>
                    <a:pt x="198" y="13"/>
                    <a:pt x="198" y="13"/>
                    <a:pt x="198" y="13"/>
                  </a:cubicBezTo>
                  <a:cubicBezTo>
                    <a:pt x="189" y="13"/>
                    <a:pt x="189" y="13"/>
                    <a:pt x="189" y="13"/>
                  </a:cubicBezTo>
                  <a:cubicBezTo>
                    <a:pt x="189" y="7"/>
                    <a:pt x="189" y="7"/>
                    <a:pt x="189" y="7"/>
                  </a:cubicBezTo>
                  <a:cubicBezTo>
                    <a:pt x="180" y="7"/>
                    <a:pt x="180" y="7"/>
                    <a:pt x="180" y="7"/>
                  </a:cubicBezTo>
                  <a:cubicBezTo>
                    <a:pt x="180" y="13"/>
                    <a:pt x="180" y="13"/>
                    <a:pt x="180" y="13"/>
                  </a:cubicBezTo>
                  <a:cubicBezTo>
                    <a:pt x="178" y="13"/>
                    <a:pt x="178" y="13"/>
                    <a:pt x="178" y="13"/>
                  </a:cubicBezTo>
                  <a:lnTo>
                    <a:pt x="178" y="18"/>
                  </a:lnTo>
                  <a:close/>
                  <a:moveTo>
                    <a:pt x="142" y="20"/>
                  </a:moveTo>
                  <a:cubicBezTo>
                    <a:pt x="142" y="20"/>
                    <a:pt x="143" y="12"/>
                    <a:pt x="126" y="12"/>
                  </a:cubicBezTo>
                  <a:cubicBezTo>
                    <a:pt x="110" y="12"/>
                    <a:pt x="111" y="20"/>
                    <a:pt x="111" y="20"/>
                  </a:cubicBezTo>
                  <a:cubicBezTo>
                    <a:pt x="111" y="34"/>
                    <a:pt x="111" y="34"/>
                    <a:pt x="111" y="34"/>
                  </a:cubicBezTo>
                  <a:cubicBezTo>
                    <a:pt x="111" y="34"/>
                    <a:pt x="110" y="42"/>
                    <a:pt x="126" y="42"/>
                  </a:cubicBezTo>
                  <a:cubicBezTo>
                    <a:pt x="142" y="42"/>
                    <a:pt x="142" y="34"/>
                    <a:pt x="142" y="34"/>
                  </a:cubicBezTo>
                  <a:cubicBezTo>
                    <a:pt x="142" y="32"/>
                    <a:pt x="142" y="32"/>
                    <a:pt x="142" y="32"/>
                  </a:cubicBezTo>
                  <a:cubicBezTo>
                    <a:pt x="133" y="32"/>
                    <a:pt x="133" y="32"/>
                    <a:pt x="133" y="32"/>
                  </a:cubicBezTo>
                  <a:cubicBezTo>
                    <a:pt x="133" y="34"/>
                    <a:pt x="133" y="34"/>
                    <a:pt x="133" y="34"/>
                  </a:cubicBezTo>
                  <a:cubicBezTo>
                    <a:pt x="133" y="34"/>
                    <a:pt x="133" y="38"/>
                    <a:pt x="126" y="38"/>
                  </a:cubicBezTo>
                  <a:cubicBezTo>
                    <a:pt x="119" y="38"/>
                    <a:pt x="119" y="34"/>
                    <a:pt x="119" y="34"/>
                  </a:cubicBezTo>
                  <a:cubicBezTo>
                    <a:pt x="119" y="34"/>
                    <a:pt x="119" y="29"/>
                    <a:pt x="119" y="29"/>
                  </a:cubicBezTo>
                  <a:cubicBezTo>
                    <a:pt x="142" y="29"/>
                    <a:pt x="142" y="29"/>
                    <a:pt x="142" y="29"/>
                  </a:cubicBezTo>
                  <a:lnTo>
                    <a:pt x="142" y="20"/>
                  </a:lnTo>
                  <a:close/>
                  <a:moveTo>
                    <a:pt x="126" y="17"/>
                  </a:moveTo>
                  <a:cubicBezTo>
                    <a:pt x="133" y="17"/>
                    <a:pt x="133" y="20"/>
                    <a:pt x="133" y="20"/>
                  </a:cubicBezTo>
                  <a:cubicBezTo>
                    <a:pt x="133" y="20"/>
                    <a:pt x="133" y="24"/>
                    <a:pt x="133" y="24"/>
                  </a:cubicBezTo>
                  <a:cubicBezTo>
                    <a:pt x="119" y="24"/>
                    <a:pt x="119" y="24"/>
                    <a:pt x="119" y="24"/>
                  </a:cubicBezTo>
                  <a:cubicBezTo>
                    <a:pt x="119" y="20"/>
                    <a:pt x="119" y="20"/>
                    <a:pt x="119" y="20"/>
                  </a:cubicBezTo>
                  <a:cubicBezTo>
                    <a:pt x="119" y="20"/>
                    <a:pt x="119" y="17"/>
                    <a:pt x="126" y="17"/>
                  </a:cubicBezTo>
                  <a:close/>
                  <a:moveTo>
                    <a:pt x="74" y="20"/>
                  </a:moveTo>
                  <a:cubicBezTo>
                    <a:pt x="74" y="20"/>
                    <a:pt x="75" y="12"/>
                    <a:pt x="59" y="12"/>
                  </a:cubicBezTo>
                  <a:cubicBezTo>
                    <a:pt x="42" y="12"/>
                    <a:pt x="43" y="20"/>
                    <a:pt x="43" y="20"/>
                  </a:cubicBezTo>
                  <a:cubicBezTo>
                    <a:pt x="43" y="34"/>
                    <a:pt x="43" y="34"/>
                    <a:pt x="43" y="34"/>
                  </a:cubicBezTo>
                  <a:cubicBezTo>
                    <a:pt x="43" y="34"/>
                    <a:pt x="42" y="42"/>
                    <a:pt x="59" y="42"/>
                  </a:cubicBezTo>
                  <a:cubicBezTo>
                    <a:pt x="75" y="42"/>
                    <a:pt x="74" y="34"/>
                    <a:pt x="74" y="34"/>
                  </a:cubicBezTo>
                  <a:cubicBezTo>
                    <a:pt x="74" y="32"/>
                    <a:pt x="74" y="32"/>
                    <a:pt x="74" y="32"/>
                  </a:cubicBezTo>
                  <a:cubicBezTo>
                    <a:pt x="66" y="32"/>
                    <a:pt x="66" y="32"/>
                    <a:pt x="66" y="32"/>
                  </a:cubicBezTo>
                  <a:cubicBezTo>
                    <a:pt x="66" y="34"/>
                    <a:pt x="66" y="34"/>
                    <a:pt x="66" y="34"/>
                  </a:cubicBezTo>
                  <a:cubicBezTo>
                    <a:pt x="66" y="34"/>
                    <a:pt x="66" y="38"/>
                    <a:pt x="59" y="38"/>
                  </a:cubicBezTo>
                  <a:cubicBezTo>
                    <a:pt x="52" y="38"/>
                    <a:pt x="52" y="34"/>
                    <a:pt x="52" y="34"/>
                  </a:cubicBezTo>
                  <a:cubicBezTo>
                    <a:pt x="52" y="34"/>
                    <a:pt x="52" y="29"/>
                    <a:pt x="52" y="29"/>
                  </a:cubicBezTo>
                  <a:cubicBezTo>
                    <a:pt x="74" y="29"/>
                    <a:pt x="74" y="29"/>
                    <a:pt x="74" y="29"/>
                  </a:cubicBezTo>
                  <a:lnTo>
                    <a:pt x="74" y="20"/>
                  </a:lnTo>
                  <a:close/>
                  <a:moveTo>
                    <a:pt x="59" y="17"/>
                  </a:moveTo>
                  <a:cubicBezTo>
                    <a:pt x="66" y="17"/>
                    <a:pt x="66" y="20"/>
                    <a:pt x="66" y="20"/>
                  </a:cubicBezTo>
                  <a:cubicBezTo>
                    <a:pt x="66" y="20"/>
                    <a:pt x="66" y="24"/>
                    <a:pt x="66" y="24"/>
                  </a:cubicBezTo>
                  <a:cubicBezTo>
                    <a:pt x="52" y="24"/>
                    <a:pt x="52" y="24"/>
                    <a:pt x="52" y="24"/>
                  </a:cubicBezTo>
                  <a:cubicBezTo>
                    <a:pt x="52" y="20"/>
                    <a:pt x="52" y="20"/>
                    <a:pt x="52" y="20"/>
                  </a:cubicBezTo>
                  <a:cubicBezTo>
                    <a:pt x="52" y="20"/>
                    <a:pt x="52" y="17"/>
                    <a:pt x="59" y="17"/>
                  </a:cubicBezTo>
                  <a:close/>
                  <a:moveTo>
                    <a:pt x="268" y="41"/>
                  </a:moveTo>
                  <a:cubicBezTo>
                    <a:pt x="277" y="41"/>
                    <a:pt x="277" y="41"/>
                    <a:pt x="277" y="41"/>
                  </a:cubicBezTo>
                  <a:cubicBezTo>
                    <a:pt x="277" y="20"/>
                    <a:pt x="277" y="20"/>
                    <a:pt x="277" y="20"/>
                  </a:cubicBezTo>
                  <a:cubicBezTo>
                    <a:pt x="277" y="20"/>
                    <a:pt x="277" y="16"/>
                    <a:pt x="284" y="16"/>
                  </a:cubicBezTo>
                  <a:cubicBezTo>
                    <a:pt x="291" y="16"/>
                    <a:pt x="291" y="20"/>
                    <a:pt x="291" y="20"/>
                  </a:cubicBezTo>
                  <a:cubicBezTo>
                    <a:pt x="291" y="41"/>
                    <a:pt x="291" y="41"/>
                    <a:pt x="291" y="41"/>
                  </a:cubicBezTo>
                  <a:cubicBezTo>
                    <a:pt x="299" y="41"/>
                    <a:pt x="299" y="41"/>
                    <a:pt x="299" y="41"/>
                  </a:cubicBezTo>
                  <a:cubicBezTo>
                    <a:pt x="299" y="19"/>
                    <a:pt x="299" y="19"/>
                    <a:pt x="299" y="19"/>
                  </a:cubicBezTo>
                  <a:cubicBezTo>
                    <a:pt x="299" y="19"/>
                    <a:pt x="299" y="12"/>
                    <a:pt x="284" y="12"/>
                  </a:cubicBezTo>
                  <a:cubicBezTo>
                    <a:pt x="281" y="12"/>
                    <a:pt x="279" y="12"/>
                    <a:pt x="277" y="12"/>
                  </a:cubicBezTo>
                  <a:cubicBezTo>
                    <a:pt x="277" y="12"/>
                    <a:pt x="277" y="0"/>
                    <a:pt x="277" y="0"/>
                  </a:cubicBezTo>
                  <a:cubicBezTo>
                    <a:pt x="277" y="0"/>
                    <a:pt x="268" y="0"/>
                    <a:pt x="268" y="0"/>
                  </a:cubicBezTo>
                  <a:lnTo>
                    <a:pt x="268" y="41"/>
                  </a:lnTo>
                  <a:close/>
                  <a:moveTo>
                    <a:pt x="92" y="12"/>
                  </a:moveTo>
                  <a:cubicBezTo>
                    <a:pt x="87" y="12"/>
                    <a:pt x="84" y="13"/>
                    <a:pt x="81" y="14"/>
                  </a:cubicBezTo>
                  <a:cubicBezTo>
                    <a:pt x="77" y="14"/>
                    <a:pt x="77" y="14"/>
                    <a:pt x="77" y="14"/>
                  </a:cubicBezTo>
                  <a:cubicBezTo>
                    <a:pt x="77" y="41"/>
                    <a:pt x="77" y="41"/>
                    <a:pt x="77" y="41"/>
                  </a:cubicBezTo>
                  <a:cubicBezTo>
                    <a:pt x="85" y="41"/>
                    <a:pt x="85" y="41"/>
                    <a:pt x="85" y="41"/>
                  </a:cubicBezTo>
                  <a:cubicBezTo>
                    <a:pt x="85" y="20"/>
                    <a:pt x="85" y="20"/>
                    <a:pt x="85" y="20"/>
                  </a:cubicBezTo>
                  <a:cubicBezTo>
                    <a:pt x="85" y="20"/>
                    <a:pt x="85" y="16"/>
                    <a:pt x="92" y="16"/>
                  </a:cubicBezTo>
                  <a:cubicBezTo>
                    <a:pt x="99" y="16"/>
                    <a:pt x="99" y="20"/>
                    <a:pt x="99" y="20"/>
                  </a:cubicBezTo>
                  <a:cubicBezTo>
                    <a:pt x="99" y="41"/>
                    <a:pt x="99" y="41"/>
                    <a:pt x="99" y="41"/>
                  </a:cubicBezTo>
                  <a:cubicBezTo>
                    <a:pt x="108" y="41"/>
                    <a:pt x="108" y="41"/>
                    <a:pt x="108" y="41"/>
                  </a:cubicBezTo>
                  <a:cubicBezTo>
                    <a:pt x="108" y="19"/>
                    <a:pt x="108" y="19"/>
                    <a:pt x="108" y="19"/>
                  </a:cubicBezTo>
                  <a:cubicBezTo>
                    <a:pt x="108" y="19"/>
                    <a:pt x="108" y="12"/>
                    <a:pt x="92" y="12"/>
                  </a:cubicBezTo>
                  <a:close/>
                  <a:moveTo>
                    <a:pt x="160" y="12"/>
                  </a:moveTo>
                  <a:cubicBezTo>
                    <a:pt x="155" y="12"/>
                    <a:pt x="152" y="13"/>
                    <a:pt x="149" y="14"/>
                  </a:cubicBezTo>
                  <a:cubicBezTo>
                    <a:pt x="145" y="14"/>
                    <a:pt x="145" y="14"/>
                    <a:pt x="145" y="14"/>
                  </a:cubicBezTo>
                  <a:cubicBezTo>
                    <a:pt x="145" y="41"/>
                    <a:pt x="145" y="41"/>
                    <a:pt x="145" y="41"/>
                  </a:cubicBezTo>
                  <a:cubicBezTo>
                    <a:pt x="153" y="41"/>
                    <a:pt x="153" y="41"/>
                    <a:pt x="153" y="41"/>
                  </a:cubicBezTo>
                  <a:cubicBezTo>
                    <a:pt x="153" y="20"/>
                    <a:pt x="153" y="20"/>
                    <a:pt x="153" y="20"/>
                  </a:cubicBezTo>
                  <a:cubicBezTo>
                    <a:pt x="153" y="20"/>
                    <a:pt x="153" y="16"/>
                    <a:pt x="160" y="16"/>
                  </a:cubicBezTo>
                  <a:cubicBezTo>
                    <a:pt x="167" y="16"/>
                    <a:pt x="167" y="20"/>
                    <a:pt x="167" y="20"/>
                  </a:cubicBezTo>
                  <a:cubicBezTo>
                    <a:pt x="167" y="41"/>
                    <a:pt x="167" y="41"/>
                    <a:pt x="167" y="41"/>
                  </a:cubicBezTo>
                  <a:cubicBezTo>
                    <a:pt x="176" y="41"/>
                    <a:pt x="176" y="41"/>
                    <a:pt x="176" y="41"/>
                  </a:cubicBezTo>
                  <a:cubicBezTo>
                    <a:pt x="176" y="19"/>
                    <a:pt x="176" y="19"/>
                    <a:pt x="176" y="19"/>
                  </a:cubicBezTo>
                  <a:cubicBezTo>
                    <a:pt x="176" y="19"/>
                    <a:pt x="175" y="12"/>
                    <a:pt x="160" y="12"/>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rgbClr val="DDEEF8"/>
                </a:solidFill>
                <a:latin typeface="Arial"/>
                <a:ea typeface="Arial"/>
                <a:cs typeface="Arial"/>
                <a:sym typeface="Arial"/>
              </a:endParaRPr>
            </a:p>
          </p:txBody>
        </p:sp>
        <p:sp>
          <p:nvSpPr>
            <p:cNvPr id="34" name="Google Shape;34;p34"/>
            <p:cNvSpPr/>
            <p:nvPr/>
          </p:nvSpPr>
          <p:spPr>
            <a:xfrm>
              <a:off x="1786" y="2950"/>
              <a:ext cx="1965" cy="156"/>
            </a:xfrm>
            <a:custGeom>
              <a:avLst/>
              <a:gdLst/>
              <a:ahLst/>
              <a:cxnLst/>
              <a:rect l="l" t="t" r="r" b="b"/>
              <a:pathLst>
                <a:path w="296" h="22" extrusionOk="0">
                  <a:moveTo>
                    <a:pt x="11" y="1"/>
                  </a:moveTo>
                  <a:cubicBezTo>
                    <a:pt x="11" y="5"/>
                    <a:pt x="11" y="5"/>
                    <a:pt x="11" y="5"/>
                  </a:cubicBezTo>
                  <a:cubicBezTo>
                    <a:pt x="12" y="8"/>
                    <a:pt x="12" y="11"/>
                    <a:pt x="13" y="14"/>
                  </a:cubicBezTo>
                  <a:cubicBezTo>
                    <a:pt x="13" y="16"/>
                    <a:pt x="13" y="16"/>
                    <a:pt x="15" y="16"/>
                  </a:cubicBezTo>
                  <a:cubicBezTo>
                    <a:pt x="15" y="17"/>
                    <a:pt x="15" y="17"/>
                    <a:pt x="15" y="17"/>
                  </a:cubicBezTo>
                  <a:cubicBezTo>
                    <a:pt x="9" y="17"/>
                    <a:pt x="9" y="17"/>
                    <a:pt x="9" y="17"/>
                  </a:cubicBezTo>
                  <a:cubicBezTo>
                    <a:pt x="9" y="16"/>
                    <a:pt x="9" y="16"/>
                    <a:pt x="9" y="16"/>
                  </a:cubicBezTo>
                  <a:cubicBezTo>
                    <a:pt x="10" y="16"/>
                    <a:pt x="10" y="16"/>
                    <a:pt x="10" y="16"/>
                  </a:cubicBezTo>
                  <a:cubicBezTo>
                    <a:pt x="10" y="16"/>
                    <a:pt x="11" y="16"/>
                    <a:pt x="10" y="15"/>
                  </a:cubicBezTo>
                  <a:cubicBezTo>
                    <a:pt x="10" y="11"/>
                    <a:pt x="10" y="11"/>
                    <a:pt x="10" y="11"/>
                  </a:cubicBezTo>
                  <a:cubicBezTo>
                    <a:pt x="5" y="11"/>
                    <a:pt x="5" y="11"/>
                    <a:pt x="5" y="11"/>
                  </a:cubicBezTo>
                  <a:cubicBezTo>
                    <a:pt x="5" y="12"/>
                    <a:pt x="4" y="13"/>
                    <a:pt x="4" y="14"/>
                  </a:cubicBezTo>
                  <a:cubicBezTo>
                    <a:pt x="3" y="16"/>
                    <a:pt x="3" y="16"/>
                    <a:pt x="4" y="16"/>
                  </a:cubicBezTo>
                  <a:cubicBezTo>
                    <a:pt x="5" y="16"/>
                    <a:pt x="5" y="16"/>
                    <a:pt x="5" y="16"/>
                  </a:cubicBezTo>
                  <a:cubicBezTo>
                    <a:pt x="5" y="17"/>
                    <a:pt x="5" y="17"/>
                    <a:pt x="5" y="17"/>
                  </a:cubicBezTo>
                  <a:cubicBezTo>
                    <a:pt x="0" y="17"/>
                    <a:pt x="0" y="17"/>
                    <a:pt x="0" y="17"/>
                  </a:cubicBezTo>
                  <a:cubicBezTo>
                    <a:pt x="0" y="16"/>
                    <a:pt x="0" y="16"/>
                    <a:pt x="0" y="16"/>
                  </a:cubicBezTo>
                  <a:cubicBezTo>
                    <a:pt x="1" y="16"/>
                    <a:pt x="1" y="16"/>
                    <a:pt x="3" y="14"/>
                  </a:cubicBezTo>
                  <a:cubicBezTo>
                    <a:pt x="10" y="1"/>
                    <a:pt x="10" y="1"/>
                    <a:pt x="10" y="1"/>
                  </a:cubicBezTo>
                  <a:lnTo>
                    <a:pt x="11" y="1"/>
                  </a:lnTo>
                  <a:close/>
                  <a:moveTo>
                    <a:pt x="6" y="10"/>
                  </a:moveTo>
                  <a:cubicBezTo>
                    <a:pt x="10" y="10"/>
                    <a:pt x="10" y="10"/>
                    <a:pt x="10" y="10"/>
                  </a:cubicBezTo>
                  <a:cubicBezTo>
                    <a:pt x="9" y="5"/>
                    <a:pt x="9" y="5"/>
                    <a:pt x="9" y="5"/>
                  </a:cubicBezTo>
                  <a:cubicBezTo>
                    <a:pt x="9" y="5"/>
                    <a:pt x="9" y="5"/>
                    <a:pt x="9" y="5"/>
                  </a:cubicBezTo>
                  <a:lnTo>
                    <a:pt x="6" y="10"/>
                  </a:lnTo>
                  <a:close/>
                  <a:moveTo>
                    <a:pt x="30" y="1"/>
                  </a:moveTo>
                  <a:cubicBezTo>
                    <a:pt x="33" y="13"/>
                    <a:pt x="33" y="13"/>
                    <a:pt x="33" y="13"/>
                  </a:cubicBezTo>
                  <a:cubicBezTo>
                    <a:pt x="40" y="1"/>
                    <a:pt x="40" y="1"/>
                    <a:pt x="40" y="1"/>
                  </a:cubicBezTo>
                  <a:cubicBezTo>
                    <a:pt x="45" y="1"/>
                    <a:pt x="45" y="1"/>
                    <a:pt x="45" y="1"/>
                  </a:cubicBezTo>
                  <a:cubicBezTo>
                    <a:pt x="45" y="2"/>
                    <a:pt x="45" y="2"/>
                    <a:pt x="45" y="2"/>
                  </a:cubicBezTo>
                  <a:cubicBezTo>
                    <a:pt x="43" y="2"/>
                    <a:pt x="42" y="2"/>
                    <a:pt x="42" y="5"/>
                  </a:cubicBezTo>
                  <a:cubicBezTo>
                    <a:pt x="41" y="13"/>
                    <a:pt x="41" y="13"/>
                    <a:pt x="41" y="13"/>
                  </a:cubicBezTo>
                  <a:cubicBezTo>
                    <a:pt x="40" y="16"/>
                    <a:pt x="40" y="16"/>
                    <a:pt x="42" y="16"/>
                  </a:cubicBezTo>
                  <a:cubicBezTo>
                    <a:pt x="42" y="17"/>
                    <a:pt x="42" y="17"/>
                    <a:pt x="42" y="17"/>
                  </a:cubicBezTo>
                  <a:cubicBezTo>
                    <a:pt x="36" y="17"/>
                    <a:pt x="36" y="17"/>
                    <a:pt x="36" y="17"/>
                  </a:cubicBezTo>
                  <a:cubicBezTo>
                    <a:pt x="36" y="16"/>
                    <a:pt x="36" y="16"/>
                    <a:pt x="36" y="16"/>
                  </a:cubicBezTo>
                  <a:cubicBezTo>
                    <a:pt x="38" y="16"/>
                    <a:pt x="38" y="16"/>
                    <a:pt x="38" y="13"/>
                  </a:cubicBezTo>
                  <a:cubicBezTo>
                    <a:pt x="40" y="4"/>
                    <a:pt x="40" y="4"/>
                    <a:pt x="40" y="4"/>
                  </a:cubicBezTo>
                  <a:cubicBezTo>
                    <a:pt x="40" y="4"/>
                    <a:pt x="40" y="4"/>
                    <a:pt x="40" y="4"/>
                  </a:cubicBezTo>
                  <a:cubicBezTo>
                    <a:pt x="32" y="16"/>
                    <a:pt x="32" y="16"/>
                    <a:pt x="32" y="16"/>
                  </a:cubicBezTo>
                  <a:cubicBezTo>
                    <a:pt x="31" y="16"/>
                    <a:pt x="31" y="16"/>
                    <a:pt x="31" y="16"/>
                  </a:cubicBezTo>
                  <a:cubicBezTo>
                    <a:pt x="28" y="4"/>
                    <a:pt x="28" y="4"/>
                    <a:pt x="28" y="4"/>
                  </a:cubicBezTo>
                  <a:cubicBezTo>
                    <a:pt x="28" y="4"/>
                    <a:pt x="28" y="4"/>
                    <a:pt x="28" y="4"/>
                  </a:cubicBezTo>
                  <a:cubicBezTo>
                    <a:pt x="27" y="10"/>
                    <a:pt x="27" y="10"/>
                    <a:pt x="27" y="10"/>
                  </a:cubicBezTo>
                  <a:cubicBezTo>
                    <a:pt x="27" y="13"/>
                    <a:pt x="26" y="14"/>
                    <a:pt x="26" y="15"/>
                  </a:cubicBezTo>
                  <a:cubicBezTo>
                    <a:pt x="26" y="16"/>
                    <a:pt x="27" y="16"/>
                    <a:pt x="28" y="16"/>
                  </a:cubicBezTo>
                  <a:cubicBezTo>
                    <a:pt x="28" y="17"/>
                    <a:pt x="28" y="17"/>
                    <a:pt x="28" y="17"/>
                  </a:cubicBezTo>
                  <a:cubicBezTo>
                    <a:pt x="22" y="17"/>
                    <a:pt x="22" y="17"/>
                    <a:pt x="22" y="17"/>
                  </a:cubicBezTo>
                  <a:cubicBezTo>
                    <a:pt x="23" y="16"/>
                    <a:pt x="23" y="16"/>
                    <a:pt x="23" y="16"/>
                  </a:cubicBezTo>
                  <a:cubicBezTo>
                    <a:pt x="24" y="16"/>
                    <a:pt x="24" y="16"/>
                    <a:pt x="25" y="15"/>
                  </a:cubicBezTo>
                  <a:cubicBezTo>
                    <a:pt x="25" y="14"/>
                    <a:pt x="25" y="13"/>
                    <a:pt x="26" y="10"/>
                  </a:cubicBezTo>
                  <a:cubicBezTo>
                    <a:pt x="27" y="5"/>
                    <a:pt x="27" y="5"/>
                    <a:pt x="27" y="5"/>
                  </a:cubicBezTo>
                  <a:cubicBezTo>
                    <a:pt x="28" y="2"/>
                    <a:pt x="28" y="2"/>
                    <a:pt x="26" y="2"/>
                  </a:cubicBezTo>
                  <a:cubicBezTo>
                    <a:pt x="26" y="1"/>
                    <a:pt x="26" y="1"/>
                    <a:pt x="26" y="1"/>
                  </a:cubicBezTo>
                  <a:lnTo>
                    <a:pt x="30" y="1"/>
                  </a:lnTo>
                  <a:close/>
                  <a:moveTo>
                    <a:pt x="52" y="14"/>
                  </a:moveTo>
                  <a:cubicBezTo>
                    <a:pt x="50" y="17"/>
                    <a:pt x="48" y="17"/>
                    <a:pt x="47" y="17"/>
                  </a:cubicBezTo>
                  <a:cubicBezTo>
                    <a:pt x="46" y="17"/>
                    <a:pt x="44" y="16"/>
                    <a:pt x="44" y="13"/>
                  </a:cubicBezTo>
                  <a:cubicBezTo>
                    <a:pt x="44" y="11"/>
                    <a:pt x="45" y="9"/>
                    <a:pt x="47" y="8"/>
                  </a:cubicBezTo>
                  <a:cubicBezTo>
                    <a:pt x="48" y="7"/>
                    <a:pt x="49" y="6"/>
                    <a:pt x="51" y="6"/>
                  </a:cubicBezTo>
                  <a:cubicBezTo>
                    <a:pt x="52" y="6"/>
                    <a:pt x="53" y="7"/>
                    <a:pt x="53" y="8"/>
                  </a:cubicBezTo>
                  <a:cubicBezTo>
                    <a:pt x="53" y="10"/>
                    <a:pt x="49" y="12"/>
                    <a:pt x="47" y="12"/>
                  </a:cubicBezTo>
                  <a:cubicBezTo>
                    <a:pt x="47" y="13"/>
                    <a:pt x="47" y="13"/>
                    <a:pt x="47" y="13"/>
                  </a:cubicBezTo>
                  <a:cubicBezTo>
                    <a:pt x="47" y="14"/>
                    <a:pt x="47" y="15"/>
                    <a:pt x="48" y="15"/>
                  </a:cubicBezTo>
                  <a:cubicBezTo>
                    <a:pt x="49" y="15"/>
                    <a:pt x="51" y="15"/>
                    <a:pt x="52" y="14"/>
                  </a:cubicBezTo>
                  <a:close/>
                  <a:moveTo>
                    <a:pt x="49" y="7"/>
                  </a:moveTo>
                  <a:cubicBezTo>
                    <a:pt x="48" y="8"/>
                    <a:pt x="47" y="9"/>
                    <a:pt x="47" y="12"/>
                  </a:cubicBezTo>
                  <a:cubicBezTo>
                    <a:pt x="50" y="11"/>
                    <a:pt x="51" y="10"/>
                    <a:pt x="51" y="8"/>
                  </a:cubicBezTo>
                  <a:cubicBezTo>
                    <a:pt x="51" y="7"/>
                    <a:pt x="50" y="7"/>
                    <a:pt x="50" y="7"/>
                  </a:cubicBezTo>
                  <a:cubicBezTo>
                    <a:pt x="50" y="7"/>
                    <a:pt x="49" y="7"/>
                    <a:pt x="49" y="7"/>
                  </a:cubicBezTo>
                  <a:close/>
                  <a:moveTo>
                    <a:pt x="55" y="8"/>
                  </a:moveTo>
                  <a:cubicBezTo>
                    <a:pt x="56" y="7"/>
                    <a:pt x="58" y="6"/>
                    <a:pt x="58" y="6"/>
                  </a:cubicBezTo>
                  <a:cubicBezTo>
                    <a:pt x="59" y="6"/>
                    <a:pt x="59" y="7"/>
                    <a:pt x="59" y="8"/>
                  </a:cubicBezTo>
                  <a:cubicBezTo>
                    <a:pt x="59" y="10"/>
                    <a:pt x="59" y="10"/>
                    <a:pt x="59" y="10"/>
                  </a:cubicBezTo>
                  <a:cubicBezTo>
                    <a:pt x="59" y="10"/>
                    <a:pt x="59" y="10"/>
                    <a:pt x="59" y="10"/>
                  </a:cubicBezTo>
                  <a:cubicBezTo>
                    <a:pt x="60" y="8"/>
                    <a:pt x="62" y="7"/>
                    <a:pt x="63" y="6"/>
                  </a:cubicBezTo>
                  <a:cubicBezTo>
                    <a:pt x="63" y="6"/>
                    <a:pt x="64" y="6"/>
                    <a:pt x="64" y="6"/>
                  </a:cubicBezTo>
                  <a:cubicBezTo>
                    <a:pt x="65" y="6"/>
                    <a:pt x="66" y="6"/>
                    <a:pt x="65" y="9"/>
                  </a:cubicBezTo>
                  <a:cubicBezTo>
                    <a:pt x="65" y="10"/>
                    <a:pt x="65" y="10"/>
                    <a:pt x="65" y="10"/>
                  </a:cubicBezTo>
                  <a:cubicBezTo>
                    <a:pt x="65" y="10"/>
                    <a:pt x="65" y="10"/>
                    <a:pt x="65" y="10"/>
                  </a:cubicBezTo>
                  <a:cubicBezTo>
                    <a:pt x="66" y="8"/>
                    <a:pt x="68" y="7"/>
                    <a:pt x="69" y="6"/>
                  </a:cubicBezTo>
                  <a:cubicBezTo>
                    <a:pt x="69" y="6"/>
                    <a:pt x="70" y="6"/>
                    <a:pt x="70" y="6"/>
                  </a:cubicBezTo>
                  <a:cubicBezTo>
                    <a:pt x="71" y="6"/>
                    <a:pt x="72" y="6"/>
                    <a:pt x="71" y="9"/>
                  </a:cubicBezTo>
                  <a:cubicBezTo>
                    <a:pt x="71" y="10"/>
                    <a:pt x="70" y="12"/>
                    <a:pt x="70" y="14"/>
                  </a:cubicBezTo>
                  <a:cubicBezTo>
                    <a:pt x="70" y="15"/>
                    <a:pt x="70" y="15"/>
                    <a:pt x="70" y="15"/>
                  </a:cubicBezTo>
                  <a:cubicBezTo>
                    <a:pt x="70" y="15"/>
                    <a:pt x="71" y="15"/>
                    <a:pt x="72" y="14"/>
                  </a:cubicBezTo>
                  <a:cubicBezTo>
                    <a:pt x="72" y="15"/>
                    <a:pt x="72" y="15"/>
                    <a:pt x="72" y="15"/>
                  </a:cubicBezTo>
                  <a:cubicBezTo>
                    <a:pt x="70" y="16"/>
                    <a:pt x="68" y="17"/>
                    <a:pt x="68" y="17"/>
                  </a:cubicBezTo>
                  <a:cubicBezTo>
                    <a:pt x="67" y="17"/>
                    <a:pt x="67" y="16"/>
                    <a:pt x="67" y="15"/>
                  </a:cubicBezTo>
                  <a:cubicBezTo>
                    <a:pt x="69" y="9"/>
                    <a:pt x="69" y="9"/>
                    <a:pt x="69" y="9"/>
                  </a:cubicBezTo>
                  <a:cubicBezTo>
                    <a:pt x="69" y="8"/>
                    <a:pt x="69" y="8"/>
                    <a:pt x="68" y="8"/>
                  </a:cubicBezTo>
                  <a:cubicBezTo>
                    <a:pt x="68" y="8"/>
                    <a:pt x="65" y="10"/>
                    <a:pt x="64" y="12"/>
                  </a:cubicBezTo>
                  <a:cubicBezTo>
                    <a:pt x="64" y="13"/>
                    <a:pt x="64" y="15"/>
                    <a:pt x="63" y="16"/>
                  </a:cubicBezTo>
                  <a:cubicBezTo>
                    <a:pt x="61" y="17"/>
                    <a:pt x="61" y="17"/>
                    <a:pt x="61" y="17"/>
                  </a:cubicBezTo>
                  <a:cubicBezTo>
                    <a:pt x="61" y="16"/>
                    <a:pt x="61" y="14"/>
                    <a:pt x="62" y="13"/>
                  </a:cubicBezTo>
                  <a:cubicBezTo>
                    <a:pt x="63" y="9"/>
                    <a:pt x="63" y="9"/>
                    <a:pt x="63" y="9"/>
                  </a:cubicBezTo>
                  <a:cubicBezTo>
                    <a:pt x="63" y="8"/>
                    <a:pt x="63" y="8"/>
                    <a:pt x="62" y="8"/>
                  </a:cubicBezTo>
                  <a:cubicBezTo>
                    <a:pt x="62" y="8"/>
                    <a:pt x="59" y="10"/>
                    <a:pt x="58" y="12"/>
                  </a:cubicBezTo>
                  <a:cubicBezTo>
                    <a:pt x="58" y="13"/>
                    <a:pt x="57" y="15"/>
                    <a:pt x="57" y="16"/>
                  </a:cubicBezTo>
                  <a:cubicBezTo>
                    <a:pt x="55" y="17"/>
                    <a:pt x="55" y="17"/>
                    <a:pt x="55" y="17"/>
                  </a:cubicBezTo>
                  <a:cubicBezTo>
                    <a:pt x="55" y="16"/>
                    <a:pt x="55" y="14"/>
                    <a:pt x="56" y="13"/>
                  </a:cubicBezTo>
                  <a:cubicBezTo>
                    <a:pt x="56" y="9"/>
                    <a:pt x="56" y="9"/>
                    <a:pt x="56" y="9"/>
                  </a:cubicBezTo>
                  <a:cubicBezTo>
                    <a:pt x="57" y="8"/>
                    <a:pt x="57" y="8"/>
                    <a:pt x="57" y="8"/>
                  </a:cubicBezTo>
                  <a:cubicBezTo>
                    <a:pt x="56" y="8"/>
                    <a:pt x="55" y="9"/>
                    <a:pt x="55" y="9"/>
                  </a:cubicBezTo>
                  <a:lnTo>
                    <a:pt x="55" y="8"/>
                  </a:lnTo>
                  <a:close/>
                  <a:moveTo>
                    <a:pt x="75" y="1"/>
                  </a:moveTo>
                  <a:cubicBezTo>
                    <a:pt x="77" y="0"/>
                    <a:pt x="79" y="0"/>
                    <a:pt x="79" y="0"/>
                  </a:cubicBezTo>
                  <a:cubicBezTo>
                    <a:pt x="79" y="0"/>
                    <a:pt x="79" y="0"/>
                    <a:pt x="79" y="1"/>
                  </a:cubicBezTo>
                  <a:cubicBezTo>
                    <a:pt x="77" y="9"/>
                    <a:pt x="77" y="9"/>
                    <a:pt x="77" y="9"/>
                  </a:cubicBezTo>
                  <a:cubicBezTo>
                    <a:pt x="77" y="9"/>
                    <a:pt x="77" y="9"/>
                    <a:pt x="77" y="9"/>
                  </a:cubicBezTo>
                  <a:cubicBezTo>
                    <a:pt x="79" y="7"/>
                    <a:pt x="81" y="6"/>
                    <a:pt x="82" y="6"/>
                  </a:cubicBezTo>
                  <a:cubicBezTo>
                    <a:pt x="83" y="6"/>
                    <a:pt x="84" y="7"/>
                    <a:pt x="84" y="8"/>
                  </a:cubicBezTo>
                  <a:cubicBezTo>
                    <a:pt x="84" y="11"/>
                    <a:pt x="82" y="14"/>
                    <a:pt x="80" y="16"/>
                  </a:cubicBezTo>
                  <a:cubicBezTo>
                    <a:pt x="79" y="17"/>
                    <a:pt x="78" y="17"/>
                    <a:pt x="77" y="17"/>
                  </a:cubicBezTo>
                  <a:cubicBezTo>
                    <a:pt x="75" y="17"/>
                    <a:pt x="74" y="17"/>
                    <a:pt x="74" y="16"/>
                  </a:cubicBezTo>
                  <a:cubicBezTo>
                    <a:pt x="74" y="15"/>
                    <a:pt x="74" y="15"/>
                    <a:pt x="74" y="13"/>
                  </a:cubicBezTo>
                  <a:cubicBezTo>
                    <a:pt x="76" y="2"/>
                    <a:pt x="76" y="2"/>
                    <a:pt x="76" y="2"/>
                  </a:cubicBezTo>
                  <a:cubicBezTo>
                    <a:pt x="77" y="1"/>
                    <a:pt x="77" y="1"/>
                    <a:pt x="76" y="1"/>
                  </a:cubicBezTo>
                  <a:cubicBezTo>
                    <a:pt x="75" y="1"/>
                    <a:pt x="75" y="1"/>
                    <a:pt x="75" y="1"/>
                  </a:cubicBezTo>
                  <a:close/>
                  <a:moveTo>
                    <a:pt x="78" y="10"/>
                  </a:moveTo>
                  <a:cubicBezTo>
                    <a:pt x="77" y="11"/>
                    <a:pt x="77" y="11"/>
                    <a:pt x="76" y="13"/>
                  </a:cubicBezTo>
                  <a:cubicBezTo>
                    <a:pt x="76" y="15"/>
                    <a:pt x="77" y="16"/>
                    <a:pt x="78" y="16"/>
                  </a:cubicBezTo>
                  <a:cubicBezTo>
                    <a:pt x="78" y="16"/>
                    <a:pt x="78" y="16"/>
                    <a:pt x="79" y="16"/>
                  </a:cubicBezTo>
                  <a:cubicBezTo>
                    <a:pt x="80" y="15"/>
                    <a:pt x="81" y="12"/>
                    <a:pt x="81" y="9"/>
                  </a:cubicBezTo>
                  <a:cubicBezTo>
                    <a:pt x="81" y="8"/>
                    <a:pt x="81" y="8"/>
                    <a:pt x="81" y="8"/>
                  </a:cubicBezTo>
                  <a:cubicBezTo>
                    <a:pt x="80" y="8"/>
                    <a:pt x="79" y="9"/>
                    <a:pt x="78" y="10"/>
                  </a:cubicBezTo>
                  <a:close/>
                  <a:moveTo>
                    <a:pt x="94" y="14"/>
                  </a:moveTo>
                  <a:cubicBezTo>
                    <a:pt x="91" y="17"/>
                    <a:pt x="89" y="17"/>
                    <a:pt x="88" y="17"/>
                  </a:cubicBezTo>
                  <a:cubicBezTo>
                    <a:pt x="87" y="17"/>
                    <a:pt x="86" y="16"/>
                    <a:pt x="86" y="13"/>
                  </a:cubicBezTo>
                  <a:cubicBezTo>
                    <a:pt x="86" y="11"/>
                    <a:pt x="87" y="9"/>
                    <a:pt x="88" y="8"/>
                  </a:cubicBezTo>
                  <a:cubicBezTo>
                    <a:pt x="89" y="7"/>
                    <a:pt x="91" y="6"/>
                    <a:pt x="92" y="6"/>
                  </a:cubicBezTo>
                  <a:cubicBezTo>
                    <a:pt x="94" y="6"/>
                    <a:pt x="95" y="7"/>
                    <a:pt x="95" y="8"/>
                  </a:cubicBezTo>
                  <a:cubicBezTo>
                    <a:pt x="95" y="10"/>
                    <a:pt x="90" y="12"/>
                    <a:pt x="88" y="12"/>
                  </a:cubicBezTo>
                  <a:cubicBezTo>
                    <a:pt x="88" y="13"/>
                    <a:pt x="88" y="13"/>
                    <a:pt x="88" y="13"/>
                  </a:cubicBezTo>
                  <a:cubicBezTo>
                    <a:pt x="88" y="14"/>
                    <a:pt x="88" y="15"/>
                    <a:pt x="90" y="15"/>
                  </a:cubicBezTo>
                  <a:cubicBezTo>
                    <a:pt x="91" y="15"/>
                    <a:pt x="92" y="15"/>
                    <a:pt x="93" y="14"/>
                  </a:cubicBezTo>
                  <a:lnTo>
                    <a:pt x="94" y="14"/>
                  </a:lnTo>
                  <a:close/>
                  <a:moveTo>
                    <a:pt x="90" y="7"/>
                  </a:moveTo>
                  <a:cubicBezTo>
                    <a:pt x="90" y="8"/>
                    <a:pt x="89" y="9"/>
                    <a:pt x="88" y="12"/>
                  </a:cubicBezTo>
                  <a:cubicBezTo>
                    <a:pt x="91" y="11"/>
                    <a:pt x="92" y="10"/>
                    <a:pt x="92" y="8"/>
                  </a:cubicBezTo>
                  <a:cubicBezTo>
                    <a:pt x="92" y="7"/>
                    <a:pt x="92" y="7"/>
                    <a:pt x="91" y="7"/>
                  </a:cubicBezTo>
                  <a:cubicBezTo>
                    <a:pt x="91" y="7"/>
                    <a:pt x="91" y="7"/>
                    <a:pt x="90" y="7"/>
                  </a:cubicBezTo>
                  <a:close/>
                  <a:moveTo>
                    <a:pt x="96" y="8"/>
                  </a:moveTo>
                  <a:cubicBezTo>
                    <a:pt x="97" y="7"/>
                    <a:pt x="99" y="6"/>
                    <a:pt x="100" y="6"/>
                  </a:cubicBezTo>
                  <a:cubicBezTo>
                    <a:pt x="100" y="6"/>
                    <a:pt x="100" y="7"/>
                    <a:pt x="100" y="8"/>
                  </a:cubicBezTo>
                  <a:cubicBezTo>
                    <a:pt x="100" y="10"/>
                    <a:pt x="100" y="10"/>
                    <a:pt x="100" y="10"/>
                  </a:cubicBezTo>
                  <a:cubicBezTo>
                    <a:pt x="100" y="10"/>
                    <a:pt x="100" y="10"/>
                    <a:pt x="100" y="10"/>
                  </a:cubicBezTo>
                  <a:cubicBezTo>
                    <a:pt x="101" y="7"/>
                    <a:pt x="102" y="6"/>
                    <a:pt x="103" y="6"/>
                  </a:cubicBezTo>
                  <a:cubicBezTo>
                    <a:pt x="103" y="6"/>
                    <a:pt x="104" y="6"/>
                    <a:pt x="104" y="7"/>
                  </a:cubicBezTo>
                  <a:cubicBezTo>
                    <a:pt x="104" y="7"/>
                    <a:pt x="104" y="7"/>
                    <a:pt x="104" y="8"/>
                  </a:cubicBezTo>
                  <a:cubicBezTo>
                    <a:pt x="104" y="8"/>
                    <a:pt x="104" y="8"/>
                    <a:pt x="103" y="9"/>
                  </a:cubicBezTo>
                  <a:cubicBezTo>
                    <a:pt x="103" y="9"/>
                    <a:pt x="103" y="9"/>
                    <a:pt x="103" y="9"/>
                  </a:cubicBezTo>
                  <a:cubicBezTo>
                    <a:pt x="102" y="8"/>
                    <a:pt x="102" y="8"/>
                    <a:pt x="102" y="8"/>
                  </a:cubicBezTo>
                  <a:cubicBezTo>
                    <a:pt x="102" y="8"/>
                    <a:pt x="101" y="8"/>
                    <a:pt x="101" y="9"/>
                  </a:cubicBezTo>
                  <a:cubicBezTo>
                    <a:pt x="100" y="10"/>
                    <a:pt x="100" y="11"/>
                    <a:pt x="100" y="12"/>
                  </a:cubicBezTo>
                  <a:cubicBezTo>
                    <a:pt x="99" y="14"/>
                    <a:pt x="99" y="15"/>
                    <a:pt x="99" y="16"/>
                  </a:cubicBezTo>
                  <a:cubicBezTo>
                    <a:pt x="99" y="16"/>
                    <a:pt x="99" y="16"/>
                    <a:pt x="99" y="16"/>
                  </a:cubicBezTo>
                  <a:cubicBezTo>
                    <a:pt x="96" y="17"/>
                    <a:pt x="96" y="17"/>
                    <a:pt x="96" y="17"/>
                  </a:cubicBezTo>
                  <a:cubicBezTo>
                    <a:pt x="96" y="16"/>
                    <a:pt x="97" y="14"/>
                    <a:pt x="97" y="13"/>
                  </a:cubicBezTo>
                  <a:cubicBezTo>
                    <a:pt x="98" y="9"/>
                    <a:pt x="98" y="9"/>
                    <a:pt x="98" y="9"/>
                  </a:cubicBezTo>
                  <a:cubicBezTo>
                    <a:pt x="98" y="8"/>
                    <a:pt x="98" y="8"/>
                    <a:pt x="98" y="8"/>
                  </a:cubicBezTo>
                  <a:cubicBezTo>
                    <a:pt x="98" y="8"/>
                    <a:pt x="97" y="9"/>
                    <a:pt x="96" y="9"/>
                  </a:cubicBezTo>
                  <a:lnTo>
                    <a:pt x="96" y="8"/>
                  </a:lnTo>
                  <a:close/>
                  <a:moveTo>
                    <a:pt x="119" y="9"/>
                  </a:moveTo>
                  <a:cubicBezTo>
                    <a:pt x="119" y="12"/>
                    <a:pt x="118" y="14"/>
                    <a:pt x="117" y="15"/>
                  </a:cubicBezTo>
                  <a:cubicBezTo>
                    <a:pt x="116" y="16"/>
                    <a:pt x="114" y="17"/>
                    <a:pt x="113" y="17"/>
                  </a:cubicBezTo>
                  <a:cubicBezTo>
                    <a:pt x="110" y="17"/>
                    <a:pt x="109" y="15"/>
                    <a:pt x="109" y="13"/>
                  </a:cubicBezTo>
                  <a:cubicBezTo>
                    <a:pt x="109" y="10"/>
                    <a:pt x="111" y="8"/>
                    <a:pt x="113" y="7"/>
                  </a:cubicBezTo>
                  <a:cubicBezTo>
                    <a:pt x="114" y="6"/>
                    <a:pt x="115" y="6"/>
                    <a:pt x="116" y="6"/>
                  </a:cubicBezTo>
                  <a:cubicBezTo>
                    <a:pt x="118" y="6"/>
                    <a:pt x="119" y="8"/>
                    <a:pt x="119" y="9"/>
                  </a:cubicBezTo>
                  <a:close/>
                  <a:moveTo>
                    <a:pt x="114" y="7"/>
                  </a:moveTo>
                  <a:cubicBezTo>
                    <a:pt x="113" y="8"/>
                    <a:pt x="112" y="9"/>
                    <a:pt x="112" y="13"/>
                  </a:cubicBezTo>
                  <a:cubicBezTo>
                    <a:pt x="112" y="15"/>
                    <a:pt x="113" y="16"/>
                    <a:pt x="114" y="16"/>
                  </a:cubicBezTo>
                  <a:cubicBezTo>
                    <a:pt x="114" y="16"/>
                    <a:pt x="114" y="16"/>
                    <a:pt x="114" y="16"/>
                  </a:cubicBezTo>
                  <a:cubicBezTo>
                    <a:pt x="115" y="16"/>
                    <a:pt x="117" y="13"/>
                    <a:pt x="117" y="10"/>
                  </a:cubicBezTo>
                  <a:cubicBezTo>
                    <a:pt x="117" y="8"/>
                    <a:pt x="116" y="7"/>
                    <a:pt x="115" y="7"/>
                  </a:cubicBezTo>
                  <a:cubicBezTo>
                    <a:pt x="115" y="7"/>
                    <a:pt x="114" y="7"/>
                    <a:pt x="114" y="7"/>
                  </a:cubicBezTo>
                  <a:close/>
                  <a:moveTo>
                    <a:pt x="128" y="7"/>
                  </a:moveTo>
                  <a:cubicBezTo>
                    <a:pt x="128" y="7"/>
                    <a:pt x="128" y="7"/>
                    <a:pt x="128" y="7"/>
                  </a:cubicBezTo>
                  <a:cubicBezTo>
                    <a:pt x="125" y="8"/>
                    <a:pt x="125" y="8"/>
                    <a:pt x="125" y="8"/>
                  </a:cubicBezTo>
                  <a:cubicBezTo>
                    <a:pt x="125" y="10"/>
                    <a:pt x="125" y="11"/>
                    <a:pt x="124" y="13"/>
                  </a:cubicBezTo>
                  <a:cubicBezTo>
                    <a:pt x="124" y="18"/>
                    <a:pt x="122" y="20"/>
                    <a:pt x="121" y="21"/>
                  </a:cubicBezTo>
                  <a:cubicBezTo>
                    <a:pt x="120" y="22"/>
                    <a:pt x="119" y="22"/>
                    <a:pt x="119" y="22"/>
                  </a:cubicBezTo>
                  <a:cubicBezTo>
                    <a:pt x="118" y="22"/>
                    <a:pt x="118" y="22"/>
                    <a:pt x="118" y="22"/>
                  </a:cubicBezTo>
                  <a:cubicBezTo>
                    <a:pt x="118" y="21"/>
                    <a:pt x="118" y="21"/>
                    <a:pt x="118" y="21"/>
                  </a:cubicBezTo>
                  <a:cubicBezTo>
                    <a:pt x="118" y="20"/>
                    <a:pt x="118" y="20"/>
                    <a:pt x="119" y="20"/>
                  </a:cubicBezTo>
                  <a:cubicBezTo>
                    <a:pt x="119" y="21"/>
                    <a:pt x="120" y="21"/>
                    <a:pt x="120" y="21"/>
                  </a:cubicBezTo>
                  <a:cubicBezTo>
                    <a:pt x="120" y="21"/>
                    <a:pt x="120" y="21"/>
                    <a:pt x="120" y="21"/>
                  </a:cubicBezTo>
                  <a:cubicBezTo>
                    <a:pt x="121" y="20"/>
                    <a:pt x="121" y="19"/>
                    <a:pt x="122" y="15"/>
                  </a:cubicBezTo>
                  <a:cubicBezTo>
                    <a:pt x="122" y="12"/>
                    <a:pt x="123" y="10"/>
                    <a:pt x="123" y="8"/>
                  </a:cubicBezTo>
                  <a:cubicBezTo>
                    <a:pt x="121" y="8"/>
                    <a:pt x="121" y="8"/>
                    <a:pt x="121" y="8"/>
                  </a:cubicBezTo>
                  <a:cubicBezTo>
                    <a:pt x="121" y="7"/>
                    <a:pt x="121" y="7"/>
                    <a:pt x="121" y="7"/>
                  </a:cubicBezTo>
                  <a:cubicBezTo>
                    <a:pt x="122" y="7"/>
                    <a:pt x="122" y="7"/>
                    <a:pt x="122" y="7"/>
                  </a:cubicBezTo>
                  <a:cubicBezTo>
                    <a:pt x="123" y="7"/>
                    <a:pt x="123" y="7"/>
                    <a:pt x="123" y="7"/>
                  </a:cubicBezTo>
                  <a:cubicBezTo>
                    <a:pt x="123" y="5"/>
                    <a:pt x="124" y="3"/>
                    <a:pt x="125" y="2"/>
                  </a:cubicBezTo>
                  <a:cubicBezTo>
                    <a:pt x="126" y="1"/>
                    <a:pt x="128" y="0"/>
                    <a:pt x="129" y="0"/>
                  </a:cubicBezTo>
                  <a:cubicBezTo>
                    <a:pt x="130" y="0"/>
                    <a:pt x="131" y="0"/>
                    <a:pt x="131" y="1"/>
                  </a:cubicBezTo>
                  <a:cubicBezTo>
                    <a:pt x="131" y="1"/>
                    <a:pt x="130" y="2"/>
                    <a:pt x="130" y="2"/>
                  </a:cubicBezTo>
                  <a:cubicBezTo>
                    <a:pt x="130" y="2"/>
                    <a:pt x="129" y="2"/>
                    <a:pt x="129" y="2"/>
                  </a:cubicBezTo>
                  <a:cubicBezTo>
                    <a:pt x="129" y="1"/>
                    <a:pt x="128" y="1"/>
                    <a:pt x="127" y="1"/>
                  </a:cubicBezTo>
                  <a:cubicBezTo>
                    <a:pt x="127" y="1"/>
                    <a:pt x="126" y="2"/>
                    <a:pt x="126" y="7"/>
                  </a:cubicBezTo>
                  <a:lnTo>
                    <a:pt x="128" y="7"/>
                  </a:lnTo>
                  <a:close/>
                  <a:moveTo>
                    <a:pt x="141" y="3"/>
                  </a:moveTo>
                  <a:cubicBezTo>
                    <a:pt x="140" y="7"/>
                    <a:pt x="140" y="7"/>
                    <a:pt x="140" y="7"/>
                  </a:cubicBezTo>
                  <a:cubicBezTo>
                    <a:pt x="143" y="7"/>
                    <a:pt x="143" y="7"/>
                    <a:pt x="143" y="7"/>
                  </a:cubicBezTo>
                  <a:cubicBezTo>
                    <a:pt x="142" y="7"/>
                    <a:pt x="142" y="7"/>
                    <a:pt x="142" y="7"/>
                  </a:cubicBezTo>
                  <a:cubicBezTo>
                    <a:pt x="140" y="8"/>
                    <a:pt x="140" y="8"/>
                    <a:pt x="140" y="8"/>
                  </a:cubicBezTo>
                  <a:cubicBezTo>
                    <a:pt x="138" y="14"/>
                    <a:pt x="138" y="14"/>
                    <a:pt x="138" y="14"/>
                  </a:cubicBezTo>
                  <a:cubicBezTo>
                    <a:pt x="138" y="15"/>
                    <a:pt x="138" y="15"/>
                    <a:pt x="138" y="15"/>
                  </a:cubicBezTo>
                  <a:cubicBezTo>
                    <a:pt x="139" y="15"/>
                    <a:pt x="140" y="14"/>
                    <a:pt x="140" y="14"/>
                  </a:cubicBezTo>
                  <a:cubicBezTo>
                    <a:pt x="141" y="14"/>
                    <a:pt x="141" y="14"/>
                    <a:pt x="141" y="14"/>
                  </a:cubicBezTo>
                  <a:cubicBezTo>
                    <a:pt x="141" y="14"/>
                    <a:pt x="141" y="14"/>
                    <a:pt x="141" y="14"/>
                  </a:cubicBezTo>
                  <a:cubicBezTo>
                    <a:pt x="140" y="15"/>
                    <a:pt x="138" y="17"/>
                    <a:pt x="137" y="17"/>
                  </a:cubicBezTo>
                  <a:cubicBezTo>
                    <a:pt x="136" y="17"/>
                    <a:pt x="135" y="16"/>
                    <a:pt x="136" y="14"/>
                  </a:cubicBezTo>
                  <a:cubicBezTo>
                    <a:pt x="137" y="8"/>
                    <a:pt x="137" y="8"/>
                    <a:pt x="137" y="8"/>
                  </a:cubicBezTo>
                  <a:cubicBezTo>
                    <a:pt x="135" y="8"/>
                    <a:pt x="135" y="8"/>
                    <a:pt x="135" y="8"/>
                  </a:cubicBezTo>
                  <a:cubicBezTo>
                    <a:pt x="135" y="7"/>
                    <a:pt x="135" y="7"/>
                    <a:pt x="135" y="7"/>
                  </a:cubicBezTo>
                  <a:cubicBezTo>
                    <a:pt x="136" y="7"/>
                    <a:pt x="136" y="7"/>
                    <a:pt x="136" y="7"/>
                  </a:cubicBezTo>
                  <a:cubicBezTo>
                    <a:pt x="137" y="7"/>
                    <a:pt x="137" y="7"/>
                    <a:pt x="137" y="7"/>
                  </a:cubicBezTo>
                  <a:cubicBezTo>
                    <a:pt x="138" y="5"/>
                    <a:pt x="138" y="5"/>
                    <a:pt x="138" y="5"/>
                  </a:cubicBezTo>
                  <a:cubicBezTo>
                    <a:pt x="140" y="3"/>
                    <a:pt x="140" y="3"/>
                    <a:pt x="140" y="3"/>
                  </a:cubicBezTo>
                  <a:lnTo>
                    <a:pt x="141" y="3"/>
                  </a:lnTo>
                  <a:close/>
                  <a:moveTo>
                    <a:pt x="143" y="17"/>
                  </a:moveTo>
                  <a:cubicBezTo>
                    <a:pt x="143" y="16"/>
                    <a:pt x="143" y="15"/>
                    <a:pt x="143" y="13"/>
                  </a:cubicBezTo>
                  <a:cubicBezTo>
                    <a:pt x="146" y="2"/>
                    <a:pt x="146" y="2"/>
                    <a:pt x="146" y="2"/>
                  </a:cubicBezTo>
                  <a:cubicBezTo>
                    <a:pt x="146" y="1"/>
                    <a:pt x="146" y="1"/>
                    <a:pt x="145" y="1"/>
                  </a:cubicBezTo>
                  <a:cubicBezTo>
                    <a:pt x="144" y="1"/>
                    <a:pt x="144" y="1"/>
                    <a:pt x="144" y="1"/>
                  </a:cubicBezTo>
                  <a:cubicBezTo>
                    <a:pt x="144" y="1"/>
                    <a:pt x="144" y="1"/>
                    <a:pt x="144" y="1"/>
                  </a:cubicBezTo>
                  <a:cubicBezTo>
                    <a:pt x="146" y="0"/>
                    <a:pt x="148" y="0"/>
                    <a:pt x="148" y="0"/>
                  </a:cubicBezTo>
                  <a:cubicBezTo>
                    <a:pt x="148" y="0"/>
                    <a:pt x="148" y="0"/>
                    <a:pt x="148" y="1"/>
                  </a:cubicBezTo>
                  <a:cubicBezTo>
                    <a:pt x="146" y="10"/>
                    <a:pt x="146" y="10"/>
                    <a:pt x="146" y="10"/>
                  </a:cubicBezTo>
                  <a:cubicBezTo>
                    <a:pt x="146" y="10"/>
                    <a:pt x="146" y="10"/>
                    <a:pt x="146" y="10"/>
                  </a:cubicBezTo>
                  <a:cubicBezTo>
                    <a:pt x="148" y="8"/>
                    <a:pt x="150" y="7"/>
                    <a:pt x="151" y="6"/>
                  </a:cubicBezTo>
                  <a:cubicBezTo>
                    <a:pt x="151" y="6"/>
                    <a:pt x="152" y="6"/>
                    <a:pt x="152" y="6"/>
                  </a:cubicBezTo>
                  <a:cubicBezTo>
                    <a:pt x="153" y="6"/>
                    <a:pt x="153" y="6"/>
                    <a:pt x="153" y="9"/>
                  </a:cubicBezTo>
                  <a:cubicBezTo>
                    <a:pt x="153" y="10"/>
                    <a:pt x="152" y="12"/>
                    <a:pt x="152" y="14"/>
                  </a:cubicBezTo>
                  <a:cubicBezTo>
                    <a:pt x="152" y="15"/>
                    <a:pt x="151" y="15"/>
                    <a:pt x="152" y="15"/>
                  </a:cubicBezTo>
                  <a:cubicBezTo>
                    <a:pt x="152" y="15"/>
                    <a:pt x="153" y="15"/>
                    <a:pt x="153" y="14"/>
                  </a:cubicBezTo>
                  <a:cubicBezTo>
                    <a:pt x="154" y="15"/>
                    <a:pt x="154" y="15"/>
                    <a:pt x="154" y="15"/>
                  </a:cubicBezTo>
                  <a:cubicBezTo>
                    <a:pt x="152" y="16"/>
                    <a:pt x="150" y="17"/>
                    <a:pt x="150" y="17"/>
                  </a:cubicBezTo>
                  <a:cubicBezTo>
                    <a:pt x="149" y="17"/>
                    <a:pt x="149" y="16"/>
                    <a:pt x="149" y="15"/>
                  </a:cubicBezTo>
                  <a:cubicBezTo>
                    <a:pt x="150" y="9"/>
                    <a:pt x="150" y="9"/>
                    <a:pt x="150" y="9"/>
                  </a:cubicBezTo>
                  <a:cubicBezTo>
                    <a:pt x="151" y="8"/>
                    <a:pt x="151" y="8"/>
                    <a:pt x="150" y="8"/>
                  </a:cubicBezTo>
                  <a:cubicBezTo>
                    <a:pt x="149" y="8"/>
                    <a:pt x="147" y="10"/>
                    <a:pt x="146" y="12"/>
                  </a:cubicBezTo>
                  <a:cubicBezTo>
                    <a:pt x="146" y="12"/>
                    <a:pt x="145" y="15"/>
                    <a:pt x="145" y="16"/>
                  </a:cubicBezTo>
                  <a:lnTo>
                    <a:pt x="143" y="17"/>
                  </a:lnTo>
                  <a:close/>
                  <a:moveTo>
                    <a:pt x="164" y="14"/>
                  </a:moveTo>
                  <a:cubicBezTo>
                    <a:pt x="161" y="17"/>
                    <a:pt x="159" y="17"/>
                    <a:pt x="158" y="17"/>
                  </a:cubicBezTo>
                  <a:cubicBezTo>
                    <a:pt x="157" y="17"/>
                    <a:pt x="155" y="16"/>
                    <a:pt x="155" y="13"/>
                  </a:cubicBezTo>
                  <a:cubicBezTo>
                    <a:pt x="155" y="11"/>
                    <a:pt x="156" y="9"/>
                    <a:pt x="158" y="8"/>
                  </a:cubicBezTo>
                  <a:cubicBezTo>
                    <a:pt x="159" y="7"/>
                    <a:pt x="161" y="6"/>
                    <a:pt x="162" y="6"/>
                  </a:cubicBezTo>
                  <a:cubicBezTo>
                    <a:pt x="163" y="6"/>
                    <a:pt x="164" y="7"/>
                    <a:pt x="164" y="8"/>
                  </a:cubicBezTo>
                  <a:cubicBezTo>
                    <a:pt x="164" y="10"/>
                    <a:pt x="160" y="12"/>
                    <a:pt x="158" y="12"/>
                  </a:cubicBezTo>
                  <a:cubicBezTo>
                    <a:pt x="158" y="13"/>
                    <a:pt x="158" y="13"/>
                    <a:pt x="158" y="13"/>
                  </a:cubicBezTo>
                  <a:cubicBezTo>
                    <a:pt x="158" y="14"/>
                    <a:pt x="158" y="15"/>
                    <a:pt x="160" y="15"/>
                  </a:cubicBezTo>
                  <a:cubicBezTo>
                    <a:pt x="161" y="15"/>
                    <a:pt x="162" y="15"/>
                    <a:pt x="163" y="14"/>
                  </a:cubicBezTo>
                  <a:lnTo>
                    <a:pt x="164" y="14"/>
                  </a:lnTo>
                  <a:close/>
                  <a:moveTo>
                    <a:pt x="160" y="7"/>
                  </a:moveTo>
                  <a:cubicBezTo>
                    <a:pt x="159" y="8"/>
                    <a:pt x="158" y="9"/>
                    <a:pt x="158" y="12"/>
                  </a:cubicBezTo>
                  <a:cubicBezTo>
                    <a:pt x="161" y="11"/>
                    <a:pt x="162" y="10"/>
                    <a:pt x="162" y="8"/>
                  </a:cubicBezTo>
                  <a:cubicBezTo>
                    <a:pt x="162" y="7"/>
                    <a:pt x="161" y="7"/>
                    <a:pt x="161" y="7"/>
                  </a:cubicBezTo>
                  <a:cubicBezTo>
                    <a:pt x="161" y="7"/>
                    <a:pt x="160" y="7"/>
                    <a:pt x="160" y="7"/>
                  </a:cubicBezTo>
                  <a:close/>
                  <a:moveTo>
                    <a:pt x="179" y="1"/>
                  </a:moveTo>
                  <a:cubicBezTo>
                    <a:pt x="182" y="1"/>
                    <a:pt x="184" y="2"/>
                    <a:pt x="184" y="5"/>
                  </a:cubicBezTo>
                  <a:cubicBezTo>
                    <a:pt x="184" y="7"/>
                    <a:pt x="183" y="9"/>
                    <a:pt x="180" y="9"/>
                  </a:cubicBezTo>
                  <a:cubicBezTo>
                    <a:pt x="181" y="10"/>
                    <a:pt x="181" y="11"/>
                    <a:pt x="182" y="13"/>
                  </a:cubicBezTo>
                  <a:cubicBezTo>
                    <a:pt x="183" y="14"/>
                    <a:pt x="183" y="15"/>
                    <a:pt x="183" y="15"/>
                  </a:cubicBezTo>
                  <a:cubicBezTo>
                    <a:pt x="184" y="16"/>
                    <a:pt x="184" y="16"/>
                    <a:pt x="185" y="16"/>
                  </a:cubicBezTo>
                  <a:cubicBezTo>
                    <a:pt x="185" y="17"/>
                    <a:pt x="185" y="17"/>
                    <a:pt x="185" y="17"/>
                  </a:cubicBezTo>
                  <a:cubicBezTo>
                    <a:pt x="184" y="17"/>
                    <a:pt x="184" y="17"/>
                    <a:pt x="184" y="17"/>
                  </a:cubicBezTo>
                  <a:cubicBezTo>
                    <a:pt x="182" y="17"/>
                    <a:pt x="181" y="16"/>
                    <a:pt x="180" y="15"/>
                  </a:cubicBezTo>
                  <a:cubicBezTo>
                    <a:pt x="180" y="13"/>
                    <a:pt x="179" y="12"/>
                    <a:pt x="178" y="11"/>
                  </a:cubicBezTo>
                  <a:cubicBezTo>
                    <a:pt x="178" y="10"/>
                    <a:pt x="178" y="10"/>
                    <a:pt x="177" y="10"/>
                  </a:cubicBezTo>
                  <a:cubicBezTo>
                    <a:pt x="176" y="10"/>
                    <a:pt x="176" y="10"/>
                    <a:pt x="176" y="10"/>
                  </a:cubicBezTo>
                  <a:cubicBezTo>
                    <a:pt x="176" y="13"/>
                    <a:pt x="176" y="13"/>
                    <a:pt x="176" y="13"/>
                  </a:cubicBezTo>
                  <a:cubicBezTo>
                    <a:pt x="175" y="16"/>
                    <a:pt x="175" y="16"/>
                    <a:pt x="177" y="16"/>
                  </a:cubicBezTo>
                  <a:cubicBezTo>
                    <a:pt x="177" y="17"/>
                    <a:pt x="177" y="17"/>
                    <a:pt x="177" y="17"/>
                  </a:cubicBezTo>
                  <a:cubicBezTo>
                    <a:pt x="171" y="17"/>
                    <a:pt x="171" y="17"/>
                    <a:pt x="171" y="17"/>
                  </a:cubicBezTo>
                  <a:cubicBezTo>
                    <a:pt x="171" y="16"/>
                    <a:pt x="171" y="16"/>
                    <a:pt x="171" y="16"/>
                  </a:cubicBezTo>
                  <a:cubicBezTo>
                    <a:pt x="173" y="16"/>
                    <a:pt x="173" y="16"/>
                    <a:pt x="173" y="13"/>
                  </a:cubicBezTo>
                  <a:cubicBezTo>
                    <a:pt x="175" y="5"/>
                    <a:pt x="175" y="5"/>
                    <a:pt x="175" y="5"/>
                  </a:cubicBezTo>
                  <a:cubicBezTo>
                    <a:pt x="175" y="2"/>
                    <a:pt x="175" y="2"/>
                    <a:pt x="173" y="2"/>
                  </a:cubicBezTo>
                  <a:cubicBezTo>
                    <a:pt x="173" y="1"/>
                    <a:pt x="173" y="1"/>
                    <a:pt x="173" y="1"/>
                  </a:cubicBezTo>
                  <a:lnTo>
                    <a:pt x="179" y="1"/>
                  </a:lnTo>
                  <a:close/>
                  <a:moveTo>
                    <a:pt x="176" y="9"/>
                  </a:moveTo>
                  <a:cubicBezTo>
                    <a:pt x="177" y="9"/>
                    <a:pt x="177" y="9"/>
                    <a:pt x="177" y="9"/>
                  </a:cubicBezTo>
                  <a:cubicBezTo>
                    <a:pt x="178" y="9"/>
                    <a:pt x="179" y="9"/>
                    <a:pt x="180" y="8"/>
                  </a:cubicBezTo>
                  <a:cubicBezTo>
                    <a:pt x="181" y="8"/>
                    <a:pt x="182" y="6"/>
                    <a:pt x="182" y="5"/>
                  </a:cubicBezTo>
                  <a:cubicBezTo>
                    <a:pt x="182" y="3"/>
                    <a:pt x="181" y="2"/>
                    <a:pt x="179" y="2"/>
                  </a:cubicBezTo>
                  <a:cubicBezTo>
                    <a:pt x="178" y="2"/>
                    <a:pt x="178" y="2"/>
                    <a:pt x="178" y="2"/>
                  </a:cubicBezTo>
                  <a:cubicBezTo>
                    <a:pt x="178" y="2"/>
                    <a:pt x="178" y="3"/>
                    <a:pt x="178" y="3"/>
                  </a:cubicBezTo>
                  <a:lnTo>
                    <a:pt x="176" y="9"/>
                  </a:lnTo>
                  <a:close/>
                  <a:moveTo>
                    <a:pt x="196" y="9"/>
                  </a:moveTo>
                  <a:cubicBezTo>
                    <a:pt x="196" y="12"/>
                    <a:pt x="195" y="14"/>
                    <a:pt x="194" y="15"/>
                  </a:cubicBezTo>
                  <a:cubicBezTo>
                    <a:pt x="193" y="16"/>
                    <a:pt x="191" y="17"/>
                    <a:pt x="190" y="17"/>
                  </a:cubicBezTo>
                  <a:cubicBezTo>
                    <a:pt x="187" y="17"/>
                    <a:pt x="187" y="15"/>
                    <a:pt x="187" y="13"/>
                  </a:cubicBezTo>
                  <a:cubicBezTo>
                    <a:pt x="187" y="10"/>
                    <a:pt x="188" y="8"/>
                    <a:pt x="190" y="7"/>
                  </a:cubicBezTo>
                  <a:cubicBezTo>
                    <a:pt x="191" y="6"/>
                    <a:pt x="192" y="6"/>
                    <a:pt x="193" y="6"/>
                  </a:cubicBezTo>
                  <a:cubicBezTo>
                    <a:pt x="195" y="6"/>
                    <a:pt x="196" y="8"/>
                    <a:pt x="196" y="9"/>
                  </a:cubicBezTo>
                  <a:close/>
                  <a:moveTo>
                    <a:pt x="191" y="7"/>
                  </a:moveTo>
                  <a:cubicBezTo>
                    <a:pt x="191" y="8"/>
                    <a:pt x="189" y="9"/>
                    <a:pt x="189" y="13"/>
                  </a:cubicBezTo>
                  <a:cubicBezTo>
                    <a:pt x="189" y="15"/>
                    <a:pt x="190" y="16"/>
                    <a:pt x="191" y="16"/>
                  </a:cubicBezTo>
                  <a:cubicBezTo>
                    <a:pt x="191" y="16"/>
                    <a:pt x="191" y="16"/>
                    <a:pt x="191" y="16"/>
                  </a:cubicBezTo>
                  <a:cubicBezTo>
                    <a:pt x="192" y="16"/>
                    <a:pt x="194" y="13"/>
                    <a:pt x="194" y="10"/>
                  </a:cubicBezTo>
                  <a:cubicBezTo>
                    <a:pt x="194" y="8"/>
                    <a:pt x="193" y="7"/>
                    <a:pt x="192" y="7"/>
                  </a:cubicBezTo>
                  <a:cubicBezTo>
                    <a:pt x="192" y="7"/>
                    <a:pt x="192" y="7"/>
                    <a:pt x="191" y="7"/>
                  </a:cubicBezTo>
                  <a:close/>
                  <a:moveTo>
                    <a:pt x="206" y="14"/>
                  </a:moveTo>
                  <a:cubicBezTo>
                    <a:pt x="204" y="16"/>
                    <a:pt x="202" y="17"/>
                    <a:pt x="201" y="17"/>
                  </a:cubicBezTo>
                  <a:cubicBezTo>
                    <a:pt x="199" y="17"/>
                    <a:pt x="198" y="16"/>
                    <a:pt x="198" y="14"/>
                  </a:cubicBezTo>
                  <a:cubicBezTo>
                    <a:pt x="198" y="12"/>
                    <a:pt x="199" y="9"/>
                    <a:pt x="201" y="8"/>
                  </a:cubicBezTo>
                  <a:cubicBezTo>
                    <a:pt x="202" y="7"/>
                    <a:pt x="203" y="6"/>
                    <a:pt x="205" y="6"/>
                  </a:cubicBezTo>
                  <a:cubicBezTo>
                    <a:pt x="206" y="6"/>
                    <a:pt x="207" y="7"/>
                    <a:pt x="207" y="7"/>
                  </a:cubicBezTo>
                  <a:cubicBezTo>
                    <a:pt x="207" y="8"/>
                    <a:pt x="206" y="8"/>
                    <a:pt x="206" y="8"/>
                  </a:cubicBezTo>
                  <a:cubicBezTo>
                    <a:pt x="206" y="9"/>
                    <a:pt x="205" y="9"/>
                    <a:pt x="205" y="8"/>
                  </a:cubicBezTo>
                  <a:cubicBezTo>
                    <a:pt x="204" y="8"/>
                    <a:pt x="204" y="7"/>
                    <a:pt x="203" y="7"/>
                  </a:cubicBezTo>
                  <a:cubicBezTo>
                    <a:pt x="203" y="7"/>
                    <a:pt x="202" y="8"/>
                    <a:pt x="202" y="9"/>
                  </a:cubicBezTo>
                  <a:cubicBezTo>
                    <a:pt x="201" y="10"/>
                    <a:pt x="201" y="11"/>
                    <a:pt x="201" y="13"/>
                  </a:cubicBezTo>
                  <a:cubicBezTo>
                    <a:pt x="201" y="15"/>
                    <a:pt x="201" y="15"/>
                    <a:pt x="202" y="15"/>
                  </a:cubicBezTo>
                  <a:cubicBezTo>
                    <a:pt x="203" y="15"/>
                    <a:pt x="205" y="14"/>
                    <a:pt x="205" y="14"/>
                  </a:cubicBezTo>
                  <a:lnTo>
                    <a:pt x="206" y="14"/>
                  </a:lnTo>
                  <a:close/>
                  <a:moveTo>
                    <a:pt x="207" y="17"/>
                  </a:moveTo>
                  <a:cubicBezTo>
                    <a:pt x="208" y="16"/>
                    <a:pt x="208" y="15"/>
                    <a:pt x="208" y="13"/>
                  </a:cubicBezTo>
                  <a:cubicBezTo>
                    <a:pt x="210" y="2"/>
                    <a:pt x="210" y="2"/>
                    <a:pt x="210" y="2"/>
                  </a:cubicBezTo>
                  <a:cubicBezTo>
                    <a:pt x="210" y="1"/>
                    <a:pt x="210" y="1"/>
                    <a:pt x="210" y="1"/>
                  </a:cubicBezTo>
                  <a:cubicBezTo>
                    <a:pt x="208" y="1"/>
                    <a:pt x="208" y="1"/>
                    <a:pt x="208" y="1"/>
                  </a:cubicBezTo>
                  <a:cubicBezTo>
                    <a:pt x="208" y="1"/>
                    <a:pt x="208" y="1"/>
                    <a:pt x="208" y="1"/>
                  </a:cubicBezTo>
                  <a:cubicBezTo>
                    <a:pt x="210" y="0"/>
                    <a:pt x="213" y="0"/>
                    <a:pt x="213" y="0"/>
                  </a:cubicBezTo>
                  <a:cubicBezTo>
                    <a:pt x="213" y="0"/>
                    <a:pt x="213" y="0"/>
                    <a:pt x="213" y="1"/>
                  </a:cubicBezTo>
                  <a:cubicBezTo>
                    <a:pt x="211" y="10"/>
                    <a:pt x="211" y="10"/>
                    <a:pt x="211" y="10"/>
                  </a:cubicBezTo>
                  <a:cubicBezTo>
                    <a:pt x="211" y="10"/>
                    <a:pt x="211" y="10"/>
                    <a:pt x="211" y="10"/>
                  </a:cubicBezTo>
                  <a:cubicBezTo>
                    <a:pt x="213" y="8"/>
                    <a:pt x="214" y="7"/>
                    <a:pt x="215" y="6"/>
                  </a:cubicBezTo>
                  <a:cubicBezTo>
                    <a:pt x="216" y="6"/>
                    <a:pt x="216" y="6"/>
                    <a:pt x="217" y="6"/>
                  </a:cubicBezTo>
                  <a:cubicBezTo>
                    <a:pt x="217" y="6"/>
                    <a:pt x="218" y="6"/>
                    <a:pt x="218" y="9"/>
                  </a:cubicBezTo>
                  <a:cubicBezTo>
                    <a:pt x="217" y="10"/>
                    <a:pt x="217" y="12"/>
                    <a:pt x="216" y="14"/>
                  </a:cubicBezTo>
                  <a:cubicBezTo>
                    <a:pt x="216" y="15"/>
                    <a:pt x="216" y="15"/>
                    <a:pt x="216" y="15"/>
                  </a:cubicBezTo>
                  <a:cubicBezTo>
                    <a:pt x="217" y="15"/>
                    <a:pt x="217" y="15"/>
                    <a:pt x="218" y="14"/>
                  </a:cubicBezTo>
                  <a:cubicBezTo>
                    <a:pt x="218" y="15"/>
                    <a:pt x="218" y="15"/>
                    <a:pt x="218" y="15"/>
                  </a:cubicBezTo>
                  <a:cubicBezTo>
                    <a:pt x="217" y="16"/>
                    <a:pt x="215" y="17"/>
                    <a:pt x="214" y="17"/>
                  </a:cubicBezTo>
                  <a:cubicBezTo>
                    <a:pt x="214" y="17"/>
                    <a:pt x="213" y="16"/>
                    <a:pt x="214" y="15"/>
                  </a:cubicBezTo>
                  <a:cubicBezTo>
                    <a:pt x="215" y="9"/>
                    <a:pt x="215" y="9"/>
                    <a:pt x="215" y="9"/>
                  </a:cubicBezTo>
                  <a:cubicBezTo>
                    <a:pt x="215" y="8"/>
                    <a:pt x="215" y="8"/>
                    <a:pt x="215" y="8"/>
                  </a:cubicBezTo>
                  <a:cubicBezTo>
                    <a:pt x="214" y="8"/>
                    <a:pt x="212" y="10"/>
                    <a:pt x="211" y="12"/>
                  </a:cubicBezTo>
                  <a:cubicBezTo>
                    <a:pt x="211" y="12"/>
                    <a:pt x="210" y="15"/>
                    <a:pt x="210" y="16"/>
                  </a:cubicBezTo>
                  <a:lnTo>
                    <a:pt x="207" y="17"/>
                  </a:lnTo>
                  <a:close/>
                  <a:moveTo>
                    <a:pt x="228" y="14"/>
                  </a:moveTo>
                  <a:cubicBezTo>
                    <a:pt x="226" y="17"/>
                    <a:pt x="224" y="17"/>
                    <a:pt x="223" y="17"/>
                  </a:cubicBezTo>
                  <a:cubicBezTo>
                    <a:pt x="222" y="17"/>
                    <a:pt x="220" y="16"/>
                    <a:pt x="220" y="13"/>
                  </a:cubicBezTo>
                  <a:cubicBezTo>
                    <a:pt x="220" y="11"/>
                    <a:pt x="221" y="9"/>
                    <a:pt x="223" y="8"/>
                  </a:cubicBezTo>
                  <a:cubicBezTo>
                    <a:pt x="224" y="7"/>
                    <a:pt x="225" y="6"/>
                    <a:pt x="227" y="6"/>
                  </a:cubicBezTo>
                  <a:cubicBezTo>
                    <a:pt x="228" y="6"/>
                    <a:pt x="229" y="7"/>
                    <a:pt x="229" y="8"/>
                  </a:cubicBezTo>
                  <a:cubicBezTo>
                    <a:pt x="229" y="10"/>
                    <a:pt x="225" y="12"/>
                    <a:pt x="223" y="12"/>
                  </a:cubicBezTo>
                  <a:cubicBezTo>
                    <a:pt x="223" y="13"/>
                    <a:pt x="223" y="13"/>
                    <a:pt x="223" y="13"/>
                  </a:cubicBezTo>
                  <a:cubicBezTo>
                    <a:pt x="223" y="14"/>
                    <a:pt x="223" y="15"/>
                    <a:pt x="224" y="15"/>
                  </a:cubicBezTo>
                  <a:cubicBezTo>
                    <a:pt x="225" y="15"/>
                    <a:pt x="226" y="15"/>
                    <a:pt x="228" y="14"/>
                  </a:cubicBezTo>
                  <a:close/>
                  <a:moveTo>
                    <a:pt x="225" y="7"/>
                  </a:moveTo>
                  <a:cubicBezTo>
                    <a:pt x="224" y="8"/>
                    <a:pt x="223" y="9"/>
                    <a:pt x="223" y="12"/>
                  </a:cubicBezTo>
                  <a:cubicBezTo>
                    <a:pt x="226" y="11"/>
                    <a:pt x="227" y="10"/>
                    <a:pt x="227" y="8"/>
                  </a:cubicBezTo>
                  <a:cubicBezTo>
                    <a:pt x="227" y="7"/>
                    <a:pt x="226" y="7"/>
                    <a:pt x="226" y="7"/>
                  </a:cubicBezTo>
                  <a:cubicBezTo>
                    <a:pt x="225" y="7"/>
                    <a:pt x="225" y="7"/>
                    <a:pt x="225" y="7"/>
                  </a:cubicBezTo>
                  <a:close/>
                  <a:moveTo>
                    <a:pt x="250" y="5"/>
                  </a:moveTo>
                  <a:cubicBezTo>
                    <a:pt x="250" y="2"/>
                    <a:pt x="248" y="2"/>
                    <a:pt x="246" y="2"/>
                  </a:cubicBezTo>
                  <a:cubicBezTo>
                    <a:pt x="242" y="2"/>
                    <a:pt x="239" y="6"/>
                    <a:pt x="239" y="10"/>
                  </a:cubicBezTo>
                  <a:cubicBezTo>
                    <a:pt x="239" y="14"/>
                    <a:pt x="241" y="16"/>
                    <a:pt x="244" y="16"/>
                  </a:cubicBezTo>
                  <a:cubicBezTo>
                    <a:pt x="245" y="16"/>
                    <a:pt x="246" y="16"/>
                    <a:pt x="247" y="15"/>
                  </a:cubicBezTo>
                  <a:cubicBezTo>
                    <a:pt x="247" y="12"/>
                    <a:pt x="247" y="12"/>
                    <a:pt x="247" y="12"/>
                  </a:cubicBezTo>
                  <a:cubicBezTo>
                    <a:pt x="247" y="11"/>
                    <a:pt x="247" y="11"/>
                    <a:pt x="245" y="10"/>
                  </a:cubicBezTo>
                  <a:cubicBezTo>
                    <a:pt x="245" y="10"/>
                    <a:pt x="245" y="10"/>
                    <a:pt x="245" y="10"/>
                  </a:cubicBezTo>
                  <a:cubicBezTo>
                    <a:pt x="251" y="10"/>
                    <a:pt x="251" y="10"/>
                    <a:pt x="251" y="10"/>
                  </a:cubicBezTo>
                  <a:cubicBezTo>
                    <a:pt x="251" y="10"/>
                    <a:pt x="251" y="10"/>
                    <a:pt x="251" y="10"/>
                  </a:cubicBezTo>
                  <a:cubicBezTo>
                    <a:pt x="250" y="10"/>
                    <a:pt x="250" y="11"/>
                    <a:pt x="250" y="12"/>
                  </a:cubicBezTo>
                  <a:cubicBezTo>
                    <a:pt x="249" y="14"/>
                    <a:pt x="249" y="14"/>
                    <a:pt x="249" y="14"/>
                  </a:cubicBezTo>
                  <a:cubicBezTo>
                    <a:pt x="249" y="15"/>
                    <a:pt x="249" y="16"/>
                    <a:pt x="249" y="16"/>
                  </a:cubicBezTo>
                  <a:cubicBezTo>
                    <a:pt x="247" y="17"/>
                    <a:pt x="246" y="17"/>
                    <a:pt x="244" y="17"/>
                  </a:cubicBezTo>
                  <a:cubicBezTo>
                    <a:pt x="240" y="17"/>
                    <a:pt x="237" y="15"/>
                    <a:pt x="237" y="10"/>
                  </a:cubicBezTo>
                  <a:cubicBezTo>
                    <a:pt x="237" y="5"/>
                    <a:pt x="241" y="1"/>
                    <a:pt x="247" y="1"/>
                  </a:cubicBezTo>
                  <a:cubicBezTo>
                    <a:pt x="249" y="1"/>
                    <a:pt x="250" y="1"/>
                    <a:pt x="251" y="1"/>
                  </a:cubicBezTo>
                  <a:cubicBezTo>
                    <a:pt x="251" y="2"/>
                    <a:pt x="251" y="4"/>
                    <a:pt x="251" y="5"/>
                  </a:cubicBezTo>
                  <a:lnTo>
                    <a:pt x="250" y="5"/>
                  </a:lnTo>
                  <a:close/>
                  <a:moveTo>
                    <a:pt x="252" y="8"/>
                  </a:moveTo>
                  <a:cubicBezTo>
                    <a:pt x="254" y="7"/>
                    <a:pt x="255" y="6"/>
                    <a:pt x="256" y="6"/>
                  </a:cubicBezTo>
                  <a:cubicBezTo>
                    <a:pt x="257" y="6"/>
                    <a:pt x="257" y="7"/>
                    <a:pt x="257" y="8"/>
                  </a:cubicBezTo>
                  <a:cubicBezTo>
                    <a:pt x="256" y="10"/>
                    <a:pt x="256" y="10"/>
                    <a:pt x="256" y="10"/>
                  </a:cubicBezTo>
                  <a:cubicBezTo>
                    <a:pt x="256" y="10"/>
                    <a:pt x="256" y="10"/>
                    <a:pt x="256" y="10"/>
                  </a:cubicBezTo>
                  <a:cubicBezTo>
                    <a:pt x="257" y="7"/>
                    <a:pt x="259" y="6"/>
                    <a:pt x="259" y="6"/>
                  </a:cubicBezTo>
                  <a:cubicBezTo>
                    <a:pt x="260" y="6"/>
                    <a:pt x="260" y="6"/>
                    <a:pt x="261" y="7"/>
                  </a:cubicBezTo>
                  <a:cubicBezTo>
                    <a:pt x="261" y="7"/>
                    <a:pt x="261" y="7"/>
                    <a:pt x="261" y="8"/>
                  </a:cubicBezTo>
                  <a:cubicBezTo>
                    <a:pt x="260" y="8"/>
                    <a:pt x="260" y="8"/>
                    <a:pt x="260" y="9"/>
                  </a:cubicBezTo>
                  <a:cubicBezTo>
                    <a:pt x="260" y="9"/>
                    <a:pt x="259" y="9"/>
                    <a:pt x="259" y="9"/>
                  </a:cubicBezTo>
                  <a:cubicBezTo>
                    <a:pt x="259" y="8"/>
                    <a:pt x="259" y="8"/>
                    <a:pt x="258" y="8"/>
                  </a:cubicBezTo>
                  <a:cubicBezTo>
                    <a:pt x="258" y="8"/>
                    <a:pt x="258" y="8"/>
                    <a:pt x="257" y="9"/>
                  </a:cubicBezTo>
                  <a:cubicBezTo>
                    <a:pt x="257" y="10"/>
                    <a:pt x="256" y="11"/>
                    <a:pt x="256" y="12"/>
                  </a:cubicBezTo>
                  <a:cubicBezTo>
                    <a:pt x="256" y="14"/>
                    <a:pt x="255" y="15"/>
                    <a:pt x="255" y="16"/>
                  </a:cubicBezTo>
                  <a:cubicBezTo>
                    <a:pt x="255" y="16"/>
                    <a:pt x="255" y="16"/>
                    <a:pt x="255" y="16"/>
                  </a:cubicBezTo>
                  <a:cubicBezTo>
                    <a:pt x="253" y="17"/>
                    <a:pt x="253" y="17"/>
                    <a:pt x="253" y="17"/>
                  </a:cubicBezTo>
                  <a:cubicBezTo>
                    <a:pt x="253" y="16"/>
                    <a:pt x="253" y="14"/>
                    <a:pt x="253" y="13"/>
                  </a:cubicBezTo>
                  <a:cubicBezTo>
                    <a:pt x="254" y="9"/>
                    <a:pt x="254" y="9"/>
                    <a:pt x="254" y="9"/>
                  </a:cubicBezTo>
                  <a:cubicBezTo>
                    <a:pt x="254" y="8"/>
                    <a:pt x="254" y="8"/>
                    <a:pt x="254" y="8"/>
                  </a:cubicBezTo>
                  <a:cubicBezTo>
                    <a:pt x="254" y="8"/>
                    <a:pt x="253" y="9"/>
                    <a:pt x="253" y="9"/>
                  </a:cubicBezTo>
                  <a:lnTo>
                    <a:pt x="252" y="8"/>
                  </a:lnTo>
                  <a:close/>
                  <a:moveTo>
                    <a:pt x="271" y="9"/>
                  </a:moveTo>
                  <a:cubicBezTo>
                    <a:pt x="271" y="12"/>
                    <a:pt x="270" y="14"/>
                    <a:pt x="268" y="15"/>
                  </a:cubicBezTo>
                  <a:cubicBezTo>
                    <a:pt x="267" y="16"/>
                    <a:pt x="266" y="17"/>
                    <a:pt x="264" y="17"/>
                  </a:cubicBezTo>
                  <a:cubicBezTo>
                    <a:pt x="262" y="17"/>
                    <a:pt x="261" y="15"/>
                    <a:pt x="261" y="13"/>
                  </a:cubicBezTo>
                  <a:cubicBezTo>
                    <a:pt x="261" y="10"/>
                    <a:pt x="263" y="8"/>
                    <a:pt x="264" y="7"/>
                  </a:cubicBezTo>
                  <a:cubicBezTo>
                    <a:pt x="266" y="6"/>
                    <a:pt x="267" y="6"/>
                    <a:pt x="267" y="6"/>
                  </a:cubicBezTo>
                  <a:cubicBezTo>
                    <a:pt x="270" y="6"/>
                    <a:pt x="271" y="8"/>
                    <a:pt x="271" y="9"/>
                  </a:cubicBezTo>
                  <a:close/>
                  <a:moveTo>
                    <a:pt x="266" y="7"/>
                  </a:moveTo>
                  <a:cubicBezTo>
                    <a:pt x="265" y="8"/>
                    <a:pt x="264" y="9"/>
                    <a:pt x="264" y="13"/>
                  </a:cubicBezTo>
                  <a:cubicBezTo>
                    <a:pt x="264" y="15"/>
                    <a:pt x="264" y="16"/>
                    <a:pt x="265" y="16"/>
                  </a:cubicBezTo>
                  <a:cubicBezTo>
                    <a:pt x="266" y="16"/>
                    <a:pt x="266" y="16"/>
                    <a:pt x="266" y="16"/>
                  </a:cubicBezTo>
                  <a:cubicBezTo>
                    <a:pt x="267" y="16"/>
                    <a:pt x="268" y="13"/>
                    <a:pt x="268" y="10"/>
                  </a:cubicBezTo>
                  <a:cubicBezTo>
                    <a:pt x="268" y="8"/>
                    <a:pt x="268" y="7"/>
                    <a:pt x="267" y="7"/>
                  </a:cubicBezTo>
                  <a:cubicBezTo>
                    <a:pt x="266" y="7"/>
                    <a:pt x="266" y="7"/>
                    <a:pt x="266" y="7"/>
                  </a:cubicBezTo>
                  <a:close/>
                  <a:moveTo>
                    <a:pt x="273" y="8"/>
                  </a:moveTo>
                  <a:cubicBezTo>
                    <a:pt x="274" y="7"/>
                    <a:pt x="276" y="6"/>
                    <a:pt x="277" y="6"/>
                  </a:cubicBezTo>
                  <a:cubicBezTo>
                    <a:pt x="277" y="6"/>
                    <a:pt x="278" y="7"/>
                    <a:pt x="277" y="8"/>
                  </a:cubicBezTo>
                  <a:cubicBezTo>
                    <a:pt x="276" y="13"/>
                    <a:pt x="276" y="13"/>
                    <a:pt x="276" y="13"/>
                  </a:cubicBezTo>
                  <a:cubicBezTo>
                    <a:pt x="276" y="15"/>
                    <a:pt x="276" y="15"/>
                    <a:pt x="276" y="15"/>
                  </a:cubicBezTo>
                  <a:cubicBezTo>
                    <a:pt x="277" y="15"/>
                    <a:pt x="278" y="14"/>
                    <a:pt x="278" y="13"/>
                  </a:cubicBezTo>
                  <a:cubicBezTo>
                    <a:pt x="279" y="13"/>
                    <a:pt x="280" y="11"/>
                    <a:pt x="280" y="10"/>
                  </a:cubicBezTo>
                  <a:cubicBezTo>
                    <a:pt x="281" y="10"/>
                    <a:pt x="281" y="8"/>
                    <a:pt x="281" y="7"/>
                  </a:cubicBezTo>
                  <a:cubicBezTo>
                    <a:pt x="283" y="6"/>
                    <a:pt x="283" y="6"/>
                    <a:pt x="283" y="6"/>
                  </a:cubicBezTo>
                  <a:cubicBezTo>
                    <a:pt x="284" y="6"/>
                    <a:pt x="284" y="6"/>
                    <a:pt x="284" y="6"/>
                  </a:cubicBezTo>
                  <a:cubicBezTo>
                    <a:pt x="283" y="9"/>
                    <a:pt x="283" y="12"/>
                    <a:pt x="282" y="14"/>
                  </a:cubicBezTo>
                  <a:cubicBezTo>
                    <a:pt x="282" y="15"/>
                    <a:pt x="282" y="15"/>
                    <a:pt x="282" y="15"/>
                  </a:cubicBezTo>
                  <a:cubicBezTo>
                    <a:pt x="282" y="15"/>
                    <a:pt x="283" y="15"/>
                    <a:pt x="284" y="14"/>
                  </a:cubicBezTo>
                  <a:cubicBezTo>
                    <a:pt x="284" y="15"/>
                    <a:pt x="284" y="15"/>
                    <a:pt x="284" y="15"/>
                  </a:cubicBezTo>
                  <a:cubicBezTo>
                    <a:pt x="283" y="16"/>
                    <a:pt x="281" y="17"/>
                    <a:pt x="280" y="17"/>
                  </a:cubicBezTo>
                  <a:cubicBezTo>
                    <a:pt x="279" y="17"/>
                    <a:pt x="279" y="16"/>
                    <a:pt x="280" y="15"/>
                  </a:cubicBezTo>
                  <a:cubicBezTo>
                    <a:pt x="280" y="13"/>
                    <a:pt x="280" y="13"/>
                    <a:pt x="280" y="13"/>
                  </a:cubicBezTo>
                  <a:cubicBezTo>
                    <a:pt x="280" y="13"/>
                    <a:pt x="280" y="13"/>
                    <a:pt x="280" y="13"/>
                  </a:cubicBezTo>
                  <a:cubicBezTo>
                    <a:pt x="279" y="14"/>
                    <a:pt x="277" y="16"/>
                    <a:pt x="276" y="16"/>
                  </a:cubicBezTo>
                  <a:cubicBezTo>
                    <a:pt x="276" y="17"/>
                    <a:pt x="275" y="17"/>
                    <a:pt x="274" y="17"/>
                  </a:cubicBezTo>
                  <a:cubicBezTo>
                    <a:pt x="274" y="17"/>
                    <a:pt x="273" y="17"/>
                    <a:pt x="274" y="14"/>
                  </a:cubicBezTo>
                  <a:cubicBezTo>
                    <a:pt x="275" y="9"/>
                    <a:pt x="275" y="9"/>
                    <a:pt x="275" y="9"/>
                  </a:cubicBezTo>
                  <a:cubicBezTo>
                    <a:pt x="275" y="8"/>
                    <a:pt x="275" y="8"/>
                    <a:pt x="275" y="8"/>
                  </a:cubicBezTo>
                  <a:cubicBezTo>
                    <a:pt x="274" y="8"/>
                    <a:pt x="274" y="9"/>
                    <a:pt x="273" y="9"/>
                  </a:cubicBezTo>
                  <a:lnTo>
                    <a:pt x="273" y="8"/>
                  </a:lnTo>
                  <a:close/>
                  <a:moveTo>
                    <a:pt x="290" y="6"/>
                  </a:moveTo>
                  <a:cubicBezTo>
                    <a:pt x="291" y="6"/>
                    <a:pt x="292" y="6"/>
                    <a:pt x="293" y="6"/>
                  </a:cubicBezTo>
                  <a:cubicBezTo>
                    <a:pt x="295" y="6"/>
                    <a:pt x="296" y="7"/>
                    <a:pt x="296" y="9"/>
                  </a:cubicBezTo>
                  <a:cubicBezTo>
                    <a:pt x="296" y="11"/>
                    <a:pt x="296" y="13"/>
                    <a:pt x="294" y="14"/>
                  </a:cubicBezTo>
                  <a:cubicBezTo>
                    <a:pt x="293" y="16"/>
                    <a:pt x="291" y="17"/>
                    <a:pt x="290" y="17"/>
                  </a:cubicBezTo>
                  <a:cubicBezTo>
                    <a:pt x="289" y="17"/>
                    <a:pt x="289" y="17"/>
                    <a:pt x="288" y="17"/>
                  </a:cubicBezTo>
                  <a:cubicBezTo>
                    <a:pt x="288" y="20"/>
                    <a:pt x="288" y="20"/>
                    <a:pt x="288" y="20"/>
                  </a:cubicBezTo>
                  <a:cubicBezTo>
                    <a:pt x="288" y="21"/>
                    <a:pt x="288" y="21"/>
                    <a:pt x="288" y="21"/>
                  </a:cubicBezTo>
                  <a:cubicBezTo>
                    <a:pt x="290" y="21"/>
                    <a:pt x="290" y="21"/>
                    <a:pt x="290" y="21"/>
                  </a:cubicBezTo>
                  <a:cubicBezTo>
                    <a:pt x="290" y="22"/>
                    <a:pt x="290" y="22"/>
                    <a:pt x="290" y="22"/>
                  </a:cubicBezTo>
                  <a:cubicBezTo>
                    <a:pt x="283" y="22"/>
                    <a:pt x="283" y="22"/>
                    <a:pt x="283" y="22"/>
                  </a:cubicBezTo>
                  <a:cubicBezTo>
                    <a:pt x="283" y="22"/>
                    <a:pt x="283" y="22"/>
                    <a:pt x="283" y="22"/>
                  </a:cubicBezTo>
                  <a:cubicBezTo>
                    <a:pt x="285" y="22"/>
                    <a:pt x="285" y="21"/>
                    <a:pt x="285" y="20"/>
                  </a:cubicBezTo>
                  <a:cubicBezTo>
                    <a:pt x="288" y="8"/>
                    <a:pt x="288" y="8"/>
                    <a:pt x="288" y="8"/>
                  </a:cubicBezTo>
                  <a:cubicBezTo>
                    <a:pt x="287" y="8"/>
                    <a:pt x="287" y="8"/>
                    <a:pt x="286" y="8"/>
                  </a:cubicBezTo>
                  <a:cubicBezTo>
                    <a:pt x="286" y="8"/>
                    <a:pt x="286" y="8"/>
                    <a:pt x="286" y="8"/>
                  </a:cubicBezTo>
                  <a:cubicBezTo>
                    <a:pt x="287" y="7"/>
                    <a:pt x="287" y="7"/>
                    <a:pt x="288" y="7"/>
                  </a:cubicBezTo>
                  <a:cubicBezTo>
                    <a:pt x="288" y="6"/>
                    <a:pt x="288" y="6"/>
                    <a:pt x="288" y="6"/>
                  </a:cubicBezTo>
                  <a:cubicBezTo>
                    <a:pt x="289" y="5"/>
                    <a:pt x="290" y="5"/>
                    <a:pt x="291" y="4"/>
                  </a:cubicBezTo>
                  <a:cubicBezTo>
                    <a:pt x="291" y="5"/>
                    <a:pt x="291" y="5"/>
                    <a:pt x="291" y="5"/>
                  </a:cubicBezTo>
                  <a:lnTo>
                    <a:pt x="290" y="6"/>
                  </a:lnTo>
                  <a:close/>
                  <a:moveTo>
                    <a:pt x="289" y="15"/>
                  </a:moveTo>
                  <a:cubicBezTo>
                    <a:pt x="289" y="16"/>
                    <a:pt x="289" y="16"/>
                    <a:pt x="290" y="16"/>
                  </a:cubicBezTo>
                  <a:cubicBezTo>
                    <a:pt x="292" y="16"/>
                    <a:pt x="294" y="13"/>
                    <a:pt x="294" y="10"/>
                  </a:cubicBezTo>
                  <a:cubicBezTo>
                    <a:pt x="294" y="8"/>
                    <a:pt x="293" y="7"/>
                    <a:pt x="292" y="7"/>
                  </a:cubicBezTo>
                  <a:cubicBezTo>
                    <a:pt x="291" y="7"/>
                    <a:pt x="291" y="7"/>
                    <a:pt x="290" y="7"/>
                  </a:cubicBezTo>
                  <a:lnTo>
                    <a:pt x="289" y="15"/>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cxnSp>
        <p:nvCxnSpPr>
          <p:cNvPr id="35" name="Google Shape;35;p34"/>
          <p:cNvCxnSpPr/>
          <p:nvPr/>
        </p:nvCxnSpPr>
        <p:spPr>
          <a:xfrm>
            <a:off x="381000" y="443054"/>
            <a:ext cx="8385048" cy="0"/>
          </a:xfrm>
          <a:prstGeom prst="straightConnector1">
            <a:avLst/>
          </a:prstGeom>
          <a:noFill/>
          <a:ln w="12700" cap="flat" cmpd="sng">
            <a:solidFill>
              <a:srgbClr val="004D99"/>
            </a:solidFill>
            <a:prstDash val="solid"/>
            <a:miter lim="800000"/>
            <a:headEnd type="none" w="sm" len="sm"/>
            <a:tailEnd type="none" w="sm" len="sm"/>
          </a:ln>
        </p:spPr>
      </p:cxnSp>
      <p:cxnSp>
        <p:nvCxnSpPr>
          <p:cNvPr id="36" name="Google Shape;36;p34"/>
          <p:cNvCxnSpPr/>
          <p:nvPr/>
        </p:nvCxnSpPr>
        <p:spPr>
          <a:xfrm>
            <a:off x="381000" y="4512077"/>
            <a:ext cx="8385048" cy="0"/>
          </a:xfrm>
          <a:prstGeom prst="straightConnector1">
            <a:avLst/>
          </a:prstGeom>
          <a:noFill/>
          <a:ln w="12700" cap="flat" cmpd="sng">
            <a:solidFill>
              <a:srgbClr val="004D99"/>
            </a:solidFill>
            <a:prstDash val="solid"/>
            <a:miter lim="800000"/>
            <a:headEnd type="none" w="sm" len="sm"/>
            <a:tailEnd type="none" w="sm" len="sm"/>
          </a:ln>
        </p:spPr>
      </p:cxnSp>
      <p:sp>
        <p:nvSpPr>
          <p:cNvPr id="37" name="Google Shape;37;p34"/>
          <p:cNvSpPr/>
          <p:nvPr/>
        </p:nvSpPr>
        <p:spPr>
          <a:xfrm>
            <a:off x="4114760" y="4913075"/>
            <a:ext cx="1461939" cy="9233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600" dirty="0">
                <a:solidFill>
                  <a:schemeClr val="dk1"/>
                </a:solidFill>
                <a:latin typeface="+mn-lt"/>
                <a:ea typeface="Arial"/>
                <a:cs typeface="Arial"/>
                <a:sym typeface="Arial"/>
              </a:rPr>
              <a:t>© 2021 Genentech, Inc. All rights reserved</a:t>
            </a:r>
            <a:endParaRPr sz="1800" dirty="0">
              <a:latin typeface="+mn-lt"/>
            </a:endParaRPr>
          </a:p>
        </p:txBody>
      </p:sp>
      <p:sp>
        <p:nvSpPr>
          <p:cNvPr id="38" name="Google Shape;38;p34"/>
          <p:cNvSpPr/>
          <p:nvPr/>
        </p:nvSpPr>
        <p:spPr>
          <a:xfrm>
            <a:off x="3838055" y="5011591"/>
            <a:ext cx="2015349" cy="9233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600" dirty="0">
                <a:solidFill>
                  <a:schemeClr val="dk1"/>
                </a:solidFill>
                <a:latin typeface="+mn-lt"/>
                <a:ea typeface="Arial"/>
                <a:cs typeface="Arial"/>
                <a:sym typeface="Arial"/>
              </a:rPr>
              <a:t>M-US-00006807(v7.0)</a:t>
            </a:r>
            <a:endParaRPr sz="1800" dirty="0">
              <a:latin typeface="+mn-lt"/>
            </a:endParaRPr>
          </a:p>
        </p:txBody>
      </p:sp>
      <p:pic>
        <p:nvPicPr>
          <p:cNvPr id="20" name="Google Shape;16;p33">
            <a:extLst>
              <a:ext uri="{FF2B5EF4-FFF2-40B4-BE49-F238E27FC236}">
                <a16:creationId xmlns:a16="http://schemas.microsoft.com/office/drawing/2014/main" id="{7CC843C4-A408-4B87-8E2C-9D3FB73579A9}"/>
              </a:ext>
            </a:extLst>
          </p:cNvPr>
          <p:cNvPicPr preferRelativeResize="0"/>
          <p:nvPr userDrawn="1"/>
        </p:nvPicPr>
        <p:blipFill rotWithShape="1">
          <a:blip r:embed="rId3">
            <a:alphaModFix/>
          </a:blip>
          <a:srcRect/>
          <a:stretch/>
        </p:blipFill>
        <p:spPr>
          <a:xfrm>
            <a:off x="7945917" y="4716809"/>
            <a:ext cx="816829" cy="207669"/>
          </a:xfrm>
          <a:prstGeom prst="rect">
            <a:avLst/>
          </a:prstGeom>
          <a:noFill/>
          <a:ln>
            <a:noFill/>
          </a:ln>
        </p:spPr>
      </p:pic>
      <p:sp>
        <p:nvSpPr>
          <p:cNvPr id="39" name="Title 1">
            <a:extLst>
              <a:ext uri="{FF2B5EF4-FFF2-40B4-BE49-F238E27FC236}">
                <a16:creationId xmlns:a16="http://schemas.microsoft.com/office/drawing/2014/main" id="{BDFB52ED-B170-416B-810B-C46FC2839604}"/>
              </a:ext>
            </a:extLst>
          </p:cNvPr>
          <p:cNvSpPr>
            <a:spLocks noGrp="1"/>
          </p:cNvSpPr>
          <p:nvPr>
            <p:ph type="ctrTitle"/>
          </p:nvPr>
        </p:nvSpPr>
        <p:spPr bwMode="gray">
          <a:xfrm>
            <a:off x="381000" y="1902140"/>
            <a:ext cx="6480000" cy="1051057"/>
          </a:xfrm>
          <a:prstGeom prst="rect">
            <a:avLst/>
          </a:prstGeom>
        </p:spPr>
        <p:txBody>
          <a:bodyPr wrap="square" lIns="0" numCol="1" anchor="b">
            <a:spAutoFit/>
          </a:bodyPr>
          <a:lstStyle>
            <a:lvl1pPr algn="l">
              <a:lnSpc>
                <a:spcPct val="85000"/>
              </a:lnSpc>
              <a:defRPr sz="4000" b="1" cap="all" baseline="0">
                <a:solidFill>
                  <a:srgbClr val="003087"/>
                </a:solidFill>
                <a:latin typeface="+mj-lt"/>
              </a:defRPr>
            </a:lvl1pPr>
          </a:lstStyle>
          <a:p>
            <a:r>
              <a:rPr lang="en-US" dirty="0"/>
              <a:t>Click to edit Master title style</a:t>
            </a:r>
          </a:p>
        </p:txBody>
      </p:sp>
      <p:sp>
        <p:nvSpPr>
          <p:cNvPr id="42" name="Subtitle 2">
            <a:extLst>
              <a:ext uri="{FF2B5EF4-FFF2-40B4-BE49-F238E27FC236}">
                <a16:creationId xmlns:a16="http://schemas.microsoft.com/office/drawing/2014/main" id="{01C22FF3-2386-4CB8-9883-83039DF3AEA3}"/>
              </a:ext>
            </a:extLst>
          </p:cNvPr>
          <p:cNvSpPr>
            <a:spLocks noGrp="1"/>
          </p:cNvSpPr>
          <p:nvPr>
            <p:ph type="subTitle" idx="1"/>
          </p:nvPr>
        </p:nvSpPr>
        <p:spPr bwMode="gray">
          <a:xfrm>
            <a:off x="381000" y="3173222"/>
            <a:ext cx="6480000" cy="1129325"/>
          </a:xfrm>
        </p:spPr>
        <p:txBody>
          <a:bodyPr lIns="0" numCol="1">
            <a:noAutofit/>
          </a:bodyPr>
          <a:lstStyle>
            <a:lvl1pPr marL="0" indent="0" algn="l">
              <a:buNone/>
              <a:defRPr sz="1200">
                <a:solidFill>
                  <a:srgbClr val="0066CC"/>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dirty="0"/>
              <a:t>Click to edit Master subtitle style</a:t>
            </a:r>
          </a:p>
        </p:txBody>
      </p:sp>
      <p:sp>
        <p:nvSpPr>
          <p:cNvPr id="43" name="Text Placeholder 6">
            <a:extLst>
              <a:ext uri="{FF2B5EF4-FFF2-40B4-BE49-F238E27FC236}">
                <a16:creationId xmlns:a16="http://schemas.microsoft.com/office/drawing/2014/main" id="{71CD66B7-6FCC-412B-9DDB-2885A2A039A4}"/>
              </a:ext>
            </a:extLst>
          </p:cNvPr>
          <p:cNvSpPr>
            <a:spLocks noGrp="1"/>
          </p:cNvSpPr>
          <p:nvPr>
            <p:ph type="body" sz="quarter" idx="10"/>
          </p:nvPr>
        </p:nvSpPr>
        <p:spPr bwMode="gray">
          <a:xfrm>
            <a:off x="381000" y="1401922"/>
            <a:ext cx="6480000" cy="276999"/>
          </a:xfrm>
        </p:spPr>
        <p:txBody>
          <a:bodyPr wrap="square" lIns="0" numCol="1" anchor="b" anchorCtr="0">
            <a:spAutoFit/>
          </a:bodyPr>
          <a:lstStyle>
            <a:lvl1pPr marL="0" indent="0">
              <a:buNone/>
              <a:defRPr sz="1800" b="1" cap="all" baseline="0">
                <a:solidFill>
                  <a:srgbClr val="0066CC"/>
                </a:solidFill>
                <a:latin typeface="+mj-lt"/>
              </a:defRPr>
            </a:lvl1pPr>
          </a:lstStyle>
          <a:p>
            <a:pPr lvl="0"/>
            <a:r>
              <a:rPr lang="en-US" dirty="0"/>
              <a:t>Click to edit Master text styles</a:t>
            </a:r>
          </a:p>
        </p:txBody>
      </p:sp>
      <p:sp>
        <p:nvSpPr>
          <p:cNvPr id="29" name="Google Shape;15;p33">
            <a:extLst>
              <a:ext uri="{FF2B5EF4-FFF2-40B4-BE49-F238E27FC236}">
                <a16:creationId xmlns:a16="http://schemas.microsoft.com/office/drawing/2014/main" id="{AC9F57D8-CBA2-4FC8-91FE-D4631D4AFFA2}"/>
              </a:ext>
            </a:extLst>
          </p:cNvPr>
          <p:cNvSpPr txBox="1"/>
          <p:nvPr userDrawn="1"/>
        </p:nvSpPr>
        <p:spPr>
          <a:xfrm>
            <a:off x="8770346" y="4980081"/>
            <a:ext cx="373655" cy="163420"/>
          </a:xfrm>
          <a:prstGeom prst="rect">
            <a:avLst/>
          </a:prstGeom>
          <a:noFill/>
          <a:ln>
            <a:noFill/>
          </a:ln>
        </p:spPr>
        <p:txBody>
          <a:bodyPr spcFirstLastPara="1" wrap="square" lIns="91425" tIns="45700" rIns="91425" bIns="45720" anchor="ctr" anchorCtr="0">
            <a:noAutofit/>
          </a:bodyPr>
          <a:lstStyle/>
          <a:p>
            <a:pPr marL="0" marR="0" lvl="0" indent="0" algn="r" rtl="0">
              <a:lnSpc>
                <a:spcPct val="100000"/>
              </a:lnSpc>
              <a:spcBef>
                <a:spcPts val="0"/>
              </a:spcBef>
              <a:spcAft>
                <a:spcPts val="0"/>
              </a:spcAft>
              <a:buClr>
                <a:schemeClr val="accent6"/>
              </a:buClr>
              <a:buSzPts val="300"/>
              <a:buFont typeface="Georgia"/>
              <a:buNone/>
            </a:pPr>
            <a:fld id="{00000000-1234-1234-1234-123412341234}" type="slidenum">
              <a:rPr lang="en-US" sz="700" b="0" i="0" u="none" strike="noStrike" cap="none">
                <a:solidFill>
                  <a:schemeClr val="dk1"/>
                </a:solidFill>
                <a:latin typeface="Gene Sans" panose="00000500000000000000" pitchFamily="50" charset="0"/>
                <a:ea typeface="Arial"/>
                <a:cs typeface="Arial"/>
                <a:sym typeface="Arial"/>
              </a:rPr>
              <a:pPr marL="0" marR="0" lvl="0" indent="0" algn="r" rtl="0">
                <a:lnSpc>
                  <a:spcPct val="100000"/>
                </a:lnSpc>
                <a:spcBef>
                  <a:spcPts val="0"/>
                </a:spcBef>
                <a:spcAft>
                  <a:spcPts val="0"/>
                </a:spcAft>
                <a:buClr>
                  <a:schemeClr val="accent6"/>
                </a:buClr>
                <a:buSzPts val="300"/>
                <a:buFont typeface="Georgia"/>
                <a:buNone/>
              </a:pPr>
              <a:t>‹#›</a:t>
            </a:fld>
            <a:endParaRPr sz="700" b="0" i="0" u="none" strike="noStrike" cap="none" dirty="0">
              <a:solidFill>
                <a:schemeClr val="dk1"/>
              </a:solidFill>
              <a:latin typeface="Gene Sans" panose="00000500000000000000" pitchFamily="50" charset="0"/>
              <a:ea typeface="Arial"/>
              <a:cs typeface="Arial"/>
              <a:sym typeface="Arial"/>
            </a:endParaRPr>
          </a:p>
        </p:txBody>
      </p:sp>
    </p:spTree>
    <p:extLst>
      <p:ext uri="{BB962C8B-B14F-4D97-AF65-F5344CB8AC3E}">
        <p14:creationId xmlns:p14="http://schemas.microsoft.com/office/powerpoint/2010/main" val="3364823526"/>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Content with Photo Right" userDrawn="1">
  <p:cSld name="Content with Photo Right">
    <p:spTree>
      <p:nvGrpSpPr>
        <p:cNvPr id="1" name="Shape 258"/>
        <p:cNvGrpSpPr/>
        <p:nvPr/>
      </p:nvGrpSpPr>
      <p:grpSpPr>
        <a:xfrm>
          <a:off x="0" y="0"/>
          <a:ext cx="0" cy="0"/>
          <a:chOff x="0" y="0"/>
          <a:chExt cx="0" cy="0"/>
        </a:xfrm>
      </p:grpSpPr>
      <p:sp>
        <p:nvSpPr>
          <p:cNvPr id="259" name="Google Shape;259;p55"/>
          <p:cNvSpPr>
            <a:spLocks noGrp="1"/>
          </p:cNvSpPr>
          <p:nvPr>
            <p:ph type="pic" idx="2"/>
          </p:nvPr>
        </p:nvSpPr>
        <p:spPr>
          <a:xfrm>
            <a:off x="4038600" y="1283636"/>
            <a:ext cx="4727448" cy="3232800"/>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60" name="Google Shape;260;p55"/>
          <p:cNvSpPr txBox="1">
            <a:spLocks noGrp="1"/>
          </p:cNvSpPr>
          <p:nvPr>
            <p:ph type="body" idx="1"/>
          </p:nvPr>
        </p:nvSpPr>
        <p:spPr>
          <a:xfrm>
            <a:off x="381649" y="1283636"/>
            <a:ext cx="3567811" cy="3232800"/>
          </a:xfrm>
          <a:prstGeom prst="rect">
            <a:avLst/>
          </a:prstGeom>
          <a:noFill/>
          <a:ln>
            <a:noFill/>
          </a:ln>
        </p:spPr>
        <p:txBody>
          <a:bodyPr spcFirstLastPara="1" wrap="square" lIns="0" tIns="0" rIns="0" bIns="0" anchor="t" anchorCtr="0">
            <a:noAutofit/>
          </a:bodyPr>
          <a:lstStyle>
            <a:lvl1pPr marL="457189" lvl="0" indent="-330192" algn="l">
              <a:lnSpc>
                <a:spcPct val="90000"/>
              </a:lnSpc>
              <a:spcBef>
                <a:spcPts val="600"/>
              </a:spcBef>
              <a:spcAft>
                <a:spcPts val="0"/>
              </a:spcAft>
              <a:buSzPts val="1600"/>
              <a:buChar char="•"/>
              <a:defRPr>
                <a:solidFill>
                  <a:schemeClr val="dk1"/>
                </a:solidFill>
                <a:latin typeface="+mn-lt"/>
              </a:defRPr>
            </a:lvl1pPr>
            <a:lvl2pPr marL="347463" lvl="1" indent="-173732" algn="l">
              <a:lnSpc>
                <a:spcPct val="90000"/>
              </a:lnSpc>
              <a:spcBef>
                <a:spcPts val="600"/>
              </a:spcBef>
              <a:spcAft>
                <a:spcPts val="0"/>
              </a:spcAft>
              <a:buSzPts val="1400"/>
              <a:buFont typeface="Gene Sans Light" panose="00000400000000000000" pitchFamily="50" charset="0"/>
              <a:buChar char="–"/>
              <a:defRPr>
                <a:solidFill>
                  <a:schemeClr val="dk1"/>
                </a:solidFill>
              </a:defRPr>
            </a:lvl2pPr>
            <a:lvl3pPr marL="521195" lvl="2" indent="-173732" algn="l">
              <a:lnSpc>
                <a:spcPct val="90000"/>
              </a:lnSpc>
              <a:spcBef>
                <a:spcPts val="600"/>
              </a:spcBef>
              <a:spcAft>
                <a:spcPts val="0"/>
              </a:spcAft>
              <a:buSzPts val="1100"/>
              <a:buFont typeface="Wingdings" panose="05000000000000000000" pitchFamily="2" charset="2"/>
              <a:buChar char="§"/>
              <a:defRPr>
                <a:solidFill>
                  <a:schemeClr val="dk1"/>
                </a:solidFill>
              </a:defRPr>
            </a:lvl3pPr>
            <a:lvl4pPr marL="1828754" lvl="3" indent="-295268" algn="l">
              <a:lnSpc>
                <a:spcPct val="90000"/>
              </a:lnSpc>
              <a:spcBef>
                <a:spcPts val="600"/>
              </a:spcBef>
              <a:spcAft>
                <a:spcPts val="0"/>
              </a:spcAft>
              <a:buSzPts val="1050"/>
              <a:buChar char="•"/>
              <a:defRPr>
                <a:solidFill>
                  <a:schemeClr val="dk1"/>
                </a:solidFill>
              </a:defRPr>
            </a:lvl4pPr>
            <a:lvl5pPr marL="2285943" lvl="4" indent="-295268" algn="l">
              <a:lnSpc>
                <a:spcPct val="90000"/>
              </a:lnSpc>
              <a:spcBef>
                <a:spcPts val="600"/>
              </a:spcBef>
              <a:spcAft>
                <a:spcPts val="0"/>
              </a:spcAft>
              <a:buSzPts val="1050"/>
              <a:buChar char="•"/>
              <a:defRPr>
                <a:solidFill>
                  <a:schemeClr val="dk1"/>
                </a:solidFill>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dirty="0"/>
          </a:p>
          <a:p>
            <a:pPr lvl="1"/>
            <a:endParaRPr lang="en-US" dirty="0"/>
          </a:p>
          <a:p>
            <a:pPr lvl="2"/>
            <a:endParaRPr dirty="0"/>
          </a:p>
        </p:txBody>
      </p:sp>
      <p:grpSp>
        <p:nvGrpSpPr>
          <p:cNvPr id="262" name="Google Shape;262;p55"/>
          <p:cNvGrpSpPr/>
          <p:nvPr/>
        </p:nvGrpSpPr>
        <p:grpSpPr>
          <a:xfrm>
            <a:off x="9206186" y="51749"/>
            <a:ext cx="2202899" cy="4431983"/>
            <a:chOff x="9248019" y="51749"/>
            <a:chExt cx="2202899" cy="4431983"/>
          </a:xfrm>
        </p:grpSpPr>
        <p:sp>
          <p:nvSpPr>
            <p:cNvPr id="263" name="Google Shape;263;p55"/>
            <p:cNvSpPr txBox="1"/>
            <p:nvPr/>
          </p:nvSpPr>
          <p:spPr>
            <a:xfrm>
              <a:off x="9248019" y="51749"/>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THERE ARE TWO (2) OPTION TO CUSTOMIZE A LAYOUT WITH A </a:t>
              </a:r>
              <a:br>
                <a:rPr lang="en-US" sz="900" b="1" i="0" dirty="0">
                  <a:solidFill>
                    <a:srgbClr val="7D8183"/>
                  </a:solidFill>
                  <a:latin typeface="Arial"/>
                  <a:ea typeface="Arial"/>
                  <a:cs typeface="Arial"/>
                  <a:sym typeface="Arial"/>
                </a:rPr>
              </a:br>
              <a:r>
                <a:rPr lang="en-US" sz="900" b="1" i="0" dirty="0">
                  <a:solidFill>
                    <a:srgbClr val="7D8183"/>
                  </a:solidFill>
                  <a:latin typeface="Arial"/>
                  <a:ea typeface="Arial"/>
                  <a:cs typeface="Arial"/>
                  <a:sym typeface="Arial"/>
                </a:rPr>
                <a:t>NEW PICTURE:</a:t>
              </a:r>
              <a:endParaRPr sz="1800" dirty="0"/>
            </a:p>
            <a:p>
              <a:pPr marL="174621" marR="0" lvl="0" indent="-174621" algn="l" rtl="0">
                <a:lnSpc>
                  <a:spcPct val="100000"/>
                </a:lnSpc>
                <a:spcBef>
                  <a:spcPts val="1200"/>
                </a:spcBef>
                <a:spcAft>
                  <a:spcPts val="0"/>
                </a:spcAft>
                <a:buClr>
                  <a:srgbClr val="7D8183"/>
                </a:buClr>
                <a:buSzPts val="900"/>
                <a:buFont typeface="Arial"/>
                <a:buAutoNum type="arabicPeriod"/>
              </a:pPr>
              <a:r>
                <a:rPr lang="en-US" sz="900" b="1" i="0" dirty="0">
                  <a:solidFill>
                    <a:srgbClr val="7D8183"/>
                  </a:solidFill>
                  <a:latin typeface="Arial"/>
                  <a:ea typeface="Arial"/>
                  <a:cs typeface="Arial"/>
                  <a:sym typeface="Arial"/>
                </a:rPr>
                <a:t>Delete the current picture, if there </a:t>
              </a:r>
              <a:br>
                <a:rPr lang="en-US" sz="900" b="1" i="0" dirty="0">
                  <a:solidFill>
                    <a:srgbClr val="7D8183"/>
                  </a:solidFill>
                  <a:latin typeface="Arial"/>
                  <a:ea typeface="Arial"/>
                  <a:cs typeface="Arial"/>
                  <a:sym typeface="Arial"/>
                </a:rPr>
              </a:br>
              <a:r>
                <a:rPr lang="en-US" sz="900" b="1" i="0" dirty="0">
                  <a:solidFill>
                    <a:srgbClr val="7D8183"/>
                  </a:solidFill>
                  <a:latin typeface="Arial"/>
                  <a:ea typeface="Arial"/>
                  <a:cs typeface="Arial"/>
                  <a:sym typeface="Arial"/>
                </a:rPr>
                <a:t>is one.</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On the Insert tab, click the Pictures button OR you can click the picture icon      on the slide surface to start your search.</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Navigate to the image you want to use and select Insert. </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Under Home click the Reset button to reapply the Layout.</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Resize the picture to fit the slide, as needed, using the Crop tool. Hold the Shift key and click and drag a corner to scale equally.</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On the Home tab, click the Arrange button, then Send to Back so the photo is behind the logos, text, and the transparent overlay. </a:t>
              </a:r>
              <a:endParaRPr sz="1800" dirty="0"/>
            </a:p>
            <a:p>
              <a:pPr marL="174621" marR="0" lvl="0" indent="-174621" algn="l" rtl="0">
                <a:lnSpc>
                  <a:spcPct val="100000"/>
                </a:lnSpc>
                <a:spcBef>
                  <a:spcPts val="1200"/>
                </a:spcBef>
                <a:spcAft>
                  <a:spcPts val="0"/>
                </a:spcAft>
                <a:buClr>
                  <a:srgbClr val="7D8183"/>
                </a:buClr>
                <a:buSzPts val="900"/>
                <a:buFont typeface="Arial"/>
                <a:buAutoNum type="arabicPeriod" startAt="2"/>
              </a:pPr>
              <a:r>
                <a:rPr lang="en-US" sz="900" b="1" i="0" dirty="0">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a:t>
              </a:r>
              <a:r>
                <a:rPr lang="en-US" sz="900" b="1" i="0">
                  <a:solidFill>
                    <a:srgbClr val="7D8183"/>
                  </a:solidFill>
                  <a:latin typeface="Arial"/>
                  <a:ea typeface="Arial"/>
                  <a:cs typeface="Arial"/>
                  <a:sym typeface="Arial"/>
                </a:rPr>
                <a:t>if appropriate</a:t>
              </a:r>
              <a:r>
                <a:rPr lang="en-US" sz="900" b="1" i="0" dirty="0">
                  <a:solidFill>
                    <a:srgbClr val="7D8183"/>
                  </a:solidFill>
                  <a:latin typeface="Arial"/>
                  <a:ea typeface="Arial"/>
                  <a:cs typeface="Arial"/>
                  <a:sym typeface="Arial"/>
                </a:rPr>
                <a:t>).</a:t>
              </a:r>
              <a:endParaRPr sz="1800" dirty="0"/>
            </a:p>
          </p:txBody>
        </p:sp>
        <p:pic>
          <p:nvPicPr>
            <p:cNvPr id="264" name="Google Shape;264;p55"/>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266" name="Google Shape;266;p55"/>
          <p:cNvSpPr txBox="1">
            <a:spLocks noGrp="1"/>
          </p:cNvSpPr>
          <p:nvPr>
            <p:ph type="title"/>
          </p:nvPr>
        </p:nvSpPr>
        <p:spPr>
          <a:xfrm>
            <a:off x="381648" y="585796"/>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0" name="Google Shape;58;p36">
            <a:extLst>
              <a:ext uri="{FF2B5EF4-FFF2-40B4-BE49-F238E27FC236}">
                <a16:creationId xmlns:a16="http://schemas.microsoft.com/office/drawing/2014/main" id="{F404236B-D023-46FE-8251-54022025D1C0}"/>
              </a:ext>
            </a:extLst>
          </p:cNvPr>
          <p:cNvSpPr txBox="1">
            <a:spLocks noGrp="1"/>
          </p:cNvSpPr>
          <p:nvPr>
            <p:ph type="body" idx="10"/>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378" lvl="1" indent="-228594" algn="l">
              <a:lnSpc>
                <a:spcPct val="90000"/>
              </a:lnSpc>
              <a:spcBef>
                <a:spcPts val="600"/>
              </a:spcBef>
              <a:spcAft>
                <a:spcPts val="0"/>
              </a:spcAft>
              <a:buSzPts val="1400"/>
              <a:buNone/>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dirty="0"/>
          </a:p>
        </p:txBody>
      </p:sp>
      <p:sp>
        <p:nvSpPr>
          <p:cNvPr id="12" name="Google Shape;60;p36">
            <a:extLst>
              <a:ext uri="{FF2B5EF4-FFF2-40B4-BE49-F238E27FC236}">
                <a16:creationId xmlns:a16="http://schemas.microsoft.com/office/drawing/2014/main" id="{AEEEB67F-751E-402C-AE62-D65F3D6004FE}"/>
              </a:ext>
            </a:extLst>
          </p:cNvPr>
          <p:cNvSpPr txBox="1">
            <a:spLocks noGrp="1"/>
          </p:cNvSpPr>
          <p:nvPr>
            <p:ph type="body" idx="3" hasCustomPrompt="1"/>
          </p:nvPr>
        </p:nvSpPr>
        <p:spPr>
          <a:xfrm>
            <a:off x="381648" y="4745252"/>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378" lvl="1" indent="-342892" algn="l">
              <a:lnSpc>
                <a:spcPct val="90000"/>
              </a:lnSpc>
              <a:spcBef>
                <a:spcPts val="600"/>
              </a:spcBef>
              <a:spcAft>
                <a:spcPts val="0"/>
              </a:spcAft>
              <a:buSzPts val="1800"/>
              <a:buChar char="•"/>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r>
              <a:rPr lang="en-US" dirty="0"/>
              <a:t>Footnote placeholder</a:t>
            </a:r>
          </a:p>
        </p:txBody>
      </p:sp>
    </p:spTree>
    <p:extLst>
      <p:ext uri="{BB962C8B-B14F-4D97-AF65-F5344CB8AC3E}">
        <p14:creationId xmlns:p14="http://schemas.microsoft.com/office/powerpoint/2010/main" val="3014150935"/>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Full Background Photo">
  <p:cSld name="Full Background Photo">
    <p:spTree>
      <p:nvGrpSpPr>
        <p:cNvPr id="1" name="Shape 268"/>
        <p:cNvGrpSpPr/>
        <p:nvPr/>
      </p:nvGrpSpPr>
      <p:grpSpPr>
        <a:xfrm>
          <a:off x="0" y="0"/>
          <a:ext cx="0" cy="0"/>
          <a:chOff x="0" y="0"/>
          <a:chExt cx="0" cy="0"/>
        </a:xfrm>
      </p:grpSpPr>
      <p:sp>
        <p:nvSpPr>
          <p:cNvPr id="269" name="Google Shape;269;p56"/>
          <p:cNvSpPr/>
          <p:nvPr/>
        </p:nvSpPr>
        <p:spPr>
          <a:xfrm>
            <a:off x="380570" y="443552"/>
            <a:ext cx="716367" cy="27432"/>
          </a:xfrm>
          <a:prstGeom prst="rect">
            <a:avLst/>
          </a:prstGeom>
          <a:solidFill>
            <a:srgbClr val="8DC8E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Libre Franklin"/>
              <a:ea typeface="Libre Franklin"/>
              <a:cs typeface="Libre Franklin"/>
              <a:sym typeface="Libre Franklin"/>
            </a:endParaRPr>
          </a:p>
        </p:txBody>
      </p:sp>
      <p:pic>
        <p:nvPicPr>
          <p:cNvPr id="270" name="Google Shape;270;p56"/>
          <p:cNvPicPr preferRelativeResize="0"/>
          <p:nvPr/>
        </p:nvPicPr>
        <p:blipFill rotWithShape="1">
          <a:blip r:embed="rId2">
            <a:alphaModFix/>
          </a:blip>
          <a:srcRect/>
          <a:stretch/>
        </p:blipFill>
        <p:spPr>
          <a:xfrm>
            <a:off x="7945917" y="4716809"/>
            <a:ext cx="816829" cy="207669"/>
          </a:xfrm>
          <a:prstGeom prst="rect">
            <a:avLst/>
          </a:prstGeom>
          <a:noFill/>
          <a:ln>
            <a:noFill/>
          </a:ln>
        </p:spPr>
      </p:pic>
      <p:sp>
        <p:nvSpPr>
          <p:cNvPr id="271" name="Google Shape;271;p56"/>
          <p:cNvSpPr>
            <a:spLocks noGrp="1"/>
          </p:cNvSpPr>
          <p:nvPr>
            <p:ph type="pic" idx="2"/>
          </p:nvPr>
        </p:nvSpPr>
        <p:spPr>
          <a:xfrm>
            <a:off x="0" y="0"/>
            <a:ext cx="9144000" cy="5143500"/>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grpSp>
        <p:nvGrpSpPr>
          <p:cNvPr id="272" name="Google Shape;272;p56"/>
          <p:cNvGrpSpPr/>
          <p:nvPr/>
        </p:nvGrpSpPr>
        <p:grpSpPr>
          <a:xfrm>
            <a:off x="9206186" y="51749"/>
            <a:ext cx="2202899" cy="4431983"/>
            <a:chOff x="9248019" y="51749"/>
            <a:chExt cx="2202899" cy="4431983"/>
          </a:xfrm>
        </p:grpSpPr>
        <p:sp>
          <p:nvSpPr>
            <p:cNvPr id="273" name="Google Shape;273;p56"/>
            <p:cNvSpPr txBox="1"/>
            <p:nvPr/>
          </p:nvSpPr>
          <p:spPr>
            <a:xfrm>
              <a:off x="9248019" y="51749"/>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THERE ARE TWO (2) OPTION TO CUSTOMIZE A LAYOUT WITH A </a:t>
              </a:r>
              <a:br>
                <a:rPr lang="en-US" sz="900" b="1" i="0" dirty="0">
                  <a:solidFill>
                    <a:srgbClr val="7D8183"/>
                  </a:solidFill>
                  <a:latin typeface="Arial"/>
                  <a:ea typeface="Arial"/>
                  <a:cs typeface="Arial"/>
                  <a:sym typeface="Arial"/>
                </a:rPr>
              </a:br>
              <a:r>
                <a:rPr lang="en-US" sz="900" b="1" i="0" dirty="0">
                  <a:solidFill>
                    <a:srgbClr val="7D8183"/>
                  </a:solidFill>
                  <a:latin typeface="Arial"/>
                  <a:ea typeface="Arial"/>
                  <a:cs typeface="Arial"/>
                  <a:sym typeface="Arial"/>
                </a:rPr>
                <a:t>NEW PICTURE:</a:t>
              </a:r>
              <a:endParaRPr sz="1800" dirty="0"/>
            </a:p>
            <a:p>
              <a:pPr marL="174621" marR="0" lvl="0" indent="-174621" algn="l" rtl="0">
                <a:lnSpc>
                  <a:spcPct val="100000"/>
                </a:lnSpc>
                <a:spcBef>
                  <a:spcPts val="1200"/>
                </a:spcBef>
                <a:spcAft>
                  <a:spcPts val="0"/>
                </a:spcAft>
                <a:buClr>
                  <a:srgbClr val="7D8183"/>
                </a:buClr>
                <a:buSzPts val="900"/>
                <a:buFont typeface="Arial"/>
                <a:buAutoNum type="arabicPeriod"/>
              </a:pPr>
              <a:r>
                <a:rPr lang="en-US" sz="900" b="1" i="0" dirty="0">
                  <a:solidFill>
                    <a:srgbClr val="7D8183"/>
                  </a:solidFill>
                  <a:latin typeface="Arial"/>
                  <a:ea typeface="Arial"/>
                  <a:cs typeface="Arial"/>
                  <a:sym typeface="Arial"/>
                </a:rPr>
                <a:t>Delete the current picture, if there </a:t>
              </a:r>
              <a:br>
                <a:rPr lang="en-US" sz="900" b="1" i="0" dirty="0">
                  <a:solidFill>
                    <a:srgbClr val="7D8183"/>
                  </a:solidFill>
                  <a:latin typeface="Arial"/>
                  <a:ea typeface="Arial"/>
                  <a:cs typeface="Arial"/>
                  <a:sym typeface="Arial"/>
                </a:rPr>
              </a:br>
              <a:r>
                <a:rPr lang="en-US" sz="900" b="1" i="0" dirty="0">
                  <a:solidFill>
                    <a:srgbClr val="7D8183"/>
                  </a:solidFill>
                  <a:latin typeface="Arial"/>
                  <a:ea typeface="Arial"/>
                  <a:cs typeface="Arial"/>
                  <a:sym typeface="Arial"/>
                </a:rPr>
                <a:t>is one.</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On the Insert tab, click the Pictures button OR you can click the picture icon      on the slide surface to start your search.</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Navigate to the image you want to use and select Insert. </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Under Home click the Reset button to reapply the Layout.</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Resize the picture to fit the slide, as needed, using the Crop tool. Hold the Shift key and click and drag a corner to scale equally.</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On the Home tab, click the Arrange button, then Send to Back so the photo is behind the logos, text, and the transparent overlay. </a:t>
              </a:r>
              <a:endParaRPr sz="1800" dirty="0"/>
            </a:p>
            <a:p>
              <a:pPr marL="174621" marR="0" lvl="0" indent="-174621" algn="l" rtl="0">
                <a:lnSpc>
                  <a:spcPct val="100000"/>
                </a:lnSpc>
                <a:spcBef>
                  <a:spcPts val="1200"/>
                </a:spcBef>
                <a:spcAft>
                  <a:spcPts val="0"/>
                </a:spcAft>
                <a:buClr>
                  <a:srgbClr val="7D8183"/>
                </a:buClr>
                <a:buSzPts val="900"/>
                <a:buFont typeface="Arial"/>
                <a:buAutoNum type="arabicPeriod" startAt="2"/>
              </a:pPr>
              <a:r>
                <a:rPr lang="en-US" sz="900" b="1" i="0" dirty="0">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a:t>
              </a:r>
              <a:r>
                <a:rPr lang="en-US" sz="900" b="1" i="0">
                  <a:solidFill>
                    <a:srgbClr val="7D8183"/>
                  </a:solidFill>
                  <a:latin typeface="Arial"/>
                  <a:ea typeface="Arial"/>
                  <a:cs typeface="Arial"/>
                  <a:sym typeface="Arial"/>
                </a:rPr>
                <a:t>if appropriate</a:t>
              </a:r>
              <a:r>
                <a:rPr lang="en-US" sz="900" b="1" i="0" dirty="0">
                  <a:solidFill>
                    <a:srgbClr val="7D8183"/>
                  </a:solidFill>
                  <a:latin typeface="Arial"/>
                  <a:ea typeface="Arial"/>
                  <a:cs typeface="Arial"/>
                  <a:sym typeface="Arial"/>
                </a:rPr>
                <a:t>).</a:t>
              </a:r>
              <a:endParaRPr sz="1800" dirty="0"/>
            </a:p>
          </p:txBody>
        </p:sp>
        <p:pic>
          <p:nvPicPr>
            <p:cNvPr id="274" name="Google Shape;274;p56"/>
            <p:cNvPicPr preferRelativeResize="0"/>
            <p:nvPr/>
          </p:nvPicPr>
          <p:blipFill rotWithShape="1">
            <a:blip r:embed="rId3">
              <a:alphaModFix/>
            </a:blip>
            <a:srcRect/>
            <a:stretch/>
          </p:blipFill>
          <p:spPr>
            <a:xfrm>
              <a:off x="9679634" y="1280346"/>
              <a:ext cx="140548" cy="96627"/>
            </a:xfrm>
            <a:prstGeom prst="rect">
              <a:avLst/>
            </a:prstGeom>
            <a:noFill/>
            <a:ln>
              <a:noFill/>
            </a:ln>
          </p:spPr>
        </p:pic>
      </p:grpSp>
    </p:spTree>
    <p:extLst>
      <p:ext uri="{BB962C8B-B14F-4D97-AF65-F5344CB8AC3E}">
        <p14:creationId xmlns:p14="http://schemas.microsoft.com/office/powerpoint/2010/main" val="3761385601"/>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GN Teams" userDrawn="1">
  <p:cSld name="GN Teams">
    <p:spTree>
      <p:nvGrpSpPr>
        <p:cNvPr id="1" name="Shape 275"/>
        <p:cNvGrpSpPr/>
        <p:nvPr/>
      </p:nvGrpSpPr>
      <p:grpSpPr>
        <a:xfrm>
          <a:off x="0" y="0"/>
          <a:ext cx="0" cy="0"/>
          <a:chOff x="0" y="0"/>
          <a:chExt cx="0" cy="0"/>
        </a:xfrm>
      </p:grpSpPr>
      <p:sp>
        <p:nvSpPr>
          <p:cNvPr id="276" name="Google Shape;276;p57"/>
          <p:cNvSpPr>
            <a:spLocks noGrp="1"/>
          </p:cNvSpPr>
          <p:nvPr>
            <p:ph type="pic" idx="2"/>
          </p:nvPr>
        </p:nvSpPr>
        <p:spPr>
          <a:xfrm>
            <a:off x="381000"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77" name="Google Shape;277;p57"/>
          <p:cNvSpPr>
            <a:spLocks noGrp="1"/>
          </p:cNvSpPr>
          <p:nvPr>
            <p:ph type="pic" idx="3"/>
          </p:nvPr>
        </p:nvSpPr>
        <p:spPr>
          <a:xfrm>
            <a:off x="2090262"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78" name="Google Shape;278;p57"/>
          <p:cNvSpPr>
            <a:spLocks noGrp="1"/>
          </p:cNvSpPr>
          <p:nvPr>
            <p:ph type="pic" idx="4"/>
          </p:nvPr>
        </p:nvSpPr>
        <p:spPr>
          <a:xfrm>
            <a:off x="3799524"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79" name="Google Shape;279;p57"/>
          <p:cNvSpPr>
            <a:spLocks noGrp="1"/>
          </p:cNvSpPr>
          <p:nvPr>
            <p:ph type="pic" idx="5"/>
          </p:nvPr>
        </p:nvSpPr>
        <p:spPr>
          <a:xfrm>
            <a:off x="5508786"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80" name="Google Shape;280;p57"/>
          <p:cNvSpPr>
            <a:spLocks noGrp="1"/>
          </p:cNvSpPr>
          <p:nvPr>
            <p:ph type="pic" idx="6"/>
          </p:nvPr>
        </p:nvSpPr>
        <p:spPr>
          <a:xfrm>
            <a:off x="7218048"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81" name="Google Shape;281;p57"/>
          <p:cNvSpPr txBox="1">
            <a:spLocks noGrp="1"/>
          </p:cNvSpPr>
          <p:nvPr>
            <p:ph type="body" idx="1"/>
          </p:nvPr>
        </p:nvSpPr>
        <p:spPr>
          <a:xfrm>
            <a:off x="381000" y="2380113"/>
            <a:ext cx="1548000" cy="383276"/>
          </a:xfrm>
          <a:prstGeom prst="rect">
            <a:avLst/>
          </a:prstGeom>
          <a:noFill/>
          <a:ln>
            <a:noFill/>
          </a:ln>
        </p:spPr>
        <p:txBody>
          <a:bodyPr spcFirstLastPara="1" wrap="square" lIns="0" tIns="0" rIns="0" bIns="0" anchor="t" anchorCtr="0">
            <a:noAutofit/>
          </a:bodyPr>
          <a:lstStyle>
            <a:lvl1pPr marL="457189" lvl="0" indent="-228594"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378" lvl="1" indent="-228594"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566" lvl="2" indent="-295268" algn="l">
              <a:lnSpc>
                <a:spcPct val="90000"/>
              </a:lnSpc>
              <a:spcBef>
                <a:spcPts val="600"/>
              </a:spcBef>
              <a:spcAft>
                <a:spcPts val="0"/>
              </a:spcAft>
              <a:buSzPts val="1050"/>
              <a:buChar char="•"/>
              <a:defRPr sz="1050"/>
            </a:lvl3pPr>
            <a:lvl4pPr marL="1828754" lvl="3" indent="-292093" algn="l">
              <a:lnSpc>
                <a:spcPct val="90000"/>
              </a:lnSpc>
              <a:spcBef>
                <a:spcPts val="600"/>
              </a:spcBef>
              <a:spcAft>
                <a:spcPts val="0"/>
              </a:spcAft>
              <a:buSzPts val="1000"/>
              <a:buChar char="•"/>
              <a:defRPr sz="1000"/>
            </a:lvl4pPr>
            <a:lvl5pPr marL="2285943" lvl="4" indent="-292093" algn="l">
              <a:lnSpc>
                <a:spcPct val="90000"/>
              </a:lnSpc>
              <a:spcBef>
                <a:spcPts val="600"/>
              </a:spcBef>
              <a:spcAft>
                <a:spcPts val="0"/>
              </a:spcAft>
              <a:buSzPts val="1000"/>
              <a:buChar char="•"/>
              <a:defRPr sz="1000"/>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282" name="Google Shape;282;p57"/>
          <p:cNvSpPr txBox="1">
            <a:spLocks noGrp="1"/>
          </p:cNvSpPr>
          <p:nvPr>
            <p:ph type="body" idx="7"/>
          </p:nvPr>
        </p:nvSpPr>
        <p:spPr>
          <a:xfrm>
            <a:off x="2090262" y="2380113"/>
            <a:ext cx="1548000" cy="383276"/>
          </a:xfrm>
          <a:prstGeom prst="rect">
            <a:avLst/>
          </a:prstGeom>
          <a:noFill/>
          <a:ln>
            <a:noFill/>
          </a:ln>
        </p:spPr>
        <p:txBody>
          <a:bodyPr spcFirstLastPara="1" wrap="square" lIns="0" tIns="0" rIns="0" bIns="0" anchor="t" anchorCtr="0">
            <a:noAutofit/>
          </a:bodyPr>
          <a:lstStyle>
            <a:lvl1pPr marL="457189" lvl="0" indent="-228594"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378" lvl="1" indent="-228594"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566" lvl="2" indent="-295268" algn="l">
              <a:lnSpc>
                <a:spcPct val="90000"/>
              </a:lnSpc>
              <a:spcBef>
                <a:spcPts val="600"/>
              </a:spcBef>
              <a:spcAft>
                <a:spcPts val="0"/>
              </a:spcAft>
              <a:buSzPts val="1050"/>
              <a:buChar char="•"/>
              <a:defRPr sz="1050"/>
            </a:lvl3pPr>
            <a:lvl4pPr marL="1828754" lvl="3" indent="-292093" algn="l">
              <a:lnSpc>
                <a:spcPct val="90000"/>
              </a:lnSpc>
              <a:spcBef>
                <a:spcPts val="600"/>
              </a:spcBef>
              <a:spcAft>
                <a:spcPts val="0"/>
              </a:spcAft>
              <a:buSzPts val="1000"/>
              <a:buChar char="•"/>
              <a:defRPr sz="1000"/>
            </a:lvl4pPr>
            <a:lvl5pPr marL="2285943" lvl="4" indent="-292093" algn="l">
              <a:lnSpc>
                <a:spcPct val="90000"/>
              </a:lnSpc>
              <a:spcBef>
                <a:spcPts val="600"/>
              </a:spcBef>
              <a:spcAft>
                <a:spcPts val="0"/>
              </a:spcAft>
              <a:buSzPts val="1000"/>
              <a:buChar char="•"/>
              <a:defRPr sz="1000"/>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283" name="Google Shape;283;p57"/>
          <p:cNvSpPr txBox="1">
            <a:spLocks noGrp="1"/>
          </p:cNvSpPr>
          <p:nvPr>
            <p:ph type="body" idx="8"/>
          </p:nvPr>
        </p:nvSpPr>
        <p:spPr>
          <a:xfrm>
            <a:off x="3799524" y="2380113"/>
            <a:ext cx="1548000" cy="383276"/>
          </a:xfrm>
          <a:prstGeom prst="rect">
            <a:avLst/>
          </a:prstGeom>
          <a:noFill/>
          <a:ln>
            <a:noFill/>
          </a:ln>
        </p:spPr>
        <p:txBody>
          <a:bodyPr spcFirstLastPara="1" wrap="square" lIns="0" tIns="0" rIns="0" bIns="0" anchor="t" anchorCtr="0">
            <a:noAutofit/>
          </a:bodyPr>
          <a:lstStyle>
            <a:lvl1pPr marL="457189" lvl="0" indent="-228594"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378" lvl="1" indent="-228594"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566" lvl="2" indent="-295268" algn="l">
              <a:lnSpc>
                <a:spcPct val="90000"/>
              </a:lnSpc>
              <a:spcBef>
                <a:spcPts val="600"/>
              </a:spcBef>
              <a:spcAft>
                <a:spcPts val="0"/>
              </a:spcAft>
              <a:buSzPts val="1050"/>
              <a:buChar char="•"/>
              <a:defRPr sz="1050"/>
            </a:lvl3pPr>
            <a:lvl4pPr marL="1828754" lvl="3" indent="-292093" algn="l">
              <a:lnSpc>
                <a:spcPct val="90000"/>
              </a:lnSpc>
              <a:spcBef>
                <a:spcPts val="600"/>
              </a:spcBef>
              <a:spcAft>
                <a:spcPts val="0"/>
              </a:spcAft>
              <a:buSzPts val="1000"/>
              <a:buChar char="•"/>
              <a:defRPr sz="1000"/>
            </a:lvl4pPr>
            <a:lvl5pPr marL="2285943" lvl="4" indent="-292093" algn="l">
              <a:lnSpc>
                <a:spcPct val="90000"/>
              </a:lnSpc>
              <a:spcBef>
                <a:spcPts val="600"/>
              </a:spcBef>
              <a:spcAft>
                <a:spcPts val="0"/>
              </a:spcAft>
              <a:buSzPts val="1000"/>
              <a:buChar char="•"/>
              <a:defRPr sz="1000"/>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284" name="Google Shape;284;p57"/>
          <p:cNvSpPr txBox="1">
            <a:spLocks noGrp="1"/>
          </p:cNvSpPr>
          <p:nvPr>
            <p:ph type="body" idx="9"/>
          </p:nvPr>
        </p:nvSpPr>
        <p:spPr>
          <a:xfrm>
            <a:off x="5508786" y="2380113"/>
            <a:ext cx="1548000" cy="383276"/>
          </a:xfrm>
          <a:prstGeom prst="rect">
            <a:avLst/>
          </a:prstGeom>
          <a:noFill/>
          <a:ln>
            <a:noFill/>
          </a:ln>
        </p:spPr>
        <p:txBody>
          <a:bodyPr spcFirstLastPara="1" wrap="square" lIns="0" tIns="0" rIns="0" bIns="0" anchor="t" anchorCtr="0">
            <a:noAutofit/>
          </a:bodyPr>
          <a:lstStyle>
            <a:lvl1pPr marL="457189" lvl="0" indent="-228594"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378" lvl="1" indent="-228594"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566" lvl="2" indent="-295268" algn="l">
              <a:lnSpc>
                <a:spcPct val="90000"/>
              </a:lnSpc>
              <a:spcBef>
                <a:spcPts val="600"/>
              </a:spcBef>
              <a:spcAft>
                <a:spcPts val="0"/>
              </a:spcAft>
              <a:buSzPts val="1050"/>
              <a:buChar char="•"/>
              <a:defRPr sz="1050"/>
            </a:lvl3pPr>
            <a:lvl4pPr marL="1828754" lvl="3" indent="-292093" algn="l">
              <a:lnSpc>
                <a:spcPct val="90000"/>
              </a:lnSpc>
              <a:spcBef>
                <a:spcPts val="600"/>
              </a:spcBef>
              <a:spcAft>
                <a:spcPts val="0"/>
              </a:spcAft>
              <a:buSzPts val="1000"/>
              <a:buChar char="•"/>
              <a:defRPr sz="1000"/>
            </a:lvl4pPr>
            <a:lvl5pPr marL="2285943" lvl="4" indent="-292093" algn="l">
              <a:lnSpc>
                <a:spcPct val="90000"/>
              </a:lnSpc>
              <a:spcBef>
                <a:spcPts val="600"/>
              </a:spcBef>
              <a:spcAft>
                <a:spcPts val="0"/>
              </a:spcAft>
              <a:buSzPts val="1000"/>
              <a:buChar char="•"/>
              <a:defRPr sz="1000"/>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285" name="Google Shape;285;p57"/>
          <p:cNvSpPr txBox="1">
            <a:spLocks noGrp="1"/>
          </p:cNvSpPr>
          <p:nvPr>
            <p:ph type="body" idx="13"/>
          </p:nvPr>
        </p:nvSpPr>
        <p:spPr>
          <a:xfrm>
            <a:off x="7218048" y="2380113"/>
            <a:ext cx="1548000" cy="383276"/>
          </a:xfrm>
          <a:prstGeom prst="rect">
            <a:avLst/>
          </a:prstGeom>
          <a:noFill/>
          <a:ln>
            <a:noFill/>
          </a:ln>
        </p:spPr>
        <p:txBody>
          <a:bodyPr spcFirstLastPara="1" wrap="square" lIns="0" tIns="0" rIns="0" bIns="0" anchor="t" anchorCtr="0">
            <a:noAutofit/>
          </a:bodyPr>
          <a:lstStyle>
            <a:lvl1pPr marL="457189" lvl="0" indent="-228594"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378" lvl="1" indent="-228594"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566" lvl="2" indent="-295268" algn="l">
              <a:lnSpc>
                <a:spcPct val="90000"/>
              </a:lnSpc>
              <a:spcBef>
                <a:spcPts val="600"/>
              </a:spcBef>
              <a:spcAft>
                <a:spcPts val="0"/>
              </a:spcAft>
              <a:buSzPts val="1050"/>
              <a:buChar char="•"/>
              <a:defRPr sz="1050"/>
            </a:lvl3pPr>
            <a:lvl4pPr marL="1828754" lvl="3" indent="-292093" algn="l">
              <a:lnSpc>
                <a:spcPct val="90000"/>
              </a:lnSpc>
              <a:spcBef>
                <a:spcPts val="600"/>
              </a:spcBef>
              <a:spcAft>
                <a:spcPts val="0"/>
              </a:spcAft>
              <a:buSzPts val="1000"/>
              <a:buChar char="•"/>
              <a:defRPr sz="1000"/>
            </a:lvl4pPr>
            <a:lvl5pPr marL="2285943" lvl="4" indent="-292093" algn="l">
              <a:lnSpc>
                <a:spcPct val="90000"/>
              </a:lnSpc>
              <a:spcBef>
                <a:spcPts val="600"/>
              </a:spcBef>
              <a:spcAft>
                <a:spcPts val="0"/>
              </a:spcAft>
              <a:buSzPts val="1000"/>
              <a:buChar char="•"/>
              <a:defRPr sz="1000"/>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286" name="Google Shape;286;p57"/>
          <p:cNvSpPr>
            <a:spLocks noGrp="1"/>
          </p:cNvSpPr>
          <p:nvPr>
            <p:ph type="pic" idx="14"/>
          </p:nvPr>
        </p:nvSpPr>
        <p:spPr>
          <a:xfrm>
            <a:off x="381000"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87" name="Google Shape;287;p57"/>
          <p:cNvSpPr>
            <a:spLocks noGrp="1"/>
          </p:cNvSpPr>
          <p:nvPr>
            <p:ph type="pic" idx="15"/>
          </p:nvPr>
        </p:nvSpPr>
        <p:spPr>
          <a:xfrm>
            <a:off x="2090262"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88" name="Google Shape;288;p57"/>
          <p:cNvSpPr>
            <a:spLocks noGrp="1"/>
          </p:cNvSpPr>
          <p:nvPr>
            <p:ph type="pic" idx="16"/>
          </p:nvPr>
        </p:nvSpPr>
        <p:spPr>
          <a:xfrm>
            <a:off x="3799524"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89" name="Google Shape;289;p57"/>
          <p:cNvSpPr>
            <a:spLocks noGrp="1"/>
          </p:cNvSpPr>
          <p:nvPr>
            <p:ph type="pic" idx="17"/>
          </p:nvPr>
        </p:nvSpPr>
        <p:spPr>
          <a:xfrm>
            <a:off x="5508786"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90" name="Google Shape;290;p57"/>
          <p:cNvSpPr>
            <a:spLocks noGrp="1"/>
          </p:cNvSpPr>
          <p:nvPr>
            <p:ph type="pic" idx="18"/>
          </p:nvPr>
        </p:nvSpPr>
        <p:spPr>
          <a:xfrm>
            <a:off x="7218048"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91" name="Google Shape;291;p57"/>
          <p:cNvSpPr txBox="1">
            <a:spLocks noGrp="1"/>
          </p:cNvSpPr>
          <p:nvPr>
            <p:ph type="body" idx="19"/>
          </p:nvPr>
        </p:nvSpPr>
        <p:spPr>
          <a:xfrm>
            <a:off x="381000" y="4228630"/>
            <a:ext cx="1548000" cy="383276"/>
          </a:xfrm>
          <a:prstGeom prst="rect">
            <a:avLst/>
          </a:prstGeom>
          <a:noFill/>
          <a:ln>
            <a:noFill/>
          </a:ln>
        </p:spPr>
        <p:txBody>
          <a:bodyPr spcFirstLastPara="1" wrap="square" lIns="0" tIns="0" rIns="0" bIns="0" anchor="t" anchorCtr="0">
            <a:noAutofit/>
          </a:bodyPr>
          <a:lstStyle>
            <a:lvl1pPr marL="457189" lvl="0" indent="-228594"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378" lvl="1" indent="-228594"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566" lvl="2" indent="-295268" algn="l">
              <a:lnSpc>
                <a:spcPct val="90000"/>
              </a:lnSpc>
              <a:spcBef>
                <a:spcPts val="600"/>
              </a:spcBef>
              <a:spcAft>
                <a:spcPts val="0"/>
              </a:spcAft>
              <a:buSzPts val="1050"/>
              <a:buChar char="•"/>
              <a:defRPr sz="1050"/>
            </a:lvl3pPr>
            <a:lvl4pPr marL="1828754" lvl="3" indent="-292093" algn="l">
              <a:lnSpc>
                <a:spcPct val="90000"/>
              </a:lnSpc>
              <a:spcBef>
                <a:spcPts val="600"/>
              </a:spcBef>
              <a:spcAft>
                <a:spcPts val="0"/>
              </a:spcAft>
              <a:buSzPts val="1000"/>
              <a:buChar char="•"/>
              <a:defRPr sz="1000"/>
            </a:lvl4pPr>
            <a:lvl5pPr marL="2285943" lvl="4" indent="-292093" algn="l">
              <a:lnSpc>
                <a:spcPct val="90000"/>
              </a:lnSpc>
              <a:spcBef>
                <a:spcPts val="600"/>
              </a:spcBef>
              <a:spcAft>
                <a:spcPts val="0"/>
              </a:spcAft>
              <a:buSzPts val="1000"/>
              <a:buChar char="•"/>
              <a:defRPr sz="1000"/>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292" name="Google Shape;292;p57"/>
          <p:cNvSpPr txBox="1">
            <a:spLocks noGrp="1"/>
          </p:cNvSpPr>
          <p:nvPr>
            <p:ph type="body" idx="20"/>
          </p:nvPr>
        </p:nvSpPr>
        <p:spPr>
          <a:xfrm>
            <a:off x="2090262" y="4228630"/>
            <a:ext cx="1548000" cy="383276"/>
          </a:xfrm>
          <a:prstGeom prst="rect">
            <a:avLst/>
          </a:prstGeom>
          <a:noFill/>
          <a:ln>
            <a:noFill/>
          </a:ln>
        </p:spPr>
        <p:txBody>
          <a:bodyPr spcFirstLastPara="1" wrap="square" lIns="0" tIns="0" rIns="0" bIns="0" anchor="t" anchorCtr="0">
            <a:noAutofit/>
          </a:bodyPr>
          <a:lstStyle>
            <a:lvl1pPr marL="457189" lvl="0" indent="-228594"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378" lvl="1" indent="-228594"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566" lvl="2" indent="-295268" algn="l">
              <a:lnSpc>
                <a:spcPct val="90000"/>
              </a:lnSpc>
              <a:spcBef>
                <a:spcPts val="600"/>
              </a:spcBef>
              <a:spcAft>
                <a:spcPts val="0"/>
              </a:spcAft>
              <a:buSzPts val="1050"/>
              <a:buChar char="•"/>
              <a:defRPr sz="1050"/>
            </a:lvl3pPr>
            <a:lvl4pPr marL="1828754" lvl="3" indent="-292093" algn="l">
              <a:lnSpc>
                <a:spcPct val="90000"/>
              </a:lnSpc>
              <a:spcBef>
                <a:spcPts val="600"/>
              </a:spcBef>
              <a:spcAft>
                <a:spcPts val="0"/>
              </a:spcAft>
              <a:buSzPts val="1000"/>
              <a:buChar char="•"/>
              <a:defRPr sz="1000"/>
            </a:lvl4pPr>
            <a:lvl5pPr marL="2285943" lvl="4" indent="-292093" algn="l">
              <a:lnSpc>
                <a:spcPct val="90000"/>
              </a:lnSpc>
              <a:spcBef>
                <a:spcPts val="600"/>
              </a:spcBef>
              <a:spcAft>
                <a:spcPts val="0"/>
              </a:spcAft>
              <a:buSzPts val="1000"/>
              <a:buChar char="•"/>
              <a:defRPr sz="1000"/>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293" name="Google Shape;293;p57"/>
          <p:cNvSpPr txBox="1">
            <a:spLocks noGrp="1"/>
          </p:cNvSpPr>
          <p:nvPr>
            <p:ph type="body" idx="21"/>
          </p:nvPr>
        </p:nvSpPr>
        <p:spPr>
          <a:xfrm>
            <a:off x="3799524" y="4228630"/>
            <a:ext cx="1548000" cy="383276"/>
          </a:xfrm>
          <a:prstGeom prst="rect">
            <a:avLst/>
          </a:prstGeom>
          <a:noFill/>
          <a:ln>
            <a:noFill/>
          </a:ln>
        </p:spPr>
        <p:txBody>
          <a:bodyPr spcFirstLastPara="1" wrap="square" lIns="0" tIns="0" rIns="0" bIns="0" anchor="t" anchorCtr="0">
            <a:noAutofit/>
          </a:bodyPr>
          <a:lstStyle>
            <a:lvl1pPr marL="457189" lvl="0" indent="-228594"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378" lvl="1" indent="-228594"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566" lvl="2" indent="-295268" algn="l">
              <a:lnSpc>
                <a:spcPct val="90000"/>
              </a:lnSpc>
              <a:spcBef>
                <a:spcPts val="600"/>
              </a:spcBef>
              <a:spcAft>
                <a:spcPts val="0"/>
              </a:spcAft>
              <a:buSzPts val="1050"/>
              <a:buChar char="•"/>
              <a:defRPr sz="1050"/>
            </a:lvl3pPr>
            <a:lvl4pPr marL="1828754" lvl="3" indent="-292093" algn="l">
              <a:lnSpc>
                <a:spcPct val="90000"/>
              </a:lnSpc>
              <a:spcBef>
                <a:spcPts val="600"/>
              </a:spcBef>
              <a:spcAft>
                <a:spcPts val="0"/>
              </a:spcAft>
              <a:buSzPts val="1000"/>
              <a:buChar char="•"/>
              <a:defRPr sz="1000"/>
            </a:lvl4pPr>
            <a:lvl5pPr marL="2285943" lvl="4" indent="-292093" algn="l">
              <a:lnSpc>
                <a:spcPct val="90000"/>
              </a:lnSpc>
              <a:spcBef>
                <a:spcPts val="600"/>
              </a:spcBef>
              <a:spcAft>
                <a:spcPts val="0"/>
              </a:spcAft>
              <a:buSzPts val="1000"/>
              <a:buChar char="•"/>
              <a:defRPr sz="1000"/>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294" name="Google Shape;294;p57"/>
          <p:cNvSpPr txBox="1">
            <a:spLocks noGrp="1"/>
          </p:cNvSpPr>
          <p:nvPr>
            <p:ph type="body" idx="22"/>
          </p:nvPr>
        </p:nvSpPr>
        <p:spPr>
          <a:xfrm>
            <a:off x="5508786" y="4228630"/>
            <a:ext cx="1548000" cy="383276"/>
          </a:xfrm>
          <a:prstGeom prst="rect">
            <a:avLst/>
          </a:prstGeom>
          <a:noFill/>
          <a:ln>
            <a:noFill/>
          </a:ln>
        </p:spPr>
        <p:txBody>
          <a:bodyPr spcFirstLastPara="1" wrap="square" lIns="0" tIns="0" rIns="0" bIns="0" anchor="t" anchorCtr="0">
            <a:noAutofit/>
          </a:bodyPr>
          <a:lstStyle>
            <a:lvl1pPr marL="457189" lvl="0" indent="-228594"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378" lvl="1" indent="-228594"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566" lvl="2" indent="-295268" algn="l">
              <a:lnSpc>
                <a:spcPct val="90000"/>
              </a:lnSpc>
              <a:spcBef>
                <a:spcPts val="600"/>
              </a:spcBef>
              <a:spcAft>
                <a:spcPts val="0"/>
              </a:spcAft>
              <a:buSzPts val="1050"/>
              <a:buChar char="•"/>
              <a:defRPr sz="1050"/>
            </a:lvl3pPr>
            <a:lvl4pPr marL="1828754" lvl="3" indent="-292093" algn="l">
              <a:lnSpc>
                <a:spcPct val="90000"/>
              </a:lnSpc>
              <a:spcBef>
                <a:spcPts val="600"/>
              </a:spcBef>
              <a:spcAft>
                <a:spcPts val="0"/>
              </a:spcAft>
              <a:buSzPts val="1000"/>
              <a:buChar char="•"/>
              <a:defRPr sz="1000"/>
            </a:lvl4pPr>
            <a:lvl5pPr marL="2285943" lvl="4" indent="-292093" algn="l">
              <a:lnSpc>
                <a:spcPct val="90000"/>
              </a:lnSpc>
              <a:spcBef>
                <a:spcPts val="600"/>
              </a:spcBef>
              <a:spcAft>
                <a:spcPts val="0"/>
              </a:spcAft>
              <a:buSzPts val="1000"/>
              <a:buChar char="•"/>
              <a:defRPr sz="1000"/>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295" name="Google Shape;295;p57"/>
          <p:cNvSpPr txBox="1">
            <a:spLocks noGrp="1"/>
          </p:cNvSpPr>
          <p:nvPr>
            <p:ph type="body" idx="23"/>
          </p:nvPr>
        </p:nvSpPr>
        <p:spPr>
          <a:xfrm>
            <a:off x="7218048" y="4228630"/>
            <a:ext cx="1548000" cy="383276"/>
          </a:xfrm>
          <a:prstGeom prst="rect">
            <a:avLst/>
          </a:prstGeom>
          <a:noFill/>
          <a:ln>
            <a:noFill/>
          </a:ln>
        </p:spPr>
        <p:txBody>
          <a:bodyPr spcFirstLastPara="1" wrap="square" lIns="0" tIns="0" rIns="0" bIns="0" anchor="t" anchorCtr="0">
            <a:noAutofit/>
          </a:bodyPr>
          <a:lstStyle>
            <a:lvl1pPr marL="457189" lvl="0" indent="-228594"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378" lvl="1" indent="-228594"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566" lvl="2" indent="-295268" algn="l">
              <a:lnSpc>
                <a:spcPct val="90000"/>
              </a:lnSpc>
              <a:spcBef>
                <a:spcPts val="600"/>
              </a:spcBef>
              <a:spcAft>
                <a:spcPts val="0"/>
              </a:spcAft>
              <a:buSzPts val="1050"/>
              <a:buChar char="•"/>
              <a:defRPr sz="1050"/>
            </a:lvl3pPr>
            <a:lvl4pPr marL="1828754" lvl="3" indent="-292093" algn="l">
              <a:lnSpc>
                <a:spcPct val="90000"/>
              </a:lnSpc>
              <a:spcBef>
                <a:spcPts val="600"/>
              </a:spcBef>
              <a:spcAft>
                <a:spcPts val="0"/>
              </a:spcAft>
              <a:buSzPts val="1000"/>
              <a:buChar char="•"/>
              <a:defRPr sz="1000"/>
            </a:lvl4pPr>
            <a:lvl5pPr marL="2285943" lvl="4" indent="-292093" algn="l">
              <a:lnSpc>
                <a:spcPct val="90000"/>
              </a:lnSpc>
              <a:spcBef>
                <a:spcPts val="600"/>
              </a:spcBef>
              <a:spcAft>
                <a:spcPts val="0"/>
              </a:spcAft>
              <a:buSzPts val="1000"/>
              <a:buChar char="•"/>
              <a:defRPr sz="1000"/>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grpSp>
        <p:nvGrpSpPr>
          <p:cNvPr id="296" name="Google Shape;296;p57"/>
          <p:cNvGrpSpPr/>
          <p:nvPr/>
        </p:nvGrpSpPr>
        <p:grpSpPr>
          <a:xfrm>
            <a:off x="9206186" y="367222"/>
            <a:ext cx="2202899" cy="3801041"/>
            <a:chOff x="9248019" y="367222"/>
            <a:chExt cx="2202899" cy="3801040"/>
          </a:xfrm>
        </p:grpSpPr>
        <p:sp>
          <p:nvSpPr>
            <p:cNvPr id="297" name="Google Shape;297;p57"/>
            <p:cNvSpPr txBox="1"/>
            <p:nvPr/>
          </p:nvSpPr>
          <p:spPr>
            <a:xfrm>
              <a:off x="9248019" y="367222"/>
              <a:ext cx="2202899" cy="3801040"/>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THERE ARE TWO (2) OPTION TO CUSTOMIZE A LAYOUT WITH A </a:t>
              </a:r>
              <a:br>
                <a:rPr lang="en-US" sz="900" b="1" i="0" dirty="0">
                  <a:solidFill>
                    <a:srgbClr val="7D8183"/>
                  </a:solidFill>
                  <a:latin typeface="Arial"/>
                  <a:ea typeface="Arial"/>
                  <a:cs typeface="Arial"/>
                  <a:sym typeface="Arial"/>
                </a:rPr>
              </a:br>
              <a:r>
                <a:rPr lang="en-US" sz="900" b="1" i="0" dirty="0">
                  <a:solidFill>
                    <a:srgbClr val="7D8183"/>
                  </a:solidFill>
                  <a:latin typeface="Arial"/>
                  <a:ea typeface="Arial"/>
                  <a:cs typeface="Arial"/>
                  <a:sym typeface="Arial"/>
                </a:rPr>
                <a:t>NEW PICTURE:</a:t>
              </a:r>
              <a:endParaRPr sz="1800" dirty="0"/>
            </a:p>
            <a:p>
              <a:pPr marL="174621" marR="0" lvl="0" indent="-174621" algn="l" rtl="0">
                <a:lnSpc>
                  <a:spcPct val="100000"/>
                </a:lnSpc>
                <a:spcBef>
                  <a:spcPts val="1200"/>
                </a:spcBef>
                <a:spcAft>
                  <a:spcPts val="0"/>
                </a:spcAft>
                <a:buClr>
                  <a:srgbClr val="7D8183"/>
                </a:buClr>
                <a:buSzPts val="900"/>
                <a:buFont typeface="Arial"/>
                <a:buAutoNum type="arabicPeriod"/>
              </a:pPr>
              <a:r>
                <a:rPr lang="en-US" sz="900" b="1" i="0" dirty="0">
                  <a:solidFill>
                    <a:srgbClr val="7D8183"/>
                  </a:solidFill>
                  <a:latin typeface="Arial"/>
                  <a:ea typeface="Arial"/>
                  <a:cs typeface="Arial"/>
                  <a:sym typeface="Arial"/>
                </a:rPr>
                <a:t>Delete the current picture, if there </a:t>
              </a:r>
              <a:br>
                <a:rPr lang="en-US" sz="900" b="1" i="0" dirty="0">
                  <a:solidFill>
                    <a:srgbClr val="7D8183"/>
                  </a:solidFill>
                  <a:latin typeface="Arial"/>
                  <a:ea typeface="Arial"/>
                  <a:cs typeface="Arial"/>
                  <a:sym typeface="Arial"/>
                </a:rPr>
              </a:br>
              <a:r>
                <a:rPr lang="en-US" sz="900" b="1" i="0" dirty="0">
                  <a:solidFill>
                    <a:srgbClr val="7D8183"/>
                  </a:solidFill>
                  <a:latin typeface="Arial"/>
                  <a:ea typeface="Arial"/>
                  <a:cs typeface="Arial"/>
                  <a:sym typeface="Arial"/>
                </a:rPr>
                <a:t>is one.</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On the Insert tab, click the Pictures button OR you can click the picture icon      on the slide surface to start your search.</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Navigate to the image you want to use and select Insert. </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Under Home click the Reset button to reapply the Layout.</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Resize the picture to fit the slide, as needed, using the Crop tool. Hold the Shift key and click and drag a corner to scale equally.</a:t>
              </a:r>
              <a:endParaRPr sz="1800" dirty="0"/>
            </a:p>
            <a:p>
              <a:pPr marL="174621" marR="0" lvl="0" indent="-174621" algn="l" rtl="0">
                <a:lnSpc>
                  <a:spcPct val="100000"/>
                </a:lnSpc>
                <a:spcBef>
                  <a:spcPts val="1200"/>
                </a:spcBef>
                <a:spcAft>
                  <a:spcPts val="0"/>
                </a:spcAft>
                <a:buClr>
                  <a:srgbClr val="7D8183"/>
                </a:buClr>
                <a:buSzPts val="900"/>
                <a:buFont typeface="Arial"/>
                <a:buAutoNum type="arabicPeriod" startAt="2"/>
              </a:pPr>
              <a:r>
                <a:rPr lang="en-US" sz="900" b="1" i="0" dirty="0">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a:t>
              </a:r>
              <a:r>
                <a:rPr lang="en-US" sz="900" b="1" i="0">
                  <a:solidFill>
                    <a:srgbClr val="7D8183"/>
                  </a:solidFill>
                  <a:latin typeface="Arial"/>
                  <a:ea typeface="Arial"/>
                  <a:cs typeface="Arial"/>
                  <a:sym typeface="Arial"/>
                </a:rPr>
                <a:t>if appropriate</a:t>
              </a:r>
              <a:r>
                <a:rPr lang="en-US" sz="900" b="1" i="0" dirty="0">
                  <a:solidFill>
                    <a:srgbClr val="7D8183"/>
                  </a:solidFill>
                  <a:latin typeface="Arial"/>
                  <a:ea typeface="Arial"/>
                  <a:cs typeface="Arial"/>
                  <a:sym typeface="Arial"/>
                </a:rPr>
                <a:t>).</a:t>
              </a:r>
              <a:endParaRPr sz="1800" dirty="0"/>
            </a:p>
          </p:txBody>
        </p:sp>
        <p:pic>
          <p:nvPicPr>
            <p:cNvPr id="298" name="Google Shape;298;p57"/>
            <p:cNvPicPr preferRelativeResize="0"/>
            <p:nvPr/>
          </p:nvPicPr>
          <p:blipFill rotWithShape="1">
            <a:blip r:embed="rId2">
              <a:alphaModFix/>
            </a:blip>
            <a:srcRect/>
            <a:stretch/>
          </p:blipFill>
          <p:spPr>
            <a:xfrm>
              <a:off x="9679634" y="1593517"/>
              <a:ext cx="140548" cy="96627"/>
            </a:xfrm>
            <a:prstGeom prst="rect">
              <a:avLst/>
            </a:prstGeom>
            <a:noFill/>
            <a:ln>
              <a:noFill/>
            </a:ln>
          </p:spPr>
        </p:pic>
      </p:grpSp>
      <p:sp>
        <p:nvSpPr>
          <p:cNvPr id="300" name="Google Shape;300;p57"/>
          <p:cNvSpPr txBox="1">
            <a:spLocks noGrp="1"/>
          </p:cNvSpPr>
          <p:nvPr>
            <p:ph type="title"/>
          </p:nvPr>
        </p:nvSpPr>
        <p:spPr>
          <a:xfrm>
            <a:off x="381648" y="585796"/>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28" name="Google Shape;58;p36">
            <a:extLst>
              <a:ext uri="{FF2B5EF4-FFF2-40B4-BE49-F238E27FC236}">
                <a16:creationId xmlns:a16="http://schemas.microsoft.com/office/drawing/2014/main" id="{BF456FB0-BD13-49E8-839B-71E752FEC2A1}"/>
              </a:ext>
            </a:extLst>
          </p:cNvPr>
          <p:cNvSpPr txBox="1">
            <a:spLocks noGrp="1"/>
          </p:cNvSpPr>
          <p:nvPr>
            <p:ph type="body" idx="26"/>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378" lvl="1" indent="-228594" algn="l">
              <a:lnSpc>
                <a:spcPct val="90000"/>
              </a:lnSpc>
              <a:spcBef>
                <a:spcPts val="600"/>
              </a:spcBef>
              <a:spcAft>
                <a:spcPts val="0"/>
              </a:spcAft>
              <a:buSzPts val="1400"/>
              <a:buNone/>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dirty="0"/>
          </a:p>
        </p:txBody>
      </p:sp>
      <p:sp>
        <p:nvSpPr>
          <p:cNvPr id="30" name="Google Shape;60;p36">
            <a:extLst>
              <a:ext uri="{FF2B5EF4-FFF2-40B4-BE49-F238E27FC236}">
                <a16:creationId xmlns:a16="http://schemas.microsoft.com/office/drawing/2014/main" id="{C5D4A2AD-5C44-450A-AA23-14CB1311079C}"/>
              </a:ext>
            </a:extLst>
          </p:cNvPr>
          <p:cNvSpPr txBox="1">
            <a:spLocks noGrp="1"/>
          </p:cNvSpPr>
          <p:nvPr>
            <p:ph type="body" idx="27" hasCustomPrompt="1"/>
          </p:nvPr>
        </p:nvSpPr>
        <p:spPr>
          <a:xfrm>
            <a:off x="381648" y="4745252"/>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378" lvl="1" indent="-342892" algn="l">
              <a:lnSpc>
                <a:spcPct val="90000"/>
              </a:lnSpc>
              <a:spcBef>
                <a:spcPts val="600"/>
              </a:spcBef>
              <a:spcAft>
                <a:spcPts val="0"/>
              </a:spcAft>
              <a:buSzPts val="1800"/>
              <a:buChar char="•"/>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r>
              <a:rPr lang="en-US" dirty="0"/>
              <a:t>Footnote placeholder</a:t>
            </a:r>
          </a:p>
        </p:txBody>
      </p:sp>
    </p:spTree>
    <p:extLst>
      <p:ext uri="{BB962C8B-B14F-4D97-AF65-F5344CB8AC3E}">
        <p14:creationId xmlns:p14="http://schemas.microsoft.com/office/powerpoint/2010/main" val="4093903551"/>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Blank" userDrawn="1">
  <p:cSld name="Blank">
    <p:spTree>
      <p:nvGrpSpPr>
        <p:cNvPr id="1" name="Shape 302"/>
        <p:cNvGrpSpPr/>
        <p:nvPr/>
      </p:nvGrpSpPr>
      <p:grpSpPr>
        <a:xfrm>
          <a:off x="0" y="0"/>
          <a:ext cx="0" cy="0"/>
          <a:chOff x="0" y="0"/>
          <a:chExt cx="0" cy="0"/>
        </a:xfrm>
      </p:grpSpPr>
      <p:sp>
        <p:nvSpPr>
          <p:cNvPr id="3" name="Google Shape;58;p36">
            <a:extLst>
              <a:ext uri="{FF2B5EF4-FFF2-40B4-BE49-F238E27FC236}">
                <a16:creationId xmlns:a16="http://schemas.microsoft.com/office/drawing/2014/main" id="{856E29D5-8897-4AD3-B1D6-51191087C9FD}"/>
              </a:ext>
            </a:extLst>
          </p:cNvPr>
          <p:cNvSpPr txBox="1">
            <a:spLocks noGrp="1"/>
          </p:cNvSpPr>
          <p:nvPr>
            <p:ph type="body" idx="2"/>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378" lvl="1" indent="-228594" algn="l">
              <a:lnSpc>
                <a:spcPct val="90000"/>
              </a:lnSpc>
              <a:spcBef>
                <a:spcPts val="600"/>
              </a:spcBef>
              <a:spcAft>
                <a:spcPts val="0"/>
              </a:spcAft>
              <a:buSzPts val="1400"/>
              <a:buNone/>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3289837530"/>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ection Header_2" type="secHead">
  <p:cSld name="Section Header_2">
    <p:spTree>
      <p:nvGrpSpPr>
        <p:cNvPr id="1" name="Shape 61"/>
        <p:cNvGrpSpPr/>
        <p:nvPr/>
      </p:nvGrpSpPr>
      <p:grpSpPr>
        <a:xfrm>
          <a:off x="0" y="0"/>
          <a:ext cx="0" cy="0"/>
          <a:chOff x="0" y="0"/>
          <a:chExt cx="0" cy="0"/>
        </a:xfrm>
      </p:grpSpPr>
      <p:sp>
        <p:nvSpPr>
          <p:cNvPr id="62" name="Google Shape;62;p37"/>
          <p:cNvSpPr txBox="1">
            <a:spLocks noGrp="1"/>
          </p:cNvSpPr>
          <p:nvPr>
            <p:ph type="title"/>
          </p:nvPr>
        </p:nvSpPr>
        <p:spPr>
          <a:xfrm>
            <a:off x="383931" y="2985157"/>
            <a:ext cx="8375400" cy="311624"/>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accent3"/>
              </a:buClr>
              <a:buSzPts val="2250"/>
              <a:buFont typeface="Arial"/>
              <a:buNone/>
              <a:defRPr sz="2250" b="1" cap="none">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63" name="Google Shape;63;p37"/>
          <p:cNvSpPr txBox="1">
            <a:spLocks noGrp="1"/>
          </p:cNvSpPr>
          <p:nvPr>
            <p:ph type="body" idx="1"/>
          </p:nvPr>
        </p:nvSpPr>
        <p:spPr>
          <a:xfrm>
            <a:off x="383931" y="3461260"/>
            <a:ext cx="8375400" cy="276999"/>
          </a:xfrm>
          <a:prstGeom prst="rect">
            <a:avLst/>
          </a:prstGeom>
          <a:noFill/>
          <a:ln>
            <a:noFill/>
          </a:ln>
        </p:spPr>
        <p:txBody>
          <a:bodyPr spcFirstLastPara="1" wrap="square" lIns="0" tIns="0" rIns="0" bIns="0" anchor="t" anchorCtr="0">
            <a:spAutoFit/>
          </a:bodyPr>
          <a:lstStyle>
            <a:lvl1pPr marL="0" lvl="0" indent="0" algn="l">
              <a:lnSpc>
                <a:spcPct val="100000"/>
              </a:lnSpc>
              <a:spcBef>
                <a:spcPts val="0"/>
              </a:spcBef>
              <a:spcAft>
                <a:spcPts val="0"/>
              </a:spcAft>
              <a:buSzPts val="1800"/>
              <a:buNone/>
              <a:defRPr sz="1800">
                <a:latin typeface="+mn-lt"/>
              </a:defRPr>
            </a:lvl1pPr>
            <a:lvl2pPr marL="914378" lvl="1" indent="-228594" algn="l">
              <a:lnSpc>
                <a:spcPct val="90000"/>
              </a:lnSpc>
              <a:spcBef>
                <a:spcPts val="600"/>
              </a:spcBef>
              <a:spcAft>
                <a:spcPts val="0"/>
              </a:spcAft>
              <a:buSzPts val="1350"/>
              <a:buNone/>
              <a:defRPr sz="1350"/>
            </a:lvl2pPr>
            <a:lvl3pPr marL="1371566" lvl="2" indent="-228594" algn="l">
              <a:lnSpc>
                <a:spcPct val="90000"/>
              </a:lnSpc>
              <a:spcBef>
                <a:spcPts val="600"/>
              </a:spcBef>
              <a:spcAft>
                <a:spcPts val="0"/>
              </a:spcAft>
              <a:buSzPts val="1200"/>
              <a:buNone/>
              <a:defRPr sz="1200"/>
            </a:lvl3pPr>
            <a:lvl4pPr marL="1828754" lvl="3" indent="-228594" algn="l">
              <a:lnSpc>
                <a:spcPct val="90000"/>
              </a:lnSpc>
              <a:spcBef>
                <a:spcPts val="600"/>
              </a:spcBef>
              <a:spcAft>
                <a:spcPts val="0"/>
              </a:spcAft>
              <a:buSzPts val="1050"/>
              <a:buNone/>
              <a:defRPr sz="1050"/>
            </a:lvl4pPr>
            <a:lvl5pPr marL="2285943" lvl="4" indent="-228594" algn="l">
              <a:lnSpc>
                <a:spcPct val="90000"/>
              </a:lnSpc>
              <a:spcBef>
                <a:spcPts val="600"/>
              </a:spcBef>
              <a:spcAft>
                <a:spcPts val="0"/>
              </a:spcAft>
              <a:buSzPts val="1050"/>
              <a:buNone/>
              <a:defRPr sz="1050"/>
            </a:lvl5pPr>
            <a:lvl6pPr marL="2743132" lvl="5" indent="-228594" algn="l">
              <a:lnSpc>
                <a:spcPct val="90000"/>
              </a:lnSpc>
              <a:spcBef>
                <a:spcPts val="375"/>
              </a:spcBef>
              <a:spcAft>
                <a:spcPts val="0"/>
              </a:spcAft>
              <a:buClr>
                <a:schemeClr val="dk1"/>
              </a:buClr>
              <a:buSzPts val="1050"/>
              <a:buNone/>
              <a:defRPr sz="1050"/>
            </a:lvl6pPr>
            <a:lvl7pPr marL="3200320" lvl="6" indent="-228594" algn="l">
              <a:lnSpc>
                <a:spcPct val="90000"/>
              </a:lnSpc>
              <a:spcBef>
                <a:spcPts val="375"/>
              </a:spcBef>
              <a:spcAft>
                <a:spcPts val="0"/>
              </a:spcAft>
              <a:buClr>
                <a:schemeClr val="dk1"/>
              </a:buClr>
              <a:buSzPts val="1050"/>
              <a:buNone/>
              <a:defRPr sz="1050"/>
            </a:lvl7pPr>
            <a:lvl8pPr marL="3657509" lvl="7" indent="-228594" algn="l">
              <a:lnSpc>
                <a:spcPct val="90000"/>
              </a:lnSpc>
              <a:spcBef>
                <a:spcPts val="375"/>
              </a:spcBef>
              <a:spcAft>
                <a:spcPts val="0"/>
              </a:spcAft>
              <a:buClr>
                <a:schemeClr val="dk1"/>
              </a:buClr>
              <a:buSzPts val="1050"/>
              <a:buNone/>
              <a:defRPr sz="1050"/>
            </a:lvl8pPr>
            <a:lvl9pPr marL="4114697" lvl="8" indent="-228594" algn="l">
              <a:lnSpc>
                <a:spcPct val="90000"/>
              </a:lnSpc>
              <a:spcBef>
                <a:spcPts val="375"/>
              </a:spcBef>
              <a:spcAft>
                <a:spcPts val="0"/>
              </a:spcAft>
              <a:buClr>
                <a:schemeClr val="dk1"/>
              </a:buClr>
              <a:buSzPts val="1050"/>
              <a:buNone/>
              <a:defRPr sz="1050"/>
            </a:lvl9pPr>
          </a:lstStyle>
          <a:p>
            <a:endParaRPr dirty="0"/>
          </a:p>
        </p:txBody>
      </p:sp>
    </p:spTree>
    <p:extLst>
      <p:ext uri="{BB962C8B-B14F-4D97-AF65-F5344CB8AC3E}">
        <p14:creationId xmlns:p14="http://schemas.microsoft.com/office/powerpoint/2010/main" val="40145576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Tagline_1" preserve="1">
  <p:cSld name="Tagline_1">
    <p:bg>
      <p:bgPr>
        <a:solidFill>
          <a:schemeClr val="lt1"/>
        </a:solidFill>
        <a:effectLst/>
      </p:bgPr>
    </p:bg>
    <p:spTree>
      <p:nvGrpSpPr>
        <p:cNvPr id="1" name="Shape 98"/>
        <p:cNvGrpSpPr/>
        <p:nvPr/>
      </p:nvGrpSpPr>
      <p:grpSpPr>
        <a:xfrm>
          <a:off x="0" y="0"/>
          <a:ext cx="0" cy="0"/>
          <a:chOff x="0" y="0"/>
          <a:chExt cx="0" cy="0"/>
        </a:xfrm>
      </p:grpSpPr>
      <p:sp>
        <p:nvSpPr>
          <p:cNvPr id="100" name="Google Shape;100;p42"/>
          <p:cNvSpPr/>
          <p:nvPr/>
        </p:nvSpPr>
        <p:spPr>
          <a:xfrm>
            <a:off x="3788801" y="4913075"/>
            <a:ext cx="1461939" cy="9233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600" dirty="0">
                <a:solidFill>
                  <a:schemeClr val="dk1"/>
                </a:solidFill>
                <a:latin typeface="+mn-lt"/>
                <a:ea typeface="Arial"/>
                <a:cs typeface="Arial"/>
                <a:sym typeface="Arial"/>
              </a:rPr>
              <a:t>© 2021 Genentech, Inc. All rights reserved</a:t>
            </a:r>
            <a:endParaRPr sz="1800" dirty="0">
              <a:latin typeface="+mn-lt"/>
            </a:endParaRPr>
          </a:p>
        </p:txBody>
      </p:sp>
      <p:sp>
        <p:nvSpPr>
          <p:cNvPr id="4" name="TextBox 3">
            <a:extLst>
              <a:ext uri="{FF2B5EF4-FFF2-40B4-BE49-F238E27FC236}">
                <a16:creationId xmlns:a16="http://schemas.microsoft.com/office/drawing/2014/main" id="{C00EDFC1-5DD0-4BA3-B4F3-1DBE65D957A3}"/>
              </a:ext>
            </a:extLst>
          </p:cNvPr>
          <p:cNvSpPr txBox="1"/>
          <p:nvPr userDrawn="1"/>
        </p:nvSpPr>
        <p:spPr bwMode="gray">
          <a:xfrm>
            <a:off x="1396410" y="1826692"/>
            <a:ext cx="6351182" cy="1329595"/>
          </a:xfrm>
          <a:prstGeom prst="rect">
            <a:avLst/>
          </a:prstGeom>
          <a:noFill/>
        </p:spPr>
        <p:txBody>
          <a:bodyPr wrap="square" lIns="0" tIns="0" rIns="0" bIns="0" numCol="1" rtlCol="0">
            <a:spAutoFit/>
          </a:bodyPr>
          <a:lstStyle/>
          <a:p>
            <a:pPr algn="ctr">
              <a:lnSpc>
                <a:spcPct val="90000"/>
              </a:lnSpc>
              <a:spcAft>
                <a:spcPts val="900"/>
              </a:spcAft>
            </a:pPr>
            <a:r>
              <a:rPr lang="en-US" sz="4800" b="0" i="1" u="none" strike="noStrike" kern="1200" cap="none" baseline="0" dirty="0">
                <a:solidFill>
                  <a:srgbClr val="003087"/>
                </a:solidFill>
                <a:latin typeface="Gene Serif Light" panose="00000400000000000000" pitchFamily="50" charset="0"/>
                <a:ea typeface="Roboto" charset="0"/>
                <a:cs typeface="Arial" panose="020B0604020202020204" pitchFamily="34" charset="0"/>
                <a:sym typeface="Georgia"/>
              </a:rPr>
              <a:t>Doing now what patients need next</a:t>
            </a:r>
          </a:p>
        </p:txBody>
      </p:sp>
    </p:spTree>
    <p:extLst>
      <p:ext uri="{BB962C8B-B14F-4D97-AF65-F5344CB8AC3E}">
        <p14:creationId xmlns:p14="http://schemas.microsoft.com/office/powerpoint/2010/main" val="2803782897"/>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648" y="1283551"/>
            <a:ext cx="8384400" cy="3231301"/>
          </a:xfrm>
        </p:spPr>
        <p:txBody>
          <a:bodyPr lIns="0" numCol="1"/>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3409A855-E395-40FD-A774-AC1A70146560}"/>
              </a:ext>
            </a:extLst>
          </p:cNvPr>
          <p:cNvSpPr>
            <a:spLocks noGrp="1"/>
          </p:cNvSpPr>
          <p:nvPr>
            <p:ph type="body" sz="quarter" idx="10"/>
          </p:nvPr>
        </p:nvSpPr>
        <p:spPr>
          <a:xfrm>
            <a:off x="381650" y="278809"/>
            <a:ext cx="7749555" cy="138500"/>
          </a:xfrm>
        </p:spPr>
        <p:txBody>
          <a:bodyPr lIns="0" numCol="1" anchor="b" anchorCtr="0">
            <a:spAutoFit/>
          </a:bodyPr>
          <a:lstStyle>
            <a:lvl1pPr marL="0" indent="0">
              <a:buNone/>
              <a:defRPr sz="900">
                <a:solidFill>
                  <a:schemeClr val="tx1"/>
                </a:solidFill>
                <a:latin typeface="+mn-lt"/>
              </a:defRPr>
            </a:lvl1pPr>
            <a:lvl2pPr marL="174617" indent="0">
              <a:buNone/>
              <a:defRPr/>
            </a:lvl2pPr>
          </a:lstStyle>
          <a:p>
            <a:pPr lvl="0"/>
            <a:r>
              <a:rPr lang="en-US" dirty="0"/>
              <a:t>Click to edit Master text styles</a:t>
            </a:r>
          </a:p>
        </p:txBody>
      </p:sp>
      <p:sp>
        <p:nvSpPr>
          <p:cNvPr id="4" name="Title 3">
            <a:extLst>
              <a:ext uri="{FF2B5EF4-FFF2-40B4-BE49-F238E27FC236}">
                <a16:creationId xmlns:a16="http://schemas.microsoft.com/office/drawing/2014/main" id="{5496860C-8A01-47B7-8B2D-740FC185ED01}"/>
              </a:ext>
            </a:extLst>
          </p:cNvPr>
          <p:cNvSpPr>
            <a:spLocks noGrp="1"/>
          </p:cNvSpPr>
          <p:nvPr>
            <p:ph type="title"/>
          </p:nvPr>
        </p:nvSpPr>
        <p:spPr>
          <a:xfrm>
            <a:off x="381648" y="585797"/>
            <a:ext cx="8384400" cy="652455"/>
          </a:xfrm>
        </p:spPr>
        <p:txBody>
          <a:bodyPr lIns="0"/>
          <a:lstStyle/>
          <a:p>
            <a:r>
              <a:rPr lang="en-US" dirty="0"/>
              <a:t>Click to edit Master title style</a:t>
            </a:r>
          </a:p>
        </p:txBody>
      </p:sp>
      <p:sp>
        <p:nvSpPr>
          <p:cNvPr id="8" name="Text Placeholder 7">
            <a:extLst>
              <a:ext uri="{FF2B5EF4-FFF2-40B4-BE49-F238E27FC236}">
                <a16:creationId xmlns:a16="http://schemas.microsoft.com/office/drawing/2014/main" id="{5D112089-7B26-4E7E-8BCE-C5C6A176F267}"/>
              </a:ext>
            </a:extLst>
          </p:cNvPr>
          <p:cNvSpPr>
            <a:spLocks noGrp="1"/>
          </p:cNvSpPr>
          <p:nvPr>
            <p:ph type="body" sz="quarter" idx="11" hasCustomPrompt="1"/>
          </p:nvPr>
        </p:nvSpPr>
        <p:spPr>
          <a:xfrm>
            <a:off x="381648" y="4732941"/>
            <a:ext cx="841248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a:buFont typeface="Arial" panose="020B0604020202020204" pitchFamily="34" charset="0"/>
              <a:buNone/>
              <a:defRPr lang="en-US" sz="800" dirty="0">
                <a:latin typeface="+mn-lt"/>
                <a:ea typeface="Verdana" panose="020B0604030504040204" pitchFamily="34" charset="0"/>
                <a:cs typeface="Arial" panose="020B0604020202020204" pitchFamily="34" charset="0"/>
              </a:defRPr>
            </a:lvl1pPr>
          </a:lstStyle>
          <a:p>
            <a:pPr marL="174617" lvl="0" indent="-174617" eaLnBrk="0" fontAlgn="base" hangingPunct="0">
              <a:spcBef>
                <a:spcPct val="75000"/>
              </a:spcBef>
              <a:spcAft>
                <a:spcPct val="0"/>
              </a:spcAft>
              <a:buSzPct val="100000"/>
            </a:pPr>
            <a:r>
              <a:rPr lang="en-US" dirty="0"/>
              <a:t>Footnote placeholder</a:t>
            </a:r>
          </a:p>
        </p:txBody>
      </p:sp>
    </p:spTree>
    <p:extLst>
      <p:ext uri="{BB962C8B-B14F-4D97-AF65-F5344CB8AC3E}">
        <p14:creationId xmlns:p14="http://schemas.microsoft.com/office/powerpoint/2010/main" val="2804271460"/>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Title Slide 3">
  <p:cSld name="Title Slide 3">
    <p:bg>
      <p:bgPr>
        <a:solidFill>
          <a:schemeClr val="lt1"/>
        </a:solidFill>
        <a:effectLst/>
      </p:bgPr>
    </p:bg>
    <p:spTree>
      <p:nvGrpSpPr>
        <p:cNvPr id="1" name="Shape 18"/>
        <p:cNvGrpSpPr/>
        <p:nvPr/>
      </p:nvGrpSpPr>
      <p:grpSpPr>
        <a:xfrm>
          <a:off x="0" y="0"/>
          <a:ext cx="0" cy="0"/>
          <a:chOff x="0" y="0"/>
          <a:chExt cx="0" cy="0"/>
        </a:xfrm>
      </p:grpSpPr>
      <p:grpSp>
        <p:nvGrpSpPr>
          <p:cNvPr id="19" name="Google Shape;19;p34"/>
          <p:cNvGrpSpPr/>
          <p:nvPr/>
        </p:nvGrpSpPr>
        <p:grpSpPr>
          <a:xfrm>
            <a:off x="6234948" y="444810"/>
            <a:ext cx="3064354" cy="4059936"/>
            <a:chOff x="4159643" y="863536"/>
            <a:chExt cx="3872715" cy="5130928"/>
          </a:xfrm>
        </p:grpSpPr>
        <p:pic>
          <p:nvPicPr>
            <p:cNvPr id="20" name="Google Shape;20;p34"/>
            <p:cNvPicPr preferRelativeResize="0"/>
            <p:nvPr/>
          </p:nvPicPr>
          <p:blipFill rotWithShape="1">
            <a:blip r:embed="rId2">
              <a:alphaModFix/>
            </a:blip>
            <a:srcRect l="4199" r="67479"/>
            <a:stretch/>
          </p:blipFill>
          <p:spPr>
            <a:xfrm>
              <a:off x="4159643" y="863536"/>
              <a:ext cx="3872715" cy="5130928"/>
            </a:xfrm>
            <a:prstGeom prst="rect">
              <a:avLst/>
            </a:prstGeom>
            <a:noFill/>
            <a:ln>
              <a:noFill/>
            </a:ln>
          </p:spPr>
        </p:pic>
        <p:grpSp>
          <p:nvGrpSpPr>
            <p:cNvPr id="21" name="Google Shape;21;p34"/>
            <p:cNvGrpSpPr/>
            <p:nvPr/>
          </p:nvGrpSpPr>
          <p:grpSpPr>
            <a:xfrm>
              <a:off x="6731136" y="1549464"/>
              <a:ext cx="569119" cy="414333"/>
              <a:chOff x="10083800" y="2413000"/>
              <a:chExt cx="569119" cy="414333"/>
            </a:xfrm>
          </p:grpSpPr>
          <p:pic>
            <p:nvPicPr>
              <p:cNvPr id="22" name="Google Shape;22;p34"/>
              <p:cNvPicPr preferRelativeResize="0"/>
              <p:nvPr/>
            </p:nvPicPr>
            <p:blipFill rotWithShape="1">
              <a:blip r:embed="rId2">
                <a:alphaModFix/>
              </a:blip>
              <a:srcRect l="23045" t="13400" r="72792" b="78525"/>
              <a:stretch/>
            </p:blipFill>
            <p:spPr>
              <a:xfrm>
                <a:off x="10083800" y="2413000"/>
                <a:ext cx="546000" cy="414333"/>
              </a:xfrm>
              <a:prstGeom prst="rect">
                <a:avLst/>
              </a:prstGeom>
              <a:solidFill>
                <a:schemeClr val="lt1"/>
              </a:solidFill>
              <a:ln>
                <a:noFill/>
              </a:ln>
            </p:spPr>
          </p:pic>
          <p:sp>
            <p:nvSpPr>
              <p:cNvPr id="23" name="Google Shape;23;p34"/>
              <p:cNvSpPr/>
              <p:nvPr/>
            </p:nvSpPr>
            <p:spPr>
              <a:xfrm>
                <a:off x="10426341" y="2533651"/>
                <a:ext cx="226578" cy="13810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Gene Sans" panose="00000500000000000000" pitchFamily="50" charset="0"/>
                  <a:ea typeface="Arial"/>
                  <a:cs typeface="Arial"/>
                  <a:sym typeface="Arial"/>
                </a:endParaRPr>
              </a:p>
            </p:txBody>
          </p:sp>
          <p:pic>
            <p:nvPicPr>
              <p:cNvPr id="24" name="Google Shape;24;p34"/>
              <p:cNvPicPr preferRelativeResize="0"/>
              <p:nvPr/>
            </p:nvPicPr>
            <p:blipFill rotWithShape="1">
              <a:blip r:embed="rId2">
                <a:alphaModFix/>
              </a:blip>
              <a:srcRect l="23911" t="16101" r="75630" b="81882"/>
              <a:stretch/>
            </p:blipFill>
            <p:spPr>
              <a:xfrm>
                <a:off x="10426341" y="2551563"/>
                <a:ext cx="60238" cy="103486"/>
              </a:xfrm>
              <a:prstGeom prst="rect">
                <a:avLst/>
              </a:prstGeom>
              <a:noFill/>
              <a:ln>
                <a:noFill/>
              </a:ln>
            </p:spPr>
          </p:pic>
          <p:pic>
            <p:nvPicPr>
              <p:cNvPr id="25" name="Google Shape;25;p34"/>
              <p:cNvPicPr preferRelativeResize="0"/>
              <p:nvPr/>
            </p:nvPicPr>
            <p:blipFill rotWithShape="1">
              <a:blip r:embed="rId2">
                <a:alphaModFix/>
              </a:blip>
              <a:srcRect l="25670" t="16101" r="73063" b="81882"/>
              <a:stretch/>
            </p:blipFill>
            <p:spPr>
              <a:xfrm>
                <a:off x="10486579" y="2551563"/>
                <a:ext cx="166340" cy="103486"/>
              </a:xfrm>
              <a:prstGeom prst="rect">
                <a:avLst/>
              </a:prstGeom>
              <a:noFill/>
              <a:ln>
                <a:noFill/>
              </a:ln>
            </p:spPr>
          </p:pic>
          <p:sp>
            <p:nvSpPr>
              <p:cNvPr id="26" name="Google Shape;26;p34"/>
              <p:cNvSpPr/>
              <p:nvPr/>
            </p:nvSpPr>
            <p:spPr>
              <a:xfrm>
                <a:off x="10604934" y="2671759"/>
                <a:ext cx="47985" cy="13810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Gene Sans" panose="00000500000000000000" pitchFamily="50" charset="0"/>
                  <a:ea typeface="Arial"/>
                  <a:cs typeface="Arial"/>
                  <a:sym typeface="Arial"/>
                </a:endParaRPr>
              </a:p>
            </p:txBody>
          </p:sp>
        </p:grpSp>
      </p:grpSp>
      <p:grpSp>
        <p:nvGrpSpPr>
          <p:cNvPr id="27" name="Google Shape;27;p34"/>
          <p:cNvGrpSpPr/>
          <p:nvPr/>
        </p:nvGrpSpPr>
        <p:grpSpPr>
          <a:xfrm>
            <a:off x="7677110" y="4670091"/>
            <a:ext cx="1070428" cy="293357"/>
            <a:chOff x="1773" y="2562"/>
            <a:chExt cx="1985" cy="544"/>
          </a:xfrm>
        </p:grpSpPr>
        <p:sp>
          <p:nvSpPr>
            <p:cNvPr id="28" name="Google Shape;28;p34"/>
            <p:cNvSpPr/>
            <p:nvPr/>
          </p:nvSpPr>
          <p:spPr>
            <a:xfrm>
              <a:off x="1773" y="2562"/>
              <a:ext cx="1985" cy="304"/>
            </a:xfrm>
            <a:custGeom>
              <a:avLst/>
              <a:gdLst/>
              <a:ahLst/>
              <a:cxnLst/>
              <a:rect l="l" t="t" r="r" b="b"/>
              <a:pathLst>
                <a:path w="299" h="43" extrusionOk="0">
                  <a:moveTo>
                    <a:pt x="29" y="15"/>
                  </a:moveTo>
                  <a:cubicBezTo>
                    <a:pt x="29" y="11"/>
                    <a:pt x="29" y="11"/>
                    <a:pt x="29" y="11"/>
                  </a:cubicBezTo>
                  <a:cubicBezTo>
                    <a:pt x="29" y="11"/>
                    <a:pt x="30" y="5"/>
                    <a:pt x="20" y="5"/>
                  </a:cubicBezTo>
                  <a:cubicBezTo>
                    <a:pt x="10" y="5"/>
                    <a:pt x="10" y="11"/>
                    <a:pt x="10" y="11"/>
                  </a:cubicBezTo>
                  <a:cubicBezTo>
                    <a:pt x="10" y="31"/>
                    <a:pt x="10" y="31"/>
                    <a:pt x="10" y="31"/>
                  </a:cubicBezTo>
                  <a:cubicBezTo>
                    <a:pt x="10" y="31"/>
                    <a:pt x="10" y="37"/>
                    <a:pt x="20" y="37"/>
                  </a:cubicBezTo>
                  <a:cubicBezTo>
                    <a:pt x="29" y="37"/>
                    <a:pt x="29" y="34"/>
                    <a:pt x="29" y="34"/>
                  </a:cubicBezTo>
                  <a:cubicBezTo>
                    <a:pt x="29" y="25"/>
                    <a:pt x="29" y="25"/>
                    <a:pt x="29" y="25"/>
                  </a:cubicBezTo>
                  <a:cubicBezTo>
                    <a:pt x="20" y="25"/>
                    <a:pt x="20" y="25"/>
                    <a:pt x="20" y="25"/>
                  </a:cubicBezTo>
                  <a:cubicBezTo>
                    <a:pt x="20" y="20"/>
                    <a:pt x="20" y="20"/>
                    <a:pt x="20" y="20"/>
                  </a:cubicBezTo>
                  <a:cubicBezTo>
                    <a:pt x="40" y="20"/>
                    <a:pt x="40" y="20"/>
                    <a:pt x="40" y="20"/>
                  </a:cubicBezTo>
                  <a:cubicBezTo>
                    <a:pt x="40" y="34"/>
                    <a:pt x="40" y="34"/>
                    <a:pt x="40" y="34"/>
                  </a:cubicBezTo>
                  <a:cubicBezTo>
                    <a:pt x="40" y="34"/>
                    <a:pt x="36" y="42"/>
                    <a:pt x="20" y="42"/>
                  </a:cubicBezTo>
                  <a:cubicBezTo>
                    <a:pt x="1" y="42"/>
                    <a:pt x="0" y="31"/>
                    <a:pt x="0" y="31"/>
                  </a:cubicBezTo>
                  <a:cubicBezTo>
                    <a:pt x="0" y="11"/>
                    <a:pt x="0" y="11"/>
                    <a:pt x="0" y="11"/>
                  </a:cubicBezTo>
                  <a:cubicBezTo>
                    <a:pt x="0" y="11"/>
                    <a:pt x="1" y="0"/>
                    <a:pt x="20" y="0"/>
                  </a:cubicBezTo>
                  <a:cubicBezTo>
                    <a:pt x="41" y="0"/>
                    <a:pt x="40" y="11"/>
                    <a:pt x="40" y="11"/>
                  </a:cubicBezTo>
                  <a:cubicBezTo>
                    <a:pt x="40" y="15"/>
                    <a:pt x="40" y="15"/>
                    <a:pt x="40" y="15"/>
                  </a:cubicBezTo>
                  <a:lnTo>
                    <a:pt x="29" y="15"/>
                  </a:lnTo>
                  <a:close/>
                  <a:moveTo>
                    <a:pt x="231" y="20"/>
                  </a:moveTo>
                  <a:cubicBezTo>
                    <a:pt x="231" y="20"/>
                    <a:pt x="232" y="12"/>
                    <a:pt x="215" y="12"/>
                  </a:cubicBezTo>
                  <a:cubicBezTo>
                    <a:pt x="199" y="12"/>
                    <a:pt x="200" y="20"/>
                    <a:pt x="200" y="20"/>
                  </a:cubicBezTo>
                  <a:cubicBezTo>
                    <a:pt x="200" y="34"/>
                    <a:pt x="200" y="34"/>
                    <a:pt x="200" y="34"/>
                  </a:cubicBezTo>
                  <a:cubicBezTo>
                    <a:pt x="200" y="34"/>
                    <a:pt x="199" y="42"/>
                    <a:pt x="215" y="42"/>
                  </a:cubicBezTo>
                  <a:cubicBezTo>
                    <a:pt x="232" y="42"/>
                    <a:pt x="231" y="34"/>
                    <a:pt x="231" y="34"/>
                  </a:cubicBezTo>
                  <a:cubicBezTo>
                    <a:pt x="231" y="32"/>
                    <a:pt x="231" y="32"/>
                    <a:pt x="231" y="32"/>
                  </a:cubicBezTo>
                  <a:cubicBezTo>
                    <a:pt x="222" y="32"/>
                    <a:pt x="222" y="32"/>
                    <a:pt x="222" y="32"/>
                  </a:cubicBezTo>
                  <a:cubicBezTo>
                    <a:pt x="222" y="34"/>
                    <a:pt x="222" y="34"/>
                    <a:pt x="222" y="34"/>
                  </a:cubicBezTo>
                  <a:cubicBezTo>
                    <a:pt x="222" y="34"/>
                    <a:pt x="222" y="38"/>
                    <a:pt x="215" y="38"/>
                  </a:cubicBezTo>
                  <a:cubicBezTo>
                    <a:pt x="208" y="38"/>
                    <a:pt x="208" y="34"/>
                    <a:pt x="208" y="34"/>
                  </a:cubicBezTo>
                  <a:cubicBezTo>
                    <a:pt x="208" y="34"/>
                    <a:pt x="208" y="29"/>
                    <a:pt x="208" y="29"/>
                  </a:cubicBezTo>
                  <a:cubicBezTo>
                    <a:pt x="231" y="29"/>
                    <a:pt x="231" y="29"/>
                    <a:pt x="231" y="29"/>
                  </a:cubicBezTo>
                  <a:lnTo>
                    <a:pt x="231" y="20"/>
                  </a:lnTo>
                  <a:close/>
                  <a:moveTo>
                    <a:pt x="215" y="17"/>
                  </a:moveTo>
                  <a:cubicBezTo>
                    <a:pt x="222" y="17"/>
                    <a:pt x="222" y="20"/>
                    <a:pt x="222" y="20"/>
                  </a:cubicBezTo>
                  <a:cubicBezTo>
                    <a:pt x="222" y="20"/>
                    <a:pt x="222" y="24"/>
                    <a:pt x="222" y="24"/>
                  </a:cubicBezTo>
                  <a:cubicBezTo>
                    <a:pt x="208" y="24"/>
                    <a:pt x="208" y="24"/>
                    <a:pt x="208" y="24"/>
                  </a:cubicBezTo>
                  <a:cubicBezTo>
                    <a:pt x="208" y="20"/>
                    <a:pt x="208" y="20"/>
                    <a:pt x="208" y="20"/>
                  </a:cubicBezTo>
                  <a:cubicBezTo>
                    <a:pt x="208" y="20"/>
                    <a:pt x="208" y="17"/>
                    <a:pt x="215" y="17"/>
                  </a:cubicBezTo>
                  <a:close/>
                  <a:moveTo>
                    <a:pt x="265" y="24"/>
                  </a:moveTo>
                  <a:cubicBezTo>
                    <a:pt x="265" y="20"/>
                    <a:pt x="265" y="20"/>
                    <a:pt x="265" y="20"/>
                  </a:cubicBezTo>
                  <a:cubicBezTo>
                    <a:pt x="265" y="20"/>
                    <a:pt x="266" y="12"/>
                    <a:pt x="249" y="12"/>
                  </a:cubicBezTo>
                  <a:cubicBezTo>
                    <a:pt x="233" y="12"/>
                    <a:pt x="234" y="20"/>
                    <a:pt x="234" y="20"/>
                  </a:cubicBezTo>
                  <a:cubicBezTo>
                    <a:pt x="234" y="34"/>
                    <a:pt x="234" y="34"/>
                    <a:pt x="234" y="34"/>
                  </a:cubicBezTo>
                  <a:cubicBezTo>
                    <a:pt x="234" y="34"/>
                    <a:pt x="233" y="42"/>
                    <a:pt x="249" y="42"/>
                  </a:cubicBezTo>
                  <a:cubicBezTo>
                    <a:pt x="266" y="42"/>
                    <a:pt x="265" y="34"/>
                    <a:pt x="265" y="34"/>
                  </a:cubicBezTo>
                  <a:cubicBezTo>
                    <a:pt x="265" y="31"/>
                    <a:pt x="265" y="31"/>
                    <a:pt x="265" y="31"/>
                  </a:cubicBezTo>
                  <a:cubicBezTo>
                    <a:pt x="256" y="31"/>
                    <a:pt x="256" y="31"/>
                    <a:pt x="256" y="31"/>
                  </a:cubicBezTo>
                  <a:cubicBezTo>
                    <a:pt x="256" y="34"/>
                    <a:pt x="256" y="34"/>
                    <a:pt x="256" y="34"/>
                  </a:cubicBezTo>
                  <a:cubicBezTo>
                    <a:pt x="256" y="34"/>
                    <a:pt x="256" y="38"/>
                    <a:pt x="249" y="38"/>
                  </a:cubicBezTo>
                  <a:cubicBezTo>
                    <a:pt x="242" y="38"/>
                    <a:pt x="242" y="34"/>
                    <a:pt x="242" y="34"/>
                  </a:cubicBezTo>
                  <a:cubicBezTo>
                    <a:pt x="242" y="34"/>
                    <a:pt x="242" y="20"/>
                    <a:pt x="242" y="20"/>
                  </a:cubicBezTo>
                  <a:cubicBezTo>
                    <a:pt x="242" y="20"/>
                    <a:pt x="243" y="17"/>
                    <a:pt x="250" y="17"/>
                  </a:cubicBezTo>
                  <a:cubicBezTo>
                    <a:pt x="257" y="17"/>
                    <a:pt x="256" y="20"/>
                    <a:pt x="256" y="20"/>
                  </a:cubicBezTo>
                  <a:cubicBezTo>
                    <a:pt x="256" y="24"/>
                    <a:pt x="256" y="24"/>
                    <a:pt x="256" y="24"/>
                  </a:cubicBezTo>
                  <a:lnTo>
                    <a:pt x="265" y="24"/>
                  </a:lnTo>
                  <a:close/>
                  <a:moveTo>
                    <a:pt x="178" y="18"/>
                  </a:moveTo>
                  <a:cubicBezTo>
                    <a:pt x="180" y="18"/>
                    <a:pt x="180" y="18"/>
                    <a:pt x="180" y="18"/>
                  </a:cubicBezTo>
                  <a:cubicBezTo>
                    <a:pt x="180" y="18"/>
                    <a:pt x="180" y="27"/>
                    <a:pt x="180" y="35"/>
                  </a:cubicBezTo>
                  <a:cubicBezTo>
                    <a:pt x="180" y="42"/>
                    <a:pt x="190" y="43"/>
                    <a:pt x="198" y="42"/>
                  </a:cubicBezTo>
                  <a:cubicBezTo>
                    <a:pt x="198" y="42"/>
                    <a:pt x="198" y="38"/>
                    <a:pt x="198" y="38"/>
                  </a:cubicBezTo>
                  <a:cubicBezTo>
                    <a:pt x="189" y="39"/>
                    <a:pt x="189" y="35"/>
                    <a:pt x="189" y="35"/>
                  </a:cubicBezTo>
                  <a:cubicBezTo>
                    <a:pt x="189" y="18"/>
                    <a:pt x="189" y="18"/>
                    <a:pt x="189" y="18"/>
                  </a:cubicBezTo>
                  <a:cubicBezTo>
                    <a:pt x="198" y="18"/>
                    <a:pt x="198" y="18"/>
                    <a:pt x="198" y="18"/>
                  </a:cubicBezTo>
                  <a:cubicBezTo>
                    <a:pt x="198" y="13"/>
                    <a:pt x="198" y="13"/>
                    <a:pt x="198" y="13"/>
                  </a:cubicBezTo>
                  <a:cubicBezTo>
                    <a:pt x="189" y="13"/>
                    <a:pt x="189" y="13"/>
                    <a:pt x="189" y="13"/>
                  </a:cubicBezTo>
                  <a:cubicBezTo>
                    <a:pt x="189" y="7"/>
                    <a:pt x="189" y="7"/>
                    <a:pt x="189" y="7"/>
                  </a:cubicBezTo>
                  <a:cubicBezTo>
                    <a:pt x="180" y="7"/>
                    <a:pt x="180" y="7"/>
                    <a:pt x="180" y="7"/>
                  </a:cubicBezTo>
                  <a:cubicBezTo>
                    <a:pt x="180" y="13"/>
                    <a:pt x="180" y="13"/>
                    <a:pt x="180" y="13"/>
                  </a:cubicBezTo>
                  <a:cubicBezTo>
                    <a:pt x="178" y="13"/>
                    <a:pt x="178" y="13"/>
                    <a:pt x="178" y="13"/>
                  </a:cubicBezTo>
                  <a:lnTo>
                    <a:pt x="178" y="18"/>
                  </a:lnTo>
                  <a:close/>
                  <a:moveTo>
                    <a:pt x="142" y="20"/>
                  </a:moveTo>
                  <a:cubicBezTo>
                    <a:pt x="142" y="20"/>
                    <a:pt x="143" y="12"/>
                    <a:pt x="126" y="12"/>
                  </a:cubicBezTo>
                  <a:cubicBezTo>
                    <a:pt x="110" y="12"/>
                    <a:pt x="111" y="20"/>
                    <a:pt x="111" y="20"/>
                  </a:cubicBezTo>
                  <a:cubicBezTo>
                    <a:pt x="111" y="34"/>
                    <a:pt x="111" y="34"/>
                    <a:pt x="111" y="34"/>
                  </a:cubicBezTo>
                  <a:cubicBezTo>
                    <a:pt x="111" y="34"/>
                    <a:pt x="110" y="42"/>
                    <a:pt x="126" y="42"/>
                  </a:cubicBezTo>
                  <a:cubicBezTo>
                    <a:pt x="142" y="42"/>
                    <a:pt x="142" y="34"/>
                    <a:pt x="142" y="34"/>
                  </a:cubicBezTo>
                  <a:cubicBezTo>
                    <a:pt x="142" y="32"/>
                    <a:pt x="142" y="32"/>
                    <a:pt x="142" y="32"/>
                  </a:cubicBezTo>
                  <a:cubicBezTo>
                    <a:pt x="133" y="32"/>
                    <a:pt x="133" y="32"/>
                    <a:pt x="133" y="32"/>
                  </a:cubicBezTo>
                  <a:cubicBezTo>
                    <a:pt x="133" y="34"/>
                    <a:pt x="133" y="34"/>
                    <a:pt x="133" y="34"/>
                  </a:cubicBezTo>
                  <a:cubicBezTo>
                    <a:pt x="133" y="34"/>
                    <a:pt x="133" y="38"/>
                    <a:pt x="126" y="38"/>
                  </a:cubicBezTo>
                  <a:cubicBezTo>
                    <a:pt x="119" y="38"/>
                    <a:pt x="119" y="34"/>
                    <a:pt x="119" y="34"/>
                  </a:cubicBezTo>
                  <a:cubicBezTo>
                    <a:pt x="119" y="34"/>
                    <a:pt x="119" y="29"/>
                    <a:pt x="119" y="29"/>
                  </a:cubicBezTo>
                  <a:cubicBezTo>
                    <a:pt x="142" y="29"/>
                    <a:pt x="142" y="29"/>
                    <a:pt x="142" y="29"/>
                  </a:cubicBezTo>
                  <a:lnTo>
                    <a:pt x="142" y="20"/>
                  </a:lnTo>
                  <a:close/>
                  <a:moveTo>
                    <a:pt x="126" y="17"/>
                  </a:moveTo>
                  <a:cubicBezTo>
                    <a:pt x="133" y="17"/>
                    <a:pt x="133" y="20"/>
                    <a:pt x="133" y="20"/>
                  </a:cubicBezTo>
                  <a:cubicBezTo>
                    <a:pt x="133" y="20"/>
                    <a:pt x="133" y="24"/>
                    <a:pt x="133" y="24"/>
                  </a:cubicBezTo>
                  <a:cubicBezTo>
                    <a:pt x="119" y="24"/>
                    <a:pt x="119" y="24"/>
                    <a:pt x="119" y="24"/>
                  </a:cubicBezTo>
                  <a:cubicBezTo>
                    <a:pt x="119" y="20"/>
                    <a:pt x="119" y="20"/>
                    <a:pt x="119" y="20"/>
                  </a:cubicBezTo>
                  <a:cubicBezTo>
                    <a:pt x="119" y="20"/>
                    <a:pt x="119" y="17"/>
                    <a:pt x="126" y="17"/>
                  </a:cubicBezTo>
                  <a:close/>
                  <a:moveTo>
                    <a:pt x="74" y="20"/>
                  </a:moveTo>
                  <a:cubicBezTo>
                    <a:pt x="74" y="20"/>
                    <a:pt x="75" y="12"/>
                    <a:pt x="59" y="12"/>
                  </a:cubicBezTo>
                  <a:cubicBezTo>
                    <a:pt x="42" y="12"/>
                    <a:pt x="43" y="20"/>
                    <a:pt x="43" y="20"/>
                  </a:cubicBezTo>
                  <a:cubicBezTo>
                    <a:pt x="43" y="34"/>
                    <a:pt x="43" y="34"/>
                    <a:pt x="43" y="34"/>
                  </a:cubicBezTo>
                  <a:cubicBezTo>
                    <a:pt x="43" y="34"/>
                    <a:pt x="42" y="42"/>
                    <a:pt x="59" y="42"/>
                  </a:cubicBezTo>
                  <a:cubicBezTo>
                    <a:pt x="75" y="42"/>
                    <a:pt x="74" y="34"/>
                    <a:pt x="74" y="34"/>
                  </a:cubicBezTo>
                  <a:cubicBezTo>
                    <a:pt x="74" y="32"/>
                    <a:pt x="74" y="32"/>
                    <a:pt x="74" y="32"/>
                  </a:cubicBezTo>
                  <a:cubicBezTo>
                    <a:pt x="66" y="32"/>
                    <a:pt x="66" y="32"/>
                    <a:pt x="66" y="32"/>
                  </a:cubicBezTo>
                  <a:cubicBezTo>
                    <a:pt x="66" y="34"/>
                    <a:pt x="66" y="34"/>
                    <a:pt x="66" y="34"/>
                  </a:cubicBezTo>
                  <a:cubicBezTo>
                    <a:pt x="66" y="34"/>
                    <a:pt x="66" y="38"/>
                    <a:pt x="59" y="38"/>
                  </a:cubicBezTo>
                  <a:cubicBezTo>
                    <a:pt x="52" y="38"/>
                    <a:pt x="52" y="34"/>
                    <a:pt x="52" y="34"/>
                  </a:cubicBezTo>
                  <a:cubicBezTo>
                    <a:pt x="52" y="34"/>
                    <a:pt x="52" y="29"/>
                    <a:pt x="52" y="29"/>
                  </a:cubicBezTo>
                  <a:cubicBezTo>
                    <a:pt x="74" y="29"/>
                    <a:pt x="74" y="29"/>
                    <a:pt x="74" y="29"/>
                  </a:cubicBezTo>
                  <a:lnTo>
                    <a:pt x="74" y="20"/>
                  </a:lnTo>
                  <a:close/>
                  <a:moveTo>
                    <a:pt x="59" y="17"/>
                  </a:moveTo>
                  <a:cubicBezTo>
                    <a:pt x="66" y="17"/>
                    <a:pt x="66" y="20"/>
                    <a:pt x="66" y="20"/>
                  </a:cubicBezTo>
                  <a:cubicBezTo>
                    <a:pt x="66" y="20"/>
                    <a:pt x="66" y="24"/>
                    <a:pt x="66" y="24"/>
                  </a:cubicBezTo>
                  <a:cubicBezTo>
                    <a:pt x="52" y="24"/>
                    <a:pt x="52" y="24"/>
                    <a:pt x="52" y="24"/>
                  </a:cubicBezTo>
                  <a:cubicBezTo>
                    <a:pt x="52" y="20"/>
                    <a:pt x="52" y="20"/>
                    <a:pt x="52" y="20"/>
                  </a:cubicBezTo>
                  <a:cubicBezTo>
                    <a:pt x="52" y="20"/>
                    <a:pt x="52" y="17"/>
                    <a:pt x="59" y="17"/>
                  </a:cubicBezTo>
                  <a:close/>
                  <a:moveTo>
                    <a:pt x="268" y="41"/>
                  </a:moveTo>
                  <a:cubicBezTo>
                    <a:pt x="277" y="41"/>
                    <a:pt x="277" y="41"/>
                    <a:pt x="277" y="41"/>
                  </a:cubicBezTo>
                  <a:cubicBezTo>
                    <a:pt x="277" y="20"/>
                    <a:pt x="277" y="20"/>
                    <a:pt x="277" y="20"/>
                  </a:cubicBezTo>
                  <a:cubicBezTo>
                    <a:pt x="277" y="20"/>
                    <a:pt x="277" y="16"/>
                    <a:pt x="284" y="16"/>
                  </a:cubicBezTo>
                  <a:cubicBezTo>
                    <a:pt x="291" y="16"/>
                    <a:pt x="291" y="20"/>
                    <a:pt x="291" y="20"/>
                  </a:cubicBezTo>
                  <a:cubicBezTo>
                    <a:pt x="291" y="41"/>
                    <a:pt x="291" y="41"/>
                    <a:pt x="291" y="41"/>
                  </a:cubicBezTo>
                  <a:cubicBezTo>
                    <a:pt x="299" y="41"/>
                    <a:pt x="299" y="41"/>
                    <a:pt x="299" y="41"/>
                  </a:cubicBezTo>
                  <a:cubicBezTo>
                    <a:pt x="299" y="19"/>
                    <a:pt x="299" y="19"/>
                    <a:pt x="299" y="19"/>
                  </a:cubicBezTo>
                  <a:cubicBezTo>
                    <a:pt x="299" y="19"/>
                    <a:pt x="299" y="12"/>
                    <a:pt x="284" y="12"/>
                  </a:cubicBezTo>
                  <a:cubicBezTo>
                    <a:pt x="281" y="12"/>
                    <a:pt x="279" y="12"/>
                    <a:pt x="277" y="12"/>
                  </a:cubicBezTo>
                  <a:cubicBezTo>
                    <a:pt x="277" y="12"/>
                    <a:pt x="277" y="0"/>
                    <a:pt x="277" y="0"/>
                  </a:cubicBezTo>
                  <a:cubicBezTo>
                    <a:pt x="277" y="0"/>
                    <a:pt x="268" y="0"/>
                    <a:pt x="268" y="0"/>
                  </a:cubicBezTo>
                  <a:lnTo>
                    <a:pt x="268" y="41"/>
                  </a:lnTo>
                  <a:close/>
                  <a:moveTo>
                    <a:pt x="92" y="12"/>
                  </a:moveTo>
                  <a:cubicBezTo>
                    <a:pt x="87" y="12"/>
                    <a:pt x="84" y="13"/>
                    <a:pt x="81" y="14"/>
                  </a:cubicBezTo>
                  <a:cubicBezTo>
                    <a:pt x="77" y="14"/>
                    <a:pt x="77" y="14"/>
                    <a:pt x="77" y="14"/>
                  </a:cubicBezTo>
                  <a:cubicBezTo>
                    <a:pt x="77" y="41"/>
                    <a:pt x="77" y="41"/>
                    <a:pt x="77" y="41"/>
                  </a:cubicBezTo>
                  <a:cubicBezTo>
                    <a:pt x="85" y="41"/>
                    <a:pt x="85" y="41"/>
                    <a:pt x="85" y="41"/>
                  </a:cubicBezTo>
                  <a:cubicBezTo>
                    <a:pt x="85" y="20"/>
                    <a:pt x="85" y="20"/>
                    <a:pt x="85" y="20"/>
                  </a:cubicBezTo>
                  <a:cubicBezTo>
                    <a:pt x="85" y="20"/>
                    <a:pt x="85" y="16"/>
                    <a:pt x="92" y="16"/>
                  </a:cubicBezTo>
                  <a:cubicBezTo>
                    <a:pt x="99" y="16"/>
                    <a:pt x="99" y="20"/>
                    <a:pt x="99" y="20"/>
                  </a:cubicBezTo>
                  <a:cubicBezTo>
                    <a:pt x="99" y="41"/>
                    <a:pt x="99" y="41"/>
                    <a:pt x="99" y="41"/>
                  </a:cubicBezTo>
                  <a:cubicBezTo>
                    <a:pt x="108" y="41"/>
                    <a:pt x="108" y="41"/>
                    <a:pt x="108" y="41"/>
                  </a:cubicBezTo>
                  <a:cubicBezTo>
                    <a:pt x="108" y="19"/>
                    <a:pt x="108" y="19"/>
                    <a:pt x="108" y="19"/>
                  </a:cubicBezTo>
                  <a:cubicBezTo>
                    <a:pt x="108" y="19"/>
                    <a:pt x="108" y="12"/>
                    <a:pt x="92" y="12"/>
                  </a:cubicBezTo>
                  <a:close/>
                  <a:moveTo>
                    <a:pt x="160" y="12"/>
                  </a:moveTo>
                  <a:cubicBezTo>
                    <a:pt x="155" y="12"/>
                    <a:pt x="152" y="13"/>
                    <a:pt x="149" y="14"/>
                  </a:cubicBezTo>
                  <a:cubicBezTo>
                    <a:pt x="145" y="14"/>
                    <a:pt x="145" y="14"/>
                    <a:pt x="145" y="14"/>
                  </a:cubicBezTo>
                  <a:cubicBezTo>
                    <a:pt x="145" y="41"/>
                    <a:pt x="145" y="41"/>
                    <a:pt x="145" y="41"/>
                  </a:cubicBezTo>
                  <a:cubicBezTo>
                    <a:pt x="153" y="41"/>
                    <a:pt x="153" y="41"/>
                    <a:pt x="153" y="41"/>
                  </a:cubicBezTo>
                  <a:cubicBezTo>
                    <a:pt x="153" y="20"/>
                    <a:pt x="153" y="20"/>
                    <a:pt x="153" y="20"/>
                  </a:cubicBezTo>
                  <a:cubicBezTo>
                    <a:pt x="153" y="20"/>
                    <a:pt x="153" y="16"/>
                    <a:pt x="160" y="16"/>
                  </a:cubicBezTo>
                  <a:cubicBezTo>
                    <a:pt x="167" y="16"/>
                    <a:pt x="167" y="20"/>
                    <a:pt x="167" y="20"/>
                  </a:cubicBezTo>
                  <a:cubicBezTo>
                    <a:pt x="167" y="41"/>
                    <a:pt x="167" y="41"/>
                    <a:pt x="167" y="41"/>
                  </a:cubicBezTo>
                  <a:cubicBezTo>
                    <a:pt x="176" y="41"/>
                    <a:pt x="176" y="41"/>
                    <a:pt x="176" y="41"/>
                  </a:cubicBezTo>
                  <a:cubicBezTo>
                    <a:pt x="176" y="19"/>
                    <a:pt x="176" y="19"/>
                    <a:pt x="176" y="19"/>
                  </a:cubicBezTo>
                  <a:cubicBezTo>
                    <a:pt x="176" y="19"/>
                    <a:pt x="175" y="12"/>
                    <a:pt x="160" y="12"/>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rgbClr val="DDEEF8"/>
                </a:solidFill>
                <a:latin typeface="Gene Sans" panose="00000500000000000000" pitchFamily="50" charset="0"/>
                <a:ea typeface="Arial"/>
                <a:cs typeface="Arial"/>
                <a:sym typeface="Arial"/>
              </a:endParaRPr>
            </a:p>
          </p:txBody>
        </p:sp>
        <p:sp>
          <p:nvSpPr>
            <p:cNvPr id="29" name="Google Shape;29;p34"/>
            <p:cNvSpPr/>
            <p:nvPr/>
          </p:nvSpPr>
          <p:spPr>
            <a:xfrm>
              <a:off x="1786" y="2950"/>
              <a:ext cx="1965" cy="156"/>
            </a:xfrm>
            <a:custGeom>
              <a:avLst/>
              <a:gdLst/>
              <a:ahLst/>
              <a:cxnLst/>
              <a:rect l="l" t="t" r="r" b="b"/>
              <a:pathLst>
                <a:path w="296" h="22" extrusionOk="0">
                  <a:moveTo>
                    <a:pt x="11" y="1"/>
                  </a:moveTo>
                  <a:cubicBezTo>
                    <a:pt x="11" y="5"/>
                    <a:pt x="11" y="5"/>
                    <a:pt x="11" y="5"/>
                  </a:cubicBezTo>
                  <a:cubicBezTo>
                    <a:pt x="12" y="8"/>
                    <a:pt x="12" y="11"/>
                    <a:pt x="13" y="14"/>
                  </a:cubicBezTo>
                  <a:cubicBezTo>
                    <a:pt x="13" y="16"/>
                    <a:pt x="13" y="16"/>
                    <a:pt x="15" y="16"/>
                  </a:cubicBezTo>
                  <a:cubicBezTo>
                    <a:pt x="15" y="17"/>
                    <a:pt x="15" y="17"/>
                    <a:pt x="15" y="17"/>
                  </a:cubicBezTo>
                  <a:cubicBezTo>
                    <a:pt x="9" y="17"/>
                    <a:pt x="9" y="17"/>
                    <a:pt x="9" y="17"/>
                  </a:cubicBezTo>
                  <a:cubicBezTo>
                    <a:pt x="9" y="16"/>
                    <a:pt x="9" y="16"/>
                    <a:pt x="9" y="16"/>
                  </a:cubicBezTo>
                  <a:cubicBezTo>
                    <a:pt x="10" y="16"/>
                    <a:pt x="10" y="16"/>
                    <a:pt x="10" y="16"/>
                  </a:cubicBezTo>
                  <a:cubicBezTo>
                    <a:pt x="10" y="16"/>
                    <a:pt x="11" y="16"/>
                    <a:pt x="10" y="15"/>
                  </a:cubicBezTo>
                  <a:cubicBezTo>
                    <a:pt x="10" y="11"/>
                    <a:pt x="10" y="11"/>
                    <a:pt x="10" y="11"/>
                  </a:cubicBezTo>
                  <a:cubicBezTo>
                    <a:pt x="5" y="11"/>
                    <a:pt x="5" y="11"/>
                    <a:pt x="5" y="11"/>
                  </a:cubicBezTo>
                  <a:cubicBezTo>
                    <a:pt x="5" y="12"/>
                    <a:pt x="4" y="13"/>
                    <a:pt x="4" y="14"/>
                  </a:cubicBezTo>
                  <a:cubicBezTo>
                    <a:pt x="3" y="16"/>
                    <a:pt x="3" y="16"/>
                    <a:pt x="4" y="16"/>
                  </a:cubicBezTo>
                  <a:cubicBezTo>
                    <a:pt x="5" y="16"/>
                    <a:pt x="5" y="16"/>
                    <a:pt x="5" y="16"/>
                  </a:cubicBezTo>
                  <a:cubicBezTo>
                    <a:pt x="5" y="17"/>
                    <a:pt x="5" y="17"/>
                    <a:pt x="5" y="17"/>
                  </a:cubicBezTo>
                  <a:cubicBezTo>
                    <a:pt x="0" y="17"/>
                    <a:pt x="0" y="17"/>
                    <a:pt x="0" y="17"/>
                  </a:cubicBezTo>
                  <a:cubicBezTo>
                    <a:pt x="0" y="16"/>
                    <a:pt x="0" y="16"/>
                    <a:pt x="0" y="16"/>
                  </a:cubicBezTo>
                  <a:cubicBezTo>
                    <a:pt x="1" y="16"/>
                    <a:pt x="1" y="16"/>
                    <a:pt x="3" y="14"/>
                  </a:cubicBezTo>
                  <a:cubicBezTo>
                    <a:pt x="10" y="1"/>
                    <a:pt x="10" y="1"/>
                    <a:pt x="10" y="1"/>
                  </a:cubicBezTo>
                  <a:lnTo>
                    <a:pt x="11" y="1"/>
                  </a:lnTo>
                  <a:close/>
                  <a:moveTo>
                    <a:pt x="6" y="10"/>
                  </a:moveTo>
                  <a:cubicBezTo>
                    <a:pt x="10" y="10"/>
                    <a:pt x="10" y="10"/>
                    <a:pt x="10" y="10"/>
                  </a:cubicBezTo>
                  <a:cubicBezTo>
                    <a:pt x="9" y="5"/>
                    <a:pt x="9" y="5"/>
                    <a:pt x="9" y="5"/>
                  </a:cubicBezTo>
                  <a:cubicBezTo>
                    <a:pt x="9" y="5"/>
                    <a:pt x="9" y="5"/>
                    <a:pt x="9" y="5"/>
                  </a:cubicBezTo>
                  <a:lnTo>
                    <a:pt x="6" y="10"/>
                  </a:lnTo>
                  <a:close/>
                  <a:moveTo>
                    <a:pt x="30" y="1"/>
                  </a:moveTo>
                  <a:cubicBezTo>
                    <a:pt x="33" y="13"/>
                    <a:pt x="33" y="13"/>
                    <a:pt x="33" y="13"/>
                  </a:cubicBezTo>
                  <a:cubicBezTo>
                    <a:pt x="40" y="1"/>
                    <a:pt x="40" y="1"/>
                    <a:pt x="40" y="1"/>
                  </a:cubicBezTo>
                  <a:cubicBezTo>
                    <a:pt x="45" y="1"/>
                    <a:pt x="45" y="1"/>
                    <a:pt x="45" y="1"/>
                  </a:cubicBezTo>
                  <a:cubicBezTo>
                    <a:pt x="45" y="2"/>
                    <a:pt x="45" y="2"/>
                    <a:pt x="45" y="2"/>
                  </a:cubicBezTo>
                  <a:cubicBezTo>
                    <a:pt x="43" y="2"/>
                    <a:pt x="42" y="2"/>
                    <a:pt x="42" y="5"/>
                  </a:cubicBezTo>
                  <a:cubicBezTo>
                    <a:pt x="41" y="13"/>
                    <a:pt x="41" y="13"/>
                    <a:pt x="41" y="13"/>
                  </a:cubicBezTo>
                  <a:cubicBezTo>
                    <a:pt x="40" y="16"/>
                    <a:pt x="40" y="16"/>
                    <a:pt x="42" y="16"/>
                  </a:cubicBezTo>
                  <a:cubicBezTo>
                    <a:pt x="42" y="17"/>
                    <a:pt x="42" y="17"/>
                    <a:pt x="42" y="17"/>
                  </a:cubicBezTo>
                  <a:cubicBezTo>
                    <a:pt x="36" y="17"/>
                    <a:pt x="36" y="17"/>
                    <a:pt x="36" y="17"/>
                  </a:cubicBezTo>
                  <a:cubicBezTo>
                    <a:pt x="36" y="16"/>
                    <a:pt x="36" y="16"/>
                    <a:pt x="36" y="16"/>
                  </a:cubicBezTo>
                  <a:cubicBezTo>
                    <a:pt x="38" y="16"/>
                    <a:pt x="38" y="16"/>
                    <a:pt x="38" y="13"/>
                  </a:cubicBezTo>
                  <a:cubicBezTo>
                    <a:pt x="40" y="4"/>
                    <a:pt x="40" y="4"/>
                    <a:pt x="40" y="4"/>
                  </a:cubicBezTo>
                  <a:cubicBezTo>
                    <a:pt x="40" y="4"/>
                    <a:pt x="40" y="4"/>
                    <a:pt x="40" y="4"/>
                  </a:cubicBezTo>
                  <a:cubicBezTo>
                    <a:pt x="32" y="16"/>
                    <a:pt x="32" y="16"/>
                    <a:pt x="32" y="16"/>
                  </a:cubicBezTo>
                  <a:cubicBezTo>
                    <a:pt x="31" y="16"/>
                    <a:pt x="31" y="16"/>
                    <a:pt x="31" y="16"/>
                  </a:cubicBezTo>
                  <a:cubicBezTo>
                    <a:pt x="28" y="4"/>
                    <a:pt x="28" y="4"/>
                    <a:pt x="28" y="4"/>
                  </a:cubicBezTo>
                  <a:cubicBezTo>
                    <a:pt x="28" y="4"/>
                    <a:pt x="28" y="4"/>
                    <a:pt x="28" y="4"/>
                  </a:cubicBezTo>
                  <a:cubicBezTo>
                    <a:pt x="27" y="10"/>
                    <a:pt x="27" y="10"/>
                    <a:pt x="27" y="10"/>
                  </a:cubicBezTo>
                  <a:cubicBezTo>
                    <a:pt x="27" y="13"/>
                    <a:pt x="26" y="14"/>
                    <a:pt x="26" y="15"/>
                  </a:cubicBezTo>
                  <a:cubicBezTo>
                    <a:pt x="26" y="16"/>
                    <a:pt x="27" y="16"/>
                    <a:pt x="28" y="16"/>
                  </a:cubicBezTo>
                  <a:cubicBezTo>
                    <a:pt x="28" y="17"/>
                    <a:pt x="28" y="17"/>
                    <a:pt x="28" y="17"/>
                  </a:cubicBezTo>
                  <a:cubicBezTo>
                    <a:pt x="22" y="17"/>
                    <a:pt x="22" y="17"/>
                    <a:pt x="22" y="17"/>
                  </a:cubicBezTo>
                  <a:cubicBezTo>
                    <a:pt x="23" y="16"/>
                    <a:pt x="23" y="16"/>
                    <a:pt x="23" y="16"/>
                  </a:cubicBezTo>
                  <a:cubicBezTo>
                    <a:pt x="24" y="16"/>
                    <a:pt x="24" y="16"/>
                    <a:pt x="25" y="15"/>
                  </a:cubicBezTo>
                  <a:cubicBezTo>
                    <a:pt x="25" y="14"/>
                    <a:pt x="25" y="13"/>
                    <a:pt x="26" y="10"/>
                  </a:cubicBezTo>
                  <a:cubicBezTo>
                    <a:pt x="27" y="5"/>
                    <a:pt x="27" y="5"/>
                    <a:pt x="27" y="5"/>
                  </a:cubicBezTo>
                  <a:cubicBezTo>
                    <a:pt x="28" y="2"/>
                    <a:pt x="28" y="2"/>
                    <a:pt x="26" y="2"/>
                  </a:cubicBezTo>
                  <a:cubicBezTo>
                    <a:pt x="26" y="1"/>
                    <a:pt x="26" y="1"/>
                    <a:pt x="26" y="1"/>
                  </a:cubicBezTo>
                  <a:lnTo>
                    <a:pt x="30" y="1"/>
                  </a:lnTo>
                  <a:close/>
                  <a:moveTo>
                    <a:pt x="52" y="14"/>
                  </a:moveTo>
                  <a:cubicBezTo>
                    <a:pt x="50" y="17"/>
                    <a:pt x="48" y="17"/>
                    <a:pt x="47" y="17"/>
                  </a:cubicBezTo>
                  <a:cubicBezTo>
                    <a:pt x="46" y="17"/>
                    <a:pt x="44" y="16"/>
                    <a:pt x="44" y="13"/>
                  </a:cubicBezTo>
                  <a:cubicBezTo>
                    <a:pt x="44" y="11"/>
                    <a:pt x="45" y="9"/>
                    <a:pt x="47" y="8"/>
                  </a:cubicBezTo>
                  <a:cubicBezTo>
                    <a:pt x="48" y="7"/>
                    <a:pt x="49" y="6"/>
                    <a:pt x="51" y="6"/>
                  </a:cubicBezTo>
                  <a:cubicBezTo>
                    <a:pt x="52" y="6"/>
                    <a:pt x="53" y="7"/>
                    <a:pt x="53" y="8"/>
                  </a:cubicBezTo>
                  <a:cubicBezTo>
                    <a:pt x="53" y="10"/>
                    <a:pt x="49" y="12"/>
                    <a:pt x="47" y="12"/>
                  </a:cubicBezTo>
                  <a:cubicBezTo>
                    <a:pt x="47" y="13"/>
                    <a:pt x="47" y="13"/>
                    <a:pt x="47" y="13"/>
                  </a:cubicBezTo>
                  <a:cubicBezTo>
                    <a:pt x="47" y="14"/>
                    <a:pt x="47" y="15"/>
                    <a:pt x="48" y="15"/>
                  </a:cubicBezTo>
                  <a:cubicBezTo>
                    <a:pt x="49" y="15"/>
                    <a:pt x="51" y="15"/>
                    <a:pt x="52" y="14"/>
                  </a:cubicBezTo>
                  <a:close/>
                  <a:moveTo>
                    <a:pt x="49" y="7"/>
                  </a:moveTo>
                  <a:cubicBezTo>
                    <a:pt x="48" y="8"/>
                    <a:pt x="47" y="9"/>
                    <a:pt x="47" y="12"/>
                  </a:cubicBezTo>
                  <a:cubicBezTo>
                    <a:pt x="50" y="11"/>
                    <a:pt x="51" y="10"/>
                    <a:pt x="51" y="8"/>
                  </a:cubicBezTo>
                  <a:cubicBezTo>
                    <a:pt x="51" y="7"/>
                    <a:pt x="50" y="7"/>
                    <a:pt x="50" y="7"/>
                  </a:cubicBezTo>
                  <a:cubicBezTo>
                    <a:pt x="50" y="7"/>
                    <a:pt x="49" y="7"/>
                    <a:pt x="49" y="7"/>
                  </a:cubicBezTo>
                  <a:close/>
                  <a:moveTo>
                    <a:pt x="55" y="8"/>
                  </a:moveTo>
                  <a:cubicBezTo>
                    <a:pt x="56" y="7"/>
                    <a:pt x="58" y="6"/>
                    <a:pt x="58" y="6"/>
                  </a:cubicBezTo>
                  <a:cubicBezTo>
                    <a:pt x="59" y="6"/>
                    <a:pt x="59" y="7"/>
                    <a:pt x="59" y="8"/>
                  </a:cubicBezTo>
                  <a:cubicBezTo>
                    <a:pt x="59" y="10"/>
                    <a:pt x="59" y="10"/>
                    <a:pt x="59" y="10"/>
                  </a:cubicBezTo>
                  <a:cubicBezTo>
                    <a:pt x="59" y="10"/>
                    <a:pt x="59" y="10"/>
                    <a:pt x="59" y="10"/>
                  </a:cubicBezTo>
                  <a:cubicBezTo>
                    <a:pt x="60" y="8"/>
                    <a:pt x="62" y="7"/>
                    <a:pt x="63" y="6"/>
                  </a:cubicBezTo>
                  <a:cubicBezTo>
                    <a:pt x="63" y="6"/>
                    <a:pt x="64" y="6"/>
                    <a:pt x="64" y="6"/>
                  </a:cubicBezTo>
                  <a:cubicBezTo>
                    <a:pt x="65" y="6"/>
                    <a:pt x="66" y="6"/>
                    <a:pt x="65" y="9"/>
                  </a:cubicBezTo>
                  <a:cubicBezTo>
                    <a:pt x="65" y="10"/>
                    <a:pt x="65" y="10"/>
                    <a:pt x="65" y="10"/>
                  </a:cubicBezTo>
                  <a:cubicBezTo>
                    <a:pt x="65" y="10"/>
                    <a:pt x="65" y="10"/>
                    <a:pt x="65" y="10"/>
                  </a:cubicBezTo>
                  <a:cubicBezTo>
                    <a:pt x="66" y="8"/>
                    <a:pt x="68" y="7"/>
                    <a:pt x="69" y="6"/>
                  </a:cubicBezTo>
                  <a:cubicBezTo>
                    <a:pt x="69" y="6"/>
                    <a:pt x="70" y="6"/>
                    <a:pt x="70" y="6"/>
                  </a:cubicBezTo>
                  <a:cubicBezTo>
                    <a:pt x="71" y="6"/>
                    <a:pt x="72" y="6"/>
                    <a:pt x="71" y="9"/>
                  </a:cubicBezTo>
                  <a:cubicBezTo>
                    <a:pt x="71" y="10"/>
                    <a:pt x="70" y="12"/>
                    <a:pt x="70" y="14"/>
                  </a:cubicBezTo>
                  <a:cubicBezTo>
                    <a:pt x="70" y="15"/>
                    <a:pt x="70" y="15"/>
                    <a:pt x="70" y="15"/>
                  </a:cubicBezTo>
                  <a:cubicBezTo>
                    <a:pt x="70" y="15"/>
                    <a:pt x="71" y="15"/>
                    <a:pt x="72" y="14"/>
                  </a:cubicBezTo>
                  <a:cubicBezTo>
                    <a:pt x="72" y="15"/>
                    <a:pt x="72" y="15"/>
                    <a:pt x="72" y="15"/>
                  </a:cubicBezTo>
                  <a:cubicBezTo>
                    <a:pt x="70" y="16"/>
                    <a:pt x="68" y="17"/>
                    <a:pt x="68" y="17"/>
                  </a:cubicBezTo>
                  <a:cubicBezTo>
                    <a:pt x="67" y="17"/>
                    <a:pt x="67" y="16"/>
                    <a:pt x="67" y="15"/>
                  </a:cubicBezTo>
                  <a:cubicBezTo>
                    <a:pt x="69" y="9"/>
                    <a:pt x="69" y="9"/>
                    <a:pt x="69" y="9"/>
                  </a:cubicBezTo>
                  <a:cubicBezTo>
                    <a:pt x="69" y="8"/>
                    <a:pt x="69" y="8"/>
                    <a:pt x="68" y="8"/>
                  </a:cubicBezTo>
                  <a:cubicBezTo>
                    <a:pt x="68" y="8"/>
                    <a:pt x="65" y="10"/>
                    <a:pt x="64" y="12"/>
                  </a:cubicBezTo>
                  <a:cubicBezTo>
                    <a:pt x="64" y="13"/>
                    <a:pt x="64" y="15"/>
                    <a:pt x="63" y="16"/>
                  </a:cubicBezTo>
                  <a:cubicBezTo>
                    <a:pt x="61" y="17"/>
                    <a:pt x="61" y="17"/>
                    <a:pt x="61" y="17"/>
                  </a:cubicBezTo>
                  <a:cubicBezTo>
                    <a:pt x="61" y="16"/>
                    <a:pt x="61" y="14"/>
                    <a:pt x="62" y="13"/>
                  </a:cubicBezTo>
                  <a:cubicBezTo>
                    <a:pt x="63" y="9"/>
                    <a:pt x="63" y="9"/>
                    <a:pt x="63" y="9"/>
                  </a:cubicBezTo>
                  <a:cubicBezTo>
                    <a:pt x="63" y="8"/>
                    <a:pt x="63" y="8"/>
                    <a:pt x="62" y="8"/>
                  </a:cubicBezTo>
                  <a:cubicBezTo>
                    <a:pt x="62" y="8"/>
                    <a:pt x="59" y="10"/>
                    <a:pt x="58" y="12"/>
                  </a:cubicBezTo>
                  <a:cubicBezTo>
                    <a:pt x="58" y="13"/>
                    <a:pt x="57" y="15"/>
                    <a:pt x="57" y="16"/>
                  </a:cubicBezTo>
                  <a:cubicBezTo>
                    <a:pt x="55" y="17"/>
                    <a:pt x="55" y="17"/>
                    <a:pt x="55" y="17"/>
                  </a:cubicBezTo>
                  <a:cubicBezTo>
                    <a:pt x="55" y="16"/>
                    <a:pt x="55" y="14"/>
                    <a:pt x="56" y="13"/>
                  </a:cubicBezTo>
                  <a:cubicBezTo>
                    <a:pt x="56" y="9"/>
                    <a:pt x="56" y="9"/>
                    <a:pt x="56" y="9"/>
                  </a:cubicBezTo>
                  <a:cubicBezTo>
                    <a:pt x="57" y="8"/>
                    <a:pt x="57" y="8"/>
                    <a:pt x="57" y="8"/>
                  </a:cubicBezTo>
                  <a:cubicBezTo>
                    <a:pt x="56" y="8"/>
                    <a:pt x="55" y="9"/>
                    <a:pt x="55" y="9"/>
                  </a:cubicBezTo>
                  <a:lnTo>
                    <a:pt x="55" y="8"/>
                  </a:lnTo>
                  <a:close/>
                  <a:moveTo>
                    <a:pt x="75" y="1"/>
                  </a:moveTo>
                  <a:cubicBezTo>
                    <a:pt x="77" y="0"/>
                    <a:pt x="79" y="0"/>
                    <a:pt x="79" y="0"/>
                  </a:cubicBezTo>
                  <a:cubicBezTo>
                    <a:pt x="79" y="0"/>
                    <a:pt x="79" y="0"/>
                    <a:pt x="79" y="1"/>
                  </a:cubicBezTo>
                  <a:cubicBezTo>
                    <a:pt x="77" y="9"/>
                    <a:pt x="77" y="9"/>
                    <a:pt x="77" y="9"/>
                  </a:cubicBezTo>
                  <a:cubicBezTo>
                    <a:pt x="77" y="9"/>
                    <a:pt x="77" y="9"/>
                    <a:pt x="77" y="9"/>
                  </a:cubicBezTo>
                  <a:cubicBezTo>
                    <a:pt x="79" y="7"/>
                    <a:pt x="81" y="6"/>
                    <a:pt x="82" y="6"/>
                  </a:cubicBezTo>
                  <a:cubicBezTo>
                    <a:pt x="83" y="6"/>
                    <a:pt x="84" y="7"/>
                    <a:pt x="84" y="8"/>
                  </a:cubicBezTo>
                  <a:cubicBezTo>
                    <a:pt x="84" y="11"/>
                    <a:pt x="82" y="14"/>
                    <a:pt x="80" y="16"/>
                  </a:cubicBezTo>
                  <a:cubicBezTo>
                    <a:pt x="79" y="17"/>
                    <a:pt x="78" y="17"/>
                    <a:pt x="77" y="17"/>
                  </a:cubicBezTo>
                  <a:cubicBezTo>
                    <a:pt x="75" y="17"/>
                    <a:pt x="74" y="17"/>
                    <a:pt x="74" y="16"/>
                  </a:cubicBezTo>
                  <a:cubicBezTo>
                    <a:pt x="74" y="15"/>
                    <a:pt x="74" y="15"/>
                    <a:pt x="74" y="13"/>
                  </a:cubicBezTo>
                  <a:cubicBezTo>
                    <a:pt x="76" y="2"/>
                    <a:pt x="76" y="2"/>
                    <a:pt x="76" y="2"/>
                  </a:cubicBezTo>
                  <a:cubicBezTo>
                    <a:pt x="77" y="1"/>
                    <a:pt x="77" y="1"/>
                    <a:pt x="76" y="1"/>
                  </a:cubicBezTo>
                  <a:cubicBezTo>
                    <a:pt x="75" y="1"/>
                    <a:pt x="75" y="1"/>
                    <a:pt x="75" y="1"/>
                  </a:cubicBezTo>
                  <a:close/>
                  <a:moveTo>
                    <a:pt x="78" y="10"/>
                  </a:moveTo>
                  <a:cubicBezTo>
                    <a:pt x="77" y="11"/>
                    <a:pt x="77" y="11"/>
                    <a:pt x="76" y="13"/>
                  </a:cubicBezTo>
                  <a:cubicBezTo>
                    <a:pt x="76" y="15"/>
                    <a:pt x="77" y="16"/>
                    <a:pt x="78" y="16"/>
                  </a:cubicBezTo>
                  <a:cubicBezTo>
                    <a:pt x="78" y="16"/>
                    <a:pt x="78" y="16"/>
                    <a:pt x="79" y="16"/>
                  </a:cubicBezTo>
                  <a:cubicBezTo>
                    <a:pt x="80" y="15"/>
                    <a:pt x="81" y="12"/>
                    <a:pt x="81" y="9"/>
                  </a:cubicBezTo>
                  <a:cubicBezTo>
                    <a:pt x="81" y="8"/>
                    <a:pt x="81" y="8"/>
                    <a:pt x="81" y="8"/>
                  </a:cubicBezTo>
                  <a:cubicBezTo>
                    <a:pt x="80" y="8"/>
                    <a:pt x="79" y="9"/>
                    <a:pt x="78" y="10"/>
                  </a:cubicBezTo>
                  <a:close/>
                  <a:moveTo>
                    <a:pt x="94" y="14"/>
                  </a:moveTo>
                  <a:cubicBezTo>
                    <a:pt x="91" y="17"/>
                    <a:pt x="89" y="17"/>
                    <a:pt x="88" y="17"/>
                  </a:cubicBezTo>
                  <a:cubicBezTo>
                    <a:pt x="87" y="17"/>
                    <a:pt x="86" y="16"/>
                    <a:pt x="86" y="13"/>
                  </a:cubicBezTo>
                  <a:cubicBezTo>
                    <a:pt x="86" y="11"/>
                    <a:pt x="87" y="9"/>
                    <a:pt x="88" y="8"/>
                  </a:cubicBezTo>
                  <a:cubicBezTo>
                    <a:pt x="89" y="7"/>
                    <a:pt x="91" y="6"/>
                    <a:pt x="92" y="6"/>
                  </a:cubicBezTo>
                  <a:cubicBezTo>
                    <a:pt x="94" y="6"/>
                    <a:pt x="95" y="7"/>
                    <a:pt x="95" y="8"/>
                  </a:cubicBezTo>
                  <a:cubicBezTo>
                    <a:pt x="95" y="10"/>
                    <a:pt x="90" y="12"/>
                    <a:pt x="88" y="12"/>
                  </a:cubicBezTo>
                  <a:cubicBezTo>
                    <a:pt x="88" y="13"/>
                    <a:pt x="88" y="13"/>
                    <a:pt x="88" y="13"/>
                  </a:cubicBezTo>
                  <a:cubicBezTo>
                    <a:pt x="88" y="14"/>
                    <a:pt x="88" y="15"/>
                    <a:pt x="90" y="15"/>
                  </a:cubicBezTo>
                  <a:cubicBezTo>
                    <a:pt x="91" y="15"/>
                    <a:pt x="92" y="15"/>
                    <a:pt x="93" y="14"/>
                  </a:cubicBezTo>
                  <a:lnTo>
                    <a:pt x="94" y="14"/>
                  </a:lnTo>
                  <a:close/>
                  <a:moveTo>
                    <a:pt x="90" y="7"/>
                  </a:moveTo>
                  <a:cubicBezTo>
                    <a:pt x="90" y="8"/>
                    <a:pt x="89" y="9"/>
                    <a:pt x="88" y="12"/>
                  </a:cubicBezTo>
                  <a:cubicBezTo>
                    <a:pt x="91" y="11"/>
                    <a:pt x="92" y="10"/>
                    <a:pt x="92" y="8"/>
                  </a:cubicBezTo>
                  <a:cubicBezTo>
                    <a:pt x="92" y="7"/>
                    <a:pt x="92" y="7"/>
                    <a:pt x="91" y="7"/>
                  </a:cubicBezTo>
                  <a:cubicBezTo>
                    <a:pt x="91" y="7"/>
                    <a:pt x="91" y="7"/>
                    <a:pt x="90" y="7"/>
                  </a:cubicBezTo>
                  <a:close/>
                  <a:moveTo>
                    <a:pt x="96" y="8"/>
                  </a:moveTo>
                  <a:cubicBezTo>
                    <a:pt x="97" y="7"/>
                    <a:pt x="99" y="6"/>
                    <a:pt x="100" y="6"/>
                  </a:cubicBezTo>
                  <a:cubicBezTo>
                    <a:pt x="100" y="6"/>
                    <a:pt x="100" y="7"/>
                    <a:pt x="100" y="8"/>
                  </a:cubicBezTo>
                  <a:cubicBezTo>
                    <a:pt x="100" y="10"/>
                    <a:pt x="100" y="10"/>
                    <a:pt x="100" y="10"/>
                  </a:cubicBezTo>
                  <a:cubicBezTo>
                    <a:pt x="100" y="10"/>
                    <a:pt x="100" y="10"/>
                    <a:pt x="100" y="10"/>
                  </a:cubicBezTo>
                  <a:cubicBezTo>
                    <a:pt x="101" y="7"/>
                    <a:pt x="102" y="6"/>
                    <a:pt x="103" y="6"/>
                  </a:cubicBezTo>
                  <a:cubicBezTo>
                    <a:pt x="103" y="6"/>
                    <a:pt x="104" y="6"/>
                    <a:pt x="104" y="7"/>
                  </a:cubicBezTo>
                  <a:cubicBezTo>
                    <a:pt x="104" y="7"/>
                    <a:pt x="104" y="7"/>
                    <a:pt x="104" y="8"/>
                  </a:cubicBezTo>
                  <a:cubicBezTo>
                    <a:pt x="104" y="8"/>
                    <a:pt x="104" y="8"/>
                    <a:pt x="103" y="9"/>
                  </a:cubicBezTo>
                  <a:cubicBezTo>
                    <a:pt x="103" y="9"/>
                    <a:pt x="103" y="9"/>
                    <a:pt x="103" y="9"/>
                  </a:cubicBezTo>
                  <a:cubicBezTo>
                    <a:pt x="102" y="8"/>
                    <a:pt x="102" y="8"/>
                    <a:pt x="102" y="8"/>
                  </a:cubicBezTo>
                  <a:cubicBezTo>
                    <a:pt x="102" y="8"/>
                    <a:pt x="101" y="8"/>
                    <a:pt x="101" y="9"/>
                  </a:cubicBezTo>
                  <a:cubicBezTo>
                    <a:pt x="100" y="10"/>
                    <a:pt x="100" y="11"/>
                    <a:pt x="100" y="12"/>
                  </a:cubicBezTo>
                  <a:cubicBezTo>
                    <a:pt x="99" y="14"/>
                    <a:pt x="99" y="15"/>
                    <a:pt x="99" y="16"/>
                  </a:cubicBezTo>
                  <a:cubicBezTo>
                    <a:pt x="99" y="16"/>
                    <a:pt x="99" y="16"/>
                    <a:pt x="99" y="16"/>
                  </a:cubicBezTo>
                  <a:cubicBezTo>
                    <a:pt x="96" y="17"/>
                    <a:pt x="96" y="17"/>
                    <a:pt x="96" y="17"/>
                  </a:cubicBezTo>
                  <a:cubicBezTo>
                    <a:pt x="96" y="16"/>
                    <a:pt x="97" y="14"/>
                    <a:pt x="97" y="13"/>
                  </a:cubicBezTo>
                  <a:cubicBezTo>
                    <a:pt x="98" y="9"/>
                    <a:pt x="98" y="9"/>
                    <a:pt x="98" y="9"/>
                  </a:cubicBezTo>
                  <a:cubicBezTo>
                    <a:pt x="98" y="8"/>
                    <a:pt x="98" y="8"/>
                    <a:pt x="98" y="8"/>
                  </a:cubicBezTo>
                  <a:cubicBezTo>
                    <a:pt x="98" y="8"/>
                    <a:pt x="97" y="9"/>
                    <a:pt x="96" y="9"/>
                  </a:cubicBezTo>
                  <a:lnTo>
                    <a:pt x="96" y="8"/>
                  </a:lnTo>
                  <a:close/>
                  <a:moveTo>
                    <a:pt x="119" y="9"/>
                  </a:moveTo>
                  <a:cubicBezTo>
                    <a:pt x="119" y="12"/>
                    <a:pt x="118" y="14"/>
                    <a:pt x="117" y="15"/>
                  </a:cubicBezTo>
                  <a:cubicBezTo>
                    <a:pt x="116" y="16"/>
                    <a:pt x="114" y="17"/>
                    <a:pt x="113" y="17"/>
                  </a:cubicBezTo>
                  <a:cubicBezTo>
                    <a:pt x="110" y="17"/>
                    <a:pt x="109" y="15"/>
                    <a:pt x="109" y="13"/>
                  </a:cubicBezTo>
                  <a:cubicBezTo>
                    <a:pt x="109" y="10"/>
                    <a:pt x="111" y="8"/>
                    <a:pt x="113" y="7"/>
                  </a:cubicBezTo>
                  <a:cubicBezTo>
                    <a:pt x="114" y="6"/>
                    <a:pt x="115" y="6"/>
                    <a:pt x="116" y="6"/>
                  </a:cubicBezTo>
                  <a:cubicBezTo>
                    <a:pt x="118" y="6"/>
                    <a:pt x="119" y="8"/>
                    <a:pt x="119" y="9"/>
                  </a:cubicBezTo>
                  <a:close/>
                  <a:moveTo>
                    <a:pt x="114" y="7"/>
                  </a:moveTo>
                  <a:cubicBezTo>
                    <a:pt x="113" y="8"/>
                    <a:pt x="112" y="9"/>
                    <a:pt x="112" y="13"/>
                  </a:cubicBezTo>
                  <a:cubicBezTo>
                    <a:pt x="112" y="15"/>
                    <a:pt x="113" y="16"/>
                    <a:pt x="114" y="16"/>
                  </a:cubicBezTo>
                  <a:cubicBezTo>
                    <a:pt x="114" y="16"/>
                    <a:pt x="114" y="16"/>
                    <a:pt x="114" y="16"/>
                  </a:cubicBezTo>
                  <a:cubicBezTo>
                    <a:pt x="115" y="16"/>
                    <a:pt x="117" y="13"/>
                    <a:pt x="117" y="10"/>
                  </a:cubicBezTo>
                  <a:cubicBezTo>
                    <a:pt x="117" y="8"/>
                    <a:pt x="116" y="7"/>
                    <a:pt x="115" y="7"/>
                  </a:cubicBezTo>
                  <a:cubicBezTo>
                    <a:pt x="115" y="7"/>
                    <a:pt x="114" y="7"/>
                    <a:pt x="114" y="7"/>
                  </a:cubicBezTo>
                  <a:close/>
                  <a:moveTo>
                    <a:pt x="128" y="7"/>
                  </a:moveTo>
                  <a:cubicBezTo>
                    <a:pt x="128" y="7"/>
                    <a:pt x="128" y="7"/>
                    <a:pt x="128" y="7"/>
                  </a:cubicBezTo>
                  <a:cubicBezTo>
                    <a:pt x="125" y="8"/>
                    <a:pt x="125" y="8"/>
                    <a:pt x="125" y="8"/>
                  </a:cubicBezTo>
                  <a:cubicBezTo>
                    <a:pt x="125" y="10"/>
                    <a:pt x="125" y="11"/>
                    <a:pt x="124" y="13"/>
                  </a:cubicBezTo>
                  <a:cubicBezTo>
                    <a:pt x="124" y="18"/>
                    <a:pt x="122" y="20"/>
                    <a:pt x="121" y="21"/>
                  </a:cubicBezTo>
                  <a:cubicBezTo>
                    <a:pt x="120" y="22"/>
                    <a:pt x="119" y="22"/>
                    <a:pt x="119" y="22"/>
                  </a:cubicBezTo>
                  <a:cubicBezTo>
                    <a:pt x="118" y="22"/>
                    <a:pt x="118" y="22"/>
                    <a:pt x="118" y="22"/>
                  </a:cubicBezTo>
                  <a:cubicBezTo>
                    <a:pt x="118" y="21"/>
                    <a:pt x="118" y="21"/>
                    <a:pt x="118" y="21"/>
                  </a:cubicBezTo>
                  <a:cubicBezTo>
                    <a:pt x="118" y="20"/>
                    <a:pt x="118" y="20"/>
                    <a:pt x="119" y="20"/>
                  </a:cubicBezTo>
                  <a:cubicBezTo>
                    <a:pt x="119" y="21"/>
                    <a:pt x="120" y="21"/>
                    <a:pt x="120" y="21"/>
                  </a:cubicBezTo>
                  <a:cubicBezTo>
                    <a:pt x="120" y="21"/>
                    <a:pt x="120" y="21"/>
                    <a:pt x="120" y="21"/>
                  </a:cubicBezTo>
                  <a:cubicBezTo>
                    <a:pt x="121" y="20"/>
                    <a:pt x="121" y="19"/>
                    <a:pt x="122" y="15"/>
                  </a:cubicBezTo>
                  <a:cubicBezTo>
                    <a:pt x="122" y="12"/>
                    <a:pt x="123" y="10"/>
                    <a:pt x="123" y="8"/>
                  </a:cubicBezTo>
                  <a:cubicBezTo>
                    <a:pt x="121" y="8"/>
                    <a:pt x="121" y="8"/>
                    <a:pt x="121" y="8"/>
                  </a:cubicBezTo>
                  <a:cubicBezTo>
                    <a:pt x="121" y="7"/>
                    <a:pt x="121" y="7"/>
                    <a:pt x="121" y="7"/>
                  </a:cubicBezTo>
                  <a:cubicBezTo>
                    <a:pt x="122" y="7"/>
                    <a:pt x="122" y="7"/>
                    <a:pt x="122" y="7"/>
                  </a:cubicBezTo>
                  <a:cubicBezTo>
                    <a:pt x="123" y="7"/>
                    <a:pt x="123" y="7"/>
                    <a:pt x="123" y="7"/>
                  </a:cubicBezTo>
                  <a:cubicBezTo>
                    <a:pt x="123" y="5"/>
                    <a:pt x="124" y="3"/>
                    <a:pt x="125" y="2"/>
                  </a:cubicBezTo>
                  <a:cubicBezTo>
                    <a:pt x="126" y="1"/>
                    <a:pt x="128" y="0"/>
                    <a:pt x="129" y="0"/>
                  </a:cubicBezTo>
                  <a:cubicBezTo>
                    <a:pt x="130" y="0"/>
                    <a:pt x="131" y="0"/>
                    <a:pt x="131" y="1"/>
                  </a:cubicBezTo>
                  <a:cubicBezTo>
                    <a:pt x="131" y="1"/>
                    <a:pt x="130" y="2"/>
                    <a:pt x="130" y="2"/>
                  </a:cubicBezTo>
                  <a:cubicBezTo>
                    <a:pt x="130" y="2"/>
                    <a:pt x="129" y="2"/>
                    <a:pt x="129" y="2"/>
                  </a:cubicBezTo>
                  <a:cubicBezTo>
                    <a:pt x="129" y="1"/>
                    <a:pt x="128" y="1"/>
                    <a:pt x="127" y="1"/>
                  </a:cubicBezTo>
                  <a:cubicBezTo>
                    <a:pt x="127" y="1"/>
                    <a:pt x="126" y="2"/>
                    <a:pt x="126" y="7"/>
                  </a:cubicBezTo>
                  <a:lnTo>
                    <a:pt x="128" y="7"/>
                  </a:lnTo>
                  <a:close/>
                  <a:moveTo>
                    <a:pt x="141" y="3"/>
                  </a:moveTo>
                  <a:cubicBezTo>
                    <a:pt x="140" y="7"/>
                    <a:pt x="140" y="7"/>
                    <a:pt x="140" y="7"/>
                  </a:cubicBezTo>
                  <a:cubicBezTo>
                    <a:pt x="143" y="7"/>
                    <a:pt x="143" y="7"/>
                    <a:pt x="143" y="7"/>
                  </a:cubicBezTo>
                  <a:cubicBezTo>
                    <a:pt x="142" y="7"/>
                    <a:pt x="142" y="7"/>
                    <a:pt x="142" y="7"/>
                  </a:cubicBezTo>
                  <a:cubicBezTo>
                    <a:pt x="140" y="8"/>
                    <a:pt x="140" y="8"/>
                    <a:pt x="140" y="8"/>
                  </a:cubicBezTo>
                  <a:cubicBezTo>
                    <a:pt x="138" y="14"/>
                    <a:pt x="138" y="14"/>
                    <a:pt x="138" y="14"/>
                  </a:cubicBezTo>
                  <a:cubicBezTo>
                    <a:pt x="138" y="15"/>
                    <a:pt x="138" y="15"/>
                    <a:pt x="138" y="15"/>
                  </a:cubicBezTo>
                  <a:cubicBezTo>
                    <a:pt x="139" y="15"/>
                    <a:pt x="140" y="14"/>
                    <a:pt x="140" y="14"/>
                  </a:cubicBezTo>
                  <a:cubicBezTo>
                    <a:pt x="141" y="14"/>
                    <a:pt x="141" y="14"/>
                    <a:pt x="141" y="14"/>
                  </a:cubicBezTo>
                  <a:cubicBezTo>
                    <a:pt x="141" y="14"/>
                    <a:pt x="141" y="14"/>
                    <a:pt x="141" y="14"/>
                  </a:cubicBezTo>
                  <a:cubicBezTo>
                    <a:pt x="140" y="15"/>
                    <a:pt x="138" y="17"/>
                    <a:pt x="137" y="17"/>
                  </a:cubicBezTo>
                  <a:cubicBezTo>
                    <a:pt x="136" y="17"/>
                    <a:pt x="135" y="16"/>
                    <a:pt x="136" y="14"/>
                  </a:cubicBezTo>
                  <a:cubicBezTo>
                    <a:pt x="137" y="8"/>
                    <a:pt x="137" y="8"/>
                    <a:pt x="137" y="8"/>
                  </a:cubicBezTo>
                  <a:cubicBezTo>
                    <a:pt x="135" y="8"/>
                    <a:pt x="135" y="8"/>
                    <a:pt x="135" y="8"/>
                  </a:cubicBezTo>
                  <a:cubicBezTo>
                    <a:pt x="135" y="7"/>
                    <a:pt x="135" y="7"/>
                    <a:pt x="135" y="7"/>
                  </a:cubicBezTo>
                  <a:cubicBezTo>
                    <a:pt x="136" y="7"/>
                    <a:pt x="136" y="7"/>
                    <a:pt x="136" y="7"/>
                  </a:cubicBezTo>
                  <a:cubicBezTo>
                    <a:pt x="137" y="7"/>
                    <a:pt x="137" y="7"/>
                    <a:pt x="137" y="7"/>
                  </a:cubicBezTo>
                  <a:cubicBezTo>
                    <a:pt x="138" y="5"/>
                    <a:pt x="138" y="5"/>
                    <a:pt x="138" y="5"/>
                  </a:cubicBezTo>
                  <a:cubicBezTo>
                    <a:pt x="140" y="3"/>
                    <a:pt x="140" y="3"/>
                    <a:pt x="140" y="3"/>
                  </a:cubicBezTo>
                  <a:lnTo>
                    <a:pt x="141" y="3"/>
                  </a:lnTo>
                  <a:close/>
                  <a:moveTo>
                    <a:pt x="143" y="17"/>
                  </a:moveTo>
                  <a:cubicBezTo>
                    <a:pt x="143" y="16"/>
                    <a:pt x="143" y="15"/>
                    <a:pt x="143" y="13"/>
                  </a:cubicBezTo>
                  <a:cubicBezTo>
                    <a:pt x="146" y="2"/>
                    <a:pt x="146" y="2"/>
                    <a:pt x="146" y="2"/>
                  </a:cubicBezTo>
                  <a:cubicBezTo>
                    <a:pt x="146" y="1"/>
                    <a:pt x="146" y="1"/>
                    <a:pt x="145" y="1"/>
                  </a:cubicBezTo>
                  <a:cubicBezTo>
                    <a:pt x="144" y="1"/>
                    <a:pt x="144" y="1"/>
                    <a:pt x="144" y="1"/>
                  </a:cubicBezTo>
                  <a:cubicBezTo>
                    <a:pt x="144" y="1"/>
                    <a:pt x="144" y="1"/>
                    <a:pt x="144" y="1"/>
                  </a:cubicBezTo>
                  <a:cubicBezTo>
                    <a:pt x="146" y="0"/>
                    <a:pt x="148" y="0"/>
                    <a:pt x="148" y="0"/>
                  </a:cubicBezTo>
                  <a:cubicBezTo>
                    <a:pt x="148" y="0"/>
                    <a:pt x="148" y="0"/>
                    <a:pt x="148" y="1"/>
                  </a:cubicBezTo>
                  <a:cubicBezTo>
                    <a:pt x="146" y="10"/>
                    <a:pt x="146" y="10"/>
                    <a:pt x="146" y="10"/>
                  </a:cubicBezTo>
                  <a:cubicBezTo>
                    <a:pt x="146" y="10"/>
                    <a:pt x="146" y="10"/>
                    <a:pt x="146" y="10"/>
                  </a:cubicBezTo>
                  <a:cubicBezTo>
                    <a:pt x="148" y="8"/>
                    <a:pt x="150" y="7"/>
                    <a:pt x="151" y="6"/>
                  </a:cubicBezTo>
                  <a:cubicBezTo>
                    <a:pt x="151" y="6"/>
                    <a:pt x="152" y="6"/>
                    <a:pt x="152" y="6"/>
                  </a:cubicBezTo>
                  <a:cubicBezTo>
                    <a:pt x="153" y="6"/>
                    <a:pt x="153" y="6"/>
                    <a:pt x="153" y="9"/>
                  </a:cubicBezTo>
                  <a:cubicBezTo>
                    <a:pt x="153" y="10"/>
                    <a:pt x="152" y="12"/>
                    <a:pt x="152" y="14"/>
                  </a:cubicBezTo>
                  <a:cubicBezTo>
                    <a:pt x="152" y="15"/>
                    <a:pt x="151" y="15"/>
                    <a:pt x="152" y="15"/>
                  </a:cubicBezTo>
                  <a:cubicBezTo>
                    <a:pt x="152" y="15"/>
                    <a:pt x="153" y="15"/>
                    <a:pt x="153" y="14"/>
                  </a:cubicBezTo>
                  <a:cubicBezTo>
                    <a:pt x="154" y="15"/>
                    <a:pt x="154" y="15"/>
                    <a:pt x="154" y="15"/>
                  </a:cubicBezTo>
                  <a:cubicBezTo>
                    <a:pt x="152" y="16"/>
                    <a:pt x="150" y="17"/>
                    <a:pt x="150" y="17"/>
                  </a:cubicBezTo>
                  <a:cubicBezTo>
                    <a:pt x="149" y="17"/>
                    <a:pt x="149" y="16"/>
                    <a:pt x="149" y="15"/>
                  </a:cubicBezTo>
                  <a:cubicBezTo>
                    <a:pt x="150" y="9"/>
                    <a:pt x="150" y="9"/>
                    <a:pt x="150" y="9"/>
                  </a:cubicBezTo>
                  <a:cubicBezTo>
                    <a:pt x="151" y="8"/>
                    <a:pt x="151" y="8"/>
                    <a:pt x="150" y="8"/>
                  </a:cubicBezTo>
                  <a:cubicBezTo>
                    <a:pt x="149" y="8"/>
                    <a:pt x="147" y="10"/>
                    <a:pt x="146" y="12"/>
                  </a:cubicBezTo>
                  <a:cubicBezTo>
                    <a:pt x="146" y="12"/>
                    <a:pt x="145" y="15"/>
                    <a:pt x="145" y="16"/>
                  </a:cubicBezTo>
                  <a:lnTo>
                    <a:pt x="143" y="17"/>
                  </a:lnTo>
                  <a:close/>
                  <a:moveTo>
                    <a:pt x="164" y="14"/>
                  </a:moveTo>
                  <a:cubicBezTo>
                    <a:pt x="161" y="17"/>
                    <a:pt x="159" y="17"/>
                    <a:pt x="158" y="17"/>
                  </a:cubicBezTo>
                  <a:cubicBezTo>
                    <a:pt x="157" y="17"/>
                    <a:pt x="155" y="16"/>
                    <a:pt x="155" y="13"/>
                  </a:cubicBezTo>
                  <a:cubicBezTo>
                    <a:pt x="155" y="11"/>
                    <a:pt x="156" y="9"/>
                    <a:pt x="158" y="8"/>
                  </a:cubicBezTo>
                  <a:cubicBezTo>
                    <a:pt x="159" y="7"/>
                    <a:pt x="161" y="6"/>
                    <a:pt x="162" y="6"/>
                  </a:cubicBezTo>
                  <a:cubicBezTo>
                    <a:pt x="163" y="6"/>
                    <a:pt x="164" y="7"/>
                    <a:pt x="164" y="8"/>
                  </a:cubicBezTo>
                  <a:cubicBezTo>
                    <a:pt x="164" y="10"/>
                    <a:pt x="160" y="12"/>
                    <a:pt x="158" y="12"/>
                  </a:cubicBezTo>
                  <a:cubicBezTo>
                    <a:pt x="158" y="13"/>
                    <a:pt x="158" y="13"/>
                    <a:pt x="158" y="13"/>
                  </a:cubicBezTo>
                  <a:cubicBezTo>
                    <a:pt x="158" y="14"/>
                    <a:pt x="158" y="15"/>
                    <a:pt x="160" y="15"/>
                  </a:cubicBezTo>
                  <a:cubicBezTo>
                    <a:pt x="161" y="15"/>
                    <a:pt x="162" y="15"/>
                    <a:pt x="163" y="14"/>
                  </a:cubicBezTo>
                  <a:lnTo>
                    <a:pt x="164" y="14"/>
                  </a:lnTo>
                  <a:close/>
                  <a:moveTo>
                    <a:pt x="160" y="7"/>
                  </a:moveTo>
                  <a:cubicBezTo>
                    <a:pt x="159" y="8"/>
                    <a:pt x="158" y="9"/>
                    <a:pt x="158" y="12"/>
                  </a:cubicBezTo>
                  <a:cubicBezTo>
                    <a:pt x="161" y="11"/>
                    <a:pt x="162" y="10"/>
                    <a:pt x="162" y="8"/>
                  </a:cubicBezTo>
                  <a:cubicBezTo>
                    <a:pt x="162" y="7"/>
                    <a:pt x="161" y="7"/>
                    <a:pt x="161" y="7"/>
                  </a:cubicBezTo>
                  <a:cubicBezTo>
                    <a:pt x="161" y="7"/>
                    <a:pt x="160" y="7"/>
                    <a:pt x="160" y="7"/>
                  </a:cubicBezTo>
                  <a:close/>
                  <a:moveTo>
                    <a:pt x="179" y="1"/>
                  </a:moveTo>
                  <a:cubicBezTo>
                    <a:pt x="182" y="1"/>
                    <a:pt x="184" y="2"/>
                    <a:pt x="184" y="5"/>
                  </a:cubicBezTo>
                  <a:cubicBezTo>
                    <a:pt x="184" y="7"/>
                    <a:pt x="183" y="9"/>
                    <a:pt x="180" y="9"/>
                  </a:cubicBezTo>
                  <a:cubicBezTo>
                    <a:pt x="181" y="10"/>
                    <a:pt x="181" y="11"/>
                    <a:pt x="182" y="13"/>
                  </a:cubicBezTo>
                  <a:cubicBezTo>
                    <a:pt x="183" y="14"/>
                    <a:pt x="183" y="15"/>
                    <a:pt x="183" y="15"/>
                  </a:cubicBezTo>
                  <a:cubicBezTo>
                    <a:pt x="184" y="16"/>
                    <a:pt x="184" y="16"/>
                    <a:pt x="185" y="16"/>
                  </a:cubicBezTo>
                  <a:cubicBezTo>
                    <a:pt x="185" y="17"/>
                    <a:pt x="185" y="17"/>
                    <a:pt x="185" y="17"/>
                  </a:cubicBezTo>
                  <a:cubicBezTo>
                    <a:pt x="184" y="17"/>
                    <a:pt x="184" y="17"/>
                    <a:pt x="184" y="17"/>
                  </a:cubicBezTo>
                  <a:cubicBezTo>
                    <a:pt x="182" y="17"/>
                    <a:pt x="181" y="16"/>
                    <a:pt x="180" y="15"/>
                  </a:cubicBezTo>
                  <a:cubicBezTo>
                    <a:pt x="180" y="13"/>
                    <a:pt x="179" y="12"/>
                    <a:pt x="178" y="11"/>
                  </a:cubicBezTo>
                  <a:cubicBezTo>
                    <a:pt x="178" y="10"/>
                    <a:pt x="178" y="10"/>
                    <a:pt x="177" y="10"/>
                  </a:cubicBezTo>
                  <a:cubicBezTo>
                    <a:pt x="176" y="10"/>
                    <a:pt x="176" y="10"/>
                    <a:pt x="176" y="10"/>
                  </a:cubicBezTo>
                  <a:cubicBezTo>
                    <a:pt x="176" y="13"/>
                    <a:pt x="176" y="13"/>
                    <a:pt x="176" y="13"/>
                  </a:cubicBezTo>
                  <a:cubicBezTo>
                    <a:pt x="175" y="16"/>
                    <a:pt x="175" y="16"/>
                    <a:pt x="177" y="16"/>
                  </a:cubicBezTo>
                  <a:cubicBezTo>
                    <a:pt x="177" y="17"/>
                    <a:pt x="177" y="17"/>
                    <a:pt x="177" y="17"/>
                  </a:cubicBezTo>
                  <a:cubicBezTo>
                    <a:pt x="171" y="17"/>
                    <a:pt x="171" y="17"/>
                    <a:pt x="171" y="17"/>
                  </a:cubicBezTo>
                  <a:cubicBezTo>
                    <a:pt x="171" y="16"/>
                    <a:pt x="171" y="16"/>
                    <a:pt x="171" y="16"/>
                  </a:cubicBezTo>
                  <a:cubicBezTo>
                    <a:pt x="173" y="16"/>
                    <a:pt x="173" y="16"/>
                    <a:pt x="173" y="13"/>
                  </a:cubicBezTo>
                  <a:cubicBezTo>
                    <a:pt x="175" y="5"/>
                    <a:pt x="175" y="5"/>
                    <a:pt x="175" y="5"/>
                  </a:cubicBezTo>
                  <a:cubicBezTo>
                    <a:pt x="175" y="2"/>
                    <a:pt x="175" y="2"/>
                    <a:pt x="173" y="2"/>
                  </a:cubicBezTo>
                  <a:cubicBezTo>
                    <a:pt x="173" y="1"/>
                    <a:pt x="173" y="1"/>
                    <a:pt x="173" y="1"/>
                  </a:cubicBezTo>
                  <a:lnTo>
                    <a:pt x="179" y="1"/>
                  </a:lnTo>
                  <a:close/>
                  <a:moveTo>
                    <a:pt x="176" y="9"/>
                  </a:moveTo>
                  <a:cubicBezTo>
                    <a:pt x="177" y="9"/>
                    <a:pt x="177" y="9"/>
                    <a:pt x="177" y="9"/>
                  </a:cubicBezTo>
                  <a:cubicBezTo>
                    <a:pt x="178" y="9"/>
                    <a:pt x="179" y="9"/>
                    <a:pt x="180" y="8"/>
                  </a:cubicBezTo>
                  <a:cubicBezTo>
                    <a:pt x="181" y="8"/>
                    <a:pt x="182" y="6"/>
                    <a:pt x="182" y="5"/>
                  </a:cubicBezTo>
                  <a:cubicBezTo>
                    <a:pt x="182" y="3"/>
                    <a:pt x="181" y="2"/>
                    <a:pt x="179" y="2"/>
                  </a:cubicBezTo>
                  <a:cubicBezTo>
                    <a:pt x="178" y="2"/>
                    <a:pt x="178" y="2"/>
                    <a:pt x="178" y="2"/>
                  </a:cubicBezTo>
                  <a:cubicBezTo>
                    <a:pt x="178" y="2"/>
                    <a:pt x="178" y="3"/>
                    <a:pt x="178" y="3"/>
                  </a:cubicBezTo>
                  <a:lnTo>
                    <a:pt x="176" y="9"/>
                  </a:lnTo>
                  <a:close/>
                  <a:moveTo>
                    <a:pt x="196" y="9"/>
                  </a:moveTo>
                  <a:cubicBezTo>
                    <a:pt x="196" y="12"/>
                    <a:pt x="195" y="14"/>
                    <a:pt x="194" y="15"/>
                  </a:cubicBezTo>
                  <a:cubicBezTo>
                    <a:pt x="193" y="16"/>
                    <a:pt x="191" y="17"/>
                    <a:pt x="190" y="17"/>
                  </a:cubicBezTo>
                  <a:cubicBezTo>
                    <a:pt x="187" y="17"/>
                    <a:pt x="187" y="15"/>
                    <a:pt x="187" y="13"/>
                  </a:cubicBezTo>
                  <a:cubicBezTo>
                    <a:pt x="187" y="10"/>
                    <a:pt x="188" y="8"/>
                    <a:pt x="190" y="7"/>
                  </a:cubicBezTo>
                  <a:cubicBezTo>
                    <a:pt x="191" y="6"/>
                    <a:pt x="192" y="6"/>
                    <a:pt x="193" y="6"/>
                  </a:cubicBezTo>
                  <a:cubicBezTo>
                    <a:pt x="195" y="6"/>
                    <a:pt x="196" y="8"/>
                    <a:pt x="196" y="9"/>
                  </a:cubicBezTo>
                  <a:close/>
                  <a:moveTo>
                    <a:pt x="191" y="7"/>
                  </a:moveTo>
                  <a:cubicBezTo>
                    <a:pt x="191" y="8"/>
                    <a:pt x="189" y="9"/>
                    <a:pt x="189" y="13"/>
                  </a:cubicBezTo>
                  <a:cubicBezTo>
                    <a:pt x="189" y="15"/>
                    <a:pt x="190" y="16"/>
                    <a:pt x="191" y="16"/>
                  </a:cubicBezTo>
                  <a:cubicBezTo>
                    <a:pt x="191" y="16"/>
                    <a:pt x="191" y="16"/>
                    <a:pt x="191" y="16"/>
                  </a:cubicBezTo>
                  <a:cubicBezTo>
                    <a:pt x="192" y="16"/>
                    <a:pt x="194" y="13"/>
                    <a:pt x="194" y="10"/>
                  </a:cubicBezTo>
                  <a:cubicBezTo>
                    <a:pt x="194" y="8"/>
                    <a:pt x="193" y="7"/>
                    <a:pt x="192" y="7"/>
                  </a:cubicBezTo>
                  <a:cubicBezTo>
                    <a:pt x="192" y="7"/>
                    <a:pt x="192" y="7"/>
                    <a:pt x="191" y="7"/>
                  </a:cubicBezTo>
                  <a:close/>
                  <a:moveTo>
                    <a:pt x="206" y="14"/>
                  </a:moveTo>
                  <a:cubicBezTo>
                    <a:pt x="204" y="16"/>
                    <a:pt x="202" y="17"/>
                    <a:pt x="201" y="17"/>
                  </a:cubicBezTo>
                  <a:cubicBezTo>
                    <a:pt x="199" y="17"/>
                    <a:pt x="198" y="16"/>
                    <a:pt x="198" y="14"/>
                  </a:cubicBezTo>
                  <a:cubicBezTo>
                    <a:pt x="198" y="12"/>
                    <a:pt x="199" y="9"/>
                    <a:pt x="201" y="8"/>
                  </a:cubicBezTo>
                  <a:cubicBezTo>
                    <a:pt x="202" y="7"/>
                    <a:pt x="203" y="6"/>
                    <a:pt x="205" y="6"/>
                  </a:cubicBezTo>
                  <a:cubicBezTo>
                    <a:pt x="206" y="6"/>
                    <a:pt x="207" y="7"/>
                    <a:pt x="207" y="7"/>
                  </a:cubicBezTo>
                  <a:cubicBezTo>
                    <a:pt x="207" y="8"/>
                    <a:pt x="206" y="8"/>
                    <a:pt x="206" y="8"/>
                  </a:cubicBezTo>
                  <a:cubicBezTo>
                    <a:pt x="206" y="9"/>
                    <a:pt x="205" y="9"/>
                    <a:pt x="205" y="8"/>
                  </a:cubicBezTo>
                  <a:cubicBezTo>
                    <a:pt x="204" y="8"/>
                    <a:pt x="204" y="7"/>
                    <a:pt x="203" y="7"/>
                  </a:cubicBezTo>
                  <a:cubicBezTo>
                    <a:pt x="203" y="7"/>
                    <a:pt x="202" y="8"/>
                    <a:pt x="202" y="9"/>
                  </a:cubicBezTo>
                  <a:cubicBezTo>
                    <a:pt x="201" y="10"/>
                    <a:pt x="201" y="11"/>
                    <a:pt x="201" y="13"/>
                  </a:cubicBezTo>
                  <a:cubicBezTo>
                    <a:pt x="201" y="15"/>
                    <a:pt x="201" y="15"/>
                    <a:pt x="202" y="15"/>
                  </a:cubicBezTo>
                  <a:cubicBezTo>
                    <a:pt x="203" y="15"/>
                    <a:pt x="205" y="14"/>
                    <a:pt x="205" y="14"/>
                  </a:cubicBezTo>
                  <a:lnTo>
                    <a:pt x="206" y="14"/>
                  </a:lnTo>
                  <a:close/>
                  <a:moveTo>
                    <a:pt x="207" y="17"/>
                  </a:moveTo>
                  <a:cubicBezTo>
                    <a:pt x="208" y="16"/>
                    <a:pt x="208" y="15"/>
                    <a:pt x="208" y="13"/>
                  </a:cubicBezTo>
                  <a:cubicBezTo>
                    <a:pt x="210" y="2"/>
                    <a:pt x="210" y="2"/>
                    <a:pt x="210" y="2"/>
                  </a:cubicBezTo>
                  <a:cubicBezTo>
                    <a:pt x="210" y="1"/>
                    <a:pt x="210" y="1"/>
                    <a:pt x="210" y="1"/>
                  </a:cubicBezTo>
                  <a:cubicBezTo>
                    <a:pt x="208" y="1"/>
                    <a:pt x="208" y="1"/>
                    <a:pt x="208" y="1"/>
                  </a:cubicBezTo>
                  <a:cubicBezTo>
                    <a:pt x="208" y="1"/>
                    <a:pt x="208" y="1"/>
                    <a:pt x="208" y="1"/>
                  </a:cubicBezTo>
                  <a:cubicBezTo>
                    <a:pt x="210" y="0"/>
                    <a:pt x="213" y="0"/>
                    <a:pt x="213" y="0"/>
                  </a:cubicBezTo>
                  <a:cubicBezTo>
                    <a:pt x="213" y="0"/>
                    <a:pt x="213" y="0"/>
                    <a:pt x="213" y="1"/>
                  </a:cubicBezTo>
                  <a:cubicBezTo>
                    <a:pt x="211" y="10"/>
                    <a:pt x="211" y="10"/>
                    <a:pt x="211" y="10"/>
                  </a:cubicBezTo>
                  <a:cubicBezTo>
                    <a:pt x="211" y="10"/>
                    <a:pt x="211" y="10"/>
                    <a:pt x="211" y="10"/>
                  </a:cubicBezTo>
                  <a:cubicBezTo>
                    <a:pt x="213" y="8"/>
                    <a:pt x="214" y="7"/>
                    <a:pt x="215" y="6"/>
                  </a:cubicBezTo>
                  <a:cubicBezTo>
                    <a:pt x="216" y="6"/>
                    <a:pt x="216" y="6"/>
                    <a:pt x="217" y="6"/>
                  </a:cubicBezTo>
                  <a:cubicBezTo>
                    <a:pt x="217" y="6"/>
                    <a:pt x="218" y="6"/>
                    <a:pt x="218" y="9"/>
                  </a:cubicBezTo>
                  <a:cubicBezTo>
                    <a:pt x="217" y="10"/>
                    <a:pt x="217" y="12"/>
                    <a:pt x="216" y="14"/>
                  </a:cubicBezTo>
                  <a:cubicBezTo>
                    <a:pt x="216" y="15"/>
                    <a:pt x="216" y="15"/>
                    <a:pt x="216" y="15"/>
                  </a:cubicBezTo>
                  <a:cubicBezTo>
                    <a:pt x="217" y="15"/>
                    <a:pt x="217" y="15"/>
                    <a:pt x="218" y="14"/>
                  </a:cubicBezTo>
                  <a:cubicBezTo>
                    <a:pt x="218" y="15"/>
                    <a:pt x="218" y="15"/>
                    <a:pt x="218" y="15"/>
                  </a:cubicBezTo>
                  <a:cubicBezTo>
                    <a:pt x="217" y="16"/>
                    <a:pt x="215" y="17"/>
                    <a:pt x="214" y="17"/>
                  </a:cubicBezTo>
                  <a:cubicBezTo>
                    <a:pt x="214" y="17"/>
                    <a:pt x="213" y="16"/>
                    <a:pt x="214" y="15"/>
                  </a:cubicBezTo>
                  <a:cubicBezTo>
                    <a:pt x="215" y="9"/>
                    <a:pt x="215" y="9"/>
                    <a:pt x="215" y="9"/>
                  </a:cubicBezTo>
                  <a:cubicBezTo>
                    <a:pt x="215" y="8"/>
                    <a:pt x="215" y="8"/>
                    <a:pt x="215" y="8"/>
                  </a:cubicBezTo>
                  <a:cubicBezTo>
                    <a:pt x="214" y="8"/>
                    <a:pt x="212" y="10"/>
                    <a:pt x="211" y="12"/>
                  </a:cubicBezTo>
                  <a:cubicBezTo>
                    <a:pt x="211" y="12"/>
                    <a:pt x="210" y="15"/>
                    <a:pt x="210" y="16"/>
                  </a:cubicBezTo>
                  <a:lnTo>
                    <a:pt x="207" y="17"/>
                  </a:lnTo>
                  <a:close/>
                  <a:moveTo>
                    <a:pt x="228" y="14"/>
                  </a:moveTo>
                  <a:cubicBezTo>
                    <a:pt x="226" y="17"/>
                    <a:pt x="224" y="17"/>
                    <a:pt x="223" y="17"/>
                  </a:cubicBezTo>
                  <a:cubicBezTo>
                    <a:pt x="222" y="17"/>
                    <a:pt x="220" y="16"/>
                    <a:pt x="220" y="13"/>
                  </a:cubicBezTo>
                  <a:cubicBezTo>
                    <a:pt x="220" y="11"/>
                    <a:pt x="221" y="9"/>
                    <a:pt x="223" y="8"/>
                  </a:cubicBezTo>
                  <a:cubicBezTo>
                    <a:pt x="224" y="7"/>
                    <a:pt x="225" y="6"/>
                    <a:pt x="227" y="6"/>
                  </a:cubicBezTo>
                  <a:cubicBezTo>
                    <a:pt x="228" y="6"/>
                    <a:pt x="229" y="7"/>
                    <a:pt x="229" y="8"/>
                  </a:cubicBezTo>
                  <a:cubicBezTo>
                    <a:pt x="229" y="10"/>
                    <a:pt x="225" y="12"/>
                    <a:pt x="223" y="12"/>
                  </a:cubicBezTo>
                  <a:cubicBezTo>
                    <a:pt x="223" y="13"/>
                    <a:pt x="223" y="13"/>
                    <a:pt x="223" y="13"/>
                  </a:cubicBezTo>
                  <a:cubicBezTo>
                    <a:pt x="223" y="14"/>
                    <a:pt x="223" y="15"/>
                    <a:pt x="224" y="15"/>
                  </a:cubicBezTo>
                  <a:cubicBezTo>
                    <a:pt x="225" y="15"/>
                    <a:pt x="226" y="15"/>
                    <a:pt x="228" y="14"/>
                  </a:cubicBezTo>
                  <a:close/>
                  <a:moveTo>
                    <a:pt x="225" y="7"/>
                  </a:moveTo>
                  <a:cubicBezTo>
                    <a:pt x="224" y="8"/>
                    <a:pt x="223" y="9"/>
                    <a:pt x="223" y="12"/>
                  </a:cubicBezTo>
                  <a:cubicBezTo>
                    <a:pt x="226" y="11"/>
                    <a:pt x="227" y="10"/>
                    <a:pt x="227" y="8"/>
                  </a:cubicBezTo>
                  <a:cubicBezTo>
                    <a:pt x="227" y="7"/>
                    <a:pt x="226" y="7"/>
                    <a:pt x="226" y="7"/>
                  </a:cubicBezTo>
                  <a:cubicBezTo>
                    <a:pt x="225" y="7"/>
                    <a:pt x="225" y="7"/>
                    <a:pt x="225" y="7"/>
                  </a:cubicBezTo>
                  <a:close/>
                  <a:moveTo>
                    <a:pt x="250" y="5"/>
                  </a:moveTo>
                  <a:cubicBezTo>
                    <a:pt x="250" y="2"/>
                    <a:pt x="248" y="2"/>
                    <a:pt x="246" y="2"/>
                  </a:cubicBezTo>
                  <a:cubicBezTo>
                    <a:pt x="242" y="2"/>
                    <a:pt x="239" y="6"/>
                    <a:pt x="239" y="10"/>
                  </a:cubicBezTo>
                  <a:cubicBezTo>
                    <a:pt x="239" y="14"/>
                    <a:pt x="241" y="16"/>
                    <a:pt x="244" y="16"/>
                  </a:cubicBezTo>
                  <a:cubicBezTo>
                    <a:pt x="245" y="16"/>
                    <a:pt x="246" y="16"/>
                    <a:pt x="247" y="15"/>
                  </a:cubicBezTo>
                  <a:cubicBezTo>
                    <a:pt x="247" y="12"/>
                    <a:pt x="247" y="12"/>
                    <a:pt x="247" y="12"/>
                  </a:cubicBezTo>
                  <a:cubicBezTo>
                    <a:pt x="247" y="11"/>
                    <a:pt x="247" y="11"/>
                    <a:pt x="245" y="10"/>
                  </a:cubicBezTo>
                  <a:cubicBezTo>
                    <a:pt x="245" y="10"/>
                    <a:pt x="245" y="10"/>
                    <a:pt x="245" y="10"/>
                  </a:cubicBezTo>
                  <a:cubicBezTo>
                    <a:pt x="251" y="10"/>
                    <a:pt x="251" y="10"/>
                    <a:pt x="251" y="10"/>
                  </a:cubicBezTo>
                  <a:cubicBezTo>
                    <a:pt x="251" y="10"/>
                    <a:pt x="251" y="10"/>
                    <a:pt x="251" y="10"/>
                  </a:cubicBezTo>
                  <a:cubicBezTo>
                    <a:pt x="250" y="10"/>
                    <a:pt x="250" y="11"/>
                    <a:pt x="250" y="12"/>
                  </a:cubicBezTo>
                  <a:cubicBezTo>
                    <a:pt x="249" y="14"/>
                    <a:pt x="249" y="14"/>
                    <a:pt x="249" y="14"/>
                  </a:cubicBezTo>
                  <a:cubicBezTo>
                    <a:pt x="249" y="15"/>
                    <a:pt x="249" y="16"/>
                    <a:pt x="249" y="16"/>
                  </a:cubicBezTo>
                  <a:cubicBezTo>
                    <a:pt x="247" y="17"/>
                    <a:pt x="246" y="17"/>
                    <a:pt x="244" y="17"/>
                  </a:cubicBezTo>
                  <a:cubicBezTo>
                    <a:pt x="240" y="17"/>
                    <a:pt x="237" y="15"/>
                    <a:pt x="237" y="10"/>
                  </a:cubicBezTo>
                  <a:cubicBezTo>
                    <a:pt x="237" y="5"/>
                    <a:pt x="241" y="1"/>
                    <a:pt x="247" y="1"/>
                  </a:cubicBezTo>
                  <a:cubicBezTo>
                    <a:pt x="249" y="1"/>
                    <a:pt x="250" y="1"/>
                    <a:pt x="251" y="1"/>
                  </a:cubicBezTo>
                  <a:cubicBezTo>
                    <a:pt x="251" y="2"/>
                    <a:pt x="251" y="4"/>
                    <a:pt x="251" y="5"/>
                  </a:cubicBezTo>
                  <a:lnTo>
                    <a:pt x="250" y="5"/>
                  </a:lnTo>
                  <a:close/>
                  <a:moveTo>
                    <a:pt x="252" y="8"/>
                  </a:moveTo>
                  <a:cubicBezTo>
                    <a:pt x="254" y="7"/>
                    <a:pt x="255" y="6"/>
                    <a:pt x="256" y="6"/>
                  </a:cubicBezTo>
                  <a:cubicBezTo>
                    <a:pt x="257" y="6"/>
                    <a:pt x="257" y="7"/>
                    <a:pt x="257" y="8"/>
                  </a:cubicBezTo>
                  <a:cubicBezTo>
                    <a:pt x="256" y="10"/>
                    <a:pt x="256" y="10"/>
                    <a:pt x="256" y="10"/>
                  </a:cubicBezTo>
                  <a:cubicBezTo>
                    <a:pt x="256" y="10"/>
                    <a:pt x="256" y="10"/>
                    <a:pt x="256" y="10"/>
                  </a:cubicBezTo>
                  <a:cubicBezTo>
                    <a:pt x="257" y="7"/>
                    <a:pt x="259" y="6"/>
                    <a:pt x="259" y="6"/>
                  </a:cubicBezTo>
                  <a:cubicBezTo>
                    <a:pt x="260" y="6"/>
                    <a:pt x="260" y="6"/>
                    <a:pt x="261" y="7"/>
                  </a:cubicBezTo>
                  <a:cubicBezTo>
                    <a:pt x="261" y="7"/>
                    <a:pt x="261" y="7"/>
                    <a:pt x="261" y="8"/>
                  </a:cubicBezTo>
                  <a:cubicBezTo>
                    <a:pt x="260" y="8"/>
                    <a:pt x="260" y="8"/>
                    <a:pt x="260" y="9"/>
                  </a:cubicBezTo>
                  <a:cubicBezTo>
                    <a:pt x="260" y="9"/>
                    <a:pt x="259" y="9"/>
                    <a:pt x="259" y="9"/>
                  </a:cubicBezTo>
                  <a:cubicBezTo>
                    <a:pt x="259" y="8"/>
                    <a:pt x="259" y="8"/>
                    <a:pt x="258" y="8"/>
                  </a:cubicBezTo>
                  <a:cubicBezTo>
                    <a:pt x="258" y="8"/>
                    <a:pt x="258" y="8"/>
                    <a:pt x="257" y="9"/>
                  </a:cubicBezTo>
                  <a:cubicBezTo>
                    <a:pt x="257" y="10"/>
                    <a:pt x="256" y="11"/>
                    <a:pt x="256" y="12"/>
                  </a:cubicBezTo>
                  <a:cubicBezTo>
                    <a:pt x="256" y="14"/>
                    <a:pt x="255" y="15"/>
                    <a:pt x="255" y="16"/>
                  </a:cubicBezTo>
                  <a:cubicBezTo>
                    <a:pt x="255" y="16"/>
                    <a:pt x="255" y="16"/>
                    <a:pt x="255" y="16"/>
                  </a:cubicBezTo>
                  <a:cubicBezTo>
                    <a:pt x="253" y="17"/>
                    <a:pt x="253" y="17"/>
                    <a:pt x="253" y="17"/>
                  </a:cubicBezTo>
                  <a:cubicBezTo>
                    <a:pt x="253" y="16"/>
                    <a:pt x="253" y="14"/>
                    <a:pt x="253" y="13"/>
                  </a:cubicBezTo>
                  <a:cubicBezTo>
                    <a:pt x="254" y="9"/>
                    <a:pt x="254" y="9"/>
                    <a:pt x="254" y="9"/>
                  </a:cubicBezTo>
                  <a:cubicBezTo>
                    <a:pt x="254" y="8"/>
                    <a:pt x="254" y="8"/>
                    <a:pt x="254" y="8"/>
                  </a:cubicBezTo>
                  <a:cubicBezTo>
                    <a:pt x="254" y="8"/>
                    <a:pt x="253" y="9"/>
                    <a:pt x="253" y="9"/>
                  </a:cubicBezTo>
                  <a:lnTo>
                    <a:pt x="252" y="8"/>
                  </a:lnTo>
                  <a:close/>
                  <a:moveTo>
                    <a:pt x="271" y="9"/>
                  </a:moveTo>
                  <a:cubicBezTo>
                    <a:pt x="271" y="12"/>
                    <a:pt x="270" y="14"/>
                    <a:pt x="268" y="15"/>
                  </a:cubicBezTo>
                  <a:cubicBezTo>
                    <a:pt x="267" y="16"/>
                    <a:pt x="266" y="17"/>
                    <a:pt x="264" y="17"/>
                  </a:cubicBezTo>
                  <a:cubicBezTo>
                    <a:pt x="262" y="17"/>
                    <a:pt x="261" y="15"/>
                    <a:pt x="261" y="13"/>
                  </a:cubicBezTo>
                  <a:cubicBezTo>
                    <a:pt x="261" y="10"/>
                    <a:pt x="263" y="8"/>
                    <a:pt x="264" y="7"/>
                  </a:cubicBezTo>
                  <a:cubicBezTo>
                    <a:pt x="266" y="6"/>
                    <a:pt x="267" y="6"/>
                    <a:pt x="267" y="6"/>
                  </a:cubicBezTo>
                  <a:cubicBezTo>
                    <a:pt x="270" y="6"/>
                    <a:pt x="271" y="8"/>
                    <a:pt x="271" y="9"/>
                  </a:cubicBezTo>
                  <a:close/>
                  <a:moveTo>
                    <a:pt x="266" y="7"/>
                  </a:moveTo>
                  <a:cubicBezTo>
                    <a:pt x="265" y="8"/>
                    <a:pt x="264" y="9"/>
                    <a:pt x="264" y="13"/>
                  </a:cubicBezTo>
                  <a:cubicBezTo>
                    <a:pt x="264" y="15"/>
                    <a:pt x="264" y="16"/>
                    <a:pt x="265" y="16"/>
                  </a:cubicBezTo>
                  <a:cubicBezTo>
                    <a:pt x="266" y="16"/>
                    <a:pt x="266" y="16"/>
                    <a:pt x="266" y="16"/>
                  </a:cubicBezTo>
                  <a:cubicBezTo>
                    <a:pt x="267" y="16"/>
                    <a:pt x="268" y="13"/>
                    <a:pt x="268" y="10"/>
                  </a:cubicBezTo>
                  <a:cubicBezTo>
                    <a:pt x="268" y="8"/>
                    <a:pt x="268" y="7"/>
                    <a:pt x="267" y="7"/>
                  </a:cubicBezTo>
                  <a:cubicBezTo>
                    <a:pt x="266" y="7"/>
                    <a:pt x="266" y="7"/>
                    <a:pt x="266" y="7"/>
                  </a:cubicBezTo>
                  <a:close/>
                  <a:moveTo>
                    <a:pt x="273" y="8"/>
                  </a:moveTo>
                  <a:cubicBezTo>
                    <a:pt x="274" y="7"/>
                    <a:pt x="276" y="6"/>
                    <a:pt x="277" y="6"/>
                  </a:cubicBezTo>
                  <a:cubicBezTo>
                    <a:pt x="277" y="6"/>
                    <a:pt x="278" y="7"/>
                    <a:pt x="277" y="8"/>
                  </a:cubicBezTo>
                  <a:cubicBezTo>
                    <a:pt x="276" y="13"/>
                    <a:pt x="276" y="13"/>
                    <a:pt x="276" y="13"/>
                  </a:cubicBezTo>
                  <a:cubicBezTo>
                    <a:pt x="276" y="15"/>
                    <a:pt x="276" y="15"/>
                    <a:pt x="276" y="15"/>
                  </a:cubicBezTo>
                  <a:cubicBezTo>
                    <a:pt x="277" y="15"/>
                    <a:pt x="278" y="14"/>
                    <a:pt x="278" y="13"/>
                  </a:cubicBezTo>
                  <a:cubicBezTo>
                    <a:pt x="279" y="13"/>
                    <a:pt x="280" y="11"/>
                    <a:pt x="280" y="10"/>
                  </a:cubicBezTo>
                  <a:cubicBezTo>
                    <a:pt x="281" y="10"/>
                    <a:pt x="281" y="8"/>
                    <a:pt x="281" y="7"/>
                  </a:cubicBezTo>
                  <a:cubicBezTo>
                    <a:pt x="283" y="6"/>
                    <a:pt x="283" y="6"/>
                    <a:pt x="283" y="6"/>
                  </a:cubicBezTo>
                  <a:cubicBezTo>
                    <a:pt x="284" y="6"/>
                    <a:pt x="284" y="6"/>
                    <a:pt x="284" y="6"/>
                  </a:cubicBezTo>
                  <a:cubicBezTo>
                    <a:pt x="283" y="9"/>
                    <a:pt x="283" y="12"/>
                    <a:pt x="282" y="14"/>
                  </a:cubicBezTo>
                  <a:cubicBezTo>
                    <a:pt x="282" y="15"/>
                    <a:pt x="282" y="15"/>
                    <a:pt x="282" y="15"/>
                  </a:cubicBezTo>
                  <a:cubicBezTo>
                    <a:pt x="282" y="15"/>
                    <a:pt x="283" y="15"/>
                    <a:pt x="284" y="14"/>
                  </a:cubicBezTo>
                  <a:cubicBezTo>
                    <a:pt x="284" y="15"/>
                    <a:pt x="284" y="15"/>
                    <a:pt x="284" y="15"/>
                  </a:cubicBezTo>
                  <a:cubicBezTo>
                    <a:pt x="283" y="16"/>
                    <a:pt x="281" y="17"/>
                    <a:pt x="280" y="17"/>
                  </a:cubicBezTo>
                  <a:cubicBezTo>
                    <a:pt x="279" y="17"/>
                    <a:pt x="279" y="16"/>
                    <a:pt x="280" y="15"/>
                  </a:cubicBezTo>
                  <a:cubicBezTo>
                    <a:pt x="280" y="13"/>
                    <a:pt x="280" y="13"/>
                    <a:pt x="280" y="13"/>
                  </a:cubicBezTo>
                  <a:cubicBezTo>
                    <a:pt x="280" y="13"/>
                    <a:pt x="280" y="13"/>
                    <a:pt x="280" y="13"/>
                  </a:cubicBezTo>
                  <a:cubicBezTo>
                    <a:pt x="279" y="14"/>
                    <a:pt x="277" y="16"/>
                    <a:pt x="276" y="16"/>
                  </a:cubicBezTo>
                  <a:cubicBezTo>
                    <a:pt x="276" y="17"/>
                    <a:pt x="275" y="17"/>
                    <a:pt x="274" y="17"/>
                  </a:cubicBezTo>
                  <a:cubicBezTo>
                    <a:pt x="274" y="17"/>
                    <a:pt x="273" y="17"/>
                    <a:pt x="274" y="14"/>
                  </a:cubicBezTo>
                  <a:cubicBezTo>
                    <a:pt x="275" y="9"/>
                    <a:pt x="275" y="9"/>
                    <a:pt x="275" y="9"/>
                  </a:cubicBezTo>
                  <a:cubicBezTo>
                    <a:pt x="275" y="8"/>
                    <a:pt x="275" y="8"/>
                    <a:pt x="275" y="8"/>
                  </a:cubicBezTo>
                  <a:cubicBezTo>
                    <a:pt x="274" y="8"/>
                    <a:pt x="274" y="9"/>
                    <a:pt x="273" y="9"/>
                  </a:cubicBezTo>
                  <a:lnTo>
                    <a:pt x="273" y="8"/>
                  </a:lnTo>
                  <a:close/>
                  <a:moveTo>
                    <a:pt x="290" y="6"/>
                  </a:moveTo>
                  <a:cubicBezTo>
                    <a:pt x="291" y="6"/>
                    <a:pt x="292" y="6"/>
                    <a:pt x="293" y="6"/>
                  </a:cubicBezTo>
                  <a:cubicBezTo>
                    <a:pt x="295" y="6"/>
                    <a:pt x="296" y="7"/>
                    <a:pt x="296" y="9"/>
                  </a:cubicBezTo>
                  <a:cubicBezTo>
                    <a:pt x="296" y="11"/>
                    <a:pt x="296" y="13"/>
                    <a:pt x="294" y="14"/>
                  </a:cubicBezTo>
                  <a:cubicBezTo>
                    <a:pt x="293" y="16"/>
                    <a:pt x="291" y="17"/>
                    <a:pt x="290" y="17"/>
                  </a:cubicBezTo>
                  <a:cubicBezTo>
                    <a:pt x="289" y="17"/>
                    <a:pt x="289" y="17"/>
                    <a:pt x="288" y="17"/>
                  </a:cubicBezTo>
                  <a:cubicBezTo>
                    <a:pt x="288" y="20"/>
                    <a:pt x="288" y="20"/>
                    <a:pt x="288" y="20"/>
                  </a:cubicBezTo>
                  <a:cubicBezTo>
                    <a:pt x="288" y="21"/>
                    <a:pt x="288" y="21"/>
                    <a:pt x="288" y="21"/>
                  </a:cubicBezTo>
                  <a:cubicBezTo>
                    <a:pt x="290" y="21"/>
                    <a:pt x="290" y="21"/>
                    <a:pt x="290" y="21"/>
                  </a:cubicBezTo>
                  <a:cubicBezTo>
                    <a:pt x="290" y="22"/>
                    <a:pt x="290" y="22"/>
                    <a:pt x="290" y="22"/>
                  </a:cubicBezTo>
                  <a:cubicBezTo>
                    <a:pt x="283" y="22"/>
                    <a:pt x="283" y="22"/>
                    <a:pt x="283" y="22"/>
                  </a:cubicBezTo>
                  <a:cubicBezTo>
                    <a:pt x="283" y="22"/>
                    <a:pt x="283" y="22"/>
                    <a:pt x="283" y="22"/>
                  </a:cubicBezTo>
                  <a:cubicBezTo>
                    <a:pt x="285" y="22"/>
                    <a:pt x="285" y="21"/>
                    <a:pt x="285" y="20"/>
                  </a:cubicBezTo>
                  <a:cubicBezTo>
                    <a:pt x="288" y="8"/>
                    <a:pt x="288" y="8"/>
                    <a:pt x="288" y="8"/>
                  </a:cubicBezTo>
                  <a:cubicBezTo>
                    <a:pt x="287" y="8"/>
                    <a:pt x="287" y="8"/>
                    <a:pt x="286" y="8"/>
                  </a:cubicBezTo>
                  <a:cubicBezTo>
                    <a:pt x="286" y="8"/>
                    <a:pt x="286" y="8"/>
                    <a:pt x="286" y="8"/>
                  </a:cubicBezTo>
                  <a:cubicBezTo>
                    <a:pt x="287" y="7"/>
                    <a:pt x="287" y="7"/>
                    <a:pt x="288" y="7"/>
                  </a:cubicBezTo>
                  <a:cubicBezTo>
                    <a:pt x="288" y="6"/>
                    <a:pt x="288" y="6"/>
                    <a:pt x="288" y="6"/>
                  </a:cubicBezTo>
                  <a:cubicBezTo>
                    <a:pt x="289" y="5"/>
                    <a:pt x="290" y="5"/>
                    <a:pt x="291" y="4"/>
                  </a:cubicBezTo>
                  <a:cubicBezTo>
                    <a:pt x="291" y="5"/>
                    <a:pt x="291" y="5"/>
                    <a:pt x="291" y="5"/>
                  </a:cubicBezTo>
                  <a:lnTo>
                    <a:pt x="290" y="6"/>
                  </a:lnTo>
                  <a:close/>
                  <a:moveTo>
                    <a:pt x="289" y="15"/>
                  </a:moveTo>
                  <a:cubicBezTo>
                    <a:pt x="289" y="16"/>
                    <a:pt x="289" y="16"/>
                    <a:pt x="290" y="16"/>
                  </a:cubicBezTo>
                  <a:cubicBezTo>
                    <a:pt x="292" y="16"/>
                    <a:pt x="294" y="13"/>
                    <a:pt x="294" y="10"/>
                  </a:cubicBezTo>
                  <a:cubicBezTo>
                    <a:pt x="294" y="8"/>
                    <a:pt x="293" y="7"/>
                    <a:pt x="292" y="7"/>
                  </a:cubicBezTo>
                  <a:cubicBezTo>
                    <a:pt x="291" y="7"/>
                    <a:pt x="291" y="7"/>
                    <a:pt x="290" y="7"/>
                  </a:cubicBezTo>
                  <a:lnTo>
                    <a:pt x="289" y="15"/>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chemeClr val="dk1"/>
                </a:solidFill>
                <a:latin typeface="Gene Sans" panose="00000500000000000000" pitchFamily="50" charset="0"/>
                <a:ea typeface="Arial"/>
                <a:cs typeface="Arial"/>
                <a:sym typeface="Arial"/>
              </a:endParaRPr>
            </a:p>
          </p:txBody>
        </p:sp>
      </p:grpSp>
      <p:cxnSp>
        <p:nvCxnSpPr>
          <p:cNvPr id="30" name="Google Shape;30;p34"/>
          <p:cNvCxnSpPr/>
          <p:nvPr/>
        </p:nvCxnSpPr>
        <p:spPr>
          <a:xfrm>
            <a:off x="381000" y="443054"/>
            <a:ext cx="8385048" cy="0"/>
          </a:xfrm>
          <a:prstGeom prst="straightConnector1">
            <a:avLst/>
          </a:prstGeom>
          <a:noFill/>
          <a:ln w="12700" cap="flat" cmpd="sng">
            <a:solidFill>
              <a:srgbClr val="004D99"/>
            </a:solidFill>
            <a:prstDash val="solid"/>
            <a:miter lim="800000"/>
            <a:headEnd type="none" w="sm" len="sm"/>
            <a:tailEnd type="none" w="sm" len="sm"/>
          </a:ln>
        </p:spPr>
      </p:cxnSp>
      <p:cxnSp>
        <p:nvCxnSpPr>
          <p:cNvPr id="31" name="Google Shape;31;p34"/>
          <p:cNvCxnSpPr/>
          <p:nvPr/>
        </p:nvCxnSpPr>
        <p:spPr>
          <a:xfrm>
            <a:off x="381000" y="4512077"/>
            <a:ext cx="8385048" cy="0"/>
          </a:xfrm>
          <a:prstGeom prst="straightConnector1">
            <a:avLst/>
          </a:prstGeom>
          <a:noFill/>
          <a:ln w="12700" cap="flat" cmpd="sng">
            <a:solidFill>
              <a:srgbClr val="004D99"/>
            </a:solidFill>
            <a:prstDash val="solid"/>
            <a:miter lim="800000"/>
            <a:headEnd type="none" w="sm" len="sm"/>
            <a:tailEnd type="none" w="sm" len="sm"/>
          </a:ln>
        </p:spPr>
      </p:cxnSp>
      <p:sp>
        <p:nvSpPr>
          <p:cNvPr id="32" name="Google Shape;32;p34"/>
          <p:cNvSpPr/>
          <p:nvPr/>
        </p:nvSpPr>
        <p:spPr>
          <a:xfrm>
            <a:off x="3788800" y="4913074"/>
            <a:ext cx="1461939" cy="9233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600"/>
              <a:buFont typeface="Arial"/>
              <a:buNone/>
            </a:pPr>
            <a:r>
              <a:rPr lang="en-US" sz="600" b="0" i="0" u="none" strike="noStrike" cap="none" dirty="0">
                <a:solidFill>
                  <a:schemeClr val="dk1"/>
                </a:solidFill>
                <a:latin typeface="Gene Sans" panose="00000500000000000000" pitchFamily="50" charset="0"/>
                <a:ea typeface="Arial"/>
                <a:cs typeface="Arial"/>
                <a:sym typeface="Arial"/>
              </a:rPr>
              <a:t>© 2021 Genentech, Inc. All rights reserved</a:t>
            </a:r>
            <a:endParaRPr sz="1400" b="0" i="0" u="none" strike="noStrike" cap="none" dirty="0">
              <a:solidFill>
                <a:srgbClr val="000000"/>
              </a:solidFill>
              <a:latin typeface="Gene Sans" panose="00000500000000000000" pitchFamily="50" charset="0"/>
              <a:ea typeface="Arial"/>
              <a:cs typeface="Arial"/>
              <a:sym typeface="Arial"/>
            </a:endParaRPr>
          </a:p>
        </p:txBody>
      </p:sp>
      <p:sp>
        <p:nvSpPr>
          <p:cNvPr id="33" name="Google Shape;33;p34"/>
          <p:cNvSpPr/>
          <p:nvPr/>
        </p:nvSpPr>
        <p:spPr>
          <a:xfrm>
            <a:off x="3887308" y="5011590"/>
            <a:ext cx="1369384" cy="9233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600"/>
              <a:buFont typeface="Arial"/>
              <a:buNone/>
            </a:pPr>
            <a:r>
              <a:rPr lang="en-US" sz="600" b="0" i="0" u="none" strike="noStrike" cap="none" dirty="0">
                <a:solidFill>
                  <a:schemeClr val="dk1"/>
                </a:solidFill>
                <a:latin typeface="Gene Sans" panose="00000500000000000000" pitchFamily="50" charset="0"/>
                <a:ea typeface="Arial"/>
                <a:cs typeface="Arial"/>
                <a:sym typeface="Arial"/>
              </a:rPr>
              <a:t>Veeva Document Number # (version #)</a:t>
            </a:r>
            <a:endParaRPr sz="1400" b="0" i="0" u="none" strike="noStrike" cap="none" dirty="0">
              <a:solidFill>
                <a:srgbClr val="000000"/>
              </a:solidFill>
              <a:latin typeface="Gene Sans" panose="00000500000000000000" pitchFamily="50" charset="0"/>
              <a:ea typeface="Arial"/>
              <a:cs typeface="Arial"/>
              <a:sym typeface="Arial"/>
            </a:endParaRPr>
          </a:p>
        </p:txBody>
      </p:sp>
      <p:pic>
        <p:nvPicPr>
          <p:cNvPr id="34" name="Google Shape;34;p34"/>
          <p:cNvPicPr preferRelativeResize="0"/>
          <p:nvPr/>
        </p:nvPicPr>
        <p:blipFill rotWithShape="1">
          <a:blip r:embed="rId3">
            <a:alphaModFix/>
          </a:blip>
          <a:srcRect/>
          <a:stretch/>
        </p:blipFill>
        <p:spPr>
          <a:xfrm>
            <a:off x="7945916" y="4716809"/>
            <a:ext cx="816829" cy="207669"/>
          </a:xfrm>
          <a:prstGeom prst="rect">
            <a:avLst/>
          </a:prstGeom>
          <a:noFill/>
          <a:ln>
            <a:noFill/>
          </a:ln>
        </p:spPr>
      </p:pic>
      <p:sp>
        <p:nvSpPr>
          <p:cNvPr id="35" name="Google Shape;35;p34"/>
          <p:cNvSpPr txBox="1">
            <a:spLocks noGrp="1"/>
          </p:cNvSpPr>
          <p:nvPr>
            <p:ph type="ctrTitle"/>
          </p:nvPr>
        </p:nvSpPr>
        <p:spPr>
          <a:xfrm>
            <a:off x="381000" y="2429976"/>
            <a:ext cx="6480000" cy="523220"/>
          </a:xfrm>
          <a:prstGeom prst="rect">
            <a:avLst/>
          </a:prstGeom>
          <a:noFill/>
          <a:ln>
            <a:noFill/>
          </a:ln>
        </p:spPr>
        <p:txBody>
          <a:bodyPr spcFirstLastPara="1" wrap="square" lIns="0" tIns="0" rIns="0" bIns="0" anchor="b" anchorCtr="0">
            <a:spAutoFit/>
          </a:bodyPr>
          <a:lstStyle>
            <a:lvl1pPr lvl="0" algn="l">
              <a:lnSpc>
                <a:spcPct val="85000"/>
              </a:lnSpc>
              <a:spcBef>
                <a:spcPts val="0"/>
              </a:spcBef>
              <a:spcAft>
                <a:spcPts val="0"/>
              </a:spcAft>
              <a:buSzPts val="1400"/>
              <a:buNone/>
              <a:defRPr sz="4000" b="1" cap="none">
                <a:solidFill>
                  <a:srgbClr val="003087"/>
                </a:solidFill>
                <a:latin typeface="Gene Sans" panose="00000500000000000000" pitchFamily="50" charset="0"/>
                <a:ea typeface="Gene Sans" panose="00000500000000000000" pitchFamily="50" charset="0"/>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36" name="Google Shape;36;p34"/>
          <p:cNvSpPr txBox="1">
            <a:spLocks noGrp="1"/>
          </p:cNvSpPr>
          <p:nvPr>
            <p:ph type="subTitle" idx="1"/>
          </p:nvPr>
        </p:nvSpPr>
        <p:spPr>
          <a:xfrm>
            <a:off x="381000" y="3173221"/>
            <a:ext cx="6480000" cy="11293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200"/>
              <a:buNone/>
              <a:defRPr sz="1200">
                <a:solidFill>
                  <a:srgbClr val="0066CC"/>
                </a:solidFill>
                <a:latin typeface="Gene Sans" panose="00000500000000000000" pitchFamily="50" charset="0"/>
              </a:defRPr>
            </a:lvl1pPr>
            <a:lvl2pPr lvl="1" algn="ctr">
              <a:lnSpc>
                <a:spcPct val="100000"/>
              </a:lnSpc>
              <a:spcBef>
                <a:spcPts val="0"/>
              </a:spcBef>
              <a:spcAft>
                <a:spcPts val="0"/>
              </a:spcAft>
              <a:buSzPts val="1500"/>
              <a:buNone/>
              <a:defRPr sz="1500"/>
            </a:lvl2pPr>
            <a:lvl3pPr lvl="2" algn="ctr">
              <a:lnSpc>
                <a:spcPct val="100000"/>
              </a:lnSpc>
              <a:spcBef>
                <a:spcPts val="0"/>
              </a:spcBef>
              <a:spcAft>
                <a:spcPts val="0"/>
              </a:spcAft>
              <a:buSzPts val="1350"/>
              <a:buNone/>
              <a:defRPr sz="1350"/>
            </a:lvl3pPr>
            <a:lvl4pPr lvl="3" algn="ctr">
              <a:lnSpc>
                <a:spcPct val="100000"/>
              </a:lnSpc>
              <a:spcBef>
                <a:spcPts val="0"/>
              </a:spcBef>
              <a:spcAft>
                <a:spcPts val="0"/>
              </a:spcAft>
              <a:buSzPts val="1200"/>
              <a:buNone/>
              <a:defRPr sz="1200"/>
            </a:lvl4pPr>
            <a:lvl5pPr lvl="4" algn="ctr">
              <a:lnSpc>
                <a:spcPct val="100000"/>
              </a:lnSpc>
              <a:spcBef>
                <a:spcPts val="0"/>
              </a:spcBef>
              <a:spcAft>
                <a:spcPts val="0"/>
              </a:spcAft>
              <a:buSzPts val="1200"/>
              <a:buNone/>
              <a:defRPr sz="1200"/>
            </a:lvl5pPr>
            <a:lvl6pPr lvl="5" algn="ctr">
              <a:lnSpc>
                <a:spcPct val="100000"/>
              </a:lnSpc>
              <a:spcBef>
                <a:spcPts val="0"/>
              </a:spcBef>
              <a:spcAft>
                <a:spcPts val="0"/>
              </a:spcAft>
              <a:buSzPts val="1200"/>
              <a:buNone/>
              <a:defRPr sz="1200"/>
            </a:lvl6pPr>
            <a:lvl7pPr lvl="6" algn="ctr">
              <a:lnSpc>
                <a:spcPct val="100000"/>
              </a:lnSpc>
              <a:spcBef>
                <a:spcPts val="0"/>
              </a:spcBef>
              <a:spcAft>
                <a:spcPts val="0"/>
              </a:spcAft>
              <a:buSzPts val="1200"/>
              <a:buNone/>
              <a:defRPr sz="1200"/>
            </a:lvl7pPr>
            <a:lvl8pPr lvl="7" algn="ctr">
              <a:lnSpc>
                <a:spcPct val="100000"/>
              </a:lnSpc>
              <a:spcBef>
                <a:spcPts val="0"/>
              </a:spcBef>
              <a:spcAft>
                <a:spcPts val="0"/>
              </a:spcAft>
              <a:buSzPts val="1200"/>
              <a:buNone/>
              <a:defRPr sz="1200"/>
            </a:lvl8pPr>
            <a:lvl9pPr lvl="8" algn="ctr">
              <a:lnSpc>
                <a:spcPct val="100000"/>
              </a:lnSpc>
              <a:spcBef>
                <a:spcPts val="0"/>
              </a:spcBef>
              <a:spcAft>
                <a:spcPts val="0"/>
              </a:spcAft>
              <a:buSzPts val="1200"/>
              <a:buNone/>
              <a:defRPr sz="1200"/>
            </a:lvl9pPr>
          </a:lstStyle>
          <a:p>
            <a:endParaRPr dirty="0"/>
          </a:p>
        </p:txBody>
      </p:sp>
      <p:sp>
        <p:nvSpPr>
          <p:cNvPr id="37" name="Google Shape;37;p34"/>
          <p:cNvSpPr txBox="1">
            <a:spLocks noGrp="1"/>
          </p:cNvSpPr>
          <p:nvPr>
            <p:ph type="body" idx="2"/>
          </p:nvPr>
        </p:nvSpPr>
        <p:spPr>
          <a:xfrm>
            <a:off x="381000" y="1401921"/>
            <a:ext cx="6480000" cy="276999"/>
          </a:xfrm>
          <a:prstGeom prst="rect">
            <a:avLst/>
          </a:prstGeom>
          <a:noFill/>
          <a:ln>
            <a:noFill/>
          </a:ln>
        </p:spPr>
        <p:txBody>
          <a:bodyPr spcFirstLastPara="1" wrap="square" lIns="0" tIns="0" rIns="0" bIns="0" anchor="b" anchorCtr="0">
            <a:spAutoFit/>
          </a:bodyPr>
          <a:lstStyle>
            <a:lvl1pPr marL="457200" lvl="0" indent="-228600" algn="l">
              <a:lnSpc>
                <a:spcPct val="100000"/>
              </a:lnSpc>
              <a:spcBef>
                <a:spcPts val="0"/>
              </a:spcBef>
              <a:spcAft>
                <a:spcPts val="0"/>
              </a:spcAft>
              <a:buSzPts val="1800"/>
              <a:buNone/>
              <a:defRPr sz="1800" b="1" cap="none">
                <a:solidFill>
                  <a:srgbClr val="0066CC"/>
                </a:solidFill>
                <a:latin typeface="Gene Sans" panose="00000500000000000000" pitchFamily="50" charset="0"/>
                <a:ea typeface="Gene Sans" panose="00000500000000000000" pitchFamily="50" charset="0"/>
                <a:cs typeface="Arial"/>
                <a:sym typeface="Arial"/>
              </a:defRPr>
            </a:lvl1pPr>
            <a:lvl2pPr marL="914400" lvl="1" indent="-342900" algn="l">
              <a:lnSpc>
                <a:spcPct val="100000"/>
              </a:lnSpc>
              <a:spcBef>
                <a:spcPts val="0"/>
              </a:spcBef>
              <a:spcAft>
                <a:spcPts val="0"/>
              </a:spcAft>
              <a:buSzPts val="1800"/>
              <a:buChar char="–"/>
              <a:defRPr/>
            </a:lvl2pPr>
            <a:lvl3pPr marL="1371600" lvl="2" indent="-342900" algn="l">
              <a:lnSpc>
                <a:spcPct val="100000"/>
              </a:lnSpc>
              <a:spcBef>
                <a:spcPts val="0"/>
              </a:spcBef>
              <a:spcAft>
                <a:spcPts val="0"/>
              </a:spcAft>
              <a:buSzPts val="1800"/>
              <a:buChar char="▪"/>
              <a:defRPr/>
            </a:lvl3pPr>
            <a:lvl4pPr marL="1828800" lvl="3" indent="-342900" algn="l">
              <a:lnSpc>
                <a:spcPct val="100000"/>
              </a:lnSpc>
              <a:spcBef>
                <a:spcPts val="0"/>
              </a:spcBef>
              <a:spcAft>
                <a:spcPts val="0"/>
              </a:spcAft>
              <a:buSzPts val="1800"/>
              <a:buChar char="•"/>
              <a:defRPr/>
            </a:lvl4pPr>
            <a:lvl5pPr marL="2286000" lvl="4" indent="-342900" algn="l">
              <a:lnSpc>
                <a:spcPct val="100000"/>
              </a:lnSpc>
              <a:spcBef>
                <a:spcPts val="0"/>
              </a:spcBef>
              <a:spcAft>
                <a:spcPts val="0"/>
              </a:spcAft>
              <a:buSzPts val="1800"/>
              <a:buChar char="•"/>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dirty="0"/>
          </a:p>
        </p:txBody>
      </p:sp>
      <p:sp>
        <p:nvSpPr>
          <p:cNvPr id="38" name="Google Shape;38;p34"/>
          <p:cNvSpPr txBox="1"/>
          <p:nvPr/>
        </p:nvSpPr>
        <p:spPr>
          <a:xfrm>
            <a:off x="8770345" y="4980080"/>
            <a:ext cx="373655" cy="163420"/>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chemeClr val="accent6"/>
              </a:buClr>
              <a:buSzPts val="300"/>
              <a:buFont typeface="Georgia"/>
              <a:buNone/>
            </a:pPr>
            <a:fld id="{00000000-1234-1234-1234-123412341234}" type="slidenum">
              <a:rPr lang="en-US" sz="700" b="0" i="0" u="none" strike="noStrike" cap="none">
                <a:solidFill>
                  <a:schemeClr val="dk1"/>
                </a:solidFill>
                <a:latin typeface="Gene Sans" panose="00000500000000000000" pitchFamily="50" charset="0"/>
                <a:ea typeface="Arial"/>
                <a:cs typeface="Arial"/>
                <a:sym typeface="Arial"/>
              </a:rPr>
              <a:t>‹#›</a:t>
            </a:fld>
            <a:endParaRPr sz="700" b="0" i="0" u="none" strike="noStrike" cap="none" dirty="0">
              <a:solidFill>
                <a:schemeClr val="dk1"/>
              </a:solidFill>
              <a:latin typeface="Gene Sans" panose="00000500000000000000" pitchFamily="50" charset="0"/>
              <a:ea typeface="Arial"/>
              <a:cs typeface="Arial"/>
              <a:sym typeface="Arial"/>
            </a:endParaRPr>
          </a:p>
        </p:txBody>
      </p:sp>
    </p:spTree>
    <p:extLst>
      <p:ext uri="{BB962C8B-B14F-4D97-AF65-F5344CB8AC3E}">
        <p14:creationId xmlns:p14="http://schemas.microsoft.com/office/powerpoint/2010/main" val="349379496"/>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56"/>
        <p:cNvGrpSpPr/>
        <p:nvPr/>
      </p:nvGrpSpPr>
      <p:grpSpPr>
        <a:xfrm>
          <a:off x="0" y="0"/>
          <a:ext cx="0" cy="0"/>
          <a:chOff x="0" y="0"/>
          <a:chExt cx="0" cy="0"/>
        </a:xfrm>
      </p:grpSpPr>
      <p:sp>
        <p:nvSpPr>
          <p:cNvPr id="57" name="Google Shape;57;p36"/>
          <p:cNvSpPr txBox="1">
            <a:spLocks noGrp="1"/>
          </p:cNvSpPr>
          <p:nvPr>
            <p:ph type="body" idx="1"/>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58" name="Google Shape;58;p36"/>
          <p:cNvSpPr txBox="1">
            <a:spLocks noGrp="1"/>
          </p:cNvSpPr>
          <p:nvPr>
            <p:ph type="body" idx="2"/>
          </p:nvPr>
        </p:nvSpPr>
        <p:spPr>
          <a:xfrm>
            <a:off x="381648" y="4745251"/>
            <a:ext cx="8385048" cy="110800"/>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720"/>
              </a:spcBef>
              <a:spcAft>
                <a:spcPts val="0"/>
              </a:spcAft>
              <a:buSzPts val="800"/>
              <a:buFont typeface="Arial"/>
              <a:buNone/>
              <a:defRPr sz="800">
                <a:latin typeface="Gene Sans" panose="00000500000000000000" pitchFamily="50" charset="0"/>
                <a:ea typeface="Gene Sans" panose="00000500000000000000" pitchFamily="50" charset="0"/>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59" name="Google Shape;59;p36"/>
          <p:cNvSpPr txBox="1">
            <a:spLocks noGrp="1"/>
          </p:cNvSpPr>
          <p:nvPr>
            <p:ph type="body" idx="3"/>
          </p:nvPr>
        </p:nvSpPr>
        <p:spPr>
          <a:xfrm>
            <a:off x="381648" y="1283549"/>
            <a:ext cx="8385048" cy="3227832"/>
          </a:xfrm>
          <a:prstGeom prst="rect">
            <a:avLst/>
          </a:prstGeom>
          <a:noFill/>
          <a:ln>
            <a:noFill/>
          </a:ln>
        </p:spPr>
        <p:txBody>
          <a:bodyPr spcFirstLastPara="1" wrap="square" lIns="0" tIns="0" rIns="0" bIns="0" anchor="t" anchorCtr="0">
            <a:noAutofit/>
          </a:bodyPr>
          <a:lstStyle>
            <a:lvl1pPr marL="457200" lvl="0" indent="-330200" algn="l">
              <a:lnSpc>
                <a:spcPct val="100000"/>
              </a:lnSpc>
              <a:spcBef>
                <a:spcPts val="0"/>
              </a:spcBef>
              <a:spcAft>
                <a:spcPts val="0"/>
              </a:spcAft>
              <a:buSzPts val="1600"/>
              <a:buChar char="•"/>
              <a:defRPr>
                <a:latin typeface="Gene Sans" panose="00000500000000000000" pitchFamily="50" charset="0"/>
                <a:ea typeface="Gene Sans" panose="00000500000000000000" pitchFamily="50" charset="0"/>
                <a:cs typeface="Arial"/>
                <a:sym typeface="Arial"/>
              </a:defRPr>
            </a:lvl1pPr>
            <a:lvl2pPr marL="914400" lvl="1" indent="-317500" algn="l">
              <a:lnSpc>
                <a:spcPct val="90000"/>
              </a:lnSpc>
              <a:spcBef>
                <a:spcPts val="600"/>
              </a:spcBef>
              <a:spcAft>
                <a:spcPts val="0"/>
              </a:spcAft>
              <a:buSzPts val="1400"/>
              <a:buChar char="–"/>
              <a:defRPr>
                <a:latin typeface="Arial"/>
                <a:ea typeface="Arial"/>
                <a:cs typeface="Arial"/>
                <a:sym typeface="Arial"/>
              </a:defRPr>
            </a:lvl2pPr>
            <a:lvl3pPr marL="1371600" lvl="2" indent="-298450" algn="l">
              <a:lnSpc>
                <a:spcPct val="90000"/>
              </a:lnSpc>
              <a:spcBef>
                <a:spcPts val="600"/>
              </a:spcBef>
              <a:spcAft>
                <a:spcPts val="0"/>
              </a:spcAft>
              <a:buSzPts val="1100"/>
              <a:buFont typeface="Noto Sans Symbols"/>
              <a:buChar char="▪"/>
              <a:defRPr>
                <a:latin typeface="Arial"/>
                <a:ea typeface="Arial"/>
                <a:cs typeface="Arial"/>
                <a:sym typeface="Arial"/>
              </a:defRPr>
            </a:lvl3pPr>
            <a:lvl4pPr marL="1828800" lvl="3" indent="-295275" algn="l">
              <a:lnSpc>
                <a:spcPct val="90000"/>
              </a:lnSpc>
              <a:spcBef>
                <a:spcPts val="600"/>
              </a:spcBef>
              <a:spcAft>
                <a:spcPts val="0"/>
              </a:spcAft>
              <a:buSzPts val="1050"/>
              <a:buChar char="•"/>
              <a:defRPr>
                <a:latin typeface="Arial"/>
                <a:ea typeface="Arial"/>
                <a:cs typeface="Arial"/>
                <a:sym typeface="Arial"/>
              </a:defRPr>
            </a:lvl4pPr>
            <a:lvl5pPr marL="2286000" lvl="4" indent="-295275" algn="l">
              <a:lnSpc>
                <a:spcPct val="90000"/>
              </a:lnSpc>
              <a:spcBef>
                <a:spcPts val="600"/>
              </a:spcBef>
              <a:spcAft>
                <a:spcPts val="0"/>
              </a:spcAft>
              <a:buSzPts val="1050"/>
              <a:buChar char="•"/>
              <a:defRPr>
                <a:latin typeface="Arial"/>
                <a:ea typeface="Arial"/>
                <a:cs typeface="Arial"/>
                <a:sym typeface="Arial"/>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dirty="0"/>
          </a:p>
        </p:txBody>
      </p:sp>
      <p:sp>
        <p:nvSpPr>
          <p:cNvPr id="60" name="Google Shape;60;p36"/>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latin typeface="Gene Sans" panose="00000500000000000000" pitchFamily="50"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Tree>
    <p:extLst>
      <p:ext uri="{BB962C8B-B14F-4D97-AF65-F5344CB8AC3E}">
        <p14:creationId xmlns:p14="http://schemas.microsoft.com/office/powerpoint/2010/main" val="3625966317"/>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Disclaimer Slide">
  <p:cSld name="Disclaimer Slide">
    <p:spTree>
      <p:nvGrpSpPr>
        <p:cNvPr id="1" name="Shape 97"/>
        <p:cNvGrpSpPr/>
        <p:nvPr/>
      </p:nvGrpSpPr>
      <p:grpSpPr>
        <a:xfrm>
          <a:off x="0" y="0"/>
          <a:ext cx="0" cy="0"/>
          <a:chOff x="0" y="0"/>
          <a:chExt cx="0" cy="0"/>
        </a:xfrm>
      </p:grpSpPr>
      <p:sp>
        <p:nvSpPr>
          <p:cNvPr id="98" name="Google Shape;98;p60"/>
          <p:cNvSpPr txBox="1"/>
          <p:nvPr/>
        </p:nvSpPr>
        <p:spPr>
          <a:xfrm>
            <a:off x="381648" y="585795"/>
            <a:ext cx="8384400" cy="290849"/>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accent3"/>
              </a:buClr>
              <a:buSzPts val="2100"/>
              <a:buFont typeface="Arial"/>
              <a:buNone/>
            </a:pPr>
            <a:r>
              <a:rPr lang="en-US" sz="2100" b="1" i="0" u="none" strike="noStrike" cap="none" dirty="0">
                <a:solidFill>
                  <a:srgbClr val="003087"/>
                </a:solidFill>
                <a:latin typeface="Gene Sans" panose="00000500000000000000" pitchFamily="50" charset="0"/>
                <a:ea typeface="Arial"/>
                <a:cs typeface="Arial"/>
                <a:sym typeface="Arial"/>
              </a:rPr>
              <a:t>DISCLAIMER SLIDE</a:t>
            </a:r>
            <a:endParaRPr sz="1400" b="0" i="0" u="none" strike="noStrike" cap="none" dirty="0">
              <a:solidFill>
                <a:srgbClr val="003087"/>
              </a:solidFill>
              <a:latin typeface="Gene Sans" panose="00000500000000000000" pitchFamily="50" charset="0"/>
              <a:ea typeface="Arial"/>
              <a:cs typeface="Arial"/>
              <a:sym typeface="Arial"/>
            </a:endParaRPr>
          </a:p>
        </p:txBody>
      </p:sp>
      <p:sp>
        <p:nvSpPr>
          <p:cNvPr id="99" name="Google Shape;99;p60"/>
          <p:cNvSpPr txBox="1"/>
          <p:nvPr/>
        </p:nvSpPr>
        <p:spPr>
          <a:xfrm>
            <a:off x="381648" y="1100433"/>
            <a:ext cx="8214940" cy="34470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lt2"/>
              </a:buClr>
              <a:buSzPts val="1100"/>
              <a:buFont typeface="Arial"/>
              <a:buNone/>
            </a:pPr>
            <a:r>
              <a:rPr lang="en-US" sz="1600" b="0" i="0" u="none" strike="noStrike" cap="none" dirty="0">
                <a:solidFill>
                  <a:schemeClr val="dk1"/>
                </a:solidFill>
                <a:latin typeface="Gene Sans" panose="00000500000000000000" pitchFamily="50" charset="0"/>
                <a:ea typeface="Arial"/>
                <a:cs typeface="Arial"/>
                <a:sym typeface="Arial"/>
              </a:rPr>
              <a:t>Please Note:  The information we provide may include references to a Genentech product or use of a Genentech product that the FDA has not approved; because the FDA has not approved such product(s) or use, no conclusions regarding safety or efficacy may be made.  Providing this information should not be construed as recommendation for use of a Genentech product for unapproved uses.  For FDA approved products please consult the product’s full prescribing information for a complete discussion of risks and benefits of the product(s) for its approved indication(s).  </a:t>
            </a:r>
            <a:endParaRPr sz="1400" b="0" i="0" u="none" strike="noStrike" cap="none" dirty="0">
              <a:solidFill>
                <a:srgbClr val="000000"/>
              </a:solidFill>
              <a:latin typeface="Gene Sans" panose="00000500000000000000" pitchFamily="50" charset="0"/>
              <a:ea typeface="Arial"/>
              <a:cs typeface="Arial"/>
              <a:sym typeface="Arial"/>
            </a:endParaRPr>
          </a:p>
          <a:p>
            <a:pPr marL="0" marR="0" lvl="0" indent="0" algn="l" rtl="0">
              <a:lnSpc>
                <a:spcPct val="100000"/>
              </a:lnSpc>
              <a:spcBef>
                <a:spcPts val="0"/>
              </a:spcBef>
              <a:spcAft>
                <a:spcPts val="0"/>
              </a:spcAft>
              <a:buClr>
                <a:schemeClr val="lt2"/>
              </a:buClr>
              <a:buSzPts val="1100"/>
              <a:buFont typeface="Arial"/>
              <a:buNone/>
            </a:pPr>
            <a:endParaRPr sz="1600" b="0" i="0" u="none" strike="noStrike" cap="none" dirty="0">
              <a:solidFill>
                <a:schemeClr val="dk1"/>
              </a:solidFill>
              <a:latin typeface="Gene Sans" panose="00000500000000000000" pitchFamily="50" charset="0"/>
              <a:ea typeface="Arial"/>
              <a:cs typeface="Arial"/>
              <a:sym typeface="Arial"/>
            </a:endParaRPr>
          </a:p>
          <a:p>
            <a:pPr marL="0" marR="0" lvl="0" indent="0" algn="l" rtl="0">
              <a:lnSpc>
                <a:spcPct val="100000"/>
              </a:lnSpc>
              <a:spcBef>
                <a:spcPts val="0"/>
              </a:spcBef>
              <a:spcAft>
                <a:spcPts val="0"/>
              </a:spcAft>
              <a:buClr>
                <a:schemeClr val="lt2"/>
              </a:buClr>
              <a:buSzPts val="1100"/>
              <a:buFont typeface="Arial"/>
              <a:buNone/>
            </a:pPr>
            <a:r>
              <a:rPr lang="en-US" sz="1600" b="0" i="0" u="none" strike="noStrike" cap="none" dirty="0">
                <a:solidFill>
                  <a:schemeClr val="dk1"/>
                </a:solidFill>
                <a:latin typeface="Gene Sans" panose="00000500000000000000" pitchFamily="50" charset="0"/>
                <a:ea typeface="Arial"/>
                <a:cs typeface="Arial"/>
                <a:sym typeface="Arial"/>
              </a:rPr>
              <a:t>The information we provide may additionally include relevant references to non-Genentech product information derived from publicly available sources.</a:t>
            </a:r>
            <a:endParaRPr sz="1400" b="0" i="0" u="none" strike="noStrike" cap="none" dirty="0">
              <a:solidFill>
                <a:srgbClr val="000000"/>
              </a:solidFill>
              <a:latin typeface="Gene Sans" panose="00000500000000000000" pitchFamily="50" charset="0"/>
              <a:ea typeface="Arial"/>
              <a:cs typeface="Arial"/>
              <a:sym typeface="Arial"/>
            </a:endParaRPr>
          </a:p>
          <a:p>
            <a:pPr marL="0" marR="0" lvl="0" indent="0" algn="l" rtl="0">
              <a:lnSpc>
                <a:spcPct val="100000"/>
              </a:lnSpc>
              <a:spcBef>
                <a:spcPts val="0"/>
              </a:spcBef>
              <a:spcAft>
                <a:spcPts val="0"/>
              </a:spcAft>
              <a:buClr>
                <a:srgbClr val="000000"/>
              </a:buClr>
              <a:buSzPts val="1800"/>
              <a:buFont typeface="Arial"/>
              <a:buNone/>
            </a:pPr>
            <a:endParaRPr sz="1600" b="0" i="0" u="none" strike="noStrike" cap="none" dirty="0">
              <a:solidFill>
                <a:schemeClr val="dk1"/>
              </a:solidFill>
              <a:latin typeface="Gene Sans" panose="00000500000000000000" pitchFamily="50" charset="0"/>
              <a:ea typeface="Arial"/>
              <a:cs typeface="Arial"/>
              <a:sym typeface="Arial"/>
            </a:endParaRPr>
          </a:p>
          <a:p>
            <a:pPr marL="0" marR="0" lvl="0" indent="0" algn="l" rtl="0">
              <a:lnSpc>
                <a:spcPct val="100000"/>
              </a:lnSpc>
              <a:spcBef>
                <a:spcPts val="0"/>
              </a:spcBef>
              <a:spcAft>
                <a:spcPts val="0"/>
              </a:spcAft>
              <a:buClr>
                <a:srgbClr val="000000"/>
              </a:buClr>
              <a:buSzPts val="1800"/>
              <a:buFont typeface="Arial"/>
              <a:buNone/>
            </a:pPr>
            <a:endParaRPr sz="1600" b="0" i="0" u="none" strike="noStrike" cap="none" dirty="0">
              <a:solidFill>
                <a:schemeClr val="dk1"/>
              </a:solidFill>
              <a:latin typeface="Gene Sans" panose="00000500000000000000" pitchFamily="50" charset="0"/>
              <a:ea typeface="Arial"/>
              <a:cs typeface="Arial"/>
              <a:sym typeface="Arial"/>
            </a:endParaRPr>
          </a:p>
          <a:p>
            <a:pPr marL="0" marR="0" lvl="0" indent="0" algn="l" rtl="0">
              <a:lnSpc>
                <a:spcPct val="100000"/>
              </a:lnSpc>
              <a:spcBef>
                <a:spcPts val="0"/>
              </a:spcBef>
              <a:spcAft>
                <a:spcPts val="0"/>
              </a:spcAft>
              <a:buClr>
                <a:schemeClr val="lt2"/>
              </a:buClr>
              <a:buSzPts val="1800"/>
              <a:buFont typeface="Arial"/>
              <a:buNone/>
            </a:pPr>
            <a:r>
              <a:rPr lang="en-US" sz="1600" b="0" i="1" u="none" strike="noStrike" cap="none" dirty="0">
                <a:solidFill>
                  <a:schemeClr val="dk1"/>
                </a:solidFill>
                <a:latin typeface="Gene Sans" panose="00000500000000000000" pitchFamily="50" charset="0"/>
                <a:ea typeface="Arial"/>
                <a:cs typeface="Arial"/>
                <a:sym typeface="Arial"/>
              </a:rPr>
              <a:t>This deck may contain animations; please review this slide deck in “slideshow” mode to ensure fair-balance display of content.</a:t>
            </a:r>
            <a:endParaRPr sz="1600" b="1" i="0" u="none" strike="noStrike" cap="none" dirty="0">
              <a:solidFill>
                <a:schemeClr val="dk1"/>
              </a:solidFill>
              <a:latin typeface="Gene Sans" panose="00000500000000000000" pitchFamily="50" charset="0"/>
              <a:ea typeface="Arial"/>
              <a:cs typeface="Arial"/>
              <a:sym typeface="Arial"/>
            </a:endParaRPr>
          </a:p>
        </p:txBody>
      </p:sp>
      <p:sp>
        <p:nvSpPr>
          <p:cNvPr id="100" name="Google Shape;100;p60"/>
          <p:cNvSpPr txBox="1">
            <a:spLocks noGrp="1"/>
          </p:cNvSpPr>
          <p:nvPr>
            <p:ph type="body" idx="1"/>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01" name="Google Shape;101;p60"/>
          <p:cNvSpPr txBox="1">
            <a:spLocks noGrp="1"/>
          </p:cNvSpPr>
          <p:nvPr>
            <p:ph type="body" idx="2"/>
          </p:nvPr>
        </p:nvSpPr>
        <p:spPr>
          <a:xfrm>
            <a:off x="381648" y="4745251"/>
            <a:ext cx="8385048" cy="110800"/>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720"/>
              </a:spcBef>
              <a:spcAft>
                <a:spcPts val="0"/>
              </a:spcAft>
              <a:buSzPts val="800"/>
              <a:buFont typeface="Arial"/>
              <a:buNone/>
              <a:defRPr sz="800">
                <a:latin typeface="Gene Sans" panose="00000500000000000000" pitchFamily="50" charset="0"/>
                <a:ea typeface="Gene Sans" panose="00000500000000000000" pitchFamily="50" charset="0"/>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36796473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Disclaimer Slide" preserve="1" userDrawn="1">
  <p:cSld name="Disclaimer Slide">
    <p:spTree>
      <p:nvGrpSpPr>
        <p:cNvPr id="1" name="Shape 111"/>
        <p:cNvGrpSpPr/>
        <p:nvPr/>
      </p:nvGrpSpPr>
      <p:grpSpPr>
        <a:xfrm>
          <a:off x="0" y="0"/>
          <a:ext cx="0" cy="0"/>
          <a:chOff x="0" y="0"/>
          <a:chExt cx="0" cy="0"/>
        </a:xfrm>
      </p:grpSpPr>
      <p:sp>
        <p:nvSpPr>
          <p:cNvPr id="112" name="Google Shape;112;p45"/>
          <p:cNvSpPr txBox="1"/>
          <p:nvPr/>
        </p:nvSpPr>
        <p:spPr>
          <a:xfrm>
            <a:off x="381648" y="585796"/>
            <a:ext cx="8384400" cy="290849"/>
          </a:xfrm>
          <a:prstGeom prst="rect">
            <a:avLst/>
          </a:prstGeom>
        </p:spPr>
        <p:txBody>
          <a:bodyPr vert="horz" lIns="0" tIns="0" rIns="0" bIns="0" numCol="1" rtlCol="0" anchor="t" anchorCtr="0">
            <a:noAutofit/>
          </a:bodyPr>
          <a:lstStyle>
            <a:defPPr marR="0" lvl="0" algn="l" rtl="0">
              <a:lnSpc>
                <a:spcPct val="100000"/>
              </a:lnSpc>
              <a:spcBef>
                <a:spcPts val="0"/>
              </a:spcBef>
              <a:spcAft>
                <a:spcPts val="0"/>
              </a:spcAft>
            </a:defPPr>
            <a:lvl1pPr>
              <a:defRPr lang="en-US" sz="2100" b="1" kern="1200" cap="all" baseline="0" dirty="0">
                <a:solidFill>
                  <a:srgbClr val="003087"/>
                </a:solidFill>
                <a:latin typeface="Gene Sans" panose="00000500000000000000" pitchFamily="50" charset="0"/>
                <a:ea typeface="+mj-ea"/>
                <a:cs typeface="+mj-cs"/>
              </a:defRPr>
            </a:lvl1pPr>
          </a:lstStyle>
          <a:p>
            <a:pPr lvl="0"/>
            <a:r>
              <a:rPr lang="en-US" sz="2100" dirty="0">
                <a:sym typeface="Arial"/>
              </a:rPr>
              <a:t>DISCLAIMER SLIDE</a:t>
            </a:r>
            <a:endParaRPr sz="2100" dirty="0"/>
          </a:p>
        </p:txBody>
      </p:sp>
      <p:sp>
        <p:nvSpPr>
          <p:cNvPr id="113" name="Google Shape;113;p45"/>
          <p:cNvSpPr txBox="1"/>
          <p:nvPr/>
        </p:nvSpPr>
        <p:spPr>
          <a:xfrm>
            <a:off x="381648" y="1100434"/>
            <a:ext cx="8214940" cy="34470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lt2"/>
              </a:buClr>
              <a:buSzPts val="1100"/>
              <a:buFont typeface="Arial"/>
              <a:buNone/>
            </a:pPr>
            <a:r>
              <a:rPr lang="en-US" sz="1600" dirty="0">
                <a:solidFill>
                  <a:schemeClr val="dk1"/>
                </a:solidFill>
                <a:latin typeface="+mn-lt"/>
                <a:ea typeface="Arial"/>
                <a:cs typeface="Arial"/>
                <a:sym typeface="Arial"/>
              </a:rPr>
              <a:t>Please Note:  The information we provide may include references to a Genentech product or use of a Genentech product that the FDA has not approved; because the FDA has not approved such product(s) or use, no conclusions regarding safety or efficacy may be made.  Providing this information should not be construed as recommendation for use of a Genentech product for unapproved uses.  For FDA approved products please consult the product’s </a:t>
            </a:r>
            <a:r>
              <a:rPr lang="en-US" sz="1600">
                <a:solidFill>
                  <a:schemeClr val="dk1"/>
                </a:solidFill>
                <a:latin typeface="+mn-lt"/>
                <a:ea typeface="Arial"/>
                <a:cs typeface="Arial"/>
                <a:sym typeface="Arial"/>
              </a:rPr>
              <a:t>full prescribing </a:t>
            </a:r>
            <a:r>
              <a:rPr lang="en-US" sz="1600" dirty="0">
                <a:solidFill>
                  <a:schemeClr val="dk1"/>
                </a:solidFill>
                <a:latin typeface="+mn-lt"/>
                <a:ea typeface="Arial"/>
                <a:cs typeface="Arial"/>
                <a:sym typeface="Arial"/>
              </a:rPr>
              <a:t>information for a complete discussion of risks and benefits of the product(s) for its approved indication(s).  </a:t>
            </a:r>
            <a:endParaRPr sz="1800" dirty="0">
              <a:latin typeface="+mn-lt"/>
            </a:endParaRPr>
          </a:p>
          <a:p>
            <a:pPr marL="0" marR="0" lvl="0" indent="0" algn="l" rtl="0">
              <a:lnSpc>
                <a:spcPct val="100000"/>
              </a:lnSpc>
              <a:spcBef>
                <a:spcPts val="0"/>
              </a:spcBef>
              <a:spcAft>
                <a:spcPts val="0"/>
              </a:spcAft>
              <a:buClr>
                <a:schemeClr val="lt2"/>
              </a:buClr>
              <a:buSzPts val="1100"/>
              <a:buFont typeface="Arial"/>
              <a:buNone/>
            </a:pPr>
            <a:endParaRPr sz="1600" dirty="0">
              <a:solidFill>
                <a:schemeClr val="dk1"/>
              </a:solidFill>
              <a:latin typeface="+mn-lt"/>
              <a:ea typeface="Arial"/>
              <a:cs typeface="Arial"/>
              <a:sym typeface="Arial"/>
            </a:endParaRPr>
          </a:p>
          <a:p>
            <a:pPr marL="0" marR="0" lvl="0" indent="0" algn="l" rtl="0">
              <a:lnSpc>
                <a:spcPct val="100000"/>
              </a:lnSpc>
              <a:spcBef>
                <a:spcPts val="0"/>
              </a:spcBef>
              <a:spcAft>
                <a:spcPts val="0"/>
              </a:spcAft>
              <a:buClr>
                <a:schemeClr val="lt2"/>
              </a:buClr>
              <a:buSzPts val="1100"/>
              <a:buFont typeface="Arial"/>
              <a:buNone/>
            </a:pPr>
            <a:r>
              <a:rPr lang="en-US" sz="1600" dirty="0">
                <a:solidFill>
                  <a:schemeClr val="dk1"/>
                </a:solidFill>
                <a:latin typeface="+mn-lt"/>
                <a:ea typeface="Arial"/>
                <a:cs typeface="Arial"/>
                <a:sym typeface="Arial"/>
              </a:rPr>
              <a:t>The information we provide may additionally include relevant references to non-Genentech product information derived from publicly available sources.</a:t>
            </a:r>
            <a:endParaRPr sz="1800" dirty="0">
              <a:latin typeface="+mn-lt"/>
            </a:endParaRPr>
          </a:p>
          <a:p>
            <a:pPr marL="0" marR="0" lvl="0" indent="0" algn="l" rtl="0">
              <a:lnSpc>
                <a:spcPct val="100000"/>
              </a:lnSpc>
              <a:spcBef>
                <a:spcPts val="0"/>
              </a:spcBef>
              <a:spcAft>
                <a:spcPts val="0"/>
              </a:spcAft>
              <a:buClr>
                <a:srgbClr val="000000"/>
              </a:buClr>
              <a:buSzPts val="1800"/>
              <a:buFont typeface="Arial"/>
              <a:buNone/>
            </a:pPr>
            <a:endParaRPr sz="1600" dirty="0">
              <a:solidFill>
                <a:schemeClr val="dk1"/>
              </a:solidFill>
              <a:latin typeface="+mn-lt"/>
              <a:ea typeface="Arial"/>
              <a:cs typeface="Arial"/>
              <a:sym typeface="Arial"/>
            </a:endParaRPr>
          </a:p>
          <a:p>
            <a:pPr marL="0" marR="0" lvl="0" indent="0" algn="l" rtl="0">
              <a:lnSpc>
                <a:spcPct val="100000"/>
              </a:lnSpc>
              <a:spcBef>
                <a:spcPts val="0"/>
              </a:spcBef>
              <a:spcAft>
                <a:spcPts val="0"/>
              </a:spcAft>
              <a:buClr>
                <a:srgbClr val="000000"/>
              </a:buClr>
              <a:buSzPts val="1800"/>
              <a:buFont typeface="Arial"/>
              <a:buNone/>
            </a:pPr>
            <a:endParaRPr sz="1600" dirty="0">
              <a:solidFill>
                <a:schemeClr val="dk1"/>
              </a:solidFill>
              <a:latin typeface="+mn-lt"/>
              <a:ea typeface="Arial"/>
              <a:cs typeface="Arial"/>
              <a:sym typeface="Arial"/>
            </a:endParaRPr>
          </a:p>
          <a:p>
            <a:pPr marL="0" marR="0" lvl="0" indent="0" algn="l" rtl="0">
              <a:lnSpc>
                <a:spcPct val="100000"/>
              </a:lnSpc>
              <a:spcBef>
                <a:spcPts val="0"/>
              </a:spcBef>
              <a:spcAft>
                <a:spcPts val="0"/>
              </a:spcAft>
              <a:buClr>
                <a:schemeClr val="lt2"/>
              </a:buClr>
              <a:buSzPts val="1800"/>
              <a:buFont typeface="Arial"/>
              <a:buNone/>
            </a:pPr>
            <a:r>
              <a:rPr lang="en-US" sz="1600" i="1" dirty="0">
                <a:solidFill>
                  <a:schemeClr val="dk1"/>
                </a:solidFill>
                <a:latin typeface="+mn-lt"/>
                <a:ea typeface="Arial"/>
                <a:cs typeface="Arial"/>
                <a:sym typeface="Arial"/>
              </a:rPr>
              <a:t>This deck may contain animations; please review this slide deck in “slideshow” mode to ensure fair-balance display of content.</a:t>
            </a:r>
            <a:endParaRPr sz="1600" b="1" i="0" u="none" strike="noStrike" cap="none" dirty="0">
              <a:solidFill>
                <a:schemeClr val="dk1"/>
              </a:solidFill>
              <a:latin typeface="+mn-lt"/>
              <a:ea typeface="Arial"/>
              <a:cs typeface="Arial"/>
              <a:sym typeface="Arial"/>
            </a:endParaRPr>
          </a:p>
        </p:txBody>
      </p:sp>
      <p:sp>
        <p:nvSpPr>
          <p:cNvPr id="4" name="Google Shape;58;p36">
            <a:extLst>
              <a:ext uri="{FF2B5EF4-FFF2-40B4-BE49-F238E27FC236}">
                <a16:creationId xmlns:a16="http://schemas.microsoft.com/office/drawing/2014/main" id="{4BE9E845-E7A3-45B0-9528-F712A0992ABA}"/>
              </a:ext>
            </a:extLst>
          </p:cNvPr>
          <p:cNvSpPr txBox="1">
            <a:spLocks noGrp="1"/>
          </p:cNvSpPr>
          <p:nvPr>
            <p:ph type="body" idx="2"/>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378" lvl="1" indent="-228594" algn="l">
              <a:lnSpc>
                <a:spcPct val="90000"/>
              </a:lnSpc>
              <a:spcBef>
                <a:spcPts val="600"/>
              </a:spcBef>
              <a:spcAft>
                <a:spcPts val="0"/>
              </a:spcAft>
              <a:buSzPts val="1400"/>
              <a:buNone/>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dirty="0"/>
          </a:p>
        </p:txBody>
      </p:sp>
      <p:sp>
        <p:nvSpPr>
          <p:cNvPr id="5" name="Google Shape;60;p36">
            <a:extLst>
              <a:ext uri="{FF2B5EF4-FFF2-40B4-BE49-F238E27FC236}">
                <a16:creationId xmlns:a16="http://schemas.microsoft.com/office/drawing/2014/main" id="{88226C9A-6777-4C14-A70A-0512CB734A1B}"/>
              </a:ext>
            </a:extLst>
          </p:cNvPr>
          <p:cNvSpPr txBox="1">
            <a:spLocks noGrp="1"/>
          </p:cNvSpPr>
          <p:nvPr>
            <p:ph type="body" idx="3" hasCustomPrompt="1"/>
          </p:nvPr>
        </p:nvSpPr>
        <p:spPr>
          <a:xfrm>
            <a:off x="381648" y="4745252"/>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378" lvl="1" indent="-342892" algn="l">
              <a:lnSpc>
                <a:spcPct val="90000"/>
              </a:lnSpc>
              <a:spcBef>
                <a:spcPts val="600"/>
              </a:spcBef>
              <a:spcAft>
                <a:spcPts val="0"/>
              </a:spcAft>
              <a:buSzPts val="1800"/>
              <a:buChar char="•"/>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r>
              <a:rPr lang="en-US" dirty="0"/>
              <a:t>Footnote placeholder</a:t>
            </a:r>
          </a:p>
        </p:txBody>
      </p:sp>
    </p:spTree>
    <p:extLst>
      <p:ext uri="{BB962C8B-B14F-4D97-AF65-F5344CB8AC3E}">
        <p14:creationId xmlns:p14="http://schemas.microsoft.com/office/powerpoint/2010/main" val="32262332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Org Chart">
  <p:cSld name="Org Chart">
    <p:spTree>
      <p:nvGrpSpPr>
        <p:cNvPr id="1" name="Shape 102"/>
        <p:cNvGrpSpPr/>
        <p:nvPr/>
      </p:nvGrpSpPr>
      <p:grpSpPr>
        <a:xfrm>
          <a:off x="0" y="0"/>
          <a:ext cx="0" cy="0"/>
          <a:chOff x="0" y="0"/>
          <a:chExt cx="0" cy="0"/>
        </a:xfrm>
      </p:grpSpPr>
      <p:cxnSp>
        <p:nvCxnSpPr>
          <p:cNvPr id="103" name="Google Shape;103;p49"/>
          <p:cNvCxnSpPr/>
          <p:nvPr/>
        </p:nvCxnSpPr>
        <p:spPr>
          <a:xfrm rot="10800000">
            <a:off x="2216888" y="2427651"/>
            <a:ext cx="5300331" cy="0"/>
          </a:xfrm>
          <a:prstGeom prst="straightConnector1">
            <a:avLst/>
          </a:prstGeom>
          <a:noFill/>
          <a:ln w="57150" cap="flat" cmpd="sng">
            <a:solidFill>
              <a:srgbClr val="D1E8F5"/>
            </a:solidFill>
            <a:prstDash val="solid"/>
            <a:miter lim="800000"/>
            <a:headEnd type="none" w="sm" len="sm"/>
            <a:tailEnd type="none" w="sm" len="sm"/>
          </a:ln>
        </p:spPr>
      </p:cxnSp>
      <p:cxnSp>
        <p:nvCxnSpPr>
          <p:cNvPr id="104" name="Google Shape;104;p49"/>
          <p:cNvCxnSpPr/>
          <p:nvPr/>
        </p:nvCxnSpPr>
        <p:spPr>
          <a:xfrm>
            <a:off x="4505817" y="1783017"/>
            <a:ext cx="0" cy="2151030"/>
          </a:xfrm>
          <a:prstGeom prst="straightConnector1">
            <a:avLst/>
          </a:prstGeom>
          <a:noFill/>
          <a:ln w="57150" cap="flat" cmpd="sng">
            <a:solidFill>
              <a:srgbClr val="D1E8F5"/>
            </a:solidFill>
            <a:prstDash val="solid"/>
            <a:miter lim="800000"/>
            <a:headEnd type="none" w="sm" len="sm"/>
            <a:tailEnd type="none" w="sm" len="sm"/>
          </a:ln>
        </p:spPr>
      </p:cxnSp>
      <p:sp>
        <p:nvSpPr>
          <p:cNvPr id="105" name="Google Shape;105;p49"/>
          <p:cNvSpPr/>
          <p:nvPr/>
        </p:nvSpPr>
        <p:spPr>
          <a:xfrm>
            <a:off x="3888319" y="1088290"/>
            <a:ext cx="1930649" cy="731215"/>
          </a:xfrm>
          <a:prstGeom prst="rect">
            <a:avLst/>
          </a:prstGeom>
          <a:solidFill>
            <a:srgbClr val="C3DC9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Gene Sans" panose="00000500000000000000" pitchFamily="50" charset="0"/>
              <a:ea typeface="Arial"/>
              <a:cs typeface="Arial"/>
              <a:sym typeface="Arial"/>
            </a:endParaRPr>
          </a:p>
        </p:txBody>
      </p:sp>
      <p:sp>
        <p:nvSpPr>
          <p:cNvPr id="106" name="Google Shape;106;p49"/>
          <p:cNvSpPr txBox="1">
            <a:spLocks noGrp="1"/>
          </p:cNvSpPr>
          <p:nvPr>
            <p:ph type="body" idx="1"/>
          </p:nvPr>
        </p:nvSpPr>
        <p:spPr>
          <a:xfrm>
            <a:off x="3873895" y="1120767"/>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07" name="Google Shape;107;p49"/>
          <p:cNvSpPr>
            <a:spLocks noGrp="1"/>
          </p:cNvSpPr>
          <p:nvPr>
            <p:ph type="pic" idx="2"/>
          </p:nvPr>
        </p:nvSpPr>
        <p:spPr>
          <a:xfrm>
            <a:off x="3163857" y="1088289"/>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cxnSp>
        <p:nvCxnSpPr>
          <p:cNvPr id="108" name="Google Shape;108;p49"/>
          <p:cNvCxnSpPr/>
          <p:nvPr/>
        </p:nvCxnSpPr>
        <p:spPr>
          <a:xfrm>
            <a:off x="1692602" y="2370592"/>
            <a:ext cx="0" cy="2151030"/>
          </a:xfrm>
          <a:prstGeom prst="straightConnector1">
            <a:avLst/>
          </a:prstGeom>
          <a:noFill/>
          <a:ln w="57150" cap="flat" cmpd="sng">
            <a:solidFill>
              <a:srgbClr val="D1E8F5"/>
            </a:solidFill>
            <a:prstDash val="solid"/>
            <a:miter lim="800000"/>
            <a:headEnd type="none" w="sm" len="sm"/>
            <a:tailEnd type="none" w="sm" len="sm"/>
          </a:ln>
        </p:spPr>
      </p:cxnSp>
      <p:cxnSp>
        <p:nvCxnSpPr>
          <p:cNvPr id="109" name="Google Shape;109;p49"/>
          <p:cNvCxnSpPr/>
          <p:nvPr/>
        </p:nvCxnSpPr>
        <p:spPr>
          <a:xfrm>
            <a:off x="7280914" y="2370592"/>
            <a:ext cx="0" cy="2151030"/>
          </a:xfrm>
          <a:prstGeom prst="straightConnector1">
            <a:avLst/>
          </a:prstGeom>
          <a:noFill/>
          <a:ln w="57150" cap="flat" cmpd="sng">
            <a:solidFill>
              <a:srgbClr val="D1E8F5"/>
            </a:solidFill>
            <a:prstDash val="solid"/>
            <a:miter lim="800000"/>
            <a:headEnd type="none" w="sm" len="sm"/>
            <a:tailEnd type="none" w="sm" len="sm"/>
          </a:ln>
        </p:spPr>
      </p:cxnSp>
      <p:sp>
        <p:nvSpPr>
          <p:cNvPr id="110" name="Google Shape;110;p49"/>
          <p:cNvSpPr/>
          <p:nvPr/>
        </p:nvSpPr>
        <p:spPr>
          <a:xfrm>
            <a:off x="1113069" y="3784802"/>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Gene Sans" panose="00000500000000000000" pitchFamily="50" charset="0"/>
              <a:ea typeface="Arial"/>
              <a:cs typeface="Arial"/>
              <a:sym typeface="Arial"/>
            </a:endParaRPr>
          </a:p>
        </p:txBody>
      </p:sp>
      <p:sp>
        <p:nvSpPr>
          <p:cNvPr id="111" name="Google Shape;111;p49"/>
          <p:cNvSpPr txBox="1">
            <a:spLocks noGrp="1"/>
          </p:cNvSpPr>
          <p:nvPr>
            <p:ph type="body" idx="3"/>
          </p:nvPr>
        </p:nvSpPr>
        <p:spPr>
          <a:xfrm>
            <a:off x="1098645" y="3817279"/>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12" name="Google Shape;112;p49"/>
          <p:cNvSpPr>
            <a:spLocks noGrp="1"/>
          </p:cNvSpPr>
          <p:nvPr>
            <p:ph type="pic" idx="4"/>
          </p:nvPr>
        </p:nvSpPr>
        <p:spPr>
          <a:xfrm>
            <a:off x="388607" y="3784801"/>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13" name="Google Shape;113;p49"/>
          <p:cNvSpPr/>
          <p:nvPr/>
        </p:nvSpPr>
        <p:spPr>
          <a:xfrm>
            <a:off x="3888319" y="3784802"/>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Gene Sans" panose="00000500000000000000" pitchFamily="50" charset="0"/>
              <a:ea typeface="Arial"/>
              <a:cs typeface="Arial"/>
              <a:sym typeface="Arial"/>
            </a:endParaRPr>
          </a:p>
        </p:txBody>
      </p:sp>
      <p:sp>
        <p:nvSpPr>
          <p:cNvPr id="114" name="Google Shape;114;p49"/>
          <p:cNvSpPr txBox="1">
            <a:spLocks noGrp="1"/>
          </p:cNvSpPr>
          <p:nvPr>
            <p:ph type="body" idx="5"/>
          </p:nvPr>
        </p:nvSpPr>
        <p:spPr>
          <a:xfrm>
            <a:off x="3873895" y="3817279"/>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15" name="Google Shape;115;p49"/>
          <p:cNvSpPr>
            <a:spLocks noGrp="1"/>
          </p:cNvSpPr>
          <p:nvPr>
            <p:ph type="pic" idx="6"/>
          </p:nvPr>
        </p:nvSpPr>
        <p:spPr>
          <a:xfrm>
            <a:off x="3163857" y="3784801"/>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16" name="Google Shape;116;p49"/>
          <p:cNvSpPr/>
          <p:nvPr/>
        </p:nvSpPr>
        <p:spPr>
          <a:xfrm>
            <a:off x="6710399" y="3784802"/>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Gene Sans" panose="00000500000000000000" pitchFamily="50" charset="0"/>
              <a:ea typeface="Arial"/>
              <a:cs typeface="Arial"/>
              <a:sym typeface="Arial"/>
            </a:endParaRPr>
          </a:p>
        </p:txBody>
      </p:sp>
      <p:sp>
        <p:nvSpPr>
          <p:cNvPr id="117" name="Google Shape;117;p49"/>
          <p:cNvSpPr txBox="1">
            <a:spLocks noGrp="1"/>
          </p:cNvSpPr>
          <p:nvPr>
            <p:ph type="body" idx="7"/>
          </p:nvPr>
        </p:nvSpPr>
        <p:spPr>
          <a:xfrm>
            <a:off x="6695975" y="3817279"/>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18" name="Google Shape;118;p49"/>
          <p:cNvSpPr>
            <a:spLocks noGrp="1"/>
          </p:cNvSpPr>
          <p:nvPr>
            <p:ph type="pic" idx="8"/>
          </p:nvPr>
        </p:nvSpPr>
        <p:spPr>
          <a:xfrm>
            <a:off x="5985937" y="3784801"/>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19" name="Google Shape;119;p49"/>
          <p:cNvSpPr/>
          <p:nvPr/>
        </p:nvSpPr>
        <p:spPr>
          <a:xfrm>
            <a:off x="1113069" y="2917500"/>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Gene Sans" panose="00000500000000000000" pitchFamily="50" charset="0"/>
              <a:ea typeface="Arial"/>
              <a:cs typeface="Arial"/>
              <a:sym typeface="Arial"/>
            </a:endParaRPr>
          </a:p>
        </p:txBody>
      </p:sp>
      <p:sp>
        <p:nvSpPr>
          <p:cNvPr id="120" name="Google Shape;120;p49"/>
          <p:cNvSpPr txBox="1">
            <a:spLocks noGrp="1"/>
          </p:cNvSpPr>
          <p:nvPr>
            <p:ph type="body" idx="9"/>
          </p:nvPr>
        </p:nvSpPr>
        <p:spPr>
          <a:xfrm>
            <a:off x="1098645" y="2949977"/>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21" name="Google Shape;121;p49"/>
          <p:cNvSpPr>
            <a:spLocks noGrp="1"/>
          </p:cNvSpPr>
          <p:nvPr>
            <p:ph type="pic" idx="13"/>
          </p:nvPr>
        </p:nvSpPr>
        <p:spPr>
          <a:xfrm>
            <a:off x="388607" y="2917499"/>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22" name="Google Shape;122;p49"/>
          <p:cNvSpPr/>
          <p:nvPr/>
        </p:nvSpPr>
        <p:spPr>
          <a:xfrm>
            <a:off x="3888319" y="2917500"/>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Gene Sans" panose="00000500000000000000" pitchFamily="50" charset="0"/>
              <a:ea typeface="Arial"/>
              <a:cs typeface="Arial"/>
              <a:sym typeface="Arial"/>
            </a:endParaRPr>
          </a:p>
        </p:txBody>
      </p:sp>
      <p:sp>
        <p:nvSpPr>
          <p:cNvPr id="123" name="Google Shape;123;p49"/>
          <p:cNvSpPr txBox="1">
            <a:spLocks noGrp="1"/>
          </p:cNvSpPr>
          <p:nvPr>
            <p:ph type="body" idx="14"/>
          </p:nvPr>
        </p:nvSpPr>
        <p:spPr>
          <a:xfrm>
            <a:off x="3873895" y="2949977"/>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24" name="Google Shape;124;p49"/>
          <p:cNvSpPr>
            <a:spLocks noGrp="1"/>
          </p:cNvSpPr>
          <p:nvPr>
            <p:ph type="pic" idx="15"/>
          </p:nvPr>
        </p:nvSpPr>
        <p:spPr>
          <a:xfrm>
            <a:off x="3163857" y="2917499"/>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25" name="Google Shape;125;p49"/>
          <p:cNvSpPr/>
          <p:nvPr/>
        </p:nvSpPr>
        <p:spPr>
          <a:xfrm>
            <a:off x="6710399" y="2917500"/>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Gene Sans" panose="00000500000000000000" pitchFamily="50" charset="0"/>
              <a:ea typeface="Arial"/>
              <a:cs typeface="Arial"/>
              <a:sym typeface="Arial"/>
            </a:endParaRPr>
          </a:p>
        </p:txBody>
      </p:sp>
      <p:sp>
        <p:nvSpPr>
          <p:cNvPr id="126" name="Google Shape;126;p49"/>
          <p:cNvSpPr txBox="1">
            <a:spLocks noGrp="1"/>
          </p:cNvSpPr>
          <p:nvPr>
            <p:ph type="body" idx="16"/>
          </p:nvPr>
        </p:nvSpPr>
        <p:spPr>
          <a:xfrm>
            <a:off x="6695975" y="2949977"/>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27" name="Google Shape;127;p49"/>
          <p:cNvSpPr>
            <a:spLocks noGrp="1"/>
          </p:cNvSpPr>
          <p:nvPr>
            <p:ph type="pic" idx="17"/>
          </p:nvPr>
        </p:nvSpPr>
        <p:spPr>
          <a:xfrm>
            <a:off x="5985937" y="2917499"/>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28" name="Google Shape;128;p49"/>
          <p:cNvSpPr/>
          <p:nvPr/>
        </p:nvSpPr>
        <p:spPr>
          <a:xfrm>
            <a:off x="1113069" y="2059172"/>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Gene Sans" panose="00000500000000000000" pitchFamily="50" charset="0"/>
              <a:ea typeface="Arial"/>
              <a:cs typeface="Arial"/>
              <a:sym typeface="Arial"/>
            </a:endParaRPr>
          </a:p>
        </p:txBody>
      </p:sp>
      <p:sp>
        <p:nvSpPr>
          <p:cNvPr id="129" name="Google Shape;129;p49"/>
          <p:cNvSpPr txBox="1">
            <a:spLocks noGrp="1"/>
          </p:cNvSpPr>
          <p:nvPr>
            <p:ph type="body" idx="18"/>
          </p:nvPr>
        </p:nvSpPr>
        <p:spPr>
          <a:xfrm>
            <a:off x="1098645" y="2091649"/>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30" name="Google Shape;130;p49"/>
          <p:cNvSpPr>
            <a:spLocks noGrp="1"/>
          </p:cNvSpPr>
          <p:nvPr>
            <p:ph type="pic" idx="19"/>
          </p:nvPr>
        </p:nvSpPr>
        <p:spPr>
          <a:xfrm>
            <a:off x="388607" y="2059171"/>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31" name="Google Shape;131;p49"/>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Gene Sans" panose="00000500000000000000" pitchFamily="50" charset="0"/>
                <a:ea typeface="Gene Sans" panose="00000500000000000000" pitchFamily="50" charset="0"/>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32" name="Google Shape;132;p49"/>
          <p:cNvSpPr/>
          <p:nvPr/>
        </p:nvSpPr>
        <p:spPr>
          <a:xfrm>
            <a:off x="3888319" y="2059172"/>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Gene Sans" panose="00000500000000000000" pitchFamily="50" charset="0"/>
              <a:ea typeface="Arial"/>
              <a:cs typeface="Arial"/>
              <a:sym typeface="Arial"/>
            </a:endParaRPr>
          </a:p>
        </p:txBody>
      </p:sp>
      <p:sp>
        <p:nvSpPr>
          <p:cNvPr id="133" name="Google Shape;133;p49"/>
          <p:cNvSpPr txBox="1">
            <a:spLocks noGrp="1"/>
          </p:cNvSpPr>
          <p:nvPr>
            <p:ph type="body" idx="20"/>
          </p:nvPr>
        </p:nvSpPr>
        <p:spPr>
          <a:xfrm>
            <a:off x="3873895" y="2091649"/>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34" name="Google Shape;134;p49"/>
          <p:cNvSpPr>
            <a:spLocks noGrp="1"/>
          </p:cNvSpPr>
          <p:nvPr>
            <p:ph type="pic" idx="21"/>
          </p:nvPr>
        </p:nvSpPr>
        <p:spPr>
          <a:xfrm>
            <a:off x="3163857" y="2059171"/>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35" name="Google Shape;135;p49"/>
          <p:cNvSpPr/>
          <p:nvPr/>
        </p:nvSpPr>
        <p:spPr>
          <a:xfrm>
            <a:off x="6710399" y="2059172"/>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Gene Sans" panose="00000500000000000000" pitchFamily="50" charset="0"/>
              <a:ea typeface="Arial"/>
              <a:cs typeface="Arial"/>
              <a:sym typeface="Arial"/>
            </a:endParaRPr>
          </a:p>
        </p:txBody>
      </p:sp>
      <p:sp>
        <p:nvSpPr>
          <p:cNvPr id="136" name="Google Shape;136;p49"/>
          <p:cNvSpPr txBox="1">
            <a:spLocks noGrp="1"/>
          </p:cNvSpPr>
          <p:nvPr>
            <p:ph type="body" idx="22"/>
          </p:nvPr>
        </p:nvSpPr>
        <p:spPr>
          <a:xfrm>
            <a:off x="6695975" y="2091649"/>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37" name="Google Shape;137;p49"/>
          <p:cNvSpPr>
            <a:spLocks noGrp="1"/>
          </p:cNvSpPr>
          <p:nvPr>
            <p:ph type="pic" idx="23"/>
          </p:nvPr>
        </p:nvSpPr>
        <p:spPr>
          <a:xfrm>
            <a:off x="5985937" y="2059171"/>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grpSp>
        <p:nvGrpSpPr>
          <p:cNvPr id="138" name="Google Shape;138;p49"/>
          <p:cNvGrpSpPr/>
          <p:nvPr/>
        </p:nvGrpSpPr>
        <p:grpSpPr>
          <a:xfrm>
            <a:off x="9206185" y="157804"/>
            <a:ext cx="2202899" cy="4708981"/>
            <a:chOff x="9206185" y="157804"/>
            <a:chExt cx="2202899" cy="4708981"/>
          </a:xfrm>
        </p:grpSpPr>
        <p:pic>
          <p:nvPicPr>
            <p:cNvPr id="139" name="Google Shape;139;p49"/>
            <p:cNvPicPr preferRelativeResize="0"/>
            <p:nvPr/>
          </p:nvPicPr>
          <p:blipFill rotWithShape="1">
            <a:blip r:embed="rId2">
              <a:alphaModFix/>
            </a:blip>
            <a:srcRect/>
            <a:stretch/>
          </p:blipFill>
          <p:spPr>
            <a:xfrm>
              <a:off x="9637800" y="1253766"/>
              <a:ext cx="140548" cy="96627"/>
            </a:xfrm>
            <a:prstGeom prst="rect">
              <a:avLst/>
            </a:prstGeom>
            <a:noFill/>
            <a:ln>
              <a:noFill/>
            </a:ln>
          </p:spPr>
        </p:pic>
        <p:sp>
          <p:nvSpPr>
            <p:cNvPr id="140" name="Google Shape;140;p49"/>
            <p:cNvSpPr txBox="1"/>
            <p:nvPr/>
          </p:nvSpPr>
          <p:spPr>
            <a:xfrm>
              <a:off x="9206185" y="157804"/>
              <a:ext cx="2202899" cy="470898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TO EDIT THIS LAYOUT BY ADDING IMAGES AND OTHER CONTENT:</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u="none" strike="noStrike" cap="none" dirty="0">
                  <a:solidFill>
                    <a:srgbClr val="7D8183"/>
                  </a:solidFill>
                  <a:latin typeface="Gene Sans" panose="00000500000000000000" pitchFamily="50" charset="0"/>
                  <a:ea typeface="Arial"/>
                  <a:cs typeface="Arial"/>
                  <a:sym typeface="Arial"/>
                </a:rPr>
                <a:t>Delete the current picture (s), if there </a:t>
              </a:r>
              <a:br>
                <a:rPr lang="en-US" sz="900" b="1" i="0" u="none" strike="noStrike" cap="none" dirty="0">
                  <a:solidFill>
                    <a:srgbClr val="7D8183"/>
                  </a:solidFill>
                  <a:latin typeface="Gene Sans" panose="00000500000000000000" pitchFamily="50" charset="0"/>
                  <a:ea typeface="Arial"/>
                  <a:cs typeface="Arial"/>
                  <a:sym typeface="Arial"/>
                </a:rPr>
              </a:br>
              <a:r>
                <a:rPr lang="en-US" sz="900" b="1" i="0" u="none" strike="noStrike" cap="none" dirty="0">
                  <a:solidFill>
                    <a:srgbClr val="7D8183"/>
                  </a:solidFill>
                  <a:latin typeface="Gene Sans" panose="00000500000000000000" pitchFamily="50" charset="0"/>
                  <a:ea typeface="Arial"/>
                  <a:cs typeface="Arial"/>
                  <a:sym typeface="Arial"/>
                </a:rPr>
                <a:t>are any.</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On the Insert tab, click the Pictures button OR you can click the picture icon      on the slide surface to start your search.</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Navigate to the image you want to use and select Insert. </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Resize the picture to fit the photo area, as needed, using the Crop tool. Hold the Shift key and click and drag a corner to scale equally.</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dirty="0">
                  <a:solidFill>
                    <a:srgbClr val="7D8183"/>
                  </a:solidFill>
                  <a:latin typeface="Gene Sans" panose="00000500000000000000" pitchFamily="50" charset="0"/>
                  <a:ea typeface="Arial"/>
                  <a:cs typeface="Arial"/>
                  <a:sym typeface="Arial"/>
                </a:rPr>
                <a:t>If there is already a photo on the slide surface, you can simply right click on the photo, choose Change Picture and search for the new image. Resize image as needed (using the Crop tool if appropriate).</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dirty="0">
                  <a:solidFill>
                    <a:srgbClr val="7D8183"/>
                  </a:solidFill>
                  <a:latin typeface="Gene Sans" panose="00000500000000000000" pitchFamily="50" charset="0"/>
                  <a:ea typeface="Arial"/>
                  <a:cs typeface="Arial"/>
                  <a:sym typeface="Arial"/>
                </a:rPr>
                <a:t>Add organizational chart content such as names, titles, and departments. To delete or move box or line elements, you must go to the master to do so. Another slide has been created that is editable on the slide face which works better if your content is slightly different than this master layout.</a:t>
              </a:r>
              <a:endParaRPr sz="1400" b="0" i="0" u="none" strike="noStrike" cap="none" dirty="0">
                <a:solidFill>
                  <a:srgbClr val="000000"/>
                </a:solidFill>
                <a:latin typeface="Gene Sans" panose="00000500000000000000" pitchFamily="50" charset="0"/>
                <a:ea typeface="Arial"/>
                <a:cs typeface="Arial"/>
                <a:sym typeface="Arial"/>
              </a:endParaRPr>
            </a:p>
          </p:txBody>
        </p:sp>
      </p:grpSp>
      <p:sp>
        <p:nvSpPr>
          <p:cNvPr id="141" name="Google Shape;141;p49"/>
          <p:cNvSpPr txBox="1">
            <a:spLocks noGrp="1"/>
          </p:cNvSpPr>
          <p:nvPr>
            <p:ph type="body" idx="24"/>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42" name="Google Shape;142;p49"/>
          <p:cNvSpPr txBox="1">
            <a:spLocks noGrp="1"/>
          </p:cNvSpPr>
          <p:nvPr>
            <p:ph type="body" idx="25"/>
          </p:nvPr>
        </p:nvSpPr>
        <p:spPr>
          <a:xfrm>
            <a:off x="381648" y="4745251"/>
            <a:ext cx="8385048" cy="110800"/>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720"/>
              </a:spcBef>
              <a:spcAft>
                <a:spcPts val="0"/>
              </a:spcAft>
              <a:buSzPts val="800"/>
              <a:buFont typeface="Arial"/>
              <a:buNone/>
              <a:defRPr sz="800">
                <a:latin typeface="Gene Sans" panose="00000500000000000000" pitchFamily="50" charset="0"/>
                <a:ea typeface="Gene Sans" panose="00000500000000000000" pitchFamily="50" charset="0"/>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2390011878"/>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Photo Left+Content">
  <p:cSld name="Photo Left+Content">
    <p:spTree>
      <p:nvGrpSpPr>
        <p:cNvPr id="1" name="Shape 143"/>
        <p:cNvGrpSpPr/>
        <p:nvPr/>
      </p:nvGrpSpPr>
      <p:grpSpPr>
        <a:xfrm>
          <a:off x="0" y="0"/>
          <a:ext cx="0" cy="0"/>
          <a:chOff x="0" y="0"/>
          <a:chExt cx="0" cy="0"/>
        </a:xfrm>
      </p:grpSpPr>
      <p:sp>
        <p:nvSpPr>
          <p:cNvPr id="144" name="Google Shape;144;p50"/>
          <p:cNvSpPr>
            <a:spLocks noGrp="1"/>
          </p:cNvSpPr>
          <p:nvPr>
            <p:ph type="pic" idx="2"/>
          </p:nvPr>
        </p:nvSpPr>
        <p:spPr>
          <a:xfrm>
            <a:off x="381648" y="1727200"/>
            <a:ext cx="3997325" cy="2787650"/>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45" name="Google Shape;145;p50"/>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Gene Sans" panose="00000500000000000000" pitchFamily="50" charset="0"/>
                <a:ea typeface="Gene Sans" panose="00000500000000000000" pitchFamily="50" charset="0"/>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46" name="Google Shape;146;p50"/>
          <p:cNvSpPr txBox="1">
            <a:spLocks noGrp="1"/>
          </p:cNvSpPr>
          <p:nvPr>
            <p:ph type="body" idx="1"/>
          </p:nvPr>
        </p:nvSpPr>
        <p:spPr>
          <a:xfrm>
            <a:off x="4629150" y="1283549"/>
            <a:ext cx="4133850" cy="3231301"/>
          </a:xfrm>
          <a:prstGeom prst="rect">
            <a:avLst/>
          </a:prstGeom>
          <a:noFill/>
          <a:ln>
            <a:noFill/>
          </a:ln>
        </p:spPr>
        <p:txBody>
          <a:bodyPr spcFirstLastPara="1" wrap="square" lIns="0" tIns="0" rIns="0" bIns="0" anchor="t" anchorCtr="0">
            <a:noAutofit/>
          </a:bodyPr>
          <a:lstStyle>
            <a:lvl1pPr marL="457200" lvl="0" indent="-330200" algn="l">
              <a:lnSpc>
                <a:spcPct val="90000"/>
              </a:lnSpc>
              <a:spcBef>
                <a:spcPts val="600"/>
              </a:spcBef>
              <a:spcAft>
                <a:spcPts val="0"/>
              </a:spcAft>
              <a:buSzPts val="1600"/>
              <a:buChar char="•"/>
              <a:defRPr>
                <a:solidFill>
                  <a:schemeClr val="dk1"/>
                </a:solidFill>
                <a:latin typeface="Gene Sans" panose="00000500000000000000" pitchFamily="50" charset="0"/>
                <a:ea typeface="Gene Sans" panose="00000500000000000000" pitchFamily="50" charset="0"/>
                <a:cs typeface="Arial"/>
                <a:sym typeface="Arial"/>
              </a:defRPr>
            </a:lvl1pPr>
            <a:lvl2pPr marL="914400" lvl="1" indent="-317500" algn="l">
              <a:lnSpc>
                <a:spcPct val="90000"/>
              </a:lnSpc>
              <a:spcBef>
                <a:spcPts val="600"/>
              </a:spcBef>
              <a:spcAft>
                <a:spcPts val="0"/>
              </a:spcAft>
              <a:buSzPts val="1400"/>
              <a:buChar char="•"/>
              <a:defRPr>
                <a:solidFill>
                  <a:schemeClr val="dk1"/>
                </a:solidFill>
              </a:defRPr>
            </a:lvl2pPr>
            <a:lvl3pPr marL="1371600" lvl="2" indent="-298450" algn="l">
              <a:lnSpc>
                <a:spcPct val="90000"/>
              </a:lnSpc>
              <a:spcBef>
                <a:spcPts val="600"/>
              </a:spcBef>
              <a:spcAft>
                <a:spcPts val="0"/>
              </a:spcAft>
              <a:buSzPts val="1100"/>
              <a:buChar char="•"/>
              <a:defRPr>
                <a:solidFill>
                  <a:schemeClr val="dk1"/>
                </a:solidFill>
              </a:defRPr>
            </a:lvl3pPr>
            <a:lvl4pPr marL="1828800" lvl="3" indent="-295275" algn="l">
              <a:lnSpc>
                <a:spcPct val="90000"/>
              </a:lnSpc>
              <a:spcBef>
                <a:spcPts val="600"/>
              </a:spcBef>
              <a:spcAft>
                <a:spcPts val="0"/>
              </a:spcAft>
              <a:buSzPts val="1050"/>
              <a:buChar char="•"/>
              <a:defRPr>
                <a:solidFill>
                  <a:schemeClr val="dk1"/>
                </a:solidFill>
              </a:defRPr>
            </a:lvl4pPr>
            <a:lvl5pPr marL="2286000" lvl="4" indent="-295275" algn="l">
              <a:lnSpc>
                <a:spcPct val="90000"/>
              </a:lnSpc>
              <a:spcBef>
                <a:spcPts val="600"/>
              </a:spcBef>
              <a:spcAft>
                <a:spcPts val="0"/>
              </a:spcAft>
              <a:buSzPts val="1050"/>
              <a:buChar char="•"/>
              <a:defRPr>
                <a:solidFill>
                  <a:schemeClr val="dk1"/>
                </a:solidFil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47" name="Google Shape;147;p50"/>
          <p:cNvSpPr txBox="1"/>
          <p:nvPr/>
        </p:nvSpPr>
        <p:spPr>
          <a:xfrm>
            <a:off x="8770345" y="4980080"/>
            <a:ext cx="373655" cy="163420"/>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chemeClr val="accent6"/>
              </a:buClr>
              <a:buSzPts val="300"/>
              <a:buFont typeface="Georgia"/>
              <a:buNone/>
            </a:pPr>
            <a:fld id="{00000000-1234-1234-1234-123412341234}" type="slidenum">
              <a:rPr lang="en-US" sz="700" b="0" i="0" u="none" strike="noStrike" cap="none">
                <a:solidFill>
                  <a:srgbClr val="545859"/>
                </a:solidFill>
                <a:latin typeface="Gene Sans" panose="00000500000000000000" pitchFamily="50" charset="0"/>
                <a:ea typeface="Arial"/>
                <a:cs typeface="Arial"/>
                <a:sym typeface="Arial"/>
              </a:rPr>
              <a:t>‹#›</a:t>
            </a:fld>
            <a:endParaRPr sz="700" b="0" i="0" u="none" strike="noStrike" cap="none" dirty="0">
              <a:solidFill>
                <a:srgbClr val="545859"/>
              </a:solidFill>
              <a:latin typeface="Gene Sans" panose="00000500000000000000" pitchFamily="50" charset="0"/>
              <a:ea typeface="Arial"/>
              <a:cs typeface="Arial"/>
              <a:sym typeface="Arial"/>
            </a:endParaRPr>
          </a:p>
        </p:txBody>
      </p:sp>
      <p:grpSp>
        <p:nvGrpSpPr>
          <p:cNvPr id="148" name="Google Shape;148;p50"/>
          <p:cNvGrpSpPr/>
          <p:nvPr/>
        </p:nvGrpSpPr>
        <p:grpSpPr>
          <a:xfrm>
            <a:off x="-2241393" y="51750"/>
            <a:ext cx="2202899" cy="4431983"/>
            <a:chOff x="9248019" y="51750"/>
            <a:chExt cx="2202899" cy="4431983"/>
          </a:xfrm>
        </p:grpSpPr>
        <p:sp>
          <p:nvSpPr>
            <p:cNvPr id="149" name="Google Shape;149;p50"/>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THERE ARE TWO (2) OPTION TO CUSTOMIZE A LAYOUT WITH A </a:t>
              </a:r>
              <a:br>
                <a:rPr lang="en-US" sz="900" b="1" i="0" u="none" strike="noStrike" cap="none" dirty="0">
                  <a:solidFill>
                    <a:srgbClr val="7D8183"/>
                  </a:solidFill>
                  <a:latin typeface="Gene Sans" panose="00000500000000000000" pitchFamily="50" charset="0"/>
                  <a:ea typeface="Arial"/>
                  <a:cs typeface="Arial"/>
                  <a:sym typeface="Arial"/>
                </a:rPr>
              </a:br>
              <a:r>
                <a:rPr lang="en-US" sz="900" b="1" i="0" u="none" strike="noStrike" cap="none" dirty="0">
                  <a:solidFill>
                    <a:srgbClr val="7D8183"/>
                  </a:solidFill>
                  <a:latin typeface="Gene Sans" panose="00000500000000000000" pitchFamily="50" charset="0"/>
                  <a:ea typeface="Arial"/>
                  <a:cs typeface="Arial"/>
                  <a:sym typeface="Arial"/>
                </a:rPr>
                <a:t>NEW PICTURE:</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u="none" strike="noStrike" cap="none" dirty="0">
                  <a:solidFill>
                    <a:srgbClr val="7D8183"/>
                  </a:solidFill>
                  <a:latin typeface="Gene Sans" panose="00000500000000000000" pitchFamily="50" charset="0"/>
                  <a:ea typeface="Arial"/>
                  <a:cs typeface="Arial"/>
                  <a:sym typeface="Arial"/>
                </a:rPr>
                <a:t>Delete the current picture, if there </a:t>
              </a:r>
              <a:br>
                <a:rPr lang="en-US" sz="900" b="1" i="0" u="none" strike="noStrike" cap="none" dirty="0">
                  <a:solidFill>
                    <a:srgbClr val="7D8183"/>
                  </a:solidFill>
                  <a:latin typeface="Gene Sans" panose="00000500000000000000" pitchFamily="50" charset="0"/>
                  <a:ea typeface="Arial"/>
                  <a:cs typeface="Arial"/>
                  <a:sym typeface="Arial"/>
                </a:rPr>
              </a:br>
              <a:r>
                <a:rPr lang="en-US" sz="900" b="1" i="0" u="none" strike="noStrike" cap="none" dirty="0">
                  <a:solidFill>
                    <a:srgbClr val="7D8183"/>
                  </a:solidFill>
                  <a:latin typeface="Gene Sans" panose="00000500000000000000" pitchFamily="50" charset="0"/>
                  <a:ea typeface="Arial"/>
                  <a:cs typeface="Arial"/>
                  <a:sym typeface="Arial"/>
                </a:rPr>
                <a:t>is one.</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On the Insert tab, click the Pictures button OR you can click the picture icon      on the slide surface to start your search.</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Navigate to the image you want to use and select Insert. </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Under Home click the Reset button to reapply the Layout.</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Resize the picture to fit the slide, as needed, using the Crop tool. Hold the Shift key and click and drag a corner to scale equally.</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On the Home tab, click the Arrange button, then Send to Back so the photo is behind the logos, text, and the transparent overlay. </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dirty="0">
                  <a:solidFill>
                    <a:srgbClr val="7D8183"/>
                  </a:solidFill>
                  <a:latin typeface="Gene Sans" panose="00000500000000000000" pitchFamily="50" charset="0"/>
                  <a:ea typeface="Arial"/>
                  <a:cs typeface="Arial"/>
                  <a:sym typeface="Arial"/>
                </a:rPr>
                <a:t>If there is already a photo on the slide surface, you can simply right click on the photo, choose Change Picture and search for the new image. Resize image as needed (using the Crop tool if appropriate).</a:t>
              </a:r>
              <a:endParaRPr sz="1400" b="0" i="0" u="none" strike="noStrike" cap="none" dirty="0">
                <a:solidFill>
                  <a:srgbClr val="000000"/>
                </a:solidFill>
                <a:latin typeface="Gene Sans" panose="00000500000000000000" pitchFamily="50" charset="0"/>
                <a:ea typeface="Arial"/>
                <a:cs typeface="Arial"/>
                <a:sym typeface="Arial"/>
              </a:endParaRPr>
            </a:p>
          </p:txBody>
        </p:sp>
        <p:pic>
          <p:nvPicPr>
            <p:cNvPr id="150" name="Google Shape;150;p50"/>
            <p:cNvPicPr preferRelativeResize="0"/>
            <p:nvPr/>
          </p:nvPicPr>
          <p:blipFill rotWithShape="1">
            <a:blip r:embed="rId2">
              <a:alphaModFix/>
            </a:blip>
            <a:srcRect/>
            <a:stretch/>
          </p:blipFill>
          <p:spPr>
            <a:xfrm>
              <a:off x="9679634" y="1280346"/>
              <a:ext cx="140548" cy="96627"/>
            </a:xfrm>
            <a:prstGeom prst="rect">
              <a:avLst/>
            </a:prstGeom>
            <a:noFill/>
            <a:ln>
              <a:noFill/>
            </a:ln>
          </p:spPr>
        </p:pic>
      </p:grpSp>
      <p:cxnSp>
        <p:nvCxnSpPr>
          <p:cNvPr id="151" name="Google Shape;151;p50"/>
          <p:cNvCxnSpPr/>
          <p:nvPr/>
        </p:nvCxnSpPr>
        <p:spPr>
          <a:xfrm>
            <a:off x="381000" y="443054"/>
            <a:ext cx="8385048" cy="0"/>
          </a:xfrm>
          <a:prstGeom prst="straightConnector1">
            <a:avLst/>
          </a:prstGeom>
          <a:noFill/>
          <a:ln w="12700" cap="flat" cmpd="sng">
            <a:solidFill>
              <a:srgbClr val="8DC8E8"/>
            </a:solidFill>
            <a:prstDash val="solid"/>
            <a:miter lim="800000"/>
            <a:headEnd type="none" w="sm" len="sm"/>
            <a:tailEnd type="none" w="sm" len="sm"/>
          </a:ln>
        </p:spPr>
      </p:cxnSp>
      <p:sp>
        <p:nvSpPr>
          <p:cNvPr id="152" name="Google Shape;152;p50"/>
          <p:cNvSpPr/>
          <p:nvPr/>
        </p:nvSpPr>
        <p:spPr>
          <a:xfrm>
            <a:off x="3788800" y="4913074"/>
            <a:ext cx="1461939" cy="9233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600"/>
              <a:buFont typeface="Arial"/>
              <a:buNone/>
            </a:pPr>
            <a:r>
              <a:rPr lang="en-US" sz="600" b="0" i="0" u="none" strike="noStrike" cap="none" dirty="0">
                <a:solidFill>
                  <a:schemeClr val="dk1"/>
                </a:solidFill>
                <a:latin typeface="Gene Sans" panose="00000500000000000000" pitchFamily="50" charset="0"/>
                <a:ea typeface="Arial"/>
                <a:cs typeface="Arial"/>
                <a:sym typeface="Arial"/>
              </a:rPr>
              <a:t>© 2021 Genentech, Inc. All rights reserved</a:t>
            </a:r>
            <a:endParaRPr sz="1400" b="0" i="0" u="none" strike="noStrike" cap="none" dirty="0">
              <a:solidFill>
                <a:srgbClr val="000000"/>
              </a:solidFill>
              <a:latin typeface="Gene Sans" panose="00000500000000000000" pitchFamily="50" charset="0"/>
              <a:ea typeface="Arial"/>
              <a:cs typeface="Arial"/>
              <a:sym typeface="Arial"/>
            </a:endParaRPr>
          </a:p>
        </p:txBody>
      </p:sp>
      <p:sp>
        <p:nvSpPr>
          <p:cNvPr id="153" name="Google Shape;153;p50"/>
          <p:cNvSpPr txBox="1">
            <a:spLocks noGrp="1"/>
          </p:cNvSpPr>
          <p:nvPr>
            <p:ph type="body" idx="3"/>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54" name="Google Shape;154;p50"/>
          <p:cNvSpPr txBox="1">
            <a:spLocks noGrp="1"/>
          </p:cNvSpPr>
          <p:nvPr>
            <p:ph type="body" idx="4"/>
          </p:nvPr>
        </p:nvSpPr>
        <p:spPr>
          <a:xfrm>
            <a:off x="381648" y="4745251"/>
            <a:ext cx="8385048" cy="110800"/>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720"/>
              </a:spcBef>
              <a:spcAft>
                <a:spcPts val="0"/>
              </a:spcAft>
              <a:buSzPts val="800"/>
              <a:buFont typeface="Arial"/>
              <a:buNone/>
              <a:defRPr sz="800">
                <a:latin typeface="Gene Sans" panose="00000500000000000000" pitchFamily="50" charset="0"/>
                <a:ea typeface="Gene Sans" panose="00000500000000000000" pitchFamily="50" charset="0"/>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1794691413"/>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Process + Photos">
  <p:cSld name="Process + Photos">
    <p:bg>
      <p:bgPr>
        <a:solidFill>
          <a:schemeClr val="lt1"/>
        </a:solidFill>
        <a:effectLst/>
      </p:bgPr>
    </p:bg>
    <p:spTree>
      <p:nvGrpSpPr>
        <p:cNvPr id="1" name="Shape 155"/>
        <p:cNvGrpSpPr/>
        <p:nvPr/>
      </p:nvGrpSpPr>
      <p:grpSpPr>
        <a:xfrm>
          <a:off x="0" y="0"/>
          <a:ext cx="0" cy="0"/>
          <a:chOff x="0" y="0"/>
          <a:chExt cx="0" cy="0"/>
        </a:xfrm>
      </p:grpSpPr>
      <p:sp>
        <p:nvSpPr>
          <p:cNvPr id="156" name="Google Shape;156;p51"/>
          <p:cNvSpPr>
            <a:spLocks noGrp="1"/>
          </p:cNvSpPr>
          <p:nvPr>
            <p:ph type="pic" idx="2"/>
          </p:nvPr>
        </p:nvSpPr>
        <p:spPr>
          <a:xfrm>
            <a:off x="0" y="1598613"/>
            <a:ext cx="2156274" cy="2282825"/>
          </a:xfrm>
          <a:prstGeom prst="rect">
            <a:avLst/>
          </a:prstGeom>
          <a:solidFill>
            <a:srgbClr val="F2F2F2"/>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57" name="Google Shape;157;p51"/>
          <p:cNvSpPr/>
          <p:nvPr/>
        </p:nvSpPr>
        <p:spPr>
          <a:xfrm>
            <a:off x="1674989" y="1599384"/>
            <a:ext cx="1797661" cy="2282052"/>
          </a:xfrm>
          <a:prstGeom prst="chevron">
            <a:avLst>
              <a:gd name="adj" fmla="val 27001"/>
            </a:avLst>
          </a:prstGeom>
          <a:solidFill>
            <a:srgbClr val="DDEE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dk1"/>
              </a:solidFill>
              <a:latin typeface="Gene Sans" panose="00000500000000000000" pitchFamily="50" charset="0"/>
              <a:ea typeface="Arial"/>
              <a:cs typeface="Arial"/>
              <a:sym typeface="Arial"/>
            </a:endParaRPr>
          </a:p>
        </p:txBody>
      </p:sp>
      <p:sp>
        <p:nvSpPr>
          <p:cNvPr id="158" name="Google Shape;158;p51"/>
          <p:cNvSpPr/>
          <p:nvPr/>
        </p:nvSpPr>
        <p:spPr>
          <a:xfrm>
            <a:off x="2982690" y="1599382"/>
            <a:ext cx="1886036" cy="2282052"/>
          </a:xfrm>
          <a:prstGeom prst="chevron">
            <a:avLst>
              <a:gd name="adj" fmla="val 27001"/>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dk1"/>
              </a:solidFill>
              <a:latin typeface="Gene Sans" panose="00000500000000000000" pitchFamily="50" charset="0"/>
              <a:ea typeface="Arial"/>
              <a:cs typeface="Arial"/>
              <a:sym typeface="Arial"/>
            </a:endParaRPr>
          </a:p>
        </p:txBody>
      </p:sp>
      <p:sp>
        <p:nvSpPr>
          <p:cNvPr id="159" name="Google Shape;159;p51"/>
          <p:cNvSpPr/>
          <p:nvPr/>
        </p:nvSpPr>
        <p:spPr>
          <a:xfrm>
            <a:off x="4383510" y="1599384"/>
            <a:ext cx="1797661" cy="2282052"/>
          </a:xfrm>
          <a:prstGeom prst="chevron">
            <a:avLst>
              <a:gd name="adj" fmla="val 27001"/>
            </a:avLst>
          </a:prstGeom>
          <a:solidFill>
            <a:srgbClr val="DDEE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dk1"/>
              </a:solidFill>
              <a:latin typeface="Gene Sans" panose="00000500000000000000" pitchFamily="50" charset="0"/>
              <a:ea typeface="Arial"/>
              <a:cs typeface="Arial"/>
              <a:sym typeface="Arial"/>
            </a:endParaRPr>
          </a:p>
        </p:txBody>
      </p:sp>
      <p:sp>
        <p:nvSpPr>
          <p:cNvPr id="160" name="Google Shape;160;p51"/>
          <p:cNvSpPr/>
          <p:nvPr/>
        </p:nvSpPr>
        <p:spPr>
          <a:xfrm>
            <a:off x="5682072" y="1599382"/>
            <a:ext cx="1913859" cy="2282052"/>
          </a:xfrm>
          <a:prstGeom prst="chevron">
            <a:avLst>
              <a:gd name="adj" fmla="val 27001"/>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dk1"/>
              </a:solidFill>
              <a:latin typeface="Gene Sans" panose="00000500000000000000" pitchFamily="50" charset="0"/>
              <a:ea typeface="Arial"/>
              <a:cs typeface="Arial"/>
              <a:sym typeface="Arial"/>
            </a:endParaRPr>
          </a:p>
        </p:txBody>
      </p:sp>
      <p:sp>
        <p:nvSpPr>
          <p:cNvPr id="161" name="Google Shape;161;p51"/>
          <p:cNvSpPr/>
          <p:nvPr/>
        </p:nvSpPr>
        <p:spPr>
          <a:xfrm>
            <a:off x="4383509" y="3566073"/>
            <a:ext cx="2858025" cy="315361"/>
          </a:xfrm>
          <a:prstGeom prst="parallelogram">
            <a:avLst>
              <a:gd name="adj" fmla="val 40361"/>
            </a:avLst>
          </a:prstGeom>
          <a:solidFill>
            <a:srgbClr val="8DC8E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Gene Sans" panose="00000500000000000000" pitchFamily="50" charset="0"/>
              <a:ea typeface="Arial"/>
              <a:cs typeface="Arial"/>
              <a:sym typeface="Arial"/>
            </a:endParaRPr>
          </a:p>
        </p:txBody>
      </p:sp>
      <p:sp>
        <p:nvSpPr>
          <p:cNvPr id="162" name="Google Shape;162;p51"/>
          <p:cNvSpPr>
            <a:spLocks noGrp="1"/>
          </p:cNvSpPr>
          <p:nvPr>
            <p:ph type="pic" idx="3"/>
          </p:nvPr>
        </p:nvSpPr>
        <p:spPr>
          <a:xfrm>
            <a:off x="7070498" y="1599380"/>
            <a:ext cx="2073500" cy="228205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63" name="Google Shape;163;p51"/>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Gene Sans" panose="00000500000000000000" pitchFamily="50" charset="0"/>
                <a:ea typeface="Gene Sans" panose="00000500000000000000" pitchFamily="50" charset="0"/>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64" name="Google Shape;164;p51"/>
          <p:cNvSpPr txBox="1">
            <a:spLocks noGrp="1"/>
          </p:cNvSpPr>
          <p:nvPr>
            <p:ph type="body" idx="1"/>
          </p:nvPr>
        </p:nvSpPr>
        <p:spPr>
          <a:xfrm>
            <a:off x="3537256" y="2514141"/>
            <a:ext cx="1117230" cy="822325"/>
          </a:xfrm>
          <a:prstGeom prst="rect">
            <a:avLst/>
          </a:prstGeom>
          <a:noFill/>
          <a:ln>
            <a:noFill/>
          </a:ln>
        </p:spPr>
        <p:txBody>
          <a:bodyPr spcFirstLastPara="1" wrap="square" lIns="0" tIns="0" rIns="0" bIns="0" anchor="t" anchorCtr="0">
            <a:noAutofit/>
          </a:bodyPr>
          <a:lstStyle>
            <a:lvl1pPr marL="457200" lvl="0" indent="-228600" algn="ctr">
              <a:lnSpc>
                <a:spcPct val="90000"/>
              </a:lnSpc>
              <a:spcBef>
                <a:spcPts val="600"/>
              </a:spcBef>
              <a:spcAft>
                <a:spcPts val="0"/>
              </a:spcAft>
              <a:buSzPts val="1050"/>
              <a:buNone/>
              <a:defRPr sz="1050">
                <a:solidFill>
                  <a:srgbClr val="003087"/>
                </a:solidFill>
                <a:latin typeface="Gene Sans" panose="00000500000000000000" pitchFamily="50" charset="0"/>
                <a:ea typeface="Gene Sans" panose="00000500000000000000" pitchFamily="50" charset="0"/>
                <a:cs typeface="Arial"/>
                <a:sym typeface="Arial"/>
              </a:defRPr>
            </a:lvl1pPr>
            <a:lvl2pPr marL="914400" lvl="1"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600" lvl="2"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800" lvl="3"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6000" lvl="4"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65" name="Google Shape;165;p51"/>
          <p:cNvSpPr txBox="1">
            <a:spLocks noGrp="1"/>
          </p:cNvSpPr>
          <p:nvPr>
            <p:ph type="body" idx="4"/>
          </p:nvPr>
        </p:nvSpPr>
        <p:spPr>
          <a:xfrm>
            <a:off x="4930957" y="2514141"/>
            <a:ext cx="1029178" cy="822325"/>
          </a:xfrm>
          <a:prstGeom prst="rect">
            <a:avLst/>
          </a:prstGeom>
          <a:noFill/>
          <a:ln>
            <a:noFill/>
          </a:ln>
        </p:spPr>
        <p:txBody>
          <a:bodyPr spcFirstLastPara="1" wrap="square" lIns="0" tIns="0" rIns="0" bIns="0" anchor="t" anchorCtr="0">
            <a:noAutofit/>
          </a:bodyPr>
          <a:lstStyle>
            <a:lvl1pPr marL="457200" lvl="0" indent="-228600" algn="ctr">
              <a:lnSpc>
                <a:spcPct val="90000"/>
              </a:lnSpc>
              <a:spcBef>
                <a:spcPts val="600"/>
              </a:spcBef>
              <a:spcAft>
                <a:spcPts val="0"/>
              </a:spcAft>
              <a:buSzPts val="1050"/>
              <a:buNone/>
              <a:defRPr sz="1050">
                <a:solidFill>
                  <a:srgbClr val="003087"/>
                </a:solidFill>
                <a:latin typeface="Gene Sans" panose="00000500000000000000" pitchFamily="50" charset="0"/>
                <a:ea typeface="Gene Sans" panose="00000500000000000000" pitchFamily="50" charset="0"/>
                <a:cs typeface="Arial"/>
                <a:sym typeface="Arial"/>
              </a:defRPr>
            </a:lvl1pPr>
            <a:lvl2pPr marL="914400" lvl="1"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600" lvl="2"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800" lvl="3"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6000" lvl="4"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66" name="Google Shape;166;p51"/>
          <p:cNvSpPr txBox="1">
            <a:spLocks noGrp="1"/>
          </p:cNvSpPr>
          <p:nvPr>
            <p:ph type="body" idx="5"/>
          </p:nvPr>
        </p:nvSpPr>
        <p:spPr>
          <a:xfrm>
            <a:off x="6225415" y="2514141"/>
            <a:ext cx="1029162" cy="822325"/>
          </a:xfrm>
          <a:prstGeom prst="rect">
            <a:avLst/>
          </a:prstGeom>
          <a:noFill/>
          <a:ln>
            <a:noFill/>
          </a:ln>
        </p:spPr>
        <p:txBody>
          <a:bodyPr spcFirstLastPara="1" wrap="square" lIns="0" tIns="0" rIns="0" bIns="0" anchor="t" anchorCtr="0">
            <a:noAutofit/>
          </a:bodyPr>
          <a:lstStyle>
            <a:lvl1pPr marL="457200" lvl="0" indent="-228600" algn="ctr">
              <a:lnSpc>
                <a:spcPct val="90000"/>
              </a:lnSpc>
              <a:spcBef>
                <a:spcPts val="600"/>
              </a:spcBef>
              <a:spcAft>
                <a:spcPts val="0"/>
              </a:spcAft>
              <a:buSzPts val="1050"/>
              <a:buNone/>
              <a:defRPr sz="1050">
                <a:solidFill>
                  <a:srgbClr val="003087"/>
                </a:solidFill>
                <a:latin typeface="Gene Sans" panose="00000500000000000000" pitchFamily="50" charset="0"/>
                <a:ea typeface="Gene Sans" panose="00000500000000000000" pitchFamily="50" charset="0"/>
                <a:cs typeface="Arial"/>
                <a:sym typeface="Arial"/>
              </a:defRPr>
            </a:lvl1pPr>
            <a:lvl2pPr marL="914400" lvl="1"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600" lvl="2"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800" lvl="3"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6000" lvl="4"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67" name="Google Shape;167;p51"/>
          <p:cNvSpPr txBox="1">
            <a:spLocks noGrp="1"/>
          </p:cNvSpPr>
          <p:nvPr>
            <p:ph type="body" idx="6"/>
          </p:nvPr>
        </p:nvSpPr>
        <p:spPr>
          <a:xfrm>
            <a:off x="4498506" y="3564416"/>
            <a:ext cx="2586906" cy="321637"/>
          </a:xfrm>
          <a:prstGeom prst="rect">
            <a:avLst/>
          </a:prstGeom>
          <a:noFill/>
          <a:ln>
            <a:noFill/>
          </a:ln>
        </p:spPr>
        <p:txBody>
          <a:bodyPr spcFirstLastPara="1" wrap="square" lIns="0" tIns="0" rIns="0" bIns="0" anchor="ctr" anchorCtr="0">
            <a:noAutofit/>
          </a:bodyPr>
          <a:lstStyle>
            <a:lvl1pPr marL="457200" lvl="0" indent="-228600" algn="ctr">
              <a:lnSpc>
                <a:spcPct val="90000"/>
              </a:lnSpc>
              <a:spcBef>
                <a:spcPts val="600"/>
              </a:spcBef>
              <a:spcAft>
                <a:spcPts val="0"/>
              </a:spcAft>
              <a:buSzPts val="1600"/>
              <a:buNone/>
              <a:defRPr sz="1600">
                <a:solidFill>
                  <a:srgbClr val="0066CC"/>
                </a:solidFill>
                <a:latin typeface="Gene Sans" panose="00000500000000000000" pitchFamily="50" charset="0"/>
                <a:ea typeface="Gene Sans" panose="00000500000000000000" pitchFamily="50" charset="0"/>
                <a:cs typeface="Arial"/>
                <a:sym typeface="Arial"/>
              </a:defRPr>
            </a:lvl1pPr>
            <a:lvl2pPr marL="914400" lvl="1"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600" lvl="2"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800" lvl="3"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6000" lvl="4"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grpSp>
        <p:nvGrpSpPr>
          <p:cNvPr id="168" name="Google Shape;168;p51"/>
          <p:cNvGrpSpPr/>
          <p:nvPr/>
        </p:nvGrpSpPr>
        <p:grpSpPr>
          <a:xfrm>
            <a:off x="9206185" y="51750"/>
            <a:ext cx="2202899" cy="4431983"/>
            <a:chOff x="9248019" y="51750"/>
            <a:chExt cx="2202899" cy="4431983"/>
          </a:xfrm>
        </p:grpSpPr>
        <p:sp>
          <p:nvSpPr>
            <p:cNvPr id="169" name="Google Shape;169;p51"/>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THERE ARE TWO (2) OPTION TO CUSTOMIZE A LAYOUT WITH A </a:t>
              </a:r>
              <a:br>
                <a:rPr lang="en-US" sz="900" b="1" i="0" u="none" strike="noStrike" cap="none" dirty="0">
                  <a:solidFill>
                    <a:srgbClr val="7D8183"/>
                  </a:solidFill>
                  <a:latin typeface="Gene Sans" panose="00000500000000000000" pitchFamily="50" charset="0"/>
                  <a:ea typeface="Arial"/>
                  <a:cs typeface="Arial"/>
                  <a:sym typeface="Arial"/>
                </a:rPr>
              </a:br>
              <a:r>
                <a:rPr lang="en-US" sz="900" b="1" i="0" u="none" strike="noStrike" cap="none" dirty="0">
                  <a:solidFill>
                    <a:srgbClr val="7D8183"/>
                  </a:solidFill>
                  <a:latin typeface="Gene Sans" panose="00000500000000000000" pitchFamily="50" charset="0"/>
                  <a:ea typeface="Arial"/>
                  <a:cs typeface="Arial"/>
                  <a:sym typeface="Arial"/>
                </a:rPr>
                <a:t>NEW PICTURE:</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u="none" strike="noStrike" cap="none" dirty="0">
                  <a:solidFill>
                    <a:srgbClr val="7D8183"/>
                  </a:solidFill>
                  <a:latin typeface="Gene Sans" panose="00000500000000000000" pitchFamily="50" charset="0"/>
                  <a:ea typeface="Arial"/>
                  <a:cs typeface="Arial"/>
                  <a:sym typeface="Arial"/>
                </a:rPr>
                <a:t>Delete the current picture, if there </a:t>
              </a:r>
              <a:br>
                <a:rPr lang="en-US" sz="900" b="1" i="0" u="none" strike="noStrike" cap="none" dirty="0">
                  <a:solidFill>
                    <a:srgbClr val="7D8183"/>
                  </a:solidFill>
                  <a:latin typeface="Gene Sans" panose="00000500000000000000" pitchFamily="50" charset="0"/>
                  <a:ea typeface="Arial"/>
                  <a:cs typeface="Arial"/>
                  <a:sym typeface="Arial"/>
                </a:rPr>
              </a:br>
              <a:r>
                <a:rPr lang="en-US" sz="900" b="1" i="0" u="none" strike="noStrike" cap="none" dirty="0">
                  <a:solidFill>
                    <a:srgbClr val="7D8183"/>
                  </a:solidFill>
                  <a:latin typeface="Gene Sans" panose="00000500000000000000" pitchFamily="50" charset="0"/>
                  <a:ea typeface="Arial"/>
                  <a:cs typeface="Arial"/>
                  <a:sym typeface="Arial"/>
                </a:rPr>
                <a:t>is one.</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On the Insert tab, click the Pictures button OR you can click the picture icon      on the slide surface to start your search.</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Navigate to the image you want to use and select Insert. </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Under Home click the Reset button to reapply the Layout.</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Resize the picture to fit the slide, as needed, using the Crop tool. Hold the Shift key and click and drag a corner to scale equally.</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On the Home tab, click the Arrange button, then Send to Back so the photo is behind the logos, text, and the transparent overlay. </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dirty="0">
                  <a:solidFill>
                    <a:srgbClr val="7D8183"/>
                  </a:solidFill>
                  <a:latin typeface="Gene Sans" panose="00000500000000000000" pitchFamily="50" charset="0"/>
                  <a:ea typeface="Arial"/>
                  <a:cs typeface="Arial"/>
                  <a:sym typeface="Arial"/>
                </a:rPr>
                <a:t>If there is already a photo on the slide surface, you can simply right click on the photo, choose Change Picture and search for the new image. Resize image as needed (using the Crop tool if appropriate).</a:t>
              </a:r>
              <a:endParaRPr sz="1400" b="0" i="0" u="none" strike="noStrike" cap="none" dirty="0">
                <a:solidFill>
                  <a:srgbClr val="000000"/>
                </a:solidFill>
                <a:latin typeface="Gene Sans" panose="00000500000000000000" pitchFamily="50" charset="0"/>
                <a:ea typeface="Arial"/>
                <a:cs typeface="Arial"/>
                <a:sym typeface="Arial"/>
              </a:endParaRPr>
            </a:p>
          </p:txBody>
        </p:sp>
        <p:pic>
          <p:nvPicPr>
            <p:cNvPr id="170" name="Google Shape;170;p51"/>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171" name="Google Shape;171;p51"/>
          <p:cNvSpPr txBox="1">
            <a:spLocks noGrp="1"/>
          </p:cNvSpPr>
          <p:nvPr>
            <p:ph type="body" idx="7"/>
          </p:nvPr>
        </p:nvSpPr>
        <p:spPr>
          <a:xfrm>
            <a:off x="2191420" y="2514141"/>
            <a:ext cx="1015124" cy="822325"/>
          </a:xfrm>
          <a:prstGeom prst="rect">
            <a:avLst/>
          </a:prstGeom>
          <a:noFill/>
          <a:ln>
            <a:noFill/>
          </a:ln>
        </p:spPr>
        <p:txBody>
          <a:bodyPr spcFirstLastPara="1" wrap="square" lIns="0" tIns="0" rIns="0" bIns="0" anchor="t" anchorCtr="0">
            <a:noAutofit/>
          </a:bodyPr>
          <a:lstStyle>
            <a:lvl1pPr marL="457200" lvl="0" indent="-228600" algn="ctr">
              <a:lnSpc>
                <a:spcPct val="90000"/>
              </a:lnSpc>
              <a:spcBef>
                <a:spcPts val="600"/>
              </a:spcBef>
              <a:spcAft>
                <a:spcPts val="0"/>
              </a:spcAft>
              <a:buSzPts val="1050"/>
              <a:buNone/>
              <a:defRPr sz="1050">
                <a:solidFill>
                  <a:srgbClr val="003087"/>
                </a:solidFill>
                <a:latin typeface="Gene Sans" panose="00000500000000000000" pitchFamily="50" charset="0"/>
                <a:ea typeface="Gene Sans" panose="00000500000000000000" pitchFamily="50" charset="0"/>
                <a:cs typeface="Arial"/>
                <a:sym typeface="Arial"/>
              </a:defRPr>
            </a:lvl1pPr>
            <a:lvl2pPr marL="914400" lvl="1"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600" lvl="2"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800" lvl="3"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6000" lvl="4"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72" name="Google Shape;172;p51"/>
          <p:cNvSpPr/>
          <p:nvPr/>
        </p:nvSpPr>
        <p:spPr>
          <a:xfrm>
            <a:off x="1670285" y="3566073"/>
            <a:ext cx="1451457" cy="315361"/>
          </a:xfrm>
          <a:prstGeom prst="parallelogram">
            <a:avLst>
              <a:gd name="adj" fmla="val 43503"/>
            </a:avLst>
          </a:prstGeom>
          <a:solidFill>
            <a:srgbClr val="8DC8E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chemeClr val="lt1"/>
              </a:solidFill>
              <a:latin typeface="Gene Sans" panose="00000500000000000000" pitchFamily="50" charset="0"/>
              <a:ea typeface="Arial"/>
              <a:cs typeface="Arial"/>
              <a:sym typeface="Arial"/>
            </a:endParaRPr>
          </a:p>
        </p:txBody>
      </p:sp>
      <p:sp>
        <p:nvSpPr>
          <p:cNvPr id="173" name="Google Shape;173;p51"/>
          <p:cNvSpPr txBox="1">
            <a:spLocks noGrp="1"/>
          </p:cNvSpPr>
          <p:nvPr>
            <p:ph type="body" idx="8"/>
          </p:nvPr>
        </p:nvSpPr>
        <p:spPr>
          <a:xfrm>
            <a:off x="1630745" y="3564416"/>
            <a:ext cx="1531555" cy="321637"/>
          </a:xfrm>
          <a:prstGeom prst="rect">
            <a:avLst/>
          </a:prstGeom>
          <a:noFill/>
          <a:ln>
            <a:noFill/>
          </a:ln>
        </p:spPr>
        <p:txBody>
          <a:bodyPr spcFirstLastPara="1" wrap="square" lIns="0" tIns="0" rIns="0" bIns="0" anchor="ctr" anchorCtr="0">
            <a:noAutofit/>
          </a:bodyPr>
          <a:lstStyle>
            <a:lvl1pPr marL="457200" lvl="0" indent="-228600" algn="ctr">
              <a:lnSpc>
                <a:spcPct val="90000"/>
              </a:lnSpc>
              <a:spcBef>
                <a:spcPts val="600"/>
              </a:spcBef>
              <a:spcAft>
                <a:spcPts val="0"/>
              </a:spcAft>
              <a:buSzPts val="1000"/>
              <a:buNone/>
              <a:defRPr sz="1000">
                <a:solidFill>
                  <a:srgbClr val="0066CC"/>
                </a:solidFill>
                <a:latin typeface="Gene Sans" panose="00000500000000000000" pitchFamily="50" charset="0"/>
                <a:ea typeface="Gene Sans" panose="00000500000000000000" pitchFamily="50" charset="0"/>
                <a:cs typeface="Arial"/>
                <a:sym typeface="Arial"/>
              </a:defRPr>
            </a:lvl1pPr>
            <a:lvl2pPr marL="914400" lvl="1"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600" lvl="2"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800" lvl="3"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6000" lvl="4"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74" name="Google Shape;174;p51"/>
          <p:cNvSpPr txBox="1">
            <a:spLocks noGrp="1"/>
          </p:cNvSpPr>
          <p:nvPr>
            <p:ph type="body" idx="9"/>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75" name="Google Shape;175;p51"/>
          <p:cNvSpPr txBox="1">
            <a:spLocks noGrp="1"/>
          </p:cNvSpPr>
          <p:nvPr>
            <p:ph type="body" idx="13"/>
          </p:nvPr>
        </p:nvSpPr>
        <p:spPr>
          <a:xfrm>
            <a:off x="381648" y="4745251"/>
            <a:ext cx="8385048" cy="110800"/>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720"/>
              </a:spcBef>
              <a:spcAft>
                <a:spcPts val="0"/>
              </a:spcAft>
              <a:buSzPts val="800"/>
              <a:buFont typeface="Arial"/>
              <a:buNone/>
              <a:defRPr sz="800">
                <a:latin typeface="Gene Sans" panose="00000500000000000000" pitchFamily="50" charset="0"/>
                <a:ea typeface="Gene Sans" panose="00000500000000000000" pitchFamily="50" charset="0"/>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133923687"/>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Four Photos Right+Content">
  <p:cSld name="Four Photos Right+Content">
    <p:spTree>
      <p:nvGrpSpPr>
        <p:cNvPr id="1" name="Shape 176"/>
        <p:cNvGrpSpPr/>
        <p:nvPr/>
      </p:nvGrpSpPr>
      <p:grpSpPr>
        <a:xfrm>
          <a:off x="0" y="0"/>
          <a:ext cx="0" cy="0"/>
          <a:chOff x="0" y="0"/>
          <a:chExt cx="0" cy="0"/>
        </a:xfrm>
      </p:grpSpPr>
      <p:sp>
        <p:nvSpPr>
          <p:cNvPr id="177" name="Google Shape;177;p52"/>
          <p:cNvSpPr>
            <a:spLocks noGrp="1"/>
          </p:cNvSpPr>
          <p:nvPr>
            <p:ph type="pic" idx="2"/>
          </p:nvPr>
        </p:nvSpPr>
        <p:spPr>
          <a:xfrm>
            <a:off x="3899560" y="770382"/>
            <a:ext cx="2082139" cy="1801368"/>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78" name="Google Shape;178;p52"/>
          <p:cNvSpPr>
            <a:spLocks noGrp="1"/>
          </p:cNvSpPr>
          <p:nvPr>
            <p:ph type="pic" idx="3"/>
          </p:nvPr>
        </p:nvSpPr>
        <p:spPr>
          <a:xfrm>
            <a:off x="6137275" y="770381"/>
            <a:ext cx="2625725" cy="1801368"/>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79" name="Google Shape;179;p52"/>
          <p:cNvSpPr>
            <a:spLocks noGrp="1"/>
          </p:cNvSpPr>
          <p:nvPr>
            <p:ph type="pic" idx="4"/>
          </p:nvPr>
        </p:nvSpPr>
        <p:spPr>
          <a:xfrm>
            <a:off x="3899561" y="2716574"/>
            <a:ext cx="2082139" cy="179827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80" name="Google Shape;180;p52"/>
          <p:cNvSpPr>
            <a:spLocks noGrp="1"/>
          </p:cNvSpPr>
          <p:nvPr>
            <p:ph type="pic" idx="5"/>
          </p:nvPr>
        </p:nvSpPr>
        <p:spPr>
          <a:xfrm>
            <a:off x="6137275" y="2716574"/>
            <a:ext cx="2625725" cy="179827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81" name="Google Shape;181;p52"/>
          <p:cNvSpPr txBox="1">
            <a:spLocks noGrp="1"/>
          </p:cNvSpPr>
          <p:nvPr>
            <p:ph type="title"/>
          </p:nvPr>
        </p:nvSpPr>
        <p:spPr>
          <a:xfrm>
            <a:off x="381648" y="585795"/>
            <a:ext cx="34488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Gene Sans" panose="00000500000000000000" pitchFamily="50" charset="0"/>
                <a:ea typeface="Gene Sans" panose="00000500000000000000" pitchFamily="50" charset="0"/>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82" name="Google Shape;182;p52"/>
          <p:cNvSpPr txBox="1">
            <a:spLocks noGrp="1"/>
          </p:cNvSpPr>
          <p:nvPr>
            <p:ph type="body" idx="1"/>
          </p:nvPr>
        </p:nvSpPr>
        <p:spPr>
          <a:xfrm>
            <a:off x="380999" y="1352550"/>
            <a:ext cx="3448800" cy="3162300"/>
          </a:xfrm>
          <a:prstGeom prst="rect">
            <a:avLst/>
          </a:prstGeom>
          <a:noFill/>
          <a:ln>
            <a:noFill/>
          </a:ln>
        </p:spPr>
        <p:txBody>
          <a:bodyPr spcFirstLastPara="1" wrap="square" lIns="0" tIns="0" rIns="0" bIns="0" anchor="t" anchorCtr="0">
            <a:noAutofit/>
          </a:bodyPr>
          <a:lstStyle>
            <a:lvl1pPr marL="457200" lvl="0" indent="-317500" algn="l">
              <a:lnSpc>
                <a:spcPct val="90000"/>
              </a:lnSpc>
              <a:spcBef>
                <a:spcPts val="600"/>
              </a:spcBef>
              <a:spcAft>
                <a:spcPts val="0"/>
              </a:spcAft>
              <a:buSzPts val="1400"/>
              <a:buChar char="•"/>
              <a:defRPr sz="1400">
                <a:solidFill>
                  <a:schemeClr val="dk1"/>
                </a:solidFill>
                <a:latin typeface="Gene Sans" panose="00000500000000000000" pitchFamily="50" charset="0"/>
              </a:defRPr>
            </a:lvl1pPr>
            <a:lvl2pPr marL="914400" lvl="1" indent="-304800" algn="l">
              <a:lnSpc>
                <a:spcPct val="90000"/>
              </a:lnSpc>
              <a:spcBef>
                <a:spcPts val="600"/>
              </a:spcBef>
              <a:spcAft>
                <a:spcPts val="0"/>
              </a:spcAft>
              <a:buSzPts val="1200"/>
              <a:buFont typeface="Arial"/>
              <a:buChar char="–"/>
              <a:defRPr sz="1200">
                <a:solidFill>
                  <a:schemeClr val="dk1"/>
                </a:solidFill>
              </a:defRPr>
            </a:lvl2pPr>
            <a:lvl3pPr marL="1371600" lvl="2" indent="-295275" algn="l">
              <a:lnSpc>
                <a:spcPct val="90000"/>
              </a:lnSpc>
              <a:spcBef>
                <a:spcPts val="600"/>
              </a:spcBef>
              <a:spcAft>
                <a:spcPts val="0"/>
              </a:spcAft>
              <a:buSzPts val="1050"/>
              <a:buChar char="•"/>
              <a:defRPr sz="1050">
                <a:solidFill>
                  <a:schemeClr val="dk1"/>
                </a:solidFill>
              </a:defRPr>
            </a:lvl3pPr>
            <a:lvl4pPr marL="1828800" lvl="3" indent="-292100" algn="l">
              <a:lnSpc>
                <a:spcPct val="90000"/>
              </a:lnSpc>
              <a:spcBef>
                <a:spcPts val="600"/>
              </a:spcBef>
              <a:spcAft>
                <a:spcPts val="0"/>
              </a:spcAft>
              <a:buSzPts val="1000"/>
              <a:buChar char="•"/>
              <a:defRPr sz="1000">
                <a:solidFill>
                  <a:schemeClr val="dk1"/>
                </a:solidFill>
              </a:defRPr>
            </a:lvl4pPr>
            <a:lvl5pPr marL="2286000" lvl="4" indent="-292100" algn="l">
              <a:lnSpc>
                <a:spcPct val="90000"/>
              </a:lnSpc>
              <a:spcBef>
                <a:spcPts val="600"/>
              </a:spcBef>
              <a:spcAft>
                <a:spcPts val="0"/>
              </a:spcAft>
              <a:buSzPts val="1000"/>
              <a:buChar char="•"/>
              <a:defRPr sz="1000">
                <a:solidFill>
                  <a:schemeClr val="dk1"/>
                </a:solidFil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grpSp>
        <p:nvGrpSpPr>
          <p:cNvPr id="183" name="Google Shape;183;p52"/>
          <p:cNvGrpSpPr/>
          <p:nvPr/>
        </p:nvGrpSpPr>
        <p:grpSpPr>
          <a:xfrm>
            <a:off x="9206185" y="51750"/>
            <a:ext cx="2202899" cy="4431983"/>
            <a:chOff x="9248019" y="51750"/>
            <a:chExt cx="2202899" cy="4431983"/>
          </a:xfrm>
        </p:grpSpPr>
        <p:sp>
          <p:nvSpPr>
            <p:cNvPr id="184" name="Google Shape;184;p52"/>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THERE ARE TWO (2) OPTION TO CUSTOMIZE A LAYOUT WITH A </a:t>
              </a:r>
              <a:br>
                <a:rPr lang="en-US" sz="900" b="1" i="0" u="none" strike="noStrike" cap="none" dirty="0">
                  <a:solidFill>
                    <a:srgbClr val="7D8183"/>
                  </a:solidFill>
                  <a:latin typeface="Gene Sans" panose="00000500000000000000" pitchFamily="50" charset="0"/>
                  <a:ea typeface="Arial"/>
                  <a:cs typeface="Arial"/>
                  <a:sym typeface="Arial"/>
                </a:rPr>
              </a:br>
              <a:r>
                <a:rPr lang="en-US" sz="900" b="1" i="0" u="none" strike="noStrike" cap="none" dirty="0">
                  <a:solidFill>
                    <a:srgbClr val="7D8183"/>
                  </a:solidFill>
                  <a:latin typeface="Gene Sans" panose="00000500000000000000" pitchFamily="50" charset="0"/>
                  <a:ea typeface="Arial"/>
                  <a:cs typeface="Arial"/>
                  <a:sym typeface="Arial"/>
                </a:rPr>
                <a:t>NEW PICTURE:</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u="none" strike="noStrike" cap="none" dirty="0">
                  <a:solidFill>
                    <a:srgbClr val="7D8183"/>
                  </a:solidFill>
                  <a:latin typeface="Gene Sans" panose="00000500000000000000" pitchFamily="50" charset="0"/>
                  <a:ea typeface="Arial"/>
                  <a:cs typeface="Arial"/>
                  <a:sym typeface="Arial"/>
                </a:rPr>
                <a:t>Delete the current picture, if there </a:t>
              </a:r>
              <a:br>
                <a:rPr lang="en-US" sz="900" b="1" i="0" u="none" strike="noStrike" cap="none" dirty="0">
                  <a:solidFill>
                    <a:srgbClr val="7D8183"/>
                  </a:solidFill>
                  <a:latin typeface="Gene Sans" panose="00000500000000000000" pitchFamily="50" charset="0"/>
                  <a:ea typeface="Arial"/>
                  <a:cs typeface="Arial"/>
                  <a:sym typeface="Arial"/>
                </a:rPr>
              </a:br>
              <a:r>
                <a:rPr lang="en-US" sz="900" b="1" i="0" u="none" strike="noStrike" cap="none" dirty="0">
                  <a:solidFill>
                    <a:srgbClr val="7D8183"/>
                  </a:solidFill>
                  <a:latin typeface="Gene Sans" panose="00000500000000000000" pitchFamily="50" charset="0"/>
                  <a:ea typeface="Arial"/>
                  <a:cs typeface="Arial"/>
                  <a:sym typeface="Arial"/>
                </a:rPr>
                <a:t>is one.</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On the Insert tab, click the Pictures button OR you can click the picture icon      on the slide surface to start your search.</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Navigate to the image you want to use and select Insert. </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Under Home click the Reset button to reapply the Layout.</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Resize the picture to fit the slide, as needed, using the Crop tool. Hold the Shift key and click and drag a corner to scale equally.</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On the Home tab, click the Arrange button, then Send to Back so the photo is behind the logos, text, and the transparent overlay. </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dirty="0">
                  <a:solidFill>
                    <a:srgbClr val="7D8183"/>
                  </a:solidFill>
                  <a:latin typeface="Gene Sans" panose="00000500000000000000" pitchFamily="50" charset="0"/>
                  <a:ea typeface="Arial"/>
                  <a:cs typeface="Arial"/>
                  <a:sym typeface="Arial"/>
                </a:rPr>
                <a:t>If there is already a photo on the slide surface, you can simply right click on the photo, choose Change Picture and search for the new image. Resize image as needed (using the Crop tool if appropriate).</a:t>
              </a:r>
              <a:endParaRPr sz="1400" b="0" i="0" u="none" strike="noStrike" cap="none" dirty="0">
                <a:solidFill>
                  <a:srgbClr val="000000"/>
                </a:solidFill>
                <a:latin typeface="Gene Sans" panose="00000500000000000000" pitchFamily="50" charset="0"/>
                <a:ea typeface="Arial"/>
                <a:cs typeface="Arial"/>
                <a:sym typeface="Arial"/>
              </a:endParaRPr>
            </a:p>
          </p:txBody>
        </p:sp>
        <p:pic>
          <p:nvPicPr>
            <p:cNvPr id="185" name="Google Shape;185;p52"/>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186" name="Google Shape;186;p52"/>
          <p:cNvSpPr txBox="1">
            <a:spLocks noGrp="1"/>
          </p:cNvSpPr>
          <p:nvPr>
            <p:ph type="body" idx="6"/>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87" name="Google Shape;187;p52"/>
          <p:cNvSpPr txBox="1">
            <a:spLocks noGrp="1"/>
          </p:cNvSpPr>
          <p:nvPr>
            <p:ph type="body" idx="7"/>
          </p:nvPr>
        </p:nvSpPr>
        <p:spPr>
          <a:xfrm>
            <a:off x="381648" y="4745251"/>
            <a:ext cx="8385048" cy="110800"/>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720"/>
              </a:spcBef>
              <a:spcAft>
                <a:spcPts val="0"/>
              </a:spcAft>
              <a:buSzPts val="800"/>
              <a:buFont typeface="Arial"/>
              <a:buNone/>
              <a:defRPr sz="800">
                <a:latin typeface="Gene Sans" panose="00000500000000000000" pitchFamily="50" charset="0"/>
                <a:ea typeface="Gene Sans" panose="00000500000000000000" pitchFamily="50" charset="0"/>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618742905"/>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Four Photos Right+Content2">
  <p:cSld name="Four Photos Right+Content2">
    <p:spTree>
      <p:nvGrpSpPr>
        <p:cNvPr id="1" name="Shape 188"/>
        <p:cNvGrpSpPr/>
        <p:nvPr/>
      </p:nvGrpSpPr>
      <p:grpSpPr>
        <a:xfrm>
          <a:off x="0" y="0"/>
          <a:ext cx="0" cy="0"/>
          <a:chOff x="0" y="0"/>
          <a:chExt cx="0" cy="0"/>
        </a:xfrm>
      </p:grpSpPr>
      <p:sp>
        <p:nvSpPr>
          <p:cNvPr id="189" name="Google Shape;189;p53"/>
          <p:cNvSpPr>
            <a:spLocks noGrp="1"/>
          </p:cNvSpPr>
          <p:nvPr>
            <p:ph type="pic" idx="2"/>
          </p:nvPr>
        </p:nvSpPr>
        <p:spPr>
          <a:xfrm>
            <a:off x="4572746" y="770382"/>
            <a:ext cx="2011680" cy="1801368"/>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90" name="Google Shape;190;p53"/>
          <p:cNvSpPr>
            <a:spLocks noGrp="1"/>
          </p:cNvSpPr>
          <p:nvPr>
            <p:ph type="pic" idx="3"/>
          </p:nvPr>
        </p:nvSpPr>
        <p:spPr>
          <a:xfrm>
            <a:off x="6751320" y="770381"/>
            <a:ext cx="2011680" cy="1801368"/>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91" name="Google Shape;191;p53"/>
          <p:cNvSpPr>
            <a:spLocks noGrp="1"/>
          </p:cNvSpPr>
          <p:nvPr>
            <p:ph type="pic" idx="4"/>
          </p:nvPr>
        </p:nvSpPr>
        <p:spPr>
          <a:xfrm>
            <a:off x="4572746" y="2716574"/>
            <a:ext cx="2011680" cy="179827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92" name="Google Shape;192;p53"/>
          <p:cNvSpPr>
            <a:spLocks noGrp="1"/>
          </p:cNvSpPr>
          <p:nvPr>
            <p:ph type="pic" idx="5"/>
          </p:nvPr>
        </p:nvSpPr>
        <p:spPr>
          <a:xfrm>
            <a:off x="6751320" y="2716574"/>
            <a:ext cx="2011680" cy="179827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grpSp>
        <p:nvGrpSpPr>
          <p:cNvPr id="193" name="Google Shape;193;p53"/>
          <p:cNvGrpSpPr/>
          <p:nvPr/>
        </p:nvGrpSpPr>
        <p:grpSpPr>
          <a:xfrm>
            <a:off x="9206185" y="51750"/>
            <a:ext cx="2202899" cy="4431983"/>
            <a:chOff x="9248019" y="51750"/>
            <a:chExt cx="2202899" cy="4431983"/>
          </a:xfrm>
        </p:grpSpPr>
        <p:sp>
          <p:nvSpPr>
            <p:cNvPr id="194" name="Google Shape;194;p53"/>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THERE ARE TWO (2) OPTION TO CUSTOMIZE A LAYOUT WITH A </a:t>
              </a:r>
              <a:br>
                <a:rPr lang="en-US" sz="900" b="1" i="0" u="none" strike="noStrike" cap="none" dirty="0">
                  <a:solidFill>
                    <a:srgbClr val="7D8183"/>
                  </a:solidFill>
                  <a:latin typeface="Gene Sans" panose="00000500000000000000" pitchFamily="50" charset="0"/>
                  <a:ea typeface="Arial"/>
                  <a:cs typeface="Arial"/>
                  <a:sym typeface="Arial"/>
                </a:rPr>
              </a:br>
              <a:r>
                <a:rPr lang="en-US" sz="900" b="1" i="0" u="none" strike="noStrike" cap="none" dirty="0">
                  <a:solidFill>
                    <a:srgbClr val="7D8183"/>
                  </a:solidFill>
                  <a:latin typeface="Gene Sans" panose="00000500000000000000" pitchFamily="50" charset="0"/>
                  <a:ea typeface="Arial"/>
                  <a:cs typeface="Arial"/>
                  <a:sym typeface="Arial"/>
                </a:rPr>
                <a:t>NEW PICTURE:</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u="none" strike="noStrike" cap="none" dirty="0">
                  <a:solidFill>
                    <a:srgbClr val="7D8183"/>
                  </a:solidFill>
                  <a:latin typeface="Gene Sans" panose="00000500000000000000" pitchFamily="50" charset="0"/>
                  <a:ea typeface="Arial"/>
                  <a:cs typeface="Arial"/>
                  <a:sym typeface="Arial"/>
                </a:rPr>
                <a:t>Delete the current picture, if there </a:t>
              </a:r>
              <a:br>
                <a:rPr lang="en-US" sz="900" b="1" i="0" u="none" strike="noStrike" cap="none" dirty="0">
                  <a:solidFill>
                    <a:srgbClr val="7D8183"/>
                  </a:solidFill>
                  <a:latin typeface="Gene Sans" panose="00000500000000000000" pitchFamily="50" charset="0"/>
                  <a:ea typeface="Arial"/>
                  <a:cs typeface="Arial"/>
                  <a:sym typeface="Arial"/>
                </a:rPr>
              </a:br>
              <a:r>
                <a:rPr lang="en-US" sz="900" b="1" i="0" u="none" strike="noStrike" cap="none" dirty="0">
                  <a:solidFill>
                    <a:srgbClr val="7D8183"/>
                  </a:solidFill>
                  <a:latin typeface="Gene Sans" panose="00000500000000000000" pitchFamily="50" charset="0"/>
                  <a:ea typeface="Arial"/>
                  <a:cs typeface="Arial"/>
                  <a:sym typeface="Arial"/>
                </a:rPr>
                <a:t>is one.</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On the Insert tab, click the Pictures button OR you can click the picture icon      on the slide surface to start your search.</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Navigate to the image you want to use and select Insert. </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Under Home click the Reset button to reapply the Layout.</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Resize the picture to fit the slide, as needed, using the Crop tool. Hold the Shift key and click and drag a corner to scale equally.</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On the Home tab, click the Arrange button, then Send to Back so the photo is behind the logos, text, and the transparent overlay. </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dirty="0">
                  <a:solidFill>
                    <a:srgbClr val="7D8183"/>
                  </a:solidFill>
                  <a:latin typeface="Gene Sans" panose="00000500000000000000" pitchFamily="50" charset="0"/>
                  <a:ea typeface="Arial"/>
                  <a:cs typeface="Arial"/>
                  <a:sym typeface="Arial"/>
                </a:rPr>
                <a:t>If there is already a photo on the slide surface, you can simply right click on the photo, choose Change Picture and search for the new image. Resize image as needed (using the Crop tool if appropriate).</a:t>
              </a:r>
              <a:endParaRPr sz="1400" b="0" i="0" u="none" strike="noStrike" cap="none" dirty="0">
                <a:solidFill>
                  <a:srgbClr val="000000"/>
                </a:solidFill>
                <a:latin typeface="Gene Sans" panose="00000500000000000000" pitchFamily="50" charset="0"/>
                <a:ea typeface="Arial"/>
                <a:cs typeface="Arial"/>
                <a:sym typeface="Arial"/>
              </a:endParaRPr>
            </a:p>
          </p:txBody>
        </p:sp>
        <p:pic>
          <p:nvPicPr>
            <p:cNvPr id="195" name="Google Shape;195;p53"/>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196" name="Google Shape;196;p53"/>
          <p:cNvSpPr txBox="1">
            <a:spLocks noGrp="1"/>
          </p:cNvSpPr>
          <p:nvPr>
            <p:ph type="title"/>
          </p:nvPr>
        </p:nvSpPr>
        <p:spPr>
          <a:xfrm>
            <a:off x="381648" y="585795"/>
            <a:ext cx="34488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Gene Sans" panose="00000500000000000000" pitchFamily="50" charset="0"/>
                <a:ea typeface="Gene Sans" panose="00000500000000000000" pitchFamily="50" charset="0"/>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197" name="Google Shape;197;p53"/>
          <p:cNvSpPr txBox="1">
            <a:spLocks noGrp="1"/>
          </p:cNvSpPr>
          <p:nvPr>
            <p:ph type="body" idx="1"/>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98" name="Google Shape;198;p53"/>
          <p:cNvSpPr txBox="1">
            <a:spLocks noGrp="1"/>
          </p:cNvSpPr>
          <p:nvPr>
            <p:ph type="body" idx="6"/>
          </p:nvPr>
        </p:nvSpPr>
        <p:spPr>
          <a:xfrm>
            <a:off x="381648" y="4745251"/>
            <a:ext cx="8385048" cy="110800"/>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720"/>
              </a:spcBef>
              <a:spcAft>
                <a:spcPts val="0"/>
              </a:spcAft>
              <a:buSzPts val="800"/>
              <a:buFont typeface="Arial"/>
              <a:buNone/>
              <a:defRPr sz="800">
                <a:latin typeface="Gene Sans" panose="00000500000000000000" pitchFamily="50" charset="0"/>
                <a:ea typeface="Gene Sans" panose="00000500000000000000" pitchFamily="50" charset="0"/>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99" name="Google Shape;199;p53"/>
          <p:cNvSpPr txBox="1">
            <a:spLocks noGrp="1"/>
          </p:cNvSpPr>
          <p:nvPr>
            <p:ph type="body" idx="7"/>
          </p:nvPr>
        </p:nvSpPr>
        <p:spPr>
          <a:xfrm>
            <a:off x="380999" y="1352550"/>
            <a:ext cx="3448800" cy="3162300"/>
          </a:xfrm>
          <a:prstGeom prst="rect">
            <a:avLst/>
          </a:prstGeom>
          <a:noFill/>
          <a:ln>
            <a:noFill/>
          </a:ln>
        </p:spPr>
        <p:txBody>
          <a:bodyPr spcFirstLastPara="1" wrap="square" lIns="0" tIns="0" rIns="0" bIns="0" anchor="t" anchorCtr="0">
            <a:noAutofit/>
          </a:bodyPr>
          <a:lstStyle>
            <a:lvl1pPr marL="457200" lvl="0" indent="-317500" algn="l">
              <a:lnSpc>
                <a:spcPct val="90000"/>
              </a:lnSpc>
              <a:spcBef>
                <a:spcPts val="600"/>
              </a:spcBef>
              <a:spcAft>
                <a:spcPts val="0"/>
              </a:spcAft>
              <a:buSzPts val="1400"/>
              <a:buChar char="•"/>
              <a:defRPr sz="1400">
                <a:solidFill>
                  <a:schemeClr val="dk1"/>
                </a:solidFill>
                <a:latin typeface="Gene Sans" panose="00000500000000000000" pitchFamily="50" charset="0"/>
              </a:defRPr>
            </a:lvl1pPr>
            <a:lvl2pPr marL="914400" lvl="1" indent="-304800" algn="l">
              <a:lnSpc>
                <a:spcPct val="90000"/>
              </a:lnSpc>
              <a:spcBef>
                <a:spcPts val="600"/>
              </a:spcBef>
              <a:spcAft>
                <a:spcPts val="0"/>
              </a:spcAft>
              <a:buSzPts val="1200"/>
              <a:buFont typeface="Arial"/>
              <a:buChar char="–"/>
              <a:defRPr sz="1200">
                <a:solidFill>
                  <a:schemeClr val="dk1"/>
                </a:solidFill>
              </a:defRPr>
            </a:lvl2pPr>
            <a:lvl3pPr marL="1371600" lvl="2" indent="-295275" algn="l">
              <a:lnSpc>
                <a:spcPct val="90000"/>
              </a:lnSpc>
              <a:spcBef>
                <a:spcPts val="600"/>
              </a:spcBef>
              <a:spcAft>
                <a:spcPts val="0"/>
              </a:spcAft>
              <a:buSzPts val="1050"/>
              <a:buChar char="•"/>
              <a:defRPr sz="1050">
                <a:solidFill>
                  <a:schemeClr val="dk1"/>
                </a:solidFill>
              </a:defRPr>
            </a:lvl3pPr>
            <a:lvl4pPr marL="1828800" lvl="3" indent="-292100" algn="l">
              <a:lnSpc>
                <a:spcPct val="90000"/>
              </a:lnSpc>
              <a:spcBef>
                <a:spcPts val="600"/>
              </a:spcBef>
              <a:spcAft>
                <a:spcPts val="0"/>
              </a:spcAft>
              <a:buSzPts val="1000"/>
              <a:buChar char="•"/>
              <a:defRPr sz="1000">
                <a:solidFill>
                  <a:schemeClr val="dk1"/>
                </a:solidFill>
              </a:defRPr>
            </a:lvl4pPr>
            <a:lvl5pPr marL="2286000" lvl="4" indent="-292100" algn="l">
              <a:lnSpc>
                <a:spcPct val="90000"/>
              </a:lnSpc>
              <a:spcBef>
                <a:spcPts val="600"/>
              </a:spcBef>
              <a:spcAft>
                <a:spcPts val="0"/>
              </a:spcAft>
              <a:buSzPts val="1000"/>
              <a:buChar char="•"/>
              <a:defRPr sz="1000">
                <a:solidFill>
                  <a:schemeClr val="dk1"/>
                </a:solidFil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704165559"/>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Comparison + Photos">
  <p:cSld name="Comparison + Photos">
    <p:spTree>
      <p:nvGrpSpPr>
        <p:cNvPr id="1" name="Shape 200"/>
        <p:cNvGrpSpPr/>
        <p:nvPr/>
      </p:nvGrpSpPr>
      <p:grpSpPr>
        <a:xfrm>
          <a:off x="0" y="0"/>
          <a:ext cx="0" cy="0"/>
          <a:chOff x="0" y="0"/>
          <a:chExt cx="0" cy="0"/>
        </a:xfrm>
      </p:grpSpPr>
      <p:sp>
        <p:nvSpPr>
          <p:cNvPr id="201" name="Google Shape;201;p54"/>
          <p:cNvSpPr>
            <a:spLocks noGrp="1"/>
          </p:cNvSpPr>
          <p:nvPr>
            <p:ph type="pic" idx="2"/>
          </p:nvPr>
        </p:nvSpPr>
        <p:spPr>
          <a:xfrm>
            <a:off x="381000" y="3181350"/>
            <a:ext cx="4133850" cy="1333500"/>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02" name="Google Shape;202;p54"/>
          <p:cNvSpPr txBox="1">
            <a:spLocks noGrp="1"/>
          </p:cNvSpPr>
          <p:nvPr>
            <p:ph type="body" idx="1"/>
          </p:nvPr>
        </p:nvSpPr>
        <p:spPr>
          <a:xfrm>
            <a:off x="381000" y="1003997"/>
            <a:ext cx="4133088" cy="617934"/>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600"/>
              </a:spcBef>
              <a:spcAft>
                <a:spcPts val="0"/>
              </a:spcAft>
              <a:buSzPts val="1800"/>
              <a:buNone/>
              <a:defRPr sz="1800" b="0">
                <a:solidFill>
                  <a:schemeClr val="lt2"/>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600"/>
              </a:spcBef>
              <a:spcAft>
                <a:spcPts val="0"/>
              </a:spcAft>
              <a:buSzPts val="1500"/>
              <a:buNone/>
              <a:defRPr sz="1500" b="1"/>
            </a:lvl2pPr>
            <a:lvl3pPr marL="1371600" lvl="2" indent="-228600" algn="l">
              <a:lnSpc>
                <a:spcPct val="90000"/>
              </a:lnSpc>
              <a:spcBef>
                <a:spcPts val="600"/>
              </a:spcBef>
              <a:spcAft>
                <a:spcPts val="0"/>
              </a:spcAft>
              <a:buSzPts val="1350"/>
              <a:buNone/>
              <a:defRPr sz="1350" b="1"/>
            </a:lvl3pPr>
            <a:lvl4pPr marL="1828800" lvl="3" indent="-228600" algn="l">
              <a:lnSpc>
                <a:spcPct val="90000"/>
              </a:lnSpc>
              <a:spcBef>
                <a:spcPts val="600"/>
              </a:spcBef>
              <a:spcAft>
                <a:spcPts val="0"/>
              </a:spcAft>
              <a:buSzPts val="1200"/>
              <a:buNone/>
              <a:defRPr sz="1200" b="1"/>
            </a:lvl4pPr>
            <a:lvl5pPr marL="2286000" lvl="4" indent="-228600" algn="l">
              <a:lnSpc>
                <a:spcPct val="90000"/>
              </a:lnSpc>
              <a:spcBef>
                <a:spcPts val="600"/>
              </a:spcBef>
              <a:spcAft>
                <a:spcPts val="0"/>
              </a:spcAft>
              <a:buSzPts val="1200"/>
              <a:buNone/>
              <a:defRPr sz="1200" b="1"/>
            </a:lvl5pPr>
            <a:lvl6pPr marL="2743200" lvl="5" indent="-228600" algn="l">
              <a:lnSpc>
                <a:spcPct val="90000"/>
              </a:lnSpc>
              <a:spcBef>
                <a:spcPts val="375"/>
              </a:spcBef>
              <a:spcAft>
                <a:spcPts val="0"/>
              </a:spcAft>
              <a:buClr>
                <a:schemeClr val="dk1"/>
              </a:buClr>
              <a:buSzPts val="1200"/>
              <a:buNone/>
              <a:defRPr sz="1200" b="1"/>
            </a:lvl6pPr>
            <a:lvl7pPr marL="3200400" lvl="6" indent="-228600" algn="l">
              <a:lnSpc>
                <a:spcPct val="90000"/>
              </a:lnSpc>
              <a:spcBef>
                <a:spcPts val="375"/>
              </a:spcBef>
              <a:spcAft>
                <a:spcPts val="0"/>
              </a:spcAft>
              <a:buClr>
                <a:schemeClr val="dk1"/>
              </a:buClr>
              <a:buSzPts val="1200"/>
              <a:buNone/>
              <a:defRPr sz="1200" b="1"/>
            </a:lvl7pPr>
            <a:lvl8pPr marL="3657600" lvl="7" indent="-228600" algn="l">
              <a:lnSpc>
                <a:spcPct val="90000"/>
              </a:lnSpc>
              <a:spcBef>
                <a:spcPts val="375"/>
              </a:spcBef>
              <a:spcAft>
                <a:spcPts val="0"/>
              </a:spcAft>
              <a:buClr>
                <a:schemeClr val="dk1"/>
              </a:buClr>
              <a:buSzPts val="1200"/>
              <a:buNone/>
              <a:defRPr sz="1200" b="1"/>
            </a:lvl8pPr>
            <a:lvl9pPr marL="4114800" lvl="8" indent="-228600" algn="l">
              <a:lnSpc>
                <a:spcPct val="90000"/>
              </a:lnSpc>
              <a:spcBef>
                <a:spcPts val="375"/>
              </a:spcBef>
              <a:spcAft>
                <a:spcPts val="0"/>
              </a:spcAft>
              <a:buClr>
                <a:schemeClr val="dk1"/>
              </a:buClr>
              <a:buSzPts val="1200"/>
              <a:buNone/>
              <a:defRPr sz="1200" b="1"/>
            </a:lvl9pPr>
          </a:lstStyle>
          <a:p>
            <a:endParaRPr dirty="0"/>
          </a:p>
        </p:txBody>
      </p:sp>
      <p:sp>
        <p:nvSpPr>
          <p:cNvPr id="203" name="Google Shape;203;p54"/>
          <p:cNvSpPr txBox="1">
            <a:spLocks noGrp="1"/>
          </p:cNvSpPr>
          <p:nvPr>
            <p:ph type="body" idx="3"/>
          </p:nvPr>
        </p:nvSpPr>
        <p:spPr>
          <a:xfrm>
            <a:off x="381000" y="1796190"/>
            <a:ext cx="4133088" cy="1299592"/>
          </a:xfrm>
          <a:prstGeom prst="rect">
            <a:avLst/>
          </a:prstGeom>
          <a:noFill/>
          <a:ln>
            <a:noFill/>
          </a:ln>
        </p:spPr>
        <p:txBody>
          <a:bodyPr spcFirstLastPara="1" wrap="square" lIns="0" tIns="0" rIns="0" bIns="0" anchor="t" anchorCtr="0">
            <a:noAutofit/>
          </a:bodyPr>
          <a:lstStyle>
            <a:lvl1pPr marL="457200" lvl="0" indent="-317500" algn="l">
              <a:lnSpc>
                <a:spcPct val="90000"/>
              </a:lnSpc>
              <a:spcBef>
                <a:spcPts val="600"/>
              </a:spcBef>
              <a:spcAft>
                <a:spcPts val="0"/>
              </a:spcAft>
              <a:buSzPts val="1400"/>
              <a:buChar char="•"/>
              <a:defRPr sz="1400">
                <a:solidFill>
                  <a:schemeClr val="dk1"/>
                </a:solidFill>
                <a:latin typeface="Gene Sans" panose="00000500000000000000" pitchFamily="50" charset="0"/>
                <a:ea typeface="Gene Sans" panose="00000500000000000000" pitchFamily="50" charset="0"/>
                <a:cs typeface="Arial"/>
                <a:sym typeface="Arial"/>
              </a:defRPr>
            </a:lvl1pPr>
            <a:lvl2pPr marL="914400" lvl="1" indent="-304800" algn="l">
              <a:lnSpc>
                <a:spcPct val="90000"/>
              </a:lnSpc>
              <a:spcBef>
                <a:spcPts val="600"/>
              </a:spcBef>
              <a:spcAft>
                <a:spcPts val="0"/>
              </a:spcAft>
              <a:buSzPts val="1200"/>
              <a:buChar char="•"/>
              <a:defRPr sz="1200">
                <a:solidFill>
                  <a:schemeClr val="dk1"/>
                </a:solidFill>
              </a:defRPr>
            </a:lvl2pPr>
            <a:lvl3pPr marL="1371600" lvl="2" indent="-295275" algn="l">
              <a:lnSpc>
                <a:spcPct val="90000"/>
              </a:lnSpc>
              <a:spcBef>
                <a:spcPts val="600"/>
              </a:spcBef>
              <a:spcAft>
                <a:spcPts val="0"/>
              </a:spcAft>
              <a:buSzPts val="1050"/>
              <a:buChar char="•"/>
              <a:defRPr sz="1050">
                <a:solidFill>
                  <a:schemeClr val="dk1"/>
                </a:solidFill>
              </a:defRPr>
            </a:lvl3pPr>
            <a:lvl4pPr marL="1828800" lvl="3" indent="-292100" algn="l">
              <a:lnSpc>
                <a:spcPct val="90000"/>
              </a:lnSpc>
              <a:spcBef>
                <a:spcPts val="600"/>
              </a:spcBef>
              <a:spcAft>
                <a:spcPts val="0"/>
              </a:spcAft>
              <a:buSzPts val="1000"/>
              <a:buChar char="•"/>
              <a:defRPr sz="1000">
                <a:solidFill>
                  <a:schemeClr val="dk1"/>
                </a:solidFill>
              </a:defRPr>
            </a:lvl4pPr>
            <a:lvl5pPr marL="2286000" lvl="4" indent="-292100" algn="l">
              <a:lnSpc>
                <a:spcPct val="90000"/>
              </a:lnSpc>
              <a:spcBef>
                <a:spcPts val="600"/>
              </a:spcBef>
              <a:spcAft>
                <a:spcPts val="0"/>
              </a:spcAft>
              <a:buSzPts val="1000"/>
              <a:buChar char="•"/>
              <a:defRPr sz="1000">
                <a:solidFill>
                  <a:schemeClr val="dk1"/>
                </a:solidFil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204" name="Google Shape;204;p54"/>
          <p:cNvSpPr txBox="1">
            <a:spLocks noGrp="1"/>
          </p:cNvSpPr>
          <p:nvPr>
            <p:ph type="body" idx="4"/>
          </p:nvPr>
        </p:nvSpPr>
        <p:spPr>
          <a:xfrm>
            <a:off x="4629149" y="1003997"/>
            <a:ext cx="4133088" cy="617934"/>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600"/>
              </a:spcBef>
              <a:spcAft>
                <a:spcPts val="0"/>
              </a:spcAft>
              <a:buSzPts val="1800"/>
              <a:buNone/>
              <a:defRPr sz="1800" b="0">
                <a:solidFill>
                  <a:schemeClr val="lt2"/>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600"/>
              </a:spcBef>
              <a:spcAft>
                <a:spcPts val="0"/>
              </a:spcAft>
              <a:buSzPts val="1500"/>
              <a:buNone/>
              <a:defRPr sz="1500" b="1"/>
            </a:lvl2pPr>
            <a:lvl3pPr marL="1371600" lvl="2" indent="-228600" algn="l">
              <a:lnSpc>
                <a:spcPct val="90000"/>
              </a:lnSpc>
              <a:spcBef>
                <a:spcPts val="600"/>
              </a:spcBef>
              <a:spcAft>
                <a:spcPts val="0"/>
              </a:spcAft>
              <a:buSzPts val="1350"/>
              <a:buNone/>
              <a:defRPr sz="1350" b="1"/>
            </a:lvl3pPr>
            <a:lvl4pPr marL="1828800" lvl="3" indent="-228600" algn="l">
              <a:lnSpc>
                <a:spcPct val="90000"/>
              </a:lnSpc>
              <a:spcBef>
                <a:spcPts val="600"/>
              </a:spcBef>
              <a:spcAft>
                <a:spcPts val="0"/>
              </a:spcAft>
              <a:buSzPts val="1200"/>
              <a:buNone/>
              <a:defRPr sz="1200" b="1"/>
            </a:lvl4pPr>
            <a:lvl5pPr marL="2286000" lvl="4" indent="-228600" algn="l">
              <a:lnSpc>
                <a:spcPct val="90000"/>
              </a:lnSpc>
              <a:spcBef>
                <a:spcPts val="600"/>
              </a:spcBef>
              <a:spcAft>
                <a:spcPts val="0"/>
              </a:spcAft>
              <a:buSzPts val="1200"/>
              <a:buNone/>
              <a:defRPr sz="1200" b="1"/>
            </a:lvl5pPr>
            <a:lvl6pPr marL="2743200" lvl="5" indent="-228600" algn="l">
              <a:lnSpc>
                <a:spcPct val="90000"/>
              </a:lnSpc>
              <a:spcBef>
                <a:spcPts val="375"/>
              </a:spcBef>
              <a:spcAft>
                <a:spcPts val="0"/>
              </a:spcAft>
              <a:buClr>
                <a:schemeClr val="dk1"/>
              </a:buClr>
              <a:buSzPts val="1200"/>
              <a:buNone/>
              <a:defRPr sz="1200" b="1"/>
            </a:lvl6pPr>
            <a:lvl7pPr marL="3200400" lvl="6" indent="-228600" algn="l">
              <a:lnSpc>
                <a:spcPct val="90000"/>
              </a:lnSpc>
              <a:spcBef>
                <a:spcPts val="375"/>
              </a:spcBef>
              <a:spcAft>
                <a:spcPts val="0"/>
              </a:spcAft>
              <a:buClr>
                <a:schemeClr val="dk1"/>
              </a:buClr>
              <a:buSzPts val="1200"/>
              <a:buNone/>
              <a:defRPr sz="1200" b="1"/>
            </a:lvl7pPr>
            <a:lvl8pPr marL="3657600" lvl="7" indent="-228600" algn="l">
              <a:lnSpc>
                <a:spcPct val="90000"/>
              </a:lnSpc>
              <a:spcBef>
                <a:spcPts val="375"/>
              </a:spcBef>
              <a:spcAft>
                <a:spcPts val="0"/>
              </a:spcAft>
              <a:buClr>
                <a:schemeClr val="dk1"/>
              </a:buClr>
              <a:buSzPts val="1200"/>
              <a:buNone/>
              <a:defRPr sz="1200" b="1"/>
            </a:lvl8pPr>
            <a:lvl9pPr marL="4114800" lvl="8" indent="-228600" algn="l">
              <a:lnSpc>
                <a:spcPct val="90000"/>
              </a:lnSpc>
              <a:spcBef>
                <a:spcPts val="375"/>
              </a:spcBef>
              <a:spcAft>
                <a:spcPts val="0"/>
              </a:spcAft>
              <a:buClr>
                <a:schemeClr val="dk1"/>
              </a:buClr>
              <a:buSzPts val="1200"/>
              <a:buNone/>
              <a:defRPr sz="1200" b="1"/>
            </a:lvl9pPr>
          </a:lstStyle>
          <a:p>
            <a:endParaRPr dirty="0"/>
          </a:p>
        </p:txBody>
      </p:sp>
      <p:sp>
        <p:nvSpPr>
          <p:cNvPr id="205" name="Google Shape;205;p54"/>
          <p:cNvSpPr txBox="1">
            <a:spLocks noGrp="1"/>
          </p:cNvSpPr>
          <p:nvPr>
            <p:ph type="body" idx="5"/>
          </p:nvPr>
        </p:nvSpPr>
        <p:spPr>
          <a:xfrm>
            <a:off x="4629149" y="1796190"/>
            <a:ext cx="4133088" cy="1299592"/>
          </a:xfrm>
          <a:prstGeom prst="rect">
            <a:avLst/>
          </a:prstGeom>
          <a:noFill/>
          <a:ln>
            <a:noFill/>
          </a:ln>
        </p:spPr>
        <p:txBody>
          <a:bodyPr spcFirstLastPara="1" wrap="square" lIns="0" tIns="0" rIns="0" bIns="0" anchor="t" anchorCtr="0">
            <a:noAutofit/>
          </a:bodyPr>
          <a:lstStyle>
            <a:lvl1pPr marL="457200" lvl="0" indent="-317500" algn="l">
              <a:lnSpc>
                <a:spcPct val="90000"/>
              </a:lnSpc>
              <a:spcBef>
                <a:spcPts val="600"/>
              </a:spcBef>
              <a:spcAft>
                <a:spcPts val="0"/>
              </a:spcAft>
              <a:buSzPts val="1400"/>
              <a:buChar char="•"/>
              <a:defRPr sz="1400">
                <a:solidFill>
                  <a:schemeClr val="dk1"/>
                </a:solidFill>
                <a:latin typeface="Gene Sans" panose="00000500000000000000" pitchFamily="50" charset="0"/>
                <a:ea typeface="Gene Sans" panose="00000500000000000000" pitchFamily="50" charset="0"/>
                <a:cs typeface="Arial"/>
                <a:sym typeface="Arial"/>
              </a:defRPr>
            </a:lvl1pPr>
            <a:lvl2pPr marL="914400" lvl="1" indent="-304800" algn="l">
              <a:lnSpc>
                <a:spcPct val="90000"/>
              </a:lnSpc>
              <a:spcBef>
                <a:spcPts val="600"/>
              </a:spcBef>
              <a:spcAft>
                <a:spcPts val="0"/>
              </a:spcAft>
              <a:buSzPts val="1200"/>
              <a:buChar char="•"/>
              <a:defRPr sz="1200">
                <a:solidFill>
                  <a:schemeClr val="dk1"/>
                </a:solidFill>
              </a:defRPr>
            </a:lvl2pPr>
            <a:lvl3pPr marL="1371600" lvl="2" indent="-295275" algn="l">
              <a:lnSpc>
                <a:spcPct val="90000"/>
              </a:lnSpc>
              <a:spcBef>
                <a:spcPts val="600"/>
              </a:spcBef>
              <a:spcAft>
                <a:spcPts val="0"/>
              </a:spcAft>
              <a:buSzPts val="1050"/>
              <a:buChar char="•"/>
              <a:defRPr sz="1050">
                <a:solidFill>
                  <a:schemeClr val="dk1"/>
                </a:solidFill>
              </a:defRPr>
            </a:lvl3pPr>
            <a:lvl4pPr marL="1828800" lvl="3" indent="-292100" algn="l">
              <a:lnSpc>
                <a:spcPct val="90000"/>
              </a:lnSpc>
              <a:spcBef>
                <a:spcPts val="600"/>
              </a:spcBef>
              <a:spcAft>
                <a:spcPts val="0"/>
              </a:spcAft>
              <a:buSzPts val="1000"/>
              <a:buChar char="•"/>
              <a:defRPr sz="1000">
                <a:solidFill>
                  <a:schemeClr val="dk1"/>
                </a:solidFill>
              </a:defRPr>
            </a:lvl4pPr>
            <a:lvl5pPr marL="2286000" lvl="4" indent="-292100" algn="l">
              <a:lnSpc>
                <a:spcPct val="90000"/>
              </a:lnSpc>
              <a:spcBef>
                <a:spcPts val="600"/>
              </a:spcBef>
              <a:spcAft>
                <a:spcPts val="0"/>
              </a:spcAft>
              <a:buSzPts val="1000"/>
              <a:buChar char="•"/>
              <a:defRPr sz="1000">
                <a:solidFill>
                  <a:schemeClr val="dk1"/>
                </a:solidFil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cxnSp>
        <p:nvCxnSpPr>
          <p:cNvPr id="206" name="Google Shape;206;p54"/>
          <p:cNvCxnSpPr/>
          <p:nvPr/>
        </p:nvCxnSpPr>
        <p:spPr>
          <a:xfrm>
            <a:off x="381000" y="1663741"/>
            <a:ext cx="4023360" cy="0"/>
          </a:xfrm>
          <a:prstGeom prst="straightConnector1">
            <a:avLst/>
          </a:prstGeom>
          <a:noFill/>
          <a:ln w="12700" cap="flat" cmpd="sng">
            <a:solidFill>
              <a:srgbClr val="77A0DF"/>
            </a:solidFill>
            <a:prstDash val="solid"/>
            <a:miter lim="800000"/>
            <a:headEnd type="none" w="sm" len="sm"/>
            <a:tailEnd type="none" w="sm" len="sm"/>
          </a:ln>
        </p:spPr>
      </p:cxnSp>
      <p:cxnSp>
        <p:nvCxnSpPr>
          <p:cNvPr id="207" name="Google Shape;207;p54"/>
          <p:cNvCxnSpPr/>
          <p:nvPr/>
        </p:nvCxnSpPr>
        <p:spPr>
          <a:xfrm>
            <a:off x="4647077" y="1663741"/>
            <a:ext cx="4023360" cy="0"/>
          </a:xfrm>
          <a:prstGeom prst="straightConnector1">
            <a:avLst/>
          </a:prstGeom>
          <a:noFill/>
          <a:ln w="12700" cap="flat" cmpd="sng">
            <a:solidFill>
              <a:srgbClr val="77A0DF"/>
            </a:solidFill>
            <a:prstDash val="solid"/>
            <a:miter lim="800000"/>
            <a:headEnd type="none" w="sm" len="sm"/>
            <a:tailEnd type="none" w="sm" len="sm"/>
          </a:ln>
        </p:spPr>
      </p:cxnSp>
      <p:sp>
        <p:nvSpPr>
          <p:cNvPr id="208" name="Google Shape;208;p54"/>
          <p:cNvSpPr>
            <a:spLocks noGrp="1"/>
          </p:cNvSpPr>
          <p:nvPr>
            <p:ph type="pic" idx="6"/>
          </p:nvPr>
        </p:nvSpPr>
        <p:spPr>
          <a:xfrm>
            <a:off x="4629150" y="3181350"/>
            <a:ext cx="4133850" cy="1333500"/>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grpSp>
        <p:nvGrpSpPr>
          <p:cNvPr id="209" name="Google Shape;209;p54"/>
          <p:cNvGrpSpPr/>
          <p:nvPr/>
        </p:nvGrpSpPr>
        <p:grpSpPr>
          <a:xfrm>
            <a:off x="9206185" y="51750"/>
            <a:ext cx="2202899" cy="4431983"/>
            <a:chOff x="9248019" y="51750"/>
            <a:chExt cx="2202899" cy="4431983"/>
          </a:xfrm>
        </p:grpSpPr>
        <p:sp>
          <p:nvSpPr>
            <p:cNvPr id="210" name="Google Shape;210;p54"/>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THERE ARE TWO (2) OPTION TO CUSTOMIZE A LAYOUT WITH A </a:t>
              </a:r>
              <a:br>
                <a:rPr lang="en-US" sz="900" b="1" i="0" u="none" strike="noStrike" cap="none" dirty="0">
                  <a:solidFill>
                    <a:srgbClr val="7D8183"/>
                  </a:solidFill>
                  <a:latin typeface="Gene Sans" panose="00000500000000000000" pitchFamily="50" charset="0"/>
                  <a:ea typeface="Arial"/>
                  <a:cs typeface="Arial"/>
                  <a:sym typeface="Arial"/>
                </a:rPr>
              </a:br>
              <a:r>
                <a:rPr lang="en-US" sz="900" b="1" i="0" u="none" strike="noStrike" cap="none" dirty="0">
                  <a:solidFill>
                    <a:srgbClr val="7D8183"/>
                  </a:solidFill>
                  <a:latin typeface="Gene Sans" panose="00000500000000000000" pitchFamily="50" charset="0"/>
                  <a:ea typeface="Arial"/>
                  <a:cs typeface="Arial"/>
                  <a:sym typeface="Arial"/>
                </a:rPr>
                <a:t>NEW PICTURE:</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u="none" strike="noStrike" cap="none" dirty="0">
                  <a:solidFill>
                    <a:srgbClr val="7D8183"/>
                  </a:solidFill>
                  <a:latin typeface="Gene Sans" panose="00000500000000000000" pitchFamily="50" charset="0"/>
                  <a:ea typeface="Arial"/>
                  <a:cs typeface="Arial"/>
                  <a:sym typeface="Arial"/>
                </a:rPr>
                <a:t>Delete the current picture, if there </a:t>
              </a:r>
              <a:br>
                <a:rPr lang="en-US" sz="900" b="1" i="0" u="none" strike="noStrike" cap="none" dirty="0">
                  <a:solidFill>
                    <a:srgbClr val="7D8183"/>
                  </a:solidFill>
                  <a:latin typeface="Gene Sans" panose="00000500000000000000" pitchFamily="50" charset="0"/>
                  <a:ea typeface="Arial"/>
                  <a:cs typeface="Arial"/>
                  <a:sym typeface="Arial"/>
                </a:rPr>
              </a:br>
              <a:r>
                <a:rPr lang="en-US" sz="900" b="1" i="0" u="none" strike="noStrike" cap="none" dirty="0">
                  <a:solidFill>
                    <a:srgbClr val="7D8183"/>
                  </a:solidFill>
                  <a:latin typeface="Gene Sans" panose="00000500000000000000" pitchFamily="50" charset="0"/>
                  <a:ea typeface="Arial"/>
                  <a:cs typeface="Arial"/>
                  <a:sym typeface="Arial"/>
                </a:rPr>
                <a:t>is one.</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On the Insert tab, click the Pictures button OR you can click the picture icon      on the slide surface to start your search.</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Navigate to the image you want to use and select Insert. </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Under Home click the Reset button to reapply the Layout.</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Resize the picture to fit the slide, as needed, using the Crop tool. Hold the Shift key and click and drag a corner to scale equally.</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On the Home tab, click the Arrange button, then Send to Back so the photo is behind the logos, text, and the transparent overlay. </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dirty="0">
                  <a:solidFill>
                    <a:srgbClr val="7D8183"/>
                  </a:solidFill>
                  <a:latin typeface="Gene Sans" panose="00000500000000000000" pitchFamily="50" charset="0"/>
                  <a:ea typeface="Arial"/>
                  <a:cs typeface="Arial"/>
                  <a:sym typeface="Arial"/>
                </a:rPr>
                <a:t>If there is already a photo on the slide surface, you can simply right click on the photo, choose Change Picture and search for the new image. Resize image as needed (using the Crop tool if appropriate).</a:t>
              </a:r>
              <a:endParaRPr sz="1400" b="0" i="0" u="none" strike="noStrike" cap="none" dirty="0">
                <a:solidFill>
                  <a:srgbClr val="000000"/>
                </a:solidFill>
                <a:latin typeface="Gene Sans" panose="00000500000000000000" pitchFamily="50" charset="0"/>
                <a:ea typeface="Arial"/>
                <a:cs typeface="Arial"/>
                <a:sym typeface="Arial"/>
              </a:endParaRPr>
            </a:p>
          </p:txBody>
        </p:sp>
        <p:pic>
          <p:nvPicPr>
            <p:cNvPr id="211" name="Google Shape;211;p54"/>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212" name="Google Shape;212;p54"/>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Gene Sans" panose="00000500000000000000" pitchFamily="50" charset="0"/>
                <a:ea typeface="Gene Sans" panose="00000500000000000000" pitchFamily="50" charset="0"/>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213" name="Google Shape;213;p54"/>
          <p:cNvSpPr txBox="1">
            <a:spLocks noGrp="1"/>
          </p:cNvSpPr>
          <p:nvPr>
            <p:ph type="body" idx="7"/>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214" name="Google Shape;214;p54"/>
          <p:cNvSpPr txBox="1">
            <a:spLocks noGrp="1"/>
          </p:cNvSpPr>
          <p:nvPr>
            <p:ph type="body" idx="8"/>
          </p:nvPr>
        </p:nvSpPr>
        <p:spPr>
          <a:xfrm>
            <a:off x="381648" y="4745251"/>
            <a:ext cx="8385048" cy="110800"/>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720"/>
              </a:spcBef>
              <a:spcAft>
                <a:spcPts val="0"/>
              </a:spcAft>
              <a:buSzPts val="800"/>
              <a:buFont typeface="Arial"/>
              <a:buNone/>
              <a:defRPr sz="800">
                <a:latin typeface="Gene Sans" panose="00000500000000000000" pitchFamily="50" charset="0"/>
                <a:ea typeface="Gene Sans" panose="00000500000000000000" pitchFamily="50" charset="0"/>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872513827"/>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Content with Photo Right">
  <p:cSld name="Content with Photo Right">
    <p:spTree>
      <p:nvGrpSpPr>
        <p:cNvPr id="1" name="Shape 215"/>
        <p:cNvGrpSpPr/>
        <p:nvPr/>
      </p:nvGrpSpPr>
      <p:grpSpPr>
        <a:xfrm>
          <a:off x="0" y="0"/>
          <a:ext cx="0" cy="0"/>
          <a:chOff x="0" y="0"/>
          <a:chExt cx="0" cy="0"/>
        </a:xfrm>
      </p:grpSpPr>
      <p:sp>
        <p:nvSpPr>
          <p:cNvPr id="216" name="Google Shape;216;p55"/>
          <p:cNvSpPr>
            <a:spLocks noGrp="1"/>
          </p:cNvSpPr>
          <p:nvPr>
            <p:ph type="pic" idx="2"/>
          </p:nvPr>
        </p:nvSpPr>
        <p:spPr>
          <a:xfrm>
            <a:off x="4038600" y="1283636"/>
            <a:ext cx="4727448" cy="3232800"/>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17" name="Google Shape;217;p55"/>
          <p:cNvSpPr txBox="1">
            <a:spLocks noGrp="1"/>
          </p:cNvSpPr>
          <p:nvPr>
            <p:ph type="body" idx="1"/>
          </p:nvPr>
        </p:nvSpPr>
        <p:spPr>
          <a:xfrm>
            <a:off x="381648" y="1283636"/>
            <a:ext cx="3567811" cy="3232800"/>
          </a:xfrm>
          <a:prstGeom prst="rect">
            <a:avLst/>
          </a:prstGeom>
          <a:noFill/>
          <a:ln>
            <a:noFill/>
          </a:ln>
        </p:spPr>
        <p:txBody>
          <a:bodyPr spcFirstLastPara="1" wrap="square" lIns="0" tIns="0" rIns="0" bIns="0" anchor="t" anchorCtr="0">
            <a:noAutofit/>
          </a:bodyPr>
          <a:lstStyle>
            <a:lvl1pPr marL="457200" lvl="0" indent="-330200" algn="l">
              <a:lnSpc>
                <a:spcPct val="90000"/>
              </a:lnSpc>
              <a:spcBef>
                <a:spcPts val="600"/>
              </a:spcBef>
              <a:spcAft>
                <a:spcPts val="0"/>
              </a:spcAft>
              <a:buSzPts val="1600"/>
              <a:buChar char="•"/>
              <a:defRPr>
                <a:solidFill>
                  <a:schemeClr val="dk1"/>
                </a:solidFill>
                <a:latin typeface="Gene Sans" panose="00000500000000000000" pitchFamily="50" charset="0"/>
                <a:ea typeface="Gene Sans" panose="00000500000000000000" pitchFamily="50" charset="0"/>
                <a:cs typeface="Arial"/>
                <a:sym typeface="Arial"/>
              </a:defRPr>
            </a:lvl1pPr>
            <a:lvl2pPr marL="914400" lvl="1" indent="-317500" algn="l">
              <a:lnSpc>
                <a:spcPct val="90000"/>
              </a:lnSpc>
              <a:spcBef>
                <a:spcPts val="600"/>
              </a:spcBef>
              <a:spcAft>
                <a:spcPts val="0"/>
              </a:spcAft>
              <a:buSzPts val="1400"/>
              <a:buFont typeface="Arial"/>
              <a:buChar char="–"/>
              <a:defRPr>
                <a:solidFill>
                  <a:schemeClr val="dk1"/>
                </a:solidFill>
              </a:defRPr>
            </a:lvl2pPr>
            <a:lvl3pPr marL="1371600" lvl="2" indent="-298450" algn="l">
              <a:lnSpc>
                <a:spcPct val="90000"/>
              </a:lnSpc>
              <a:spcBef>
                <a:spcPts val="600"/>
              </a:spcBef>
              <a:spcAft>
                <a:spcPts val="0"/>
              </a:spcAft>
              <a:buSzPts val="1100"/>
              <a:buFont typeface="Noto Sans Symbols"/>
              <a:buChar char="▪"/>
              <a:defRPr>
                <a:solidFill>
                  <a:schemeClr val="dk1"/>
                </a:solidFill>
              </a:defRPr>
            </a:lvl3pPr>
            <a:lvl4pPr marL="1828800" lvl="3" indent="-295275" algn="l">
              <a:lnSpc>
                <a:spcPct val="90000"/>
              </a:lnSpc>
              <a:spcBef>
                <a:spcPts val="600"/>
              </a:spcBef>
              <a:spcAft>
                <a:spcPts val="0"/>
              </a:spcAft>
              <a:buSzPts val="1050"/>
              <a:buChar char="•"/>
              <a:defRPr>
                <a:solidFill>
                  <a:schemeClr val="dk1"/>
                </a:solidFill>
              </a:defRPr>
            </a:lvl4pPr>
            <a:lvl5pPr marL="2286000" lvl="4" indent="-295275" algn="l">
              <a:lnSpc>
                <a:spcPct val="90000"/>
              </a:lnSpc>
              <a:spcBef>
                <a:spcPts val="600"/>
              </a:spcBef>
              <a:spcAft>
                <a:spcPts val="0"/>
              </a:spcAft>
              <a:buSzPts val="1050"/>
              <a:buChar char="•"/>
              <a:defRPr>
                <a:solidFill>
                  <a:schemeClr val="dk1"/>
                </a:solidFil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grpSp>
        <p:nvGrpSpPr>
          <p:cNvPr id="218" name="Google Shape;218;p55"/>
          <p:cNvGrpSpPr/>
          <p:nvPr/>
        </p:nvGrpSpPr>
        <p:grpSpPr>
          <a:xfrm>
            <a:off x="9206185" y="51750"/>
            <a:ext cx="2202899" cy="4431983"/>
            <a:chOff x="9248019" y="51750"/>
            <a:chExt cx="2202899" cy="4431983"/>
          </a:xfrm>
        </p:grpSpPr>
        <p:sp>
          <p:nvSpPr>
            <p:cNvPr id="219" name="Google Shape;219;p55"/>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THERE ARE TWO (2) OPTION TO CUSTOMIZE A LAYOUT WITH A </a:t>
              </a:r>
              <a:br>
                <a:rPr lang="en-US" sz="900" b="1" i="0" u="none" strike="noStrike" cap="none" dirty="0">
                  <a:solidFill>
                    <a:srgbClr val="7D8183"/>
                  </a:solidFill>
                  <a:latin typeface="Gene Sans" panose="00000500000000000000" pitchFamily="50" charset="0"/>
                  <a:ea typeface="Arial"/>
                  <a:cs typeface="Arial"/>
                  <a:sym typeface="Arial"/>
                </a:rPr>
              </a:br>
              <a:r>
                <a:rPr lang="en-US" sz="900" b="1" i="0" u="none" strike="noStrike" cap="none" dirty="0">
                  <a:solidFill>
                    <a:srgbClr val="7D8183"/>
                  </a:solidFill>
                  <a:latin typeface="Gene Sans" panose="00000500000000000000" pitchFamily="50" charset="0"/>
                  <a:ea typeface="Arial"/>
                  <a:cs typeface="Arial"/>
                  <a:sym typeface="Arial"/>
                </a:rPr>
                <a:t>NEW PICTURE:</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u="none" strike="noStrike" cap="none" dirty="0">
                  <a:solidFill>
                    <a:srgbClr val="7D8183"/>
                  </a:solidFill>
                  <a:latin typeface="Gene Sans" panose="00000500000000000000" pitchFamily="50" charset="0"/>
                  <a:ea typeface="Arial"/>
                  <a:cs typeface="Arial"/>
                  <a:sym typeface="Arial"/>
                </a:rPr>
                <a:t>Delete the current picture, if there </a:t>
              </a:r>
              <a:br>
                <a:rPr lang="en-US" sz="900" b="1" i="0" u="none" strike="noStrike" cap="none" dirty="0">
                  <a:solidFill>
                    <a:srgbClr val="7D8183"/>
                  </a:solidFill>
                  <a:latin typeface="Gene Sans" panose="00000500000000000000" pitchFamily="50" charset="0"/>
                  <a:ea typeface="Arial"/>
                  <a:cs typeface="Arial"/>
                  <a:sym typeface="Arial"/>
                </a:rPr>
              </a:br>
              <a:r>
                <a:rPr lang="en-US" sz="900" b="1" i="0" u="none" strike="noStrike" cap="none" dirty="0">
                  <a:solidFill>
                    <a:srgbClr val="7D8183"/>
                  </a:solidFill>
                  <a:latin typeface="Gene Sans" panose="00000500000000000000" pitchFamily="50" charset="0"/>
                  <a:ea typeface="Arial"/>
                  <a:cs typeface="Arial"/>
                  <a:sym typeface="Arial"/>
                </a:rPr>
                <a:t>is one.</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On the Insert tab, click the Pictures button OR you can click the picture icon      on the slide surface to start your search.</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Navigate to the image you want to use and select Insert. </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Under Home click the Reset button to reapply the Layout.</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Resize the picture to fit the slide, as needed, using the Crop tool. Hold the Shift key and click and drag a corner to scale equally.</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On the Home tab, click the Arrange button, then Send to Back so the photo is behind the logos, text, and the transparent overlay. </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dirty="0">
                  <a:solidFill>
                    <a:srgbClr val="7D8183"/>
                  </a:solidFill>
                  <a:latin typeface="Gene Sans" panose="00000500000000000000" pitchFamily="50" charset="0"/>
                  <a:ea typeface="Arial"/>
                  <a:cs typeface="Arial"/>
                  <a:sym typeface="Arial"/>
                </a:rPr>
                <a:t>If there is already a photo on the slide surface, you can simply right click on the photo, choose Change Picture and search for the new image. Resize image as needed (using the Crop tool if appropriate).</a:t>
              </a:r>
              <a:endParaRPr sz="1400" b="0" i="0" u="none" strike="noStrike" cap="none" dirty="0">
                <a:solidFill>
                  <a:srgbClr val="000000"/>
                </a:solidFill>
                <a:latin typeface="Gene Sans" panose="00000500000000000000" pitchFamily="50" charset="0"/>
                <a:ea typeface="Arial"/>
                <a:cs typeface="Arial"/>
                <a:sym typeface="Arial"/>
              </a:endParaRPr>
            </a:p>
          </p:txBody>
        </p:sp>
        <p:pic>
          <p:nvPicPr>
            <p:cNvPr id="220" name="Google Shape;220;p55"/>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221" name="Google Shape;221;p55"/>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Gene Sans" panose="00000500000000000000" pitchFamily="50" charset="0"/>
                <a:ea typeface="Gene Sans" panose="00000500000000000000" pitchFamily="50" charset="0"/>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222" name="Google Shape;222;p55"/>
          <p:cNvSpPr txBox="1">
            <a:spLocks noGrp="1"/>
          </p:cNvSpPr>
          <p:nvPr>
            <p:ph type="body" idx="3"/>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223" name="Google Shape;223;p55"/>
          <p:cNvSpPr txBox="1">
            <a:spLocks noGrp="1"/>
          </p:cNvSpPr>
          <p:nvPr>
            <p:ph type="body" idx="4"/>
          </p:nvPr>
        </p:nvSpPr>
        <p:spPr>
          <a:xfrm>
            <a:off x="381648" y="4745251"/>
            <a:ext cx="8385048" cy="110800"/>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720"/>
              </a:spcBef>
              <a:spcAft>
                <a:spcPts val="0"/>
              </a:spcAft>
              <a:buSzPts val="800"/>
              <a:buFont typeface="Arial"/>
              <a:buNone/>
              <a:defRPr sz="800">
                <a:latin typeface="Gene Sans" panose="00000500000000000000" pitchFamily="50" charset="0"/>
                <a:ea typeface="Gene Sans" panose="00000500000000000000" pitchFamily="50" charset="0"/>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2575399233"/>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Full Background Photo">
  <p:cSld name="Full Background Photo">
    <p:spTree>
      <p:nvGrpSpPr>
        <p:cNvPr id="1" name="Shape 224"/>
        <p:cNvGrpSpPr/>
        <p:nvPr/>
      </p:nvGrpSpPr>
      <p:grpSpPr>
        <a:xfrm>
          <a:off x="0" y="0"/>
          <a:ext cx="0" cy="0"/>
          <a:chOff x="0" y="0"/>
          <a:chExt cx="0" cy="0"/>
        </a:xfrm>
      </p:grpSpPr>
      <p:sp>
        <p:nvSpPr>
          <p:cNvPr id="225" name="Google Shape;225;p56"/>
          <p:cNvSpPr/>
          <p:nvPr/>
        </p:nvSpPr>
        <p:spPr>
          <a:xfrm>
            <a:off x="380569" y="443552"/>
            <a:ext cx="716367" cy="27432"/>
          </a:xfrm>
          <a:prstGeom prst="rect">
            <a:avLst/>
          </a:prstGeom>
          <a:solidFill>
            <a:srgbClr val="8DC8E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Libre Franklin"/>
              <a:ea typeface="Libre Franklin"/>
              <a:cs typeface="Libre Franklin"/>
              <a:sym typeface="Libre Franklin"/>
            </a:endParaRPr>
          </a:p>
        </p:txBody>
      </p:sp>
      <p:pic>
        <p:nvPicPr>
          <p:cNvPr id="226" name="Google Shape;226;p56"/>
          <p:cNvPicPr preferRelativeResize="0"/>
          <p:nvPr/>
        </p:nvPicPr>
        <p:blipFill rotWithShape="1">
          <a:blip r:embed="rId2">
            <a:alphaModFix/>
          </a:blip>
          <a:srcRect/>
          <a:stretch/>
        </p:blipFill>
        <p:spPr>
          <a:xfrm>
            <a:off x="7945916" y="4716809"/>
            <a:ext cx="816829" cy="207669"/>
          </a:xfrm>
          <a:prstGeom prst="rect">
            <a:avLst/>
          </a:prstGeom>
          <a:noFill/>
          <a:ln>
            <a:noFill/>
          </a:ln>
        </p:spPr>
      </p:pic>
      <p:sp>
        <p:nvSpPr>
          <p:cNvPr id="227" name="Google Shape;227;p56"/>
          <p:cNvSpPr>
            <a:spLocks noGrp="1"/>
          </p:cNvSpPr>
          <p:nvPr>
            <p:ph type="pic" idx="2"/>
          </p:nvPr>
        </p:nvSpPr>
        <p:spPr>
          <a:xfrm>
            <a:off x="0" y="0"/>
            <a:ext cx="9144000" cy="5143500"/>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grpSp>
        <p:nvGrpSpPr>
          <p:cNvPr id="228" name="Google Shape;228;p56"/>
          <p:cNvGrpSpPr/>
          <p:nvPr/>
        </p:nvGrpSpPr>
        <p:grpSpPr>
          <a:xfrm>
            <a:off x="9206185" y="51750"/>
            <a:ext cx="2202899" cy="4431983"/>
            <a:chOff x="9248019" y="51750"/>
            <a:chExt cx="2202899" cy="4431983"/>
          </a:xfrm>
        </p:grpSpPr>
        <p:sp>
          <p:nvSpPr>
            <p:cNvPr id="229" name="Google Shape;229;p56"/>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THERE ARE TWO (2) OPTION TO CUSTOMIZE A LAYOUT WITH A </a:t>
              </a:r>
              <a:br>
                <a:rPr lang="en-US" sz="900" b="1" i="0" u="none" strike="noStrike" cap="none" dirty="0">
                  <a:solidFill>
                    <a:srgbClr val="7D8183"/>
                  </a:solidFill>
                  <a:latin typeface="Gene Sans" panose="00000500000000000000" pitchFamily="50" charset="0"/>
                  <a:ea typeface="Arial"/>
                  <a:cs typeface="Arial"/>
                  <a:sym typeface="Arial"/>
                </a:rPr>
              </a:br>
              <a:r>
                <a:rPr lang="en-US" sz="900" b="1" i="0" u="none" strike="noStrike" cap="none" dirty="0">
                  <a:solidFill>
                    <a:srgbClr val="7D8183"/>
                  </a:solidFill>
                  <a:latin typeface="Gene Sans" panose="00000500000000000000" pitchFamily="50" charset="0"/>
                  <a:ea typeface="Arial"/>
                  <a:cs typeface="Arial"/>
                  <a:sym typeface="Arial"/>
                </a:rPr>
                <a:t>NEW PICTURE:</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u="none" strike="noStrike" cap="none" dirty="0">
                  <a:solidFill>
                    <a:srgbClr val="7D8183"/>
                  </a:solidFill>
                  <a:latin typeface="Gene Sans" panose="00000500000000000000" pitchFamily="50" charset="0"/>
                  <a:ea typeface="Arial"/>
                  <a:cs typeface="Arial"/>
                  <a:sym typeface="Arial"/>
                </a:rPr>
                <a:t>Delete the current picture, if there </a:t>
              </a:r>
              <a:br>
                <a:rPr lang="en-US" sz="900" b="1" i="0" u="none" strike="noStrike" cap="none" dirty="0">
                  <a:solidFill>
                    <a:srgbClr val="7D8183"/>
                  </a:solidFill>
                  <a:latin typeface="Gene Sans" panose="00000500000000000000" pitchFamily="50" charset="0"/>
                  <a:ea typeface="Arial"/>
                  <a:cs typeface="Arial"/>
                  <a:sym typeface="Arial"/>
                </a:rPr>
              </a:br>
              <a:r>
                <a:rPr lang="en-US" sz="900" b="1" i="0" u="none" strike="noStrike" cap="none" dirty="0">
                  <a:solidFill>
                    <a:srgbClr val="7D8183"/>
                  </a:solidFill>
                  <a:latin typeface="Gene Sans" panose="00000500000000000000" pitchFamily="50" charset="0"/>
                  <a:ea typeface="Arial"/>
                  <a:cs typeface="Arial"/>
                  <a:sym typeface="Arial"/>
                </a:rPr>
                <a:t>is one.</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On the Insert tab, click the Pictures button OR you can click the picture icon      on the slide surface to start your search.</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Navigate to the image you want to use and select Insert. </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Under Home click the Reset button to reapply the Layout.</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Resize the picture to fit the slide, as needed, using the Crop tool. Hold the Shift key and click and drag a corner to scale equally.</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On the Home tab, click the Arrange button, then Send to Back so the photo is behind the logos, text, and the transparent overlay. </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dirty="0">
                  <a:solidFill>
                    <a:srgbClr val="7D8183"/>
                  </a:solidFill>
                  <a:latin typeface="Gene Sans" panose="00000500000000000000" pitchFamily="50" charset="0"/>
                  <a:ea typeface="Arial"/>
                  <a:cs typeface="Arial"/>
                  <a:sym typeface="Arial"/>
                </a:rPr>
                <a:t>If there is already a photo on the slide surface, you can simply right click on the photo, choose Change Picture and search for the new image. Resize image as needed (using the Crop tool if appropriate).</a:t>
              </a:r>
              <a:endParaRPr sz="1400" b="0" i="0" u="none" strike="noStrike" cap="none" dirty="0">
                <a:solidFill>
                  <a:srgbClr val="000000"/>
                </a:solidFill>
                <a:latin typeface="Gene Sans" panose="00000500000000000000" pitchFamily="50" charset="0"/>
                <a:ea typeface="Arial"/>
                <a:cs typeface="Arial"/>
                <a:sym typeface="Arial"/>
              </a:endParaRPr>
            </a:p>
          </p:txBody>
        </p:sp>
        <p:pic>
          <p:nvPicPr>
            <p:cNvPr id="230" name="Google Shape;230;p56"/>
            <p:cNvPicPr preferRelativeResize="0"/>
            <p:nvPr/>
          </p:nvPicPr>
          <p:blipFill rotWithShape="1">
            <a:blip r:embed="rId3">
              <a:alphaModFix/>
            </a:blip>
            <a:srcRect/>
            <a:stretch/>
          </p:blipFill>
          <p:spPr>
            <a:xfrm>
              <a:off x="9679634" y="1280346"/>
              <a:ext cx="140548" cy="96627"/>
            </a:xfrm>
            <a:prstGeom prst="rect">
              <a:avLst/>
            </a:prstGeom>
            <a:noFill/>
            <a:ln>
              <a:noFill/>
            </a:ln>
          </p:spPr>
        </p:pic>
      </p:grpSp>
    </p:spTree>
    <p:extLst>
      <p:ext uri="{BB962C8B-B14F-4D97-AF65-F5344CB8AC3E}">
        <p14:creationId xmlns:p14="http://schemas.microsoft.com/office/powerpoint/2010/main" val="3695655461"/>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GN Teams">
  <p:cSld name="GN Teams">
    <p:spTree>
      <p:nvGrpSpPr>
        <p:cNvPr id="1" name="Shape 231"/>
        <p:cNvGrpSpPr/>
        <p:nvPr/>
      </p:nvGrpSpPr>
      <p:grpSpPr>
        <a:xfrm>
          <a:off x="0" y="0"/>
          <a:ext cx="0" cy="0"/>
          <a:chOff x="0" y="0"/>
          <a:chExt cx="0" cy="0"/>
        </a:xfrm>
      </p:grpSpPr>
      <p:sp>
        <p:nvSpPr>
          <p:cNvPr id="232" name="Google Shape;232;p57"/>
          <p:cNvSpPr>
            <a:spLocks noGrp="1"/>
          </p:cNvSpPr>
          <p:nvPr>
            <p:ph type="pic" idx="2"/>
          </p:nvPr>
        </p:nvSpPr>
        <p:spPr>
          <a:xfrm>
            <a:off x="381000"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33" name="Google Shape;233;p57"/>
          <p:cNvSpPr>
            <a:spLocks noGrp="1"/>
          </p:cNvSpPr>
          <p:nvPr>
            <p:ph type="pic" idx="3"/>
          </p:nvPr>
        </p:nvSpPr>
        <p:spPr>
          <a:xfrm>
            <a:off x="2090262"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34" name="Google Shape;234;p57"/>
          <p:cNvSpPr>
            <a:spLocks noGrp="1"/>
          </p:cNvSpPr>
          <p:nvPr>
            <p:ph type="pic" idx="4"/>
          </p:nvPr>
        </p:nvSpPr>
        <p:spPr>
          <a:xfrm>
            <a:off x="3799524"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35" name="Google Shape;235;p57"/>
          <p:cNvSpPr>
            <a:spLocks noGrp="1"/>
          </p:cNvSpPr>
          <p:nvPr>
            <p:ph type="pic" idx="5"/>
          </p:nvPr>
        </p:nvSpPr>
        <p:spPr>
          <a:xfrm>
            <a:off x="5508786"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36" name="Google Shape;236;p57"/>
          <p:cNvSpPr>
            <a:spLocks noGrp="1"/>
          </p:cNvSpPr>
          <p:nvPr>
            <p:ph type="pic" idx="6"/>
          </p:nvPr>
        </p:nvSpPr>
        <p:spPr>
          <a:xfrm>
            <a:off x="7218048"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37" name="Google Shape;237;p57"/>
          <p:cNvSpPr txBox="1">
            <a:spLocks noGrp="1"/>
          </p:cNvSpPr>
          <p:nvPr>
            <p:ph type="body" idx="1"/>
          </p:nvPr>
        </p:nvSpPr>
        <p:spPr>
          <a:xfrm>
            <a:off x="381000" y="2380112"/>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238" name="Google Shape;238;p57"/>
          <p:cNvSpPr txBox="1">
            <a:spLocks noGrp="1"/>
          </p:cNvSpPr>
          <p:nvPr>
            <p:ph type="body" idx="7"/>
          </p:nvPr>
        </p:nvSpPr>
        <p:spPr>
          <a:xfrm>
            <a:off x="2090262" y="2380112"/>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239" name="Google Shape;239;p57"/>
          <p:cNvSpPr txBox="1">
            <a:spLocks noGrp="1"/>
          </p:cNvSpPr>
          <p:nvPr>
            <p:ph type="body" idx="8"/>
          </p:nvPr>
        </p:nvSpPr>
        <p:spPr>
          <a:xfrm>
            <a:off x="3799524" y="2380112"/>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240" name="Google Shape;240;p57"/>
          <p:cNvSpPr txBox="1">
            <a:spLocks noGrp="1"/>
          </p:cNvSpPr>
          <p:nvPr>
            <p:ph type="body" idx="9"/>
          </p:nvPr>
        </p:nvSpPr>
        <p:spPr>
          <a:xfrm>
            <a:off x="5508786" y="2380112"/>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241" name="Google Shape;241;p57"/>
          <p:cNvSpPr txBox="1">
            <a:spLocks noGrp="1"/>
          </p:cNvSpPr>
          <p:nvPr>
            <p:ph type="body" idx="13"/>
          </p:nvPr>
        </p:nvSpPr>
        <p:spPr>
          <a:xfrm>
            <a:off x="7218048" y="2380112"/>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242" name="Google Shape;242;p57"/>
          <p:cNvSpPr>
            <a:spLocks noGrp="1"/>
          </p:cNvSpPr>
          <p:nvPr>
            <p:ph type="pic" idx="14"/>
          </p:nvPr>
        </p:nvSpPr>
        <p:spPr>
          <a:xfrm>
            <a:off x="381000"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43" name="Google Shape;243;p57"/>
          <p:cNvSpPr>
            <a:spLocks noGrp="1"/>
          </p:cNvSpPr>
          <p:nvPr>
            <p:ph type="pic" idx="15"/>
          </p:nvPr>
        </p:nvSpPr>
        <p:spPr>
          <a:xfrm>
            <a:off x="2090262"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44" name="Google Shape;244;p57"/>
          <p:cNvSpPr>
            <a:spLocks noGrp="1"/>
          </p:cNvSpPr>
          <p:nvPr>
            <p:ph type="pic" idx="16"/>
          </p:nvPr>
        </p:nvSpPr>
        <p:spPr>
          <a:xfrm>
            <a:off x="3799524"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45" name="Google Shape;245;p57"/>
          <p:cNvSpPr>
            <a:spLocks noGrp="1"/>
          </p:cNvSpPr>
          <p:nvPr>
            <p:ph type="pic" idx="17"/>
          </p:nvPr>
        </p:nvSpPr>
        <p:spPr>
          <a:xfrm>
            <a:off x="5508786"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46" name="Google Shape;246;p57"/>
          <p:cNvSpPr>
            <a:spLocks noGrp="1"/>
          </p:cNvSpPr>
          <p:nvPr>
            <p:ph type="pic" idx="18"/>
          </p:nvPr>
        </p:nvSpPr>
        <p:spPr>
          <a:xfrm>
            <a:off x="7218048"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47" name="Google Shape;247;p57"/>
          <p:cNvSpPr txBox="1">
            <a:spLocks noGrp="1"/>
          </p:cNvSpPr>
          <p:nvPr>
            <p:ph type="body" idx="19"/>
          </p:nvPr>
        </p:nvSpPr>
        <p:spPr>
          <a:xfrm>
            <a:off x="381000" y="4228630"/>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248" name="Google Shape;248;p57"/>
          <p:cNvSpPr txBox="1">
            <a:spLocks noGrp="1"/>
          </p:cNvSpPr>
          <p:nvPr>
            <p:ph type="body" idx="20"/>
          </p:nvPr>
        </p:nvSpPr>
        <p:spPr>
          <a:xfrm>
            <a:off x="2090262" y="4228630"/>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249" name="Google Shape;249;p57"/>
          <p:cNvSpPr txBox="1">
            <a:spLocks noGrp="1"/>
          </p:cNvSpPr>
          <p:nvPr>
            <p:ph type="body" idx="21"/>
          </p:nvPr>
        </p:nvSpPr>
        <p:spPr>
          <a:xfrm>
            <a:off x="3799524" y="4228630"/>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250" name="Google Shape;250;p57"/>
          <p:cNvSpPr txBox="1">
            <a:spLocks noGrp="1"/>
          </p:cNvSpPr>
          <p:nvPr>
            <p:ph type="body" idx="22"/>
          </p:nvPr>
        </p:nvSpPr>
        <p:spPr>
          <a:xfrm>
            <a:off x="5508786" y="4228630"/>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251" name="Google Shape;251;p57"/>
          <p:cNvSpPr txBox="1">
            <a:spLocks noGrp="1"/>
          </p:cNvSpPr>
          <p:nvPr>
            <p:ph type="body" idx="23"/>
          </p:nvPr>
        </p:nvSpPr>
        <p:spPr>
          <a:xfrm>
            <a:off x="7218048" y="4228630"/>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grpSp>
        <p:nvGrpSpPr>
          <p:cNvPr id="252" name="Google Shape;252;p57"/>
          <p:cNvGrpSpPr/>
          <p:nvPr/>
        </p:nvGrpSpPr>
        <p:grpSpPr>
          <a:xfrm>
            <a:off x="9206185" y="367221"/>
            <a:ext cx="2202899" cy="3801041"/>
            <a:chOff x="9248019" y="367221"/>
            <a:chExt cx="2202899" cy="3801041"/>
          </a:xfrm>
        </p:grpSpPr>
        <p:sp>
          <p:nvSpPr>
            <p:cNvPr id="253" name="Google Shape;253;p57"/>
            <p:cNvSpPr txBox="1"/>
            <p:nvPr/>
          </p:nvSpPr>
          <p:spPr>
            <a:xfrm>
              <a:off x="9248019" y="367221"/>
              <a:ext cx="2202899" cy="380104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THERE ARE TWO (2) OPTION TO CUSTOMIZE A LAYOUT WITH A </a:t>
              </a:r>
              <a:br>
                <a:rPr lang="en-US" sz="900" b="1" i="0" u="none" strike="noStrike" cap="none" dirty="0">
                  <a:solidFill>
                    <a:srgbClr val="7D8183"/>
                  </a:solidFill>
                  <a:latin typeface="Gene Sans" panose="00000500000000000000" pitchFamily="50" charset="0"/>
                  <a:ea typeface="Arial"/>
                  <a:cs typeface="Arial"/>
                  <a:sym typeface="Arial"/>
                </a:rPr>
              </a:br>
              <a:r>
                <a:rPr lang="en-US" sz="900" b="1" i="0" u="none" strike="noStrike" cap="none" dirty="0">
                  <a:solidFill>
                    <a:srgbClr val="7D8183"/>
                  </a:solidFill>
                  <a:latin typeface="Gene Sans" panose="00000500000000000000" pitchFamily="50" charset="0"/>
                  <a:ea typeface="Arial"/>
                  <a:cs typeface="Arial"/>
                  <a:sym typeface="Arial"/>
                </a:rPr>
                <a:t>NEW PICTURE:</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u="none" strike="noStrike" cap="none" dirty="0">
                  <a:solidFill>
                    <a:srgbClr val="7D8183"/>
                  </a:solidFill>
                  <a:latin typeface="Gene Sans" panose="00000500000000000000" pitchFamily="50" charset="0"/>
                  <a:ea typeface="Arial"/>
                  <a:cs typeface="Arial"/>
                  <a:sym typeface="Arial"/>
                </a:rPr>
                <a:t>Delete the current picture, if there </a:t>
              </a:r>
              <a:br>
                <a:rPr lang="en-US" sz="900" b="1" i="0" u="none" strike="noStrike" cap="none" dirty="0">
                  <a:solidFill>
                    <a:srgbClr val="7D8183"/>
                  </a:solidFill>
                  <a:latin typeface="Gene Sans" panose="00000500000000000000" pitchFamily="50" charset="0"/>
                  <a:ea typeface="Arial"/>
                  <a:cs typeface="Arial"/>
                  <a:sym typeface="Arial"/>
                </a:rPr>
              </a:br>
              <a:r>
                <a:rPr lang="en-US" sz="900" b="1" i="0" u="none" strike="noStrike" cap="none" dirty="0">
                  <a:solidFill>
                    <a:srgbClr val="7D8183"/>
                  </a:solidFill>
                  <a:latin typeface="Gene Sans" panose="00000500000000000000" pitchFamily="50" charset="0"/>
                  <a:ea typeface="Arial"/>
                  <a:cs typeface="Arial"/>
                  <a:sym typeface="Arial"/>
                </a:rPr>
                <a:t>is one.</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On the Insert tab, click the Pictures button OR you can click the picture icon      on the slide surface to start your search.</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Navigate to the image you want to use and select Insert. </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Under Home click the Reset button to reapply the Layout.</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dirty="0">
                  <a:solidFill>
                    <a:srgbClr val="7D8183"/>
                  </a:solidFill>
                  <a:latin typeface="Gene Sans" panose="00000500000000000000" pitchFamily="50" charset="0"/>
                  <a:ea typeface="Arial"/>
                  <a:cs typeface="Arial"/>
                  <a:sym typeface="Arial"/>
                </a:rPr>
                <a:t>Resize the picture to fit the slide, as needed, using the Crop tool. Hold the Shift key and click and drag a corner to scale equally.</a:t>
              </a:r>
              <a:endParaRPr sz="1400" b="0" i="0" u="none" strike="noStrike" cap="none" dirty="0">
                <a:solidFill>
                  <a:srgbClr val="000000"/>
                </a:solidFill>
                <a:latin typeface="Gene Sans" panose="00000500000000000000" pitchFamily="50" charset="0"/>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dirty="0">
                  <a:solidFill>
                    <a:srgbClr val="7D8183"/>
                  </a:solidFill>
                  <a:latin typeface="Gene Sans" panose="00000500000000000000" pitchFamily="50" charset="0"/>
                  <a:ea typeface="Arial"/>
                  <a:cs typeface="Arial"/>
                  <a:sym typeface="Arial"/>
                </a:rPr>
                <a:t>If there is already a photo on the slide surface, you can simply right click on the photo, choose Change Picture and search for the new image. Resize image as needed (using the Crop tool if appropriate).</a:t>
              </a:r>
              <a:endParaRPr sz="1400" b="0" i="0" u="none" strike="noStrike" cap="none" dirty="0">
                <a:solidFill>
                  <a:srgbClr val="000000"/>
                </a:solidFill>
                <a:latin typeface="Gene Sans" panose="00000500000000000000" pitchFamily="50" charset="0"/>
                <a:ea typeface="Arial"/>
                <a:cs typeface="Arial"/>
                <a:sym typeface="Arial"/>
              </a:endParaRPr>
            </a:p>
          </p:txBody>
        </p:sp>
        <p:pic>
          <p:nvPicPr>
            <p:cNvPr id="254" name="Google Shape;254;p57"/>
            <p:cNvPicPr preferRelativeResize="0"/>
            <p:nvPr/>
          </p:nvPicPr>
          <p:blipFill rotWithShape="1">
            <a:blip r:embed="rId2">
              <a:alphaModFix/>
            </a:blip>
            <a:srcRect/>
            <a:stretch/>
          </p:blipFill>
          <p:spPr>
            <a:xfrm>
              <a:off x="9679634" y="1593517"/>
              <a:ext cx="140548" cy="96627"/>
            </a:xfrm>
            <a:prstGeom prst="rect">
              <a:avLst/>
            </a:prstGeom>
            <a:noFill/>
            <a:ln>
              <a:noFill/>
            </a:ln>
          </p:spPr>
        </p:pic>
      </p:grpSp>
      <p:sp>
        <p:nvSpPr>
          <p:cNvPr id="255" name="Google Shape;255;p57"/>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Gene Sans" panose="00000500000000000000" pitchFamily="50" charset="0"/>
                <a:ea typeface="Gene Sans" panose="00000500000000000000" pitchFamily="50" charset="0"/>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256" name="Google Shape;256;p57"/>
          <p:cNvSpPr txBox="1">
            <a:spLocks noGrp="1"/>
          </p:cNvSpPr>
          <p:nvPr>
            <p:ph type="body" idx="24"/>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257" name="Google Shape;257;p57"/>
          <p:cNvSpPr txBox="1">
            <a:spLocks noGrp="1"/>
          </p:cNvSpPr>
          <p:nvPr>
            <p:ph type="body" idx="25"/>
          </p:nvPr>
        </p:nvSpPr>
        <p:spPr>
          <a:xfrm>
            <a:off x="381648" y="4745251"/>
            <a:ext cx="8385048" cy="110800"/>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720"/>
              </a:spcBef>
              <a:spcAft>
                <a:spcPts val="0"/>
              </a:spcAft>
              <a:buSzPts val="800"/>
              <a:buFont typeface="Arial"/>
              <a:buNone/>
              <a:defRPr sz="800">
                <a:latin typeface="Gene Sans" panose="00000500000000000000" pitchFamily="50" charset="0"/>
                <a:ea typeface="Gene Sans" panose="00000500000000000000" pitchFamily="50" charset="0"/>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4042684576"/>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58"/>
        <p:cNvGrpSpPr/>
        <p:nvPr/>
      </p:nvGrpSpPr>
      <p:grpSpPr>
        <a:xfrm>
          <a:off x="0" y="0"/>
          <a:ext cx="0" cy="0"/>
          <a:chOff x="0" y="0"/>
          <a:chExt cx="0" cy="0"/>
        </a:xfrm>
      </p:grpSpPr>
      <p:sp>
        <p:nvSpPr>
          <p:cNvPr id="259" name="Google Shape;259;p58"/>
          <p:cNvSpPr txBox="1">
            <a:spLocks noGrp="1"/>
          </p:cNvSpPr>
          <p:nvPr>
            <p:ph type="body" idx="1"/>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Gene Sans" panose="00000500000000000000" pitchFamily="50" charset="0"/>
                <a:ea typeface="Gene Sans" panose="00000500000000000000" pitchFamily="50" charset="0"/>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2324775830"/>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Content" userDrawn="1">
  <p:cSld name="Title and Content">
    <p:spTree>
      <p:nvGrpSpPr>
        <p:cNvPr id="1" name="Shape 56"/>
        <p:cNvGrpSpPr/>
        <p:nvPr/>
      </p:nvGrpSpPr>
      <p:grpSpPr>
        <a:xfrm>
          <a:off x="0" y="0"/>
          <a:ext cx="0" cy="0"/>
          <a:chOff x="0" y="0"/>
          <a:chExt cx="0" cy="0"/>
        </a:xfrm>
      </p:grpSpPr>
      <p:sp>
        <p:nvSpPr>
          <p:cNvPr id="58" name="Google Shape;58;p36"/>
          <p:cNvSpPr txBox="1">
            <a:spLocks noGrp="1"/>
          </p:cNvSpPr>
          <p:nvPr>
            <p:ph type="body" idx="2"/>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378" lvl="1" indent="-228594" algn="l">
              <a:lnSpc>
                <a:spcPct val="90000"/>
              </a:lnSpc>
              <a:spcBef>
                <a:spcPts val="600"/>
              </a:spcBef>
              <a:spcAft>
                <a:spcPts val="0"/>
              </a:spcAft>
              <a:buSzPts val="1400"/>
              <a:buNone/>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dirty="0"/>
          </a:p>
        </p:txBody>
      </p:sp>
      <p:sp>
        <p:nvSpPr>
          <p:cNvPr id="60" name="Google Shape;60;p36"/>
          <p:cNvSpPr txBox="1">
            <a:spLocks noGrp="1"/>
          </p:cNvSpPr>
          <p:nvPr>
            <p:ph type="body" idx="3" hasCustomPrompt="1"/>
          </p:nvPr>
        </p:nvSpPr>
        <p:spPr>
          <a:xfrm>
            <a:off x="381648" y="4745252"/>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378" lvl="1" indent="-342892" algn="l">
              <a:lnSpc>
                <a:spcPct val="90000"/>
              </a:lnSpc>
              <a:spcBef>
                <a:spcPts val="600"/>
              </a:spcBef>
              <a:spcAft>
                <a:spcPts val="0"/>
              </a:spcAft>
              <a:buSzPts val="1800"/>
              <a:buChar char="•"/>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r>
              <a:rPr lang="en-US" dirty="0"/>
              <a:t>Footnote placeholder</a:t>
            </a:r>
          </a:p>
        </p:txBody>
      </p:sp>
      <p:sp>
        <p:nvSpPr>
          <p:cNvPr id="5" name="Text Placeholder 4">
            <a:extLst>
              <a:ext uri="{FF2B5EF4-FFF2-40B4-BE49-F238E27FC236}">
                <a16:creationId xmlns:a16="http://schemas.microsoft.com/office/drawing/2014/main" id="{740947E1-21DF-4371-929A-10D818EE6390}"/>
              </a:ext>
            </a:extLst>
          </p:cNvPr>
          <p:cNvSpPr>
            <a:spLocks noGrp="1"/>
          </p:cNvSpPr>
          <p:nvPr>
            <p:ph type="body" sz="quarter" idx="10"/>
          </p:nvPr>
        </p:nvSpPr>
        <p:spPr>
          <a:xfrm>
            <a:off x="381648" y="1283549"/>
            <a:ext cx="8385048" cy="3227832"/>
          </a:xfrm>
          <a:prstGeom prst="rect">
            <a:avLst/>
          </a:prstGeom>
        </p:spPr>
        <p:txBody>
          <a:bodyPr/>
          <a:lstStyle>
            <a:lvl1pPr>
              <a:defRPr>
                <a:latin typeface="+mn-lt"/>
              </a:defRPr>
            </a:lvl1pPr>
            <a:lvl2pPr marL="347463" indent="-173732">
              <a:lnSpc>
                <a:spcPct val="90000"/>
              </a:lnSpc>
              <a:spcBef>
                <a:spcPts val="600"/>
              </a:spcBef>
              <a:defRPr>
                <a:latin typeface="+mn-lt"/>
              </a:defRPr>
            </a:lvl2pPr>
            <a:lvl3pPr marL="521195" indent="-173732">
              <a:lnSpc>
                <a:spcPct val="90000"/>
              </a:lnSpc>
              <a:spcBef>
                <a:spcPts val="600"/>
              </a:spcBef>
              <a:buFont typeface="Wingdings" panose="05000000000000000000" pitchFamily="2" charset="2"/>
              <a:buChar char="§"/>
              <a:defRPr>
                <a:latin typeface="+mn-lt"/>
              </a:defRPr>
            </a:lvl3pPr>
            <a:lvl4pPr>
              <a:lnSpc>
                <a:spcPct val="90000"/>
              </a:lnSpc>
              <a:spcBef>
                <a:spcPts val="600"/>
              </a:spcBef>
              <a:defRPr>
                <a:latin typeface="+mn-lt"/>
              </a:defRPr>
            </a:lvl4pPr>
            <a:lvl5pPr>
              <a:lnSpc>
                <a:spcPct val="90000"/>
              </a:lnSpc>
              <a:spcBef>
                <a:spcPts val="600"/>
              </a:spcBef>
              <a:defRPr>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BB5350E3-825C-486F-8520-FF4679AFA71C}"/>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05090115"/>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56"/>
        <p:cNvGrpSpPr/>
        <p:nvPr/>
      </p:nvGrpSpPr>
      <p:grpSpPr>
        <a:xfrm>
          <a:off x="0" y="0"/>
          <a:ext cx="0" cy="0"/>
          <a:chOff x="0" y="0"/>
          <a:chExt cx="0" cy="0"/>
        </a:xfrm>
      </p:grpSpPr>
      <p:sp>
        <p:nvSpPr>
          <p:cNvPr id="57" name="Google Shape;57;p36"/>
          <p:cNvSpPr txBox="1">
            <a:spLocks noGrp="1"/>
          </p:cNvSpPr>
          <p:nvPr>
            <p:ph type="body" idx="1"/>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Arial"/>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58" name="Google Shape;58;p36"/>
          <p:cNvSpPr txBox="1">
            <a:spLocks noGrp="1"/>
          </p:cNvSpPr>
          <p:nvPr>
            <p:ph type="body" idx="2"/>
          </p:nvPr>
        </p:nvSpPr>
        <p:spPr>
          <a:xfrm>
            <a:off x="381648" y="4745251"/>
            <a:ext cx="8385048" cy="110800"/>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720"/>
              </a:spcBef>
              <a:spcAft>
                <a:spcPts val="0"/>
              </a:spcAft>
              <a:buSzPts val="800"/>
              <a:buFont typeface="Arial"/>
              <a:buNone/>
              <a:defRPr sz="800">
                <a:latin typeface="Arial"/>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59" name="Google Shape;59;p36"/>
          <p:cNvSpPr txBox="1">
            <a:spLocks noGrp="1"/>
          </p:cNvSpPr>
          <p:nvPr>
            <p:ph type="body" idx="3"/>
          </p:nvPr>
        </p:nvSpPr>
        <p:spPr>
          <a:xfrm>
            <a:off x="381648" y="1283549"/>
            <a:ext cx="8385048" cy="3227832"/>
          </a:xfrm>
          <a:prstGeom prst="rect">
            <a:avLst/>
          </a:prstGeom>
          <a:noFill/>
          <a:ln>
            <a:noFill/>
          </a:ln>
        </p:spPr>
        <p:txBody>
          <a:bodyPr spcFirstLastPara="1" wrap="square" lIns="0" tIns="0" rIns="0" bIns="0" anchor="t" anchorCtr="0">
            <a:noAutofit/>
          </a:bodyPr>
          <a:lstStyle>
            <a:lvl1pPr marL="457200" lvl="0" indent="-330200" algn="l">
              <a:lnSpc>
                <a:spcPct val="100000"/>
              </a:lnSpc>
              <a:spcBef>
                <a:spcPts val="0"/>
              </a:spcBef>
              <a:spcAft>
                <a:spcPts val="0"/>
              </a:spcAft>
              <a:buSzPts val="1600"/>
              <a:buChar char="•"/>
              <a:defRPr>
                <a:latin typeface="Arial"/>
                <a:ea typeface="Arial"/>
                <a:cs typeface="Arial"/>
                <a:sym typeface="Arial"/>
              </a:defRPr>
            </a:lvl1pPr>
            <a:lvl2pPr marL="914400" lvl="1" indent="-317500" algn="l">
              <a:lnSpc>
                <a:spcPct val="90000"/>
              </a:lnSpc>
              <a:spcBef>
                <a:spcPts val="600"/>
              </a:spcBef>
              <a:spcAft>
                <a:spcPts val="0"/>
              </a:spcAft>
              <a:buSzPts val="1400"/>
              <a:buChar char="–"/>
              <a:defRPr>
                <a:latin typeface="Arial"/>
                <a:ea typeface="Arial"/>
                <a:cs typeface="Arial"/>
                <a:sym typeface="Arial"/>
              </a:defRPr>
            </a:lvl2pPr>
            <a:lvl3pPr marL="1371600" lvl="2" indent="-298450" algn="l">
              <a:lnSpc>
                <a:spcPct val="90000"/>
              </a:lnSpc>
              <a:spcBef>
                <a:spcPts val="600"/>
              </a:spcBef>
              <a:spcAft>
                <a:spcPts val="0"/>
              </a:spcAft>
              <a:buSzPts val="1100"/>
              <a:buFont typeface="Noto Sans Symbols"/>
              <a:buChar char="▪"/>
              <a:defRPr>
                <a:latin typeface="Arial"/>
                <a:ea typeface="Arial"/>
                <a:cs typeface="Arial"/>
                <a:sym typeface="Arial"/>
              </a:defRPr>
            </a:lvl3pPr>
            <a:lvl4pPr marL="1828800" lvl="3" indent="-295275" algn="l">
              <a:lnSpc>
                <a:spcPct val="90000"/>
              </a:lnSpc>
              <a:spcBef>
                <a:spcPts val="600"/>
              </a:spcBef>
              <a:spcAft>
                <a:spcPts val="0"/>
              </a:spcAft>
              <a:buSzPts val="1050"/>
              <a:buChar char="•"/>
              <a:defRPr>
                <a:latin typeface="Arial"/>
                <a:ea typeface="Arial"/>
                <a:cs typeface="Arial"/>
                <a:sym typeface="Arial"/>
              </a:defRPr>
            </a:lvl4pPr>
            <a:lvl5pPr marL="2286000" lvl="4" indent="-295275" algn="l">
              <a:lnSpc>
                <a:spcPct val="90000"/>
              </a:lnSpc>
              <a:spcBef>
                <a:spcPts val="600"/>
              </a:spcBef>
              <a:spcAft>
                <a:spcPts val="0"/>
              </a:spcAft>
              <a:buSzPts val="1050"/>
              <a:buChar char="•"/>
              <a:defRPr>
                <a:latin typeface="Arial"/>
                <a:ea typeface="Arial"/>
                <a:cs typeface="Arial"/>
                <a:sym typeface="Arial"/>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60" name="Google Shape;60;p36"/>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157422762"/>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Org Chart">
  <p:cSld name="Org Chart">
    <p:spTree>
      <p:nvGrpSpPr>
        <p:cNvPr id="1" name="Shape 102"/>
        <p:cNvGrpSpPr/>
        <p:nvPr/>
      </p:nvGrpSpPr>
      <p:grpSpPr>
        <a:xfrm>
          <a:off x="0" y="0"/>
          <a:ext cx="0" cy="0"/>
          <a:chOff x="0" y="0"/>
          <a:chExt cx="0" cy="0"/>
        </a:xfrm>
      </p:grpSpPr>
      <p:cxnSp>
        <p:nvCxnSpPr>
          <p:cNvPr id="103" name="Google Shape;103;p49"/>
          <p:cNvCxnSpPr/>
          <p:nvPr/>
        </p:nvCxnSpPr>
        <p:spPr>
          <a:xfrm rot="10800000">
            <a:off x="2216888" y="2427651"/>
            <a:ext cx="5300331" cy="0"/>
          </a:xfrm>
          <a:prstGeom prst="straightConnector1">
            <a:avLst/>
          </a:prstGeom>
          <a:noFill/>
          <a:ln w="57150" cap="flat" cmpd="sng">
            <a:solidFill>
              <a:srgbClr val="D1E8F5"/>
            </a:solidFill>
            <a:prstDash val="solid"/>
            <a:miter lim="800000"/>
            <a:headEnd type="none" w="sm" len="sm"/>
            <a:tailEnd type="none" w="sm" len="sm"/>
          </a:ln>
        </p:spPr>
      </p:cxnSp>
      <p:cxnSp>
        <p:nvCxnSpPr>
          <p:cNvPr id="104" name="Google Shape;104;p49"/>
          <p:cNvCxnSpPr/>
          <p:nvPr/>
        </p:nvCxnSpPr>
        <p:spPr>
          <a:xfrm>
            <a:off x="4505817" y="1783017"/>
            <a:ext cx="0" cy="2151030"/>
          </a:xfrm>
          <a:prstGeom prst="straightConnector1">
            <a:avLst/>
          </a:prstGeom>
          <a:noFill/>
          <a:ln w="57150" cap="flat" cmpd="sng">
            <a:solidFill>
              <a:srgbClr val="D1E8F5"/>
            </a:solidFill>
            <a:prstDash val="solid"/>
            <a:miter lim="800000"/>
            <a:headEnd type="none" w="sm" len="sm"/>
            <a:tailEnd type="none" w="sm" len="sm"/>
          </a:ln>
        </p:spPr>
      </p:cxnSp>
      <p:sp>
        <p:nvSpPr>
          <p:cNvPr id="105" name="Google Shape;105;p49"/>
          <p:cNvSpPr/>
          <p:nvPr/>
        </p:nvSpPr>
        <p:spPr>
          <a:xfrm>
            <a:off x="3888319" y="1088290"/>
            <a:ext cx="1930649" cy="731215"/>
          </a:xfrm>
          <a:prstGeom prst="rect">
            <a:avLst/>
          </a:prstGeom>
          <a:solidFill>
            <a:srgbClr val="C3DC9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06" name="Google Shape;106;p49"/>
          <p:cNvSpPr txBox="1">
            <a:spLocks noGrp="1"/>
          </p:cNvSpPr>
          <p:nvPr>
            <p:ph type="body" idx="1"/>
          </p:nvPr>
        </p:nvSpPr>
        <p:spPr>
          <a:xfrm>
            <a:off x="3873895" y="1120767"/>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Arial"/>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07" name="Google Shape;107;p49"/>
          <p:cNvSpPr>
            <a:spLocks noGrp="1"/>
          </p:cNvSpPr>
          <p:nvPr>
            <p:ph type="pic" idx="2"/>
          </p:nvPr>
        </p:nvSpPr>
        <p:spPr>
          <a:xfrm>
            <a:off x="3163857" y="1088289"/>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cxnSp>
        <p:nvCxnSpPr>
          <p:cNvPr id="108" name="Google Shape;108;p49"/>
          <p:cNvCxnSpPr/>
          <p:nvPr/>
        </p:nvCxnSpPr>
        <p:spPr>
          <a:xfrm>
            <a:off x="1692602" y="2370592"/>
            <a:ext cx="0" cy="2151030"/>
          </a:xfrm>
          <a:prstGeom prst="straightConnector1">
            <a:avLst/>
          </a:prstGeom>
          <a:noFill/>
          <a:ln w="57150" cap="flat" cmpd="sng">
            <a:solidFill>
              <a:srgbClr val="D1E8F5"/>
            </a:solidFill>
            <a:prstDash val="solid"/>
            <a:miter lim="800000"/>
            <a:headEnd type="none" w="sm" len="sm"/>
            <a:tailEnd type="none" w="sm" len="sm"/>
          </a:ln>
        </p:spPr>
      </p:cxnSp>
      <p:cxnSp>
        <p:nvCxnSpPr>
          <p:cNvPr id="109" name="Google Shape;109;p49"/>
          <p:cNvCxnSpPr/>
          <p:nvPr/>
        </p:nvCxnSpPr>
        <p:spPr>
          <a:xfrm>
            <a:off x="7280914" y="2370592"/>
            <a:ext cx="0" cy="2151030"/>
          </a:xfrm>
          <a:prstGeom prst="straightConnector1">
            <a:avLst/>
          </a:prstGeom>
          <a:noFill/>
          <a:ln w="57150" cap="flat" cmpd="sng">
            <a:solidFill>
              <a:srgbClr val="D1E8F5"/>
            </a:solidFill>
            <a:prstDash val="solid"/>
            <a:miter lim="800000"/>
            <a:headEnd type="none" w="sm" len="sm"/>
            <a:tailEnd type="none" w="sm" len="sm"/>
          </a:ln>
        </p:spPr>
      </p:cxnSp>
      <p:sp>
        <p:nvSpPr>
          <p:cNvPr id="110" name="Google Shape;110;p49"/>
          <p:cNvSpPr/>
          <p:nvPr/>
        </p:nvSpPr>
        <p:spPr>
          <a:xfrm>
            <a:off x="1113069" y="3784802"/>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11" name="Google Shape;111;p49"/>
          <p:cNvSpPr txBox="1">
            <a:spLocks noGrp="1"/>
          </p:cNvSpPr>
          <p:nvPr>
            <p:ph type="body" idx="3"/>
          </p:nvPr>
        </p:nvSpPr>
        <p:spPr>
          <a:xfrm>
            <a:off x="1098645" y="3817279"/>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Arial"/>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2" name="Google Shape;112;p49"/>
          <p:cNvSpPr>
            <a:spLocks noGrp="1"/>
          </p:cNvSpPr>
          <p:nvPr>
            <p:ph type="pic" idx="4"/>
          </p:nvPr>
        </p:nvSpPr>
        <p:spPr>
          <a:xfrm>
            <a:off x="388607" y="3784801"/>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13" name="Google Shape;113;p49"/>
          <p:cNvSpPr/>
          <p:nvPr/>
        </p:nvSpPr>
        <p:spPr>
          <a:xfrm>
            <a:off x="3888319" y="3784802"/>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14" name="Google Shape;114;p49"/>
          <p:cNvSpPr txBox="1">
            <a:spLocks noGrp="1"/>
          </p:cNvSpPr>
          <p:nvPr>
            <p:ph type="body" idx="5"/>
          </p:nvPr>
        </p:nvSpPr>
        <p:spPr>
          <a:xfrm>
            <a:off x="3873895" y="3817279"/>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Arial"/>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5" name="Google Shape;115;p49"/>
          <p:cNvSpPr>
            <a:spLocks noGrp="1"/>
          </p:cNvSpPr>
          <p:nvPr>
            <p:ph type="pic" idx="6"/>
          </p:nvPr>
        </p:nvSpPr>
        <p:spPr>
          <a:xfrm>
            <a:off x="3163857" y="3784801"/>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16" name="Google Shape;116;p49"/>
          <p:cNvSpPr/>
          <p:nvPr/>
        </p:nvSpPr>
        <p:spPr>
          <a:xfrm>
            <a:off x="6710399" y="3784802"/>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17" name="Google Shape;117;p49"/>
          <p:cNvSpPr txBox="1">
            <a:spLocks noGrp="1"/>
          </p:cNvSpPr>
          <p:nvPr>
            <p:ph type="body" idx="7"/>
          </p:nvPr>
        </p:nvSpPr>
        <p:spPr>
          <a:xfrm>
            <a:off x="6695975" y="3817279"/>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Arial"/>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8" name="Google Shape;118;p49"/>
          <p:cNvSpPr>
            <a:spLocks noGrp="1"/>
          </p:cNvSpPr>
          <p:nvPr>
            <p:ph type="pic" idx="8"/>
          </p:nvPr>
        </p:nvSpPr>
        <p:spPr>
          <a:xfrm>
            <a:off x="5985937" y="3784801"/>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19" name="Google Shape;119;p49"/>
          <p:cNvSpPr/>
          <p:nvPr/>
        </p:nvSpPr>
        <p:spPr>
          <a:xfrm>
            <a:off x="1113069" y="2917500"/>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20" name="Google Shape;120;p49"/>
          <p:cNvSpPr txBox="1">
            <a:spLocks noGrp="1"/>
          </p:cNvSpPr>
          <p:nvPr>
            <p:ph type="body" idx="9"/>
          </p:nvPr>
        </p:nvSpPr>
        <p:spPr>
          <a:xfrm>
            <a:off x="1098645" y="2949977"/>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Arial"/>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21" name="Google Shape;121;p49"/>
          <p:cNvSpPr>
            <a:spLocks noGrp="1"/>
          </p:cNvSpPr>
          <p:nvPr>
            <p:ph type="pic" idx="13"/>
          </p:nvPr>
        </p:nvSpPr>
        <p:spPr>
          <a:xfrm>
            <a:off x="388607" y="2917499"/>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22" name="Google Shape;122;p49"/>
          <p:cNvSpPr/>
          <p:nvPr/>
        </p:nvSpPr>
        <p:spPr>
          <a:xfrm>
            <a:off x="3888319" y="2917500"/>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23" name="Google Shape;123;p49"/>
          <p:cNvSpPr txBox="1">
            <a:spLocks noGrp="1"/>
          </p:cNvSpPr>
          <p:nvPr>
            <p:ph type="body" idx="14"/>
          </p:nvPr>
        </p:nvSpPr>
        <p:spPr>
          <a:xfrm>
            <a:off x="3873895" y="2949977"/>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Arial"/>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24" name="Google Shape;124;p49"/>
          <p:cNvSpPr>
            <a:spLocks noGrp="1"/>
          </p:cNvSpPr>
          <p:nvPr>
            <p:ph type="pic" idx="15"/>
          </p:nvPr>
        </p:nvSpPr>
        <p:spPr>
          <a:xfrm>
            <a:off x="3163857" y="2917499"/>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25" name="Google Shape;125;p49"/>
          <p:cNvSpPr/>
          <p:nvPr/>
        </p:nvSpPr>
        <p:spPr>
          <a:xfrm>
            <a:off x="6710399" y="2917500"/>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26" name="Google Shape;126;p49"/>
          <p:cNvSpPr txBox="1">
            <a:spLocks noGrp="1"/>
          </p:cNvSpPr>
          <p:nvPr>
            <p:ph type="body" idx="16"/>
          </p:nvPr>
        </p:nvSpPr>
        <p:spPr>
          <a:xfrm>
            <a:off x="6695975" y="2949977"/>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Arial"/>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27" name="Google Shape;127;p49"/>
          <p:cNvSpPr>
            <a:spLocks noGrp="1"/>
          </p:cNvSpPr>
          <p:nvPr>
            <p:ph type="pic" idx="17"/>
          </p:nvPr>
        </p:nvSpPr>
        <p:spPr>
          <a:xfrm>
            <a:off x="5985937" y="2917499"/>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28" name="Google Shape;128;p49"/>
          <p:cNvSpPr/>
          <p:nvPr/>
        </p:nvSpPr>
        <p:spPr>
          <a:xfrm>
            <a:off x="1113069" y="2059172"/>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29" name="Google Shape;129;p49"/>
          <p:cNvSpPr txBox="1">
            <a:spLocks noGrp="1"/>
          </p:cNvSpPr>
          <p:nvPr>
            <p:ph type="body" idx="18"/>
          </p:nvPr>
        </p:nvSpPr>
        <p:spPr>
          <a:xfrm>
            <a:off x="1098645" y="2091649"/>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Arial"/>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30" name="Google Shape;130;p49"/>
          <p:cNvSpPr>
            <a:spLocks noGrp="1"/>
          </p:cNvSpPr>
          <p:nvPr>
            <p:ph type="pic" idx="19"/>
          </p:nvPr>
        </p:nvSpPr>
        <p:spPr>
          <a:xfrm>
            <a:off x="388607" y="2059171"/>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31" name="Google Shape;131;p49"/>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 name="Google Shape;132;p49"/>
          <p:cNvSpPr/>
          <p:nvPr/>
        </p:nvSpPr>
        <p:spPr>
          <a:xfrm>
            <a:off x="3888319" y="2059172"/>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33" name="Google Shape;133;p49"/>
          <p:cNvSpPr txBox="1">
            <a:spLocks noGrp="1"/>
          </p:cNvSpPr>
          <p:nvPr>
            <p:ph type="body" idx="20"/>
          </p:nvPr>
        </p:nvSpPr>
        <p:spPr>
          <a:xfrm>
            <a:off x="3873895" y="2091649"/>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Arial"/>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34" name="Google Shape;134;p49"/>
          <p:cNvSpPr>
            <a:spLocks noGrp="1"/>
          </p:cNvSpPr>
          <p:nvPr>
            <p:ph type="pic" idx="21"/>
          </p:nvPr>
        </p:nvSpPr>
        <p:spPr>
          <a:xfrm>
            <a:off x="3163857" y="2059171"/>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35" name="Google Shape;135;p49"/>
          <p:cNvSpPr/>
          <p:nvPr/>
        </p:nvSpPr>
        <p:spPr>
          <a:xfrm>
            <a:off x="6710399" y="2059172"/>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36" name="Google Shape;136;p49"/>
          <p:cNvSpPr txBox="1">
            <a:spLocks noGrp="1"/>
          </p:cNvSpPr>
          <p:nvPr>
            <p:ph type="body" idx="22"/>
          </p:nvPr>
        </p:nvSpPr>
        <p:spPr>
          <a:xfrm>
            <a:off x="6695975" y="2091649"/>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lt2"/>
                </a:solidFill>
                <a:latin typeface="Arial"/>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37" name="Google Shape;137;p49"/>
          <p:cNvSpPr>
            <a:spLocks noGrp="1"/>
          </p:cNvSpPr>
          <p:nvPr>
            <p:ph type="pic" idx="23"/>
          </p:nvPr>
        </p:nvSpPr>
        <p:spPr>
          <a:xfrm>
            <a:off x="5985937" y="2059171"/>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grpSp>
        <p:nvGrpSpPr>
          <p:cNvPr id="138" name="Google Shape;138;p49"/>
          <p:cNvGrpSpPr/>
          <p:nvPr/>
        </p:nvGrpSpPr>
        <p:grpSpPr>
          <a:xfrm>
            <a:off x="9206185" y="157804"/>
            <a:ext cx="2202899" cy="4708981"/>
            <a:chOff x="9206185" y="157804"/>
            <a:chExt cx="2202899" cy="4708981"/>
          </a:xfrm>
        </p:grpSpPr>
        <p:pic>
          <p:nvPicPr>
            <p:cNvPr id="139" name="Google Shape;139;p49"/>
            <p:cNvPicPr preferRelativeResize="0"/>
            <p:nvPr/>
          </p:nvPicPr>
          <p:blipFill rotWithShape="1">
            <a:blip r:embed="rId2">
              <a:alphaModFix/>
            </a:blip>
            <a:srcRect/>
            <a:stretch/>
          </p:blipFill>
          <p:spPr>
            <a:xfrm>
              <a:off x="9637800" y="1253766"/>
              <a:ext cx="140548" cy="96627"/>
            </a:xfrm>
            <a:prstGeom prst="rect">
              <a:avLst/>
            </a:prstGeom>
            <a:noFill/>
            <a:ln>
              <a:noFill/>
            </a:ln>
          </p:spPr>
        </p:pic>
        <p:sp>
          <p:nvSpPr>
            <p:cNvPr id="140" name="Google Shape;140;p49"/>
            <p:cNvSpPr txBox="1"/>
            <p:nvPr/>
          </p:nvSpPr>
          <p:spPr>
            <a:xfrm>
              <a:off x="9206185" y="157804"/>
              <a:ext cx="2202899" cy="470898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TO EDIT THIS LAYOUT BY ADDING IMAGES AND OTHER CONTENT:</a:t>
              </a:r>
              <a:endParaRPr sz="1400" b="0" i="0" u="none" strike="noStrike" cap="none">
                <a:solidFill>
                  <a:srgbClr val="000000"/>
                </a:solidFill>
                <a:latin typeface="Arial"/>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u="none" strike="noStrike" cap="none">
                  <a:solidFill>
                    <a:srgbClr val="7D8183"/>
                  </a:solidFill>
                  <a:latin typeface="Arial"/>
                  <a:ea typeface="Arial"/>
                  <a:cs typeface="Arial"/>
                  <a:sym typeface="Arial"/>
                </a:rPr>
                <a:t>Delete the current picture (s), if there </a:t>
              </a:r>
              <a:br>
                <a:rPr lang="en-US" sz="900" b="1" i="0" u="none" strike="noStrike" cap="none">
                  <a:solidFill>
                    <a:srgbClr val="7D8183"/>
                  </a:solidFill>
                  <a:latin typeface="Arial"/>
                  <a:ea typeface="Arial"/>
                  <a:cs typeface="Arial"/>
                  <a:sym typeface="Arial"/>
                </a:rPr>
              </a:br>
              <a:r>
                <a:rPr lang="en-US" sz="900" b="1" i="0" u="none" strike="noStrike" cap="none">
                  <a:solidFill>
                    <a:srgbClr val="7D8183"/>
                  </a:solidFill>
                  <a:latin typeface="Arial"/>
                  <a:ea typeface="Arial"/>
                  <a:cs typeface="Arial"/>
                  <a:sym typeface="Arial"/>
                </a:rPr>
                <a:t>are any.</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On the Insert tab, click the Pictures button OR you can click the picture icon      on the slide surface to start your search.</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Navigate to the image you want to use and select Insert. </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Resize the picture to fit the photo area, as needed, using the Crop tool. Hold the Shift key and click and drag a corner to scale equally.</a:t>
              </a:r>
              <a:endParaRPr sz="1400" b="0" i="0" u="none" strike="noStrike" cap="none">
                <a:solidFill>
                  <a:srgbClr val="000000"/>
                </a:solidFill>
                <a:latin typeface="Arial"/>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if appropriate).</a:t>
              </a:r>
              <a:endParaRPr sz="1400" b="0" i="0" u="none" strike="noStrike" cap="none">
                <a:solidFill>
                  <a:srgbClr val="000000"/>
                </a:solidFill>
                <a:latin typeface="Arial"/>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a:solidFill>
                    <a:srgbClr val="7D8183"/>
                  </a:solidFill>
                  <a:latin typeface="Arial"/>
                  <a:ea typeface="Arial"/>
                  <a:cs typeface="Arial"/>
                  <a:sym typeface="Arial"/>
                </a:rPr>
                <a:t>Add organizational chart content such as names, titles, and departments. To delete or move box or line elements, you must go to the master to do so. Another slide has been created that is editable on the slide face which works better if your content is slightly different than this master layout.</a:t>
              </a:r>
              <a:endParaRPr sz="1400" b="0" i="0" u="none" strike="noStrike" cap="none">
                <a:solidFill>
                  <a:srgbClr val="000000"/>
                </a:solidFill>
                <a:latin typeface="Arial"/>
                <a:ea typeface="Arial"/>
                <a:cs typeface="Arial"/>
                <a:sym typeface="Arial"/>
              </a:endParaRPr>
            </a:p>
          </p:txBody>
        </p:sp>
      </p:grpSp>
      <p:sp>
        <p:nvSpPr>
          <p:cNvPr id="141" name="Google Shape;141;p49"/>
          <p:cNvSpPr txBox="1">
            <a:spLocks noGrp="1"/>
          </p:cNvSpPr>
          <p:nvPr>
            <p:ph type="body" idx="24"/>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Arial"/>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42" name="Google Shape;142;p49"/>
          <p:cNvSpPr txBox="1">
            <a:spLocks noGrp="1"/>
          </p:cNvSpPr>
          <p:nvPr>
            <p:ph type="body" idx="25"/>
          </p:nvPr>
        </p:nvSpPr>
        <p:spPr>
          <a:xfrm>
            <a:off x="381648" y="4745251"/>
            <a:ext cx="8385048" cy="110800"/>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720"/>
              </a:spcBef>
              <a:spcAft>
                <a:spcPts val="0"/>
              </a:spcAft>
              <a:buSzPts val="800"/>
              <a:buFont typeface="Arial"/>
              <a:buNone/>
              <a:defRPr sz="800">
                <a:latin typeface="Arial"/>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63479619"/>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Photo Left+Content">
  <p:cSld name="Photo Left+Content">
    <p:spTree>
      <p:nvGrpSpPr>
        <p:cNvPr id="1" name="Shape 143"/>
        <p:cNvGrpSpPr/>
        <p:nvPr/>
      </p:nvGrpSpPr>
      <p:grpSpPr>
        <a:xfrm>
          <a:off x="0" y="0"/>
          <a:ext cx="0" cy="0"/>
          <a:chOff x="0" y="0"/>
          <a:chExt cx="0" cy="0"/>
        </a:xfrm>
      </p:grpSpPr>
      <p:sp>
        <p:nvSpPr>
          <p:cNvPr id="144" name="Google Shape;144;p50"/>
          <p:cNvSpPr>
            <a:spLocks noGrp="1"/>
          </p:cNvSpPr>
          <p:nvPr>
            <p:ph type="pic" idx="2"/>
          </p:nvPr>
        </p:nvSpPr>
        <p:spPr>
          <a:xfrm>
            <a:off x="381648" y="1727200"/>
            <a:ext cx="3997325" cy="2787650"/>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45" name="Google Shape;145;p50"/>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6" name="Google Shape;146;p50"/>
          <p:cNvSpPr txBox="1">
            <a:spLocks noGrp="1"/>
          </p:cNvSpPr>
          <p:nvPr>
            <p:ph type="body" idx="1"/>
          </p:nvPr>
        </p:nvSpPr>
        <p:spPr>
          <a:xfrm>
            <a:off x="4629150" y="1283549"/>
            <a:ext cx="4133850" cy="3231301"/>
          </a:xfrm>
          <a:prstGeom prst="rect">
            <a:avLst/>
          </a:prstGeom>
          <a:noFill/>
          <a:ln>
            <a:noFill/>
          </a:ln>
        </p:spPr>
        <p:txBody>
          <a:bodyPr spcFirstLastPara="1" wrap="square" lIns="0" tIns="0" rIns="0" bIns="0" anchor="t" anchorCtr="0">
            <a:noAutofit/>
          </a:bodyPr>
          <a:lstStyle>
            <a:lvl1pPr marL="457200" lvl="0" indent="-330200" algn="l">
              <a:lnSpc>
                <a:spcPct val="90000"/>
              </a:lnSpc>
              <a:spcBef>
                <a:spcPts val="600"/>
              </a:spcBef>
              <a:spcAft>
                <a:spcPts val="0"/>
              </a:spcAft>
              <a:buSzPts val="1600"/>
              <a:buChar char="•"/>
              <a:defRPr>
                <a:solidFill>
                  <a:schemeClr val="dk1"/>
                </a:solidFill>
                <a:latin typeface="Arial"/>
                <a:ea typeface="Arial"/>
                <a:cs typeface="Arial"/>
                <a:sym typeface="Arial"/>
              </a:defRPr>
            </a:lvl1pPr>
            <a:lvl2pPr marL="914400" lvl="1" indent="-317500" algn="l">
              <a:lnSpc>
                <a:spcPct val="90000"/>
              </a:lnSpc>
              <a:spcBef>
                <a:spcPts val="600"/>
              </a:spcBef>
              <a:spcAft>
                <a:spcPts val="0"/>
              </a:spcAft>
              <a:buSzPts val="1400"/>
              <a:buChar char="•"/>
              <a:defRPr>
                <a:solidFill>
                  <a:schemeClr val="dk1"/>
                </a:solidFill>
              </a:defRPr>
            </a:lvl2pPr>
            <a:lvl3pPr marL="1371600" lvl="2" indent="-298450" algn="l">
              <a:lnSpc>
                <a:spcPct val="90000"/>
              </a:lnSpc>
              <a:spcBef>
                <a:spcPts val="600"/>
              </a:spcBef>
              <a:spcAft>
                <a:spcPts val="0"/>
              </a:spcAft>
              <a:buSzPts val="1100"/>
              <a:buChar char="•"/>
              <a:defRPr>
                <a:solidFill>
                  <a:schemeClr val="dk1"/>
                </a:solidFill>
              </a:defRPr>
            </a:lvl3pPr>
            <a:lvl4pPr marL="1828800" lvl="3" indent="-295275" algn="l">
              <a:lnSpc>
                <a:spcPct val="90000"/>
              </a:lnSpc>
              <a:spcBef>
                <a:spcPts val="600"/>
              </a:spcBef>
              <a:spcAft>
                <a:spcPts val="0"/>
              </a:spcAft>
              <a:buSzPts val="1050"/>
              <a:buChar char="•"/>
              <a:defRPr>
                <a:solidFill>
                  <a:schemeClr val="dk1"/>
                </a:solidFill>
              </a:defRPr>
            </a:lvl4pPr>
            <a:lvl5pPr marL="2286000" lvl="4" indent="-295275" algn="l">
              <a:lnSpc>
                <a:spcPct val="90000"/>
              </a:lnSpc>
              <a:spcBef>
                <a:spcPts val="600"/>
              </a:spcBef>
              <a:spcAft>
                <a:spcPts val="0"/>
              </a:spcAft>
              <a:buSzPts val="1050"/>
              <a:buChar char="•"/>
              <a:defRPr>
                <a:solidFill>
                  <a:schemeClr val="dk1"/>
                </a:solidFil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47" name="Google Shape;147;p50"/>
          <p:cNvSpPr txBox="1"/>
          <p:nvPr/>
        </p:nvSpPr>
        <p:spPr>
          <a:xfrm>
            <a:off x="8770345" y="4980080"/>
            <a:ext cx="373655" cy="163420"/>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chemeClr val="accent6"/>
              </a:buClr>
              <a:buSzPts val="300"/>
              <a:buFont typeface="Georgia"/>
              <a:buNone/>
            </a:pPr>
            <a:fld id="{00000000-1234-1234-1234-123412341234}" type="slidenum">
              <a:rPr lang="en-US" sz="700" b="0" i="0" u="none" strike="noStrike" cap="none">
                <a:solidFill>
                  <a:srgbClr val="545859"/>
                </a:solidFill>
                <a:latin typeface="Arial"/>
                <a:ea typeface="Arial"/>
                <a:cs typeface="Arial"/>
                <a:sym typeface="Arial"/>
              </a:rPr>
              <a:t>‹#›</a:t>
            </a:fld>
            <a:endParaRPr sz="700" b="0" i="0" u="none" strike="noStrike" cap="none">
              <a:solidFill>
                <a:srgbClr val="545859"/>
              </a:solidFill>
              <a:latin typeface="Arial"/>
              <a:ea typeface="Arial"/>
              <a:cs typeface="Arial"/>
              <a:sym typeface="Arial"/>
            </a:endParaRPr>
          </a:p>
        </p:txBody>
      </p:sp>
      <p:grpSp>
        <p:nvGrpSpPr>
          <p:cNvPr id="148" name="Google Shape;148;p50"/>
          <p:cNvGrpSpPr/>
          <p:nvPr/>
        </p:nvGrpSpPr>
        <p:grpSpPr>
          <a:xfrm>
            <a:off x="-2241393" y="51750"/>
            <a:ext cx="2202899" cy="4431983"/>
            <a:chOff x="9248019" y="51750"/>
            <a:chExt cx="2202899" cy="4431983"/>
          </a:xfrm>
        </p:grpSpPr>
        <p:sp>
          <p:nvSpPr>
            <p:cNvPr id="149" name="Google Shape;149;p50"/>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THERE ARE TWO (2) OPTION TO CUSTOMIZE A LAYOUT WITH A </a:t>
              </a:r>
              <a:br>
                <a:rPr lang="en-US" sz="900" b="1" i="0" u="none" strike="noStrike" cap="none">
                  <a:solidFill>
                    <a:srgbClr val="7D8183"/>
                  </a:solidFill>
                  <a:latin typeface="Arial"/>
                  <a:ea typeface="Arial"/>
                  <a:cs typeface="Arial"/>
                  <a:sym typeface="Arial"/>
                </a:rPr>
              </a:br>
              <a:r>
                <a:rPr lang="en-US" sz="900" b="1" i="0" u="none" strike="noStrike" cap="none">
                  <a:solidFill>
                    <a:srgbClr val="7D8183"/>
                  </a:solidFill>
                  <a:latin typeface="Arial"/>
                  <a:ea typeface="Arial"/>
                  <a:cs typeface="Arial"/>
                  <a:sym typeface="Arial"/>
                </a:rPr>
                <a:t>NEW PICTURE:</a:t>
              </a:r>
              <a:endParaRPr sz="1400" b="0" i="0" u="none" strike="noStrike" cap="none">
                <a:solidFill>
                  <a:srgbClr val="000000"/>
                </a:solidFill>
                <a:latin typeface="Arial"/>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u="none" strike="noStrike" cap="none">
                  <a:solidFill>
                    <a:srgbClr val="7D8183"/>
                  </a:solidFill>
                  <a:latin typeface="Arial"/>
                  <a:ea typeface="Arial"/>
                  <a:cs typeface="Arial"/>
                  <a:sym typeface="Arial"/>
                </a:rPr>
                <a:t>Delete the current picture, if there </a:t>
              </a:r>
              <a:br>
                <a:rPr lang="en-US" sz="900" b="1" i="0" u="none" strike="noStrike" cap="none">
                  <a:solidFill>
                    <a:srgbClr val="7D8183"/>
                  </a:solidFill>
                  <a:latin typeface="Arial"/>
                  <a:ea typeface="Arial"/>
                  <a:cs typeface="Arial"/>
                  <a:sym typeface="Arial"/>
                </a:rPr>
              </a:br>
              <a:r>
                <a:rPr lang="en-US" sz="900" b="1" i="0" u="none" strike="noStrike" cap="none">
                  <a:solidFill>
                    <a:srgbClr val="7D8183"/>
                  </a:solidFill>
                  <a:latin typeface="Arial"/>
                  <a:ea typeface="Arial"/>
                  <a:cs typeface="Arial"/>
                  <a:sym typeface="Arial"/>
                </a:rPr>
                <a:t>is one.</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On the Insert tab, click the Pictures button OR you can click the picture icon      on the slide surface to start your search.</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Navigate to the image you want to use and select Insert. </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Under Home click the Reset button to reapply the Layout.</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Resize the picture to fit the slide, as needed, using the Crop tool. Hold the Shift key and click and drag a corner to scale equally.</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On the Home tab, click the Arrange button, then Send to Back so the photo is behind the logos, text, and the transparent overlay. </a:t>
              </a:r>
              <a:endParaRPr sz="1400" b="0" i="0" u="none" strike="noStrike" cap="none">
                <a:solidFill>
                  <a:srgbClr val="000000"/>
                </a:solidFill>
                <a:latin typeface="Arial"/>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if appropriate).</a:t>
              </a:r>
              <a:endParaRPr sz="1400" b="0" i="0" u="none" strike="noStrike" cap="none">
                <a:solidFill>
                  <a:srgbClr val="000000"/>
                </a:solidFill>
                <a:latin typeface="Arial"/>
                <a:ea typeface="Arial"/>
                <a:cs typeface="Arial"/>
                <a:sym typeface="Arial"/>
              </a:endParaRPr>
            </a:p>
          </p:txBody>
        </p:sp>
        <p:pic>
          <p:nvPicPr>
            <p:cNvPr id="150" name="Google Shape;150;p50"/>
            <p:cNvPicPr preferRelativeResize="0"/>
            <p:nvPr/>
          </p:nvPicPr>
          <p:blipFill rotWithShape="1">
            <a:blip r:embed="rId2">
              <a:alphaModFix/>
            </a:blip>
            <a:srcRect/>
            <a:stretch/>
          </p:blipFill>
          <p:spPr>
            <a:xfrm>
              <a:off x="9679634" y="1280346"/>
              <a:ext cx="140548" cy="96627"/>
            </a:xfrm>
            <a:prstGeom prst="rect">
              <a:avLst/>
            </a:prstGeom>
            <a:noFill/>
            <a:ln>
              <a:noFill/>
            </a:ln>
          </p:spPr>
        </p:pic>
      </p:grpSp>
      <p:cxnSp>
        <p:nvCxnSpPr>
          <p:cNvPr id="151" name="Google Shape;151;p50"/>
          <p:cNvCxnSpPr/>
          <p:nvPr/>
        </p:nvCxnSpPr>
        <p:spPr>
          <a:xfrm>
            <a:off x="381000" y="443054"/>
            <a:ext cx="8385048" cy="0"/>
          </a:xfrm>
          <a:prstGeom prst="straightConnector1">
            <a:avLst/>
          </a:prstGeom>
          <a:noFill/>
          <a:ln w="12700" cap="flat" cmpd="sng">
            <a:solidFill>
              <a:srgbClr val="8DC8E8"/>
            </a:solidFill>
            <a:prstDash val="solid"/>
            <a:miter lim="800000"/>
            <a:headEnd type="none" w="sm" len="sm"/>
            <a:tailEnd type="none" w="sm" len="sm"/>
          </a:ln>
        </p:spPr>
      </p:cxnSp>
      <p:sp>
        <p:nvSpPr>
          <p:cNvPr id="152" name="Google Shape;152;p50"/>
          <p:cNvSpPr/>
          <p:nvPr/>
        </p:nvSpPr>
        <p:spPr>
          <a:xfrm>
            <a:off x="3788800" y="4913074"/>
            <a:ext cx="1461939" cy="9233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600"/>
              <a:buFont typeface="Arial"/>
              <a:buNone/>
            </a:pPr>
            <a:r>
              <a:rPr lang="en-US" sz="600" b="0" i="0" u="none" strike="noStrike" cap="none">
                <a:solidFill>
                  <a:schemeClr val="dk1"/>
                </a:solidFill>
                <a:latin typeface="Arial"/>
                <a:ea typeface="Arial"/>
                <a:cs typeface="Arial"/>
                <a:sym typeface="Arial"/>
              </a:rPr>
              <a:t>© 2021 Genentech, Inc. All rights reserved</a:t>
            </a:r>
            <a:endParaRPr sz="1400" b="0" i="0" u="none" strike="noStrike" cap="none">
              <a:solidFill>
                <a:srgbClr val="000000"/>
              </a:solidFill>
              <a:latin typeface="Arial"/>
              <a:ea typeface="Arial"/>
              <a:cs typeface="Arial"/>
              <a:sym typeface="Arial"/>
            </a:endParaRPr>
          </a:p>
        </p:txBody>
      </p:sp>
      <p:sp>
        <p:nvSpPr>
          <p:cNvPr id="153" name="Google Shape;153;p50"/>
          <p:cNvSpPr txBox="1">
            <a:spLocks noGrp="1"/>
          </p:cNvSpPr>
          <p:nvPr>
            <p:ph type="body" idx="3"/>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Arial"/>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54" name="Google Shape;154;p50"/>
          <p:cNvSpPr txBox="1">
            <a:spLocks noGrp="1"/>
          </p:cNvSpPr>
          <p:nvPr>
            <p:ph type="body" idx="4"/>
          </p:nvPr>
        </p:nvSpPr>
        <p:spPr>
          <a:xfrm>
            <a:off x="381648" y="4745251"/>
            <a:ext cx="8385048" cy="110800"/>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720"/>
              </a:spcBef>
              <a:spcAft>
                <a:spcPts val="0"/>
              </a:spcAft>
              <a:buSzPts val="800"/>
              <a:buFont typeface="Arial"/>
              <a:buNone/>
              <a:defRPr sz="800">
                <a:latin typeface="Arial"/>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737063049"/>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Process + Photos">
  <p:cSld name="Process + Photos">
    <p:bg>
      <p:bgPr>
        <a:solidFill>
          <a:schemeClr val="lt1"/>
        </a:solidFill>
        <a:effectLst/>
      </p:bgPr>
    </p:bg>
    <p:spTree>
      <p:nvGrpSpPr>
        <p:cNvPr id="1" name="Shape 155"/>
        <p:cNvGrpSpPr/>
        <p:nvPr/>
      </p:nvGrpSpPr>
      <p:grpSpPr>
        <a:xfrm>
          <a:off x="0" y="0"/>
          <a:ext cx="0" cy="0"/>
          <a:chOff x="0" y="0"/>
          <a:chExt cx="0" cy="0"/>
        </a:xfrm>
      </p:grpSpPr>
      <p:sp>
        <p:nvSpPr>
          <p:cNvPr id="156" name="Google Shape;156;p51"/>
          <p:cNvSpPr>
            <a:spLocks noGrp="1"/>
          </p:cNvSpPr>
          <p:nvPr>
            <p:ph type="pic" idx="2"/>
          </p:nvPr>
        </p:nvSpPr>
        <p:spPr>
          <a:xfrm>
            <a:off x="0" y="1598613"/>
            <a:ext cx="2156274" cy="2282825"/>
          </a:xfrm>
          <a:prstGeom prst="rect">
            <a:avLst/>
          </a:prstGeom>
          <a:solidFill>
            <a:srgbClr val="F2F2F2"/>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57" name="Google Shape;157;p51"/>
          <p:cNvSpPr/>
          <p:nvPr/>
        </p:nvSpPr>
        <p:spPr>
          <a:xfrm>
            <a:off x="1674989" y="1599384"/>
            <a:ext cx="1797661" cy="2282052"/>
          </a:xfrm>
          <a:prstGeom prst="chevron">
            <a:avLst>
              <a:gd name="adj" fmla="val 27001"/>
            </a:avLst>
          </a:prstGeom>
          <a:solidFill>
            <a:srgbClr val="DDEE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58" name="Google Shape;158;p51"/>
          <p:cNvSpPr/>
          <p:nvPr/>
        </p:nvSpPr>
        <p:spPr>
          <a:xfrm>
            <a:off x="2982690" y="1599382"/>
            <a:ext cx="1886036" cy="2282052"/>
          </a:xfrm>
          <a:prstGeom prst="chevron">
            <a:avLst>
              <a:gd name="adj" fmla="val 27001"/>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59" name="Google Shape;159;p51"/>
          <p:cNvSpPr/>
          <p:nvPr/>
        </p:nvSpPr>
        <p:spPr>
          <a:xfrm>
            <a:off x="4383510" y="1599384"/>
            <a:ext cx="1797661" cy="2282052"/>
          </a:xfrm>
          <a:prstGeom prst="chevron">
            <a:avLst>
              <a:gd name="adj" fmla="val 27001"/>
            </a:avLst>
          </a:prstGeom>
          <a:solidFill>
            <a:srgbClr val="DDEEF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60" name="Google Shape;160;p51"/>
          <p:cNvSpPr/>
          <p:nvPr/>
        </p:nvSpPr>
        <p:spPr>
          <a:xfrm>
            <a:off x="5682072" y="1599382"/>
            <a:ext cx="1913859" cy="2282052"/>
          </a:xfrm>
          <a:prstGeom prst="chevron">
            <a:avLst>
              <a:gd name="adj" fmla="val 27001"/>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Arial"/>
              <a:ea typeface="Arial"/>
              <a:cs typeface="Arial"/>
              <a:sym typeface="Arial"/>
            </a:endParaRPr>
          </a:p>
        </p:txBody>
      </p:sp>
      <p:sp>
        <p:nvSpPr>
          <p:cNvPr id="161" name="Google Shape;161;p51"/>
          <p:cNvSpPr/>
          <p:nvPr/>
        </p:nvSpPr>
        <p:spPr>
          <a:xfrm>
            <a:off x="4383509" y="3566073"/>
            <a:ext cx="2858025" cy="315361"/>
          </a:xfrm>
          <a:prstGeom prst="parallelogram">
            <a:avLst>
              <a:gd name="adj" fmla="val 40361"/>
            </a:avLst>
          </a:prstGeom>
          <a:solidFill>
            <a:srgbClr val="8DC8E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62" name="Google Shape;162;p51"/>
          <p:cNvSpPr>
            <a:spLocks noGrp="1"/>
          </p:cNvSpPr>
          <p:nvPr>
            <p:ph type="pic" idx="3"/>
          </p:nvPr>
        </p:nvSpPr>
        <p:spPr>
          <a:xfrm>
            <a:off x="7070498" y="1599380"/>
            <a:ext cx="2073500" cy="228205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63" name="Google Shape;163;p51"/>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 name="Google Shape;164;p51"/>
          <p:cNvSpPr txBox="1">
            <a:spLocks noGrp="1"/>
          </p:cNvSpPr>
          <p:nvPr>
            <p:ph type="body" idx="1"/>
          </p:nvPr>
        </p:nvSpPr>
        <p:spPr>
          <a:xfrm>
            <a:off x="3537256" y="2514141"/>
            <a:ext cx="1117230" cy="822325"/>
          </a:xfrm>
          <a:prstGeom prst="rect">
            <a:avLst/>
          </a:prstGeom>
          <a:noFill/>
          <a:ln>
            <a:noFill/>
          </a:ln>
        </p:spPr>
        <p:txBody>
          <a:bodyPr spcFirstLastPara="1" wrap="square" lIns="0" tIns="0" rIns="0" bIns="0" anchor="t" anchorCtr="0">
            <a:noAutofit/>
          </a:bodyPr>
          <a:lstStyle>
            <a:lvl1pPr marL="457200" lvl="0"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1pPr>
            <a:lvl2pPr marL="914400" lvl="1"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600" lvl="2"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800" lvl="3"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6000" lvl="4"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5" name="Google Shape;165;p51"/>
          <p:cNvSpPr txBox="1">
            <a:spLocks noGrp="1"/>
          </p:cNvSpPr>
          <p:nvPr>
            <p:ph type="body" idx="4"/>
          </p:nvPr>
        </p:nvSpPr>
        <p:spPr>
          <a:xfrm>
            <a:off x="4930957" y="2514141"/>
            <a:ext cx="1029178" cy="822325"/>
          </a:xfrm>
          <a:prstGeom prst="rect">
            <a:avLst/>
          </a:prstGeom>
          <a:noFill/>
          <a:ln>
            <a:noFill/>
          </a:ln>
        </p:spPr>
        <p:txBody>
          <a:bodyPr spcFirstLastPara="1" wrap="square" lIns="0" tIns="0" rIns="0" bIns="0" anchor="t" anchorCtr="0">
            <a:noAutofit/>
          </a:bodyPr>
          <a:lstStyle>
            <a:lvl1pPr marL="457200" lvl="0"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1pPr>
            <a:lvl2pPr marL="914400" lvl="1"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600" lvl="2"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800" lvl="3"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6000" lvl="4"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6" name="Google Shape;166;p51"/>
          <p:cNvSpPr txBox="1">
            <a:spLocks noGrp="1"/>
          </p:cNvSpPr>
          <p:nvPr>
            <p:ph type="body" idx="5"/>
          </p:nvPr>
        </p:nvSpPr>
        <p:spPr>
          <a:xfrm>
            <a:off x="6225415" y="2514141"/>
            <a:ext cx="1029162" cy="822325"/>
          </a:xfrm>
          <a:prstGeom prst="rect">
            <a:avLst/>
          </a:prstGeom>
          <a:noFill/>
          <a:ln>
            <a:noFill/>
          </a:ln>
        </p:spPr>
        <p:txBody>
          <a:bodyPr spcFirstLastPara="1" wrap="square" lIns="0" tIns="0" rIns="0" bIns="0" anchor="t" anchorCtr="0">
            <a:noAutofit/>
          </a:bodyPr>
          <a:lstStyle>
            <a:lvl1pPr marL="457200" lvl="0"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1pPr>
            <a:lvl2pPr marL="914400" lvl="1"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600" lvl="2"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800" lvl="3"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6000" lvl="4"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7" name="Google Shape;167;p51"/>
          <p:cNvSpPr txBox="1">
            <a:spLocks noGrp="1"/>
          </p:cNvSpPr>
          <p:nvPr>
            <p:ph type="body" idx="6"/>
          </p:nvPr>
        </p:nvSpPr>
        <p:spPr>
          <a:xfrm>
            <a:off x="4498506" y="3564416"/>
            <a:ext cx="2586906" cy="321637"/>
          </a:xfrm>
          <a:prstGeom prst="rect">
            <a:avLst/>
          </a:prstGeom>
          <a:noFill/>
          <a:ln>
            <a:noFill/>
          </a:ln>
        </p:spPr>
        <p:txBody>
          <a:bodyPr spcFirstLastPara="1" wrap="square" lIns="0" tIns="0" rIns="0" bIns="0" anchor="ctr" anchorCtr="0">
            <a:noAutofit/>
          </a:bodyPr>
          <a:lstStyle>
            <a:lvl1pPr marL="457200" lvl="0" indent="-228600" algn="ctr">
              <a:lnSpc>
                <a:spcPct val="90000"/>
              </a:lnSpc>
              <a:spcBef>
                <a:spcPts val="600"/>
              </a:spcBef>
              <a:spcAft>
                <a:spcPts val="0"/>
              </a:spcAft>
              <a:buSzPts val="1600"/>
              <a:buNone/>
              <a:defRPr sz="1600">
                <a:solidFill>
                  <a:srgbClr val="0066CC"/>
                </a:solidFill>
                <a:latin typeface="Arial"/>
                <a:ea typeface="Arial"/>
                <a:cs typeface="Arial"/>
                <a:sym typeface="Arial"/>
              </a:defRPr>
            </a:lvl1pPr>
            <a:lvl2pPr marL="914400" lvl="1"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600" lvl="2"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800" lvl="3"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6000" lvl="4"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grpSp>
        <p:nvGrpSpPr>
          <p:cNvPr id="168" name="Google Shape;168;p51"/>
          <p:cNvGrpSpPr/>
          <p:nvPr/>
        </p:nvGrpSpPr>
        <p:grpSpPr>
          <a:xfrm>
            <a:off x="9206185" y="51750"/>
            <a:ext cx="2202899" cy="4431983"/>
            <a:chOff x="9248019" y="51750"/>
            <a:chExt cx="2202899" cy="4431983"/>
          </a:xfrm>
        </p:grpSpPr>
        <p:sp>
          <p:nvSpPr>
            <p:cNvPr id="169" name="Google Shape;169;p51"/>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THERE ARE TWO (2) OPTION TO CUSTOMIZE A LAYOUT WITH A </a:t>
              </a:r>
              <a:br>
                <a:rPr lang="en-US" sz="900" b="1" i="0" u="none" strike="noStrike" cap="none">
                  <a:solidFill>
                    <a:srgbClr val="7D8183"/>
                  </a:solidFill>
                  <a:latin typeface="Arial"/>
                  <a:ea typeface="Arial"/>
                  <a:cs typeface="Arial"/>
                  <a:sym typeface="Arial"/>
                </a:rPr>
              </a:br>
              <a:r>
                <a:rPr lang="en-US" sz="900" b="1" i="0" u="none" strike="noStrike" cap="none">
                  <a:solidFill>
                    <a:srgbClr val="7D8183"/>
                  </a:solidFill>
                  <a:latin typeface="Arial"/>
                  <a:ea typeface="Arial"/>
                  <a:cs typeface="Arial"/>
                  <a:sym typeface="Arial"/>
                </a:rPr>
                <a:t>NEW PICTURE:</a:t>
              </a:r>
              <a:endParaRPr sz="1400" b="0" i="0" u="none" strike="noStrike" cap="none">
                <a:solidFill>
                  <a:srgbClr val="000000"/>
                </a:solidFill>
                <a:latin typeface="Arial"/>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u="none" strike="noStrike" cap="none">
                  <a:solidFill>
                    <a:srgbClr val="7D8183"/>
                  </a:solidFill>
                  <a:latin typeface="Arial"/>
                  <a:ea typeface="Arial"/>
                  <a:cs typeface="Arial"/>
                  <a:sym typeface="Arial"/>
                </a:rPr>
                <a:t>Delete the current picture, if there </a:t>
              </a:r>
              <a:br>
                <a:rPr lang="en-US" sz="900" b="1" i="0" u="none" strike="noStrike" cap="none">
                  <a:solidFill>
                    <a:srgbClr val="7D8183"/>
                  </a:solidFill>
                  <a:latin typeface="Arial"/>
                  <a:ea typeface="Arial"/>
                  <a:cs typeface="Arial"/>
                  <a:sym typeface="Arial"/>
                </a:rPr>
              </a:br>
              <a:r>
                <a:rPr lang="en-US" sz="900" b="1" i="0" u="none" strike="noStrike" cap="none">
                  <a:solidFill>
                    <a:srgbClr val="7D8183"/>
                  </a:solidFill>
                  <a:latin typeface="Arial"/>
                  <a:ea typeface="Arial"/>
                  <a:cs typeface="Arial"/>
                  <a:sym typeface="Arial"/>
                </a:rPr>
                <a:t>is one.</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On the Insert tab, click the Pictures button OR you can click the picture icon      on the slide surface to start your search.</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Navigate to the image you want to use and select Insert. </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Under Home click the Reset button to reapply the Layout.</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Resize the picture to fit the slide, as needed, using the Crop tool. Hold the Shift key and click and drag a corner to scale equally.</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On the Home tab, click the Arrange button, then Send to Back so the photo is behind the logos, text, and the transparent overlay. </a:t>
              </a:r>
              <a:endParaRPr sz="1400" b="0" i="0" u="none" strike="noStrike" cap="none">
                <a:solidFill>
                  <a:srgbClr val="000000"/>
                </a:solidFill>
                <a:latin typeface="Arial"/>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if appropriate).</a:t>
              </a:r>
              <a:endParaRPr sz="1400" b="0" i="0" u="none" strike="noStrike" cap="none">
                <a:solidFill>
                  <a:srgbClr val="000000"/>
                </a:solidFill>
                <a:latin typeface="Arial"/>
                <a:ea typeface="Arial"/>
                <a:cs typeface="Arial"/>
                <a:sym typeface="Arial"/>
              </a:endParaRPr>
            </a:p>
          </p:txBody>
        </p:sp>
        <p:pic>
          <p:nvPicPr>
            <p:cNvPr id="170" name="Google Shape;170;p51"/>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171" name="Google Shape;171;p51"/>
          <p:cNvSpPr txBox="1">
            <a:spLocks noGrp="1"/>
          </p:cNvSpPr>
          <p:nvPr>
            <p:ph type="body" idx="7"/>
          </p:nvPr>
        </p:nvSpPr>
        <p:spPr>
          <a:xfrm>
            <a:off x="2191420" y="2514141"/>
            <a:ext cx="1015124" cy="822325"/>
          </a:xfrm>
          <a:prstGeom prst="rect">
            <a:avLst/>
          </a:prstGeom>
          <a:noFill/>
          <a:ln>
            <a:noFill/>
          </a:ln>
        </p:spPr>
        <p:txBody>
          <a:bodyPr spcFirstLastPara="1" wrap="square" lIns="0" tIns="0" rIns="0" bIns="0" anchor="t" anchorCtr="0">
            <a:noAutofit/>
          </a:bodyPr>
          <a:lstStyle>
            <a:lvl1pPr marL="457200" lvl="0"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1pPr>
            <a:lvl2pPr marL="914400" lvl="1"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600" lvl="2"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800" lvl="3"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6000" lvl="4"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72" name="Google Shape;172;p51"/>
          <p:cNvSpPr/>
          <p:nvPr/>
        </p:nvSpPr>
        <p:spPr>
          <a:xfrm>
            <a:off x="1670285" y="3566073"/>
            <a:ext cx="1451457" cy="315361"/>
          </a:xfrm>
          <a:prstGeom prst="parallelogram">
            <a:avLst>
              <a:gd name="adj" fmla="val 43503"/>
            </a:avLst>
          </a:prstGeom>
          <a:solidFill>
            <a:srgbClr val="8DC8E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173" name="Google Shape;173;p51"/>
          <p:cNvSpPr txBox="1">
            <a:spLocks noGrp="1"/>
          </p:cNvSpPr>
          <p:nvPr>
            <p:ph type="body" idx="8"/>
          </p:nvPr>
        </p:nvSpPr>
        <p:spPr>
          <a:xfrm>
            <a:off x="1630745" y="3564416"/>
            <a:ext cx="1531555" cy="321637"/>
          </a:xfrm>
          <a:prstGeom prst="rect">
            <a:avLst/>
          </a:prstGeom>
          <a:noFill/>
          <a:ln>
            <a:noFill/>
          </a:ln>
        </p:spPr>
        <p:txBody>
          <a:bodyPr spcFirstLastPara="1" wrap="square" lIns="0" tIns="0" rIns="0" bIns="0" anchor="ctr" anchorCtr="0">
            <a:noAutofit/>
          </a:bodyPr>
          <a:lstStyle>
            <a:lvl1pPr marL="457200" lvl="0" indent="-228600" algn="ctr">
              <a:lnSpc>
                <a:spcPct val="90000"/>
              </a:lnSpc>
              <a:spcBef>
                <a:spcPts val="600"/>
              </a:spcBef>
              <a:spcAft>
                <a:spcPts val="0"/>
              </a:spcAft>
              <a:buSzPts val="1000"/>
              <a:buNone/>
              <a:defRPr sz="1000">
                <a:solidFill>
                  <a:srgbClr val="0066CC"/>
                </a:solidFill>
                <a:latin typeface="Arial"/>
                <a:ea typeface="Arial"/>
                <a:cs typeface="Arial"/>
                <a:sym typeface="Arial"/>
              </a:defRPr>
            </a:lvl1pPr>
            <a:lvl2pPr marL="914400" lvl="1"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600" lvl="2"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800" lvl="3"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6000" lvl="4"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74" name="Google Shape;174;p51"/>
          <p:cNvSpPr txBox="1">
            <a:spLocks noGrp="1"/>
          </p:cNvSpPr>
          <p:nvPr>
            <p:ph type="body" idx="9"/>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Arial"/>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75" name="Google Shape;175;p51"/>
          <p:cNvSpPr txBox="1">
            <a:spLocks noGrp="1"/>
          </p:cNvSpPr>
          <p:nvPr>
            <p:ph type="body" idx="13"/>
          </p:nvPr>
        </p:nvSpPr>
        <p:spPr>
          <a:xfrm>
            <a:off x="381648" y="4745251"/>
            <a:ext cx="8385048" cy="110800"/>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720"/>
              </a:spcBef>
              <a:spcAft>
                <a:spcPts val="0"/>
              </a:spcAft>
              <a:buSzPts val="800"/>
              <a:buFont typeface="Arial"/>
              <a:buNone/>
              <a:defRPr sz="800">
                <a:latin typeface="Arial"/>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02062974"/>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Four Photos Right+Content">
  <p:cSld name="Four Photos Right+Content">
    <p:spTree>
      <p:nvGrpSpPr>
        <p:cNvPr id="1" name="Shape 176"/>
        <p:cNvGrpSpPr/>
        <p:nvPr/>
      </p:nvGrpSpPr>
      <p:grpSpPr>
        <a:xfrm>
          <a:off x="0" y="0"/>
          <a:ext cx="0" cy="0"/>
          <a:chOff x="0" y="0"/>
          <a:chExt cx="0" cy="0"/>
        </a:xfrm>
      </p:grpSpPr>
      <p:sp>
        <p:nvSpPr>
          <p:cNvPr id="177" name="Google Shape;177;p52"/>
          <p:cNvSpPr>
            <a:spLocks noGrp="1"/>
          </p:cNvSpPr>
          <p:nvPr>
            <p:ph type="pic" idx="2"/>
          </p:nvPr>
        </p:nvSpPr>
        <p:spPr>
          <a:xfrm>
            <a:off x="3899560" y="770382"/>
            <a:ext cx="2082139" cy="1801368"/>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78" name="Google Shape;178;p52"/>
          <p:cNvSpPr>
            <a:spLocks noGrp="1"/>
          </p:cNvSpPr>
          <p:nvPr>
            <p:ph type="pic" idx="3"/>
          </p:nvPr>
        </p:nvSpPr>
        <p:spPr>
          <a:xfrm>
            <a:off x="6137275" y="770381"/>
            <a:ext cx="2625725" cy="1801368"/>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79" name="Google Shape;179;p52"/>
          <p:cNvSpPr>
            <a:spLocks noGrp="1"/>
          </p:cNvSpPr>
          <p:nvPr>
            <p:ph type="pic" idx="4"/>
          </p:nvPr>
        </p:nvSpPr>
        <p:spPr>
          <a:xfrm>
            <a:off x="3899561" y="2716574"/>
            <a:ext cx="2082139" cy="179827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80" name="Google Shape;180;p52"/>
          <p:cNvSpPr>
            <a:spLocks noGrp="1"/>
          </p:cNvSpPr>
          <p:nvPr>
            <p:ph type="pic" idx="5"/>
          </p:nvPr>
        </p:nvSpPr>
        <p:spPr>
          <a:xfrm>
            <a:off x="6137275" y="2716574"/>
            <a:ext cx="2625725" cy="179827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81" name="Google Shape;181;p52"/>
          <p:cNvSpPr txBox="1">
            <a:spLocks noGrp="1"/>
          </p:cNvSpPr>
          <p:nvPr>
            <p:ph type="title"/>
          </p:nvPr>
        </p:nvSpPr>
        <p:spPr>
          <a:xfrm>
            <a:off x="381648" y="585795"/>
            <a:ext cx="34488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 name="Google Shape;182;p52"/>
          <p:cNvSpPr txBox="1">
            <a:spLocks noGrp="1"/>
          </p:cNvSpPr>
          <p:nvPr>
            <p:ph type="body" idx="1"/>
          </p:nvPr>
        </p:nvSpPr>
        <p:spPr>
          <a:xfrm>
            <a:off x="380999" y="1352550"/>
            <a:ext cx="3448800" cy="3162300"/>
          </a:xfrm>
          <a:prstGeom prst="rect">
            <a:avLst/>
          </a:prstGeom>
          <a:noFill/>
          <a:ln>
            <a:noFill/>
          </a:ln>
        </p:spPr>
        <p:txBody>
          <a:bodyPr spcFirstLastPara="1" wrap="square" lIns="0" tIns="0" rIns="0" bIns="0" anchor="t" anchorCtr="0">
            <a:noAutofit/>
          </a:bodyPr>
          <a:lstStyle>
            <a:lvl1pPr marL="457200" lvl="0" indent="-317500" algn="l">
              <a:lnSpc>
                <a:spcPct val="90000"/>
              </a:lnSpc>
              <a:spcBef>
                <a:spcPts val="600"/>
              </a:spcBef>
              <a:spcAft>
                <a:spcPts val="0"/>
              </a:spcAft>
              <a:buSzPts val="1400"/>
              <a:buChar char="•"/>
              <a:defRPr sz="1400">
                <a:solidFill>
                  <a:schemeClr val="dk1"/>
                </a:solidFill>
              </a:defRPr>
            </a:lvl1pPr>
            <a:lvl2pPr marL="914400" lvl="1" indent="-304800" algn="l">
              <a:lnSpc>
                <a:spcPct val="90000"/>
              </a:lnSpc>
              <a:spcBef>
                <a:spcPts val="600"/>
              </a:spcBef>
              <a:spcAft>
                <a:spcPts val="0"/>
              </a:spcAft>
              <a:buSzPts val="1200"/>
              <a:buFont typeface="Arial"/>
              <a:buChar char="–"/>
              <a:defRPr sz="1200">
                <a:solidFill>
                  <a:schemeClr val="dk1"/>
                </a:solidFill>
              </a:defRPr>
            </a:lvl2pPr>
            <a:lvl3pPr marL="1371600" lvl="2" indent="-295275" algn="l">
              <a:lnSpc>
                <a:spcPct val="90000"/>
              </a:lnSpc>
              <a:spcBef>
                <a:spcPts val="600"/>
              </a:spcBef>
              <a:spcAft>
                <a:spcPts val="0"/>
              </a:spcAft>
              <a:buSzPts val="1050"/>
              <a:buChar char="•"/>
              <a:defRPr sz="1050">
                <a:solidFill>
                  <a:schemeClr val="dk1"/>
                </a:solidFill>
              </a:defRPr>
            </a:lvl3pPr>
            <a:lvl4pPr marL="1828800" lvl="3" indent="-292100" algn="l">
              <a:lnSpc>
                <a:spcPct val="90000"/>
              </a:lnSpc>
              <a:spcBef>
                <a:spcPts val="600"/>
              </a:spcBef>
              <a:spcAft>
                <a:spcPts val="0"/>
              </a:spcAft>
              <a:buSzPts val="1000"/>
              <a:buChar char="•"/>
              <a:defRPr sz="1000">
                <a:solidFill>
                  <a:schemeClr val="dk1"/>
                </a:solidFill>
              </a:defRPr>
            </a:lvl4pPr>
            <a:lvl5pPr marL="2286000" lvl="4" indent="-292100" algn="l">
              <a:lnSpc>
                <a:spcPct val="90000"/>
              </a:lnSpc>
              <a:spcBef>
                <a:spcPts val="600"/>
              </a:spcBef>
              <a:spcAft>
                <a:spcPts val="0"/>
              </a:spcAft>
              <a:buSzPts val="1000"/>
              <a:buChar char="•"/>
              <a:defRPr sz="1000">
                <a:solidFill>
                  <a:schemeClr val="dk1"/>
                </a:solidFil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grpSp>
        <p:nvGrpSpPr>
          <p:cNvPr id="183" name="Google Shape;183;p52"/>
          <p:cNvGrpSpPr/>
          <p:nvPr/>
        </p:nvGrpSpPr>
        <p:grpSpPr>
          <a:xfrm>
            <a:off x="9206185" y="51750"/>
            <a:ext cx="2202899" cy="4431983"/>
            <a:chOff x="9248019" y="51750"/>
            <a:chExt cx="2202899" cy="4431983"/>
          </a:xfrm>
        </p:grpSpPr>
        <p:sp>
          <p:nvSpPr>
            <p:cNvPr id="184" name="Google Shape;184;p52"/>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THERE ARE TWO (2) OPTION TO CUSTOMIZE A LAYOUT WITH A </a:t>
              </a:r>
              <a:br>
                <a:rPr lang="en-US" sz="900" b="1" i="0" u="none" strike="noStrike" cap="none">
                  <a:solidFill>
                    <a:srgbClr val="7D8183"/>
                  </a:solidFill>
                  <a:latin typeface="Arial"/>
                  <a:ea typeface="Arial"/>
                  <a:cs typeface="Arial"/>
                  <a:sym typeface="Arial"/>
                </a:rPr>
              </a:br>
              <a:r>
                <a:rPr lang="en-US" sz="900" b="1" i="0" u="none" strike="noStrike" cap="none">
                  <a:solidFill>
                    <a:srgbClr val="7D8183"/>
                  </a:solidFill>
                  <a:latin typeface="Arial"/>
                  <a:ea typeface="Arial"/>
                  <a:cs typeface="Arial"/>
                  <a:sym typeface="Arial"/>
                </a:rPr>
                <a:t>NEW PICTURE:</a:t>
              </a:r>
              <a:endParaRPr sz="1400" b="0" i="0" u="none" strike="noStrike" cap="none">
                <a:solidFill>
                  <a:srgbClr val="000000"/>
                </a:solidFill>
                <a:latin typeface="Arial"/>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u="none" strike="noStrike" cap="none">
                  <a:solidFill>
                    <a:srgbClr val="7D8183"/>
                  </a:solidFill>
                  <a:latin typeface="Arial"/>
                  <a:ea typeface="Arial"/>
                  <a:cs typeface="Arial"/>
                  <a:sym typeface="Arial"/>
                </a:rPr>
                <a:t>Delete the current picture, if there </a:t>
              </a:r>
              <a:br>
                <a:rPr lang="en-US" sz="900" b="1" i="0" u="none" strike="noStrike" cap="none">
                  <a:solidFill>
                    <a:srgbClr val="7D8183"/>
                  </a:solidFill>
                  <a:latin typeface="Arial"/>
                  <a:ea typeface="Arial"/>
                  <a:cs typeface="Arial"/>
                  <a:sym typeface="Arial"/>
                </a:rPr>
              </a:br>
              <a:r>
                <a:rPr lang="en-US" sz="900" b="1" i="0" u="none" strike="noStrike" cap="none">
                  <a:solidFill>
                    <a:srgbClr val="7D8183"/>
                  </a:solidFill>
                  <a:latin typeface="Arial"/>
                  <a:ea typeface="Arial"/>
                  <a:cs typeface="Arial"/>
                  <a:sym typeface="Arial"/>
                </a:rPr>
                <a:t>is one.</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On the Insert tab, click the Pictures button OR you can click the picture icon      on the slide surface to start your search.</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Navigate to the image you want to use and select Insert. </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Under Home click the Reset button to reapply the Layout.</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Resize the picture to fit the slide, as needed, using the Crop tool. Hold the Shift key and click and drag a corner to scale equally.</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On the Home tab, click the Arrange button, then Send to Back so the photo is behind the logos, text, and the transparent overlay. </a:t>
              </a:r>
              <a:endParaRPr sz="1400" b="0" i="0" u="none" strike="noStrike" cap="none">
                <a:solidFill>
                  <a:srgbClr val="000000"/>
                </a:solidFill>
                <a:latin typeface="Arial"/>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if appropriate).</a:t>
              </a:r>
              <a:endParaRPr sz="1400" b="0" i="0" u="none" strike="noStrike" cap="none">
                <a:solidFill>
                  <a:srgbClr val="000000"/>
                </a:solidFill>
                <a:latin typeface="Arial"/>
                <a:ea typeface="Arial"/>
                <a:cs typeface="Arial"/>
                <a:sym typeface="Arial"/>
              </a:endParaRPr>
            </a:p>
          </p:txBody>
        </p:sp>
        <p:pic>
          <p:nvPicPr>
            <p:cNvPr id="185" name="Google Shape;185;p52"/>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186" name="Google Shape;186;p52"/>
          <p:cNvSpPr txBox="1">
            <a:spLocks noGrp="1"/>
          </p:cNvSpPr>
          <p:nvPr>
            <p:ph type="body" idx="6"/>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Arial"/>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87" name="Google Shape;187;p52"/>
          <p:cNvSpPr txBox="1">
            <a:spLocks noGrp="1"/>
          </p:cNvSpPr>
          <p:nvPr>
            <p:ph type="body" idx="7"/>
          </p:nvPr>
        </p:nvSpPr>
        <p:spPr>
          <a:xfrm>
            <a:off x="381648" y="4745251"/>
            <a:ext cx="8385048" cy="110800"/>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720"/>
              </a:spcBef>
              <a:spcAft>
                <a:spcPts val="0"/>
              </a:spcAft>
              <a:buSzPts val="800"/>
              <a:buFont typeface="Arial"/>
              <a:buNone/>
              <a:defRPr sz="800">
                <a:latin typeface="Arial"/>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59547795"/>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Four Photos Right+Content2">
  <p:cSld name="Four Photos Right+Content2">
    <p:spTree>
      <p:nvGrpSpPr>
        <p:cNvPr id="1" name="Shape 188"/>
        <p:cNvGrpSpPr/>
        <p:nvPr/>
      </p:nvGrpSpPr>
      <p:grpSpPr>
        <a:xfrm>
          <a:off x="0" y="0"/>
          <a:ext cx="0" cy="0"/>
          <a:chOff x="0" y="0"/>
          <a:chExt cx="0" cy="0"/>
        </a:xfrm>
      </p:grpSpPr>
      <p:sp>
        <p:nvSpPr>
          <p:cNvPr id="189" name="Google Shape;189;p53"/>
          <p:cNvSpPr>
            <a:spLocks noGrp="1"/>
          </p:cNvSpPr>
          <p:nvPr>
            <p:ph type="pic" idx="2"/>
          </p:nvPr>
        </p:nvSpPr>
        <p:spPr>
          <a:xfrm>
            <a:off x="4572746" y="770382"/>
            <a:ext cx="2011680" cy="1801368"/>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90" name="Google Shape;190;p53"/>
          <p:cNvSpPr>
            <a:spLocks noGrp="1"/>
          </p:cNvSpPr>
          <p:nvPr>
            <p:ph type="pic" idx="3"/>
          </p:nvPr>
        </p:nvSpPr>
        <p:spPr>
          <a:xfrm>
            <a:off x="6751320" y="770381"/>
            <a:ext cx="2011680" cy="1801368"/>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91" name="Google Shape;191;p53"/>
          <p:cNvSpPr>
            <a:spLocks noGrp="1"/>
          </p:cNvSpPr>
          <p:nvPr>
            <p:ph type="pic" idx="4"/>
          </p:nvPr>
        </p:nvSpPr>
        <p:spPr>
          <a:xfrm>
            <a:off x="4572746" y="2716574"/>
            <a:ext cx="2011680" cy="179827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92" name="Google Shape;192;p53"/>
          <p:cNvSpPr>
            <a:spLocks noGrp="1"/>
          </p:cNvSpPr>
          <p:nvPr>
            <p:ph type="pic" idx="5"/>
          </p:nvPr>
        </p:nvSpPr>
        <p:spPr>
          <a:xfrm>
            <a:off x="6751320" y="2716574"/>
            <a:ext cx="2011680" cy="179827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grpSp>
        <p:nvGrpSpPr>
          <p:cNvPr id="193" name="Google Shape;193;p53"/>
          <p:cNvGrpSpPr/>
          <p:nvPr/>
        </p:nvGrpSpPr>
        <p:grpSpPr>
          <a:xfrm>
            <a:off x="9206185" y="51750"/>
            <a:ext cx="2202899" cy="4431983"/>
            <a:chOff x="9248019" y="51750"/>
            <a:chExt cx="2202899" cy="4431983"/>
          </a:xfrm>
        </p:grpSpPr>
        <p:sp>
          <p:nvSpPr>
            <p:cNvPr id="194" name="Google Shape;194;p53"/>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THERE ARE TWO (2) OPTION TO CUSTOMIZE A LAYOUT WITH A </a:t>
              </a:r>
              <a:br>
                <a:rPr lang="en-US" sz="900" b="1" i="0" u="none" strike="noStrike" cap="none">
                  <a:solidFill>
                    <a:srgbClr val="7D8183"/>
                  </a:solidFill>
                  <a:latin typeface="Arial"/>
                  <a:ea typeface="Arial"/>
                  <a:cs typeface="Arial"/>
                  <a:sym typeface="Arial"/>
                </a:rPr>
              </a:br>
              <a:r>
                <a:rPr lang="en-US" sz="900" b="1" i="0" u="none" strike="noStrike" cap="none">
                  <a:solidFill>
                    <a:srgbClr val="7D8183"/>
                  </a:solidFill>
                  <a:latin typeface="Arial"/>
                  <a:ea typeface="Arial"/>
                  <a:cs typeface="Arial"/>
                  <a:sym typeface="Arial"/>
                </a:rPr>
                <a:t>NEW PICTURE:</a:t>
              </a:r>
              <a:endParaRPr sz="1400" b="0" i="0" u="none" strike="noStrike" cap="none">
                <a:solidFill>
                  <a:srgbClr val="000000"/>
                </a:solidFill>
                <a:latin typeface="Arial"/>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u="none" strike="noStrike" cap="none">
                  <a:solidFill>
                    <a:srgbClr val="7D8183"/>
                  </a:solidFill>
                  <a:latin typeface="Arial"/>
                  <a:ea typeface="Arial"/>
                  <a:cs typeface="Arial"/>
                  <a:sym typeface="Arial"/>
                </a:rPr>
                <a:t>Delete the current picture, if there </a:t>
              </a:r>
              <a:br>
                <a:rPr lang="en-US" sz="900" b="1" i="0" u="none" strike="noStrike" cap="none">
                  <a:solidFill>
                    <a:srgbClr val="7D8183"/>
                  </a:solidFill>
                  <a:latin typeface="Arial"/>
                  <a:ea typeface="Arial"/>
                  <a:cs typeface="Arial"/>
                  <a:sym typeface="Arial"/>
                </a:rPr>
              </a:br>
              <a:r>
                <a:rPr lang="en-US" sz="900" b="1" i="0" u="none" strike="noStrike" cap="none">
                  <a:solidFill>
                    <a:srgbClr val="7D8183"/>
                  </a:solidFill>
                  <a:latin typeface="Arial"/>
                  <a:ea typeface="Arial"/>
                  <a:cs typeface="Arial"/>
                  <a:sym typeface="Arial"/>
                </a:rPr>
                <a:t>is one.</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On the Insert tab, click the Pictures button OR you can click the picture icon      on the slide surface to start your search.</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Navigate to the image you want to use and select Insert. </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Under Home click the Reset button to reapply the Layout.</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Resize the picture to fit the slide, as needed, using the Crop tool. Hold the Shift key and click and drag a corner to scale equally.</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On the Home tab, click the Arrange button, then Send to Back so the photo is behind the logos, text, and the transparent overlay. </a:t>
              </a:r>
              <a:endParaRPr sz="1400" b="0" i="0" u="none" strike="noStrike" cap="none">
                <a:solidFill>
                  <a:srgbClr val="000000"/>
                </a:solidFill>
                <a:latin typeface="Arial"/>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if appropriate).</a:t>
              </a:r>
              <a:endParaRPr sz="1400" b="0" i="0" u="none" strike="noStrike" cap="none">
                <a:solidFill>
                  <a:srgbClr val="000000"/>
                </a:solidFill>
                <a:latin typeface="Arial"/>
                <a:ea typeface="Arial"/>
                <a:cs typeface="Arial"/>
                <a:sym typeface="Arial"/>
              </a:endParaRPr>
            </a:p>
          </p:txBody>
        </p:sp>
        <p:pic>
          <p:nvPicPr>
            <p:cNvPr id="195" name="Google Shape;195;p53"/>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196" name="Google Shape;196;p53"/>
          <p:cNvSpPr txBox="1">
            <a:spLocks noGrp="1"/>
          </p:cNvSpPr>
          <p:nvPr>
            <p:ph type="title"/>
          </p:nvPr>
        </p:nvSpPr>
        <p:spPr>
          <a:xfrm>
            <a:off x="381648" y="585795"/>
            <a:ext cx="34488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 name="Google Shape;197;p53"/>
          <p:cNvSpPr txBox="1">
            <a:spLocks noGrp="1"/>
          </p:cNvSpPr>
          <p:nvPr>
            <p:ph type="body" idx="1"/>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Arial"/>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98" name="Google Shape;198;p53"/>
          <p:cNvSpPr txBox="1">
            <a:spLocks noGrp="1"/>
          </p:cNvSpPr>
          <p:nvPr>
            <p:ph type="body" idx="6"/>
          </p:nvPr>
        </p:nvSpPr>
        <p:spPr>
          <a:xfrm>
            <a:off x="381648" y="4745251"/>
            <a:ext cx="8385048" cy="110800"/>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720"/>
              </a:spcBef>
              <a:spcAft>
                <a:spcPts val="0"/>
              </a:spcAft>
              <a:buSzPts val="800"/>
              <a:buFont typeface="Arial"/>
              <a:buNone/>
              <a:defRPr sz="800">
                <a:latin typeface="Arial"/>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99" name="Google Shape;199;p53"/>
          <p:cNvSpPr txBox="1">
            <a:spLocks noGrp="1"/>
          </p:cNvSpPr>
          <p:nvPr>
            <p:ph type="body" idx="7"/>
          </p:nvPr>
        </p:nvSpPr>
        <p:spPr>
          <a:xfrm>
            <a:off x="380999" y="1352550"/>
            <a:ext cx="3448800" cy="3162300"/>
          </a:xfrm>
          <a:prstGeom prst="rect">
            <a:avLst/>
          </a:prstGeom>
          <a:noFill/>
          <a:ln>
            <a:noFill/>
          </a:ln>
        </p:spPr>
        <p:txBody>
          <a:bodyPr spcFirstLastPara="1" wrap="square" lIns="0" tIns="0" rIns="0" bIns="0" anchor="t" anchorCtr="0">
            <a:noAutofit/>
          </a:bodyPr>
          <a:lstStyle>
            <a:lvl1pPr marL="457200" lvl="0" indent="-317500" algn="l">
              <a:lnSpc>
                <a:spcPct val="90000"/>
              </a:lnSpc>
              <a:spcBef>
                <a:spcPts val="600"/>
              </a:spcBef>
              <a:spcAft>
                <a:spcPts val="0"/>
              </a:spcAft>
              <a:buSzPts val="1400"/>
              <a:buChar char="•"/>
              <a:defRPr sz="1400">
                <a:solidFill>
                  <a:schemeClr val="dk1"/>
                </a:solidFill>
              </a:defRPr>
            </a:lvl1pPr>
            <a:lvl2pPr marL="914400" lvl="1" indent="-304800" algn="l">
              <a:lnSpc>
                <a:spcPct val="90000"/>
              </a:lnSpc>
              <a:spcBef>
                <a:spcPts val="600"/>
              </a:spcBef>
              <a:spcAft>
                <a:spcPts val="0"/>
              </a:spcAft>
              <a:buSzPts val="1200"/>
              <a:buFont typeface="Arial"/>
              <a:buChar char="–"/>
              <a:defRPr sz="1200">
                <a:solidFill>
                  <a:schemeClr val="dk1"/>
                </a:solidFill>
              </a:defRPr>
            </a:lvl2pPr>
            <a:lvl3pPr marL="1371600" lvl="2" indent="-295275" algn="l">
              <a:lnSpc>
                <a:spcPct val="90000"/>
              </a:lnSpc>
              <a:spcBef>
                <a:spcPts val="600"/>
              </a:spcBef>
              <a:spcAft>
                <a:spcPts val="0"/>
              </a:spcAft>
              <a:buSzPts val="1050"/>
              <a:buChar char="•"/>
              <a:defRPr sz="1050">
                <a:solidFill>
                  <a:schemeClr val="dk1"/>
                </a:solidFill>
              </a:defRPr>
            </a:lvl3pPr>
            <a:lvl4pPr marL="1828800" lvl="3" indent="-292100" algn="l">
              <a:lnSpc>
                <a:spcPct val="90000"/>
              </a:lnSpc>
              <a:spcBef>
                <a:spcPts val="600"/>
              </a:spcBef>
              <a:spcAft>
                <a:spcPts val="0"/>
              </a:spcAft>
              <a:buSzPts val="1000"/>
              <a:buChar char="•"/>
              <a:defRPr sz="1000">
                <a:solidFill>
                  <a:schemeClr val="dk1"/>
                </a:solidFill>
              </a:defRPr>
            </a:lvl4pPr>
            <a:lvl5pPr marL="2286000" lvl="4" indent="-292100" algn="l">
              <a:lnSpc>
                <a:spcPct val="90000"/>
              </a:lnSpc>
              <a:spcBef>
                <a:spcPts val="600"/>
              </a:spcBef>
              <a:spcAft>
                <a:spcPts val="0"/>
              </a:spcAft>
              <a:buSzPts val="1000"/>
              <a:buChar char="•"/>
              <a:defRPr sz="1000">
                <a:solidFill>
                  <a:schemeClr val="dk1"/>
                </a:solidFil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65935067"/>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Comparison + Photos">
  <p:cSld name="Comparison + Photos">
    <p:spTree>
      <p:nvGrpSpPr>
        <p:cNvPr id="1" name="Shape 200"/>
        <p:cNvGrpSpPr/>
        <p:nvPr/>
      </p:nvGrpSpPr>
      <p:grpSpPr>
        <a:xfrm>
          <a:off x="0" y="0"/>
          <a:ext cx="0" cy="0"/>
          <a:chOff x="0" y="0"/>
          <a:chExt cx="0" cy="0"/>
        </a:xfrm>
      </p:grpSpPr>
      <p:sp>
        <p:nvSpPr>
          <p:cNvPr id="201" name="Google Shape;201;p54"/>
          <p:cNvSpPr>
            <a:spLocks noGrp="1"/>
          </p:cNvSpPr>
          <p:nvPr>
            <p:ph type="pic" idx="2"/>
          </p:nvPr>
        </p:nvSpPr>
        <p:spPr>
          <a:xfrm>
            <a:off x="381000" y="3181350"/>
            <a:ext cx="4133850" cy="1333500"/>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02" name="Google Shape;202;p54"/>
          <p:cNvSpPr txBox="1">
            <a:spLocks noGrp="1"/>
          </p:cNvSpPr>
          <p:nvPr>
            <p:ph type="body" idx="1"/>
          </p:nvPr>
        </p:nvSpPr>
        <p:spPr>
          <a:xfrm>
            <a:off x="381000" y="1003997"/>
            <a:ext cx="4133088" cy="617934"/>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600"/>
              </a:spcBef>
              <a:spcAft>
                <a:spcPts val="0"/>
              </a:spcAft>
              <a:buSzPts val="1800"/>
              <a:buNone/>
              <a:defRPr sz="1800" b="0">
                <a:solidFill>
                  <a:schemeClr val="lt2"/>
                </a:solidFill>
                <a:latin typeface="Arial"/>
                <a:ea typeface="Arial"/>
                <a:cs typeface="Arial"/>
                <a:sym typeface="Arial"/>
              </a:defRPr>
            </a:lvl1pPr>
            <a:lvl2pPr marL="914400" lvl="1" indent="-228600" algn="l">
              <a:lnSpc>
                <a:spcPct val="90000"/>
              </a:lnSpc>
              <a:spcBef>
                <a:spcPts val="600"/>
              </a:spcBef>
              <a:spcAft>
                <a:spcPts val="0"/>
              </a:spcAft>
              <a:buSzPts val="1500"/>
              <a:buNone/>
              <a:defRPr sz="1500" b="1"/>
            </a:lvl2pPr>
            <a:lvl3pPr marL="1371600" lvl="2" indent="-228600" algn="l">
              <a:lnSpc>
                <a:spcPct val="90000"/>
              </a:lnSpc>
              <a:spcBef>
                <a:spcPts val="600"/>
              </a:spcBef>
              <a:spcAft>
                <a:spcPts val="0"/>
              </a:spcAft>
              <a:buSzPts val="1350"/>
              <a:buNone/>
              <a:defRPr sz="1350" b="1"/>
            </a:lvl3pPr>
            <a:lvl4pPr marL="1828800" lvl="3" indent="-228600" algn="l">
              <a:lnSpc>
                <a:spcPct val="90000"/>
              </a:lnSpc>
              <a:spcBef>
                <a:spcPts val="600"/>
              </a:spcBef>
              <a:spcAft>
                <a:spcPts val="0"/>
              </a:spcAft>
              <a:buSzPts val="1200"/>
              <a:buNone/>
              <a:defRPr sz="1200" b="1"/>
            </a:lvl4pPr>
            <a:lvl5pPr marL="2286000" lvl="4" indent="-228600" algn="l">
              <a:lnSpc>
                <a:spcPct val="90000"/>
              </a:lnSpc>
              <a:spcBef>
                <a:spcPts val="600"/>
              </a:spcBef>
              <a:spcAft>
                <a:spcPts val="0"/>
              </a:spcAft>
              <a:buSzPts val="1200"/>
              <a:buNone/>
              <a:defRPr sz="1200" b="1"/>
            </a:lvl5pPr>
            <a:lvl6pPr marL="2743200" lvl="5" indent="-228600" algn="l">
              <a:lnSpc>
                <a:spcPct val="90000"/>
              </a:lnSpc>
              <a:spcBef>
                <a:spcPts val="375"/>
              </a:spcBef>
              <a:spcAft>
                <a:spcPts val="0"/>
              </a:spcAft>
              <a:buClr>
                <a:schemeClr val="dk1"/>
              </a:buClr>
              <a:buSzPts val="1200"/>
              <a:buNone/>
              <a:defRPr sz="1200" b="1"/>
            </a:lvl6pPr>
            <a:lvl7pPr marL="3200400" lvl="6" indent="-228600" algn="l">
              <a:lnSpc>
                <a:spcPct val="90000"/>
              </a:lnSpc>
              <a:spcBef>
                <a:spcPts val="375"/>
              </a:spcBef>
              <a:spcAft>
                <a:spcPts val="0"/>
              </a:spcAft>
              <a:buClr>
                <a:schemeClr val="dk1"/>
              </a:buClr>
              <a:buSzPts val="1200"/>
              <a:buNone/>
              <a:defRPr sz="1200" b="1"/>
            </a:lvl7pPr>
            <a:lvl8pPr marL="3657600" lvl="7" indent="-228600" algn="l">
              <a:lnSpc>
                <a:spcPct val="90000"/>
              </a:lnSpc>
              <a:spcBef>
                <a:spcPts val="375"/>
              </a:spcBef>
              <a:spcAft>
                <a:spcPts val="0"/>
              </a:spcAft>
              <a:buClr>
                <a:schemeClr val="dk1"/>
              </a:buClr>
              <a:buSzPts val="1200"/>
              <a:buNone/>
              <a:defRPr sz="1200" b="1"/>
            </a:lvl8pPr>
            <a:lvl9pPr marL="4114800" lvl="8" indent="-228600" algn="l">
              <a:lnSpc>
                <a:spcPct val="90000"/>
              </a:lnSpc>
              <a:spcBef>
                <a:spcPts val="375"/>
              </a:spcBef>
              <a:spcAft>
                <a:spcPts val="0"/>
              </a:spcAft>
              <a:buClr>
                <a:schemeClr val="dk1"/>
              </a:buClr>
              <a:buSzPts val="1200"/>
              <a:buNone/>
              <a:defRPr sz="1200" b="1"/>
            </a:lvl9pPr>
          </a:lstStyle>
          <a:p>
            <a:endParaRPr/>
          </a:p>
        </p:txBody>
      </p:sp>
      <p:sp>
        <p:nvSpPr>
          <p:cNvPr id="203" name="Google Shape;203;p54"/>
          <p:cNvSpPr txBox="1">
            <a:spLocks noGrp="1"/>
          </p:cNvSpPr>
          <p:nvPr>
            <p:ph type="body" idx="3"/>
          </p:nvPr>
        </p:nvSpPr>
        <p:spPr>
          <a:xfrm>
            <a:off x="381000" y="1796190"/>
            <a:ext cx="4133088" cy="1299592"/>
          </a:xfrm>
          <a:prstGeom prst="rect">
            <a:avLst/>
          </a:prstGeom>
          <a:noFill/>
          <a:ln>
            <a:noFill/>
          </a:ln>
        </p:spPr>
        <p:txBody>
          <a:bodyPr spcFirstLastPara="1" wrap="square" lIns="0" tIns="0" rIns="0" bIns="0" anchor="t" anchorCtr="0">
            <a:noAutofit/>
          </a:bodyPr>
          <a:lstStyle>
            <a:lvl1pPr marL="457200" lvl="0" indent="-317500" algn="l">
              <a:lnSpc>
                <a:spcPct val="90000"/>
              </a:lnSpc>
              <a:spcBef>
                <a:spcPts val="600"/>
              </a:spcBef>
              <a:spcAft>
                <a:spcPts val="0"/>
              </a:spcAft>
              <a:buSzPts val="1400"/>
              <a:buChar char="•"/>
              <a:defRPr sz="1400">
                <a:solidFill>
                  <a:schemeClr val="dk1"/>
                </a:solidFill>
                <a:latin typeface="Arial"/>
                <a:ea typeface="Arial"/>
                <a:cs typeface="Arial"/>
                <a:sym typeface="Arial"/>
              </a:defRPr>
            </a:lvl1pPr>
            <a:lvl2pPr marL="914400" lvl="1" indent="-304800" algn="l">
              <a:lnSpc>
                <a:spcPct val="90000"/>
              </a:lnSpc>
              <a:spcBef>
                <a:spcPts val="600"/>
              </a:spcBef>
              <a:spcAft>
                <a:spcPts val="0"/>
              </a:spcAft>
              <a:buSzPts val="1200"/>
              <a:buChar char="•"/>
              <a:defRPr sz="1200">
                <a:solidFill>
                  <a:schemeClr val="dk1"/>
                </a:solidFill>
              </a:defRPr>
            </a:lvl2pPr>
            <a:lvl3pPr marL="1371600" lvl="2" indent="-295275" algn="l">
              <a:lnSpc>
                <a:spcPct val="90000"/>
              </a:lnSpc>
              <a:spcBef>
                <a:spcPts val="600"/>
              </a:spcBef>
              <a:spcAft>
                <a:spcPts val="0"/>
              </a:spcAft>
              <a:buSzPts val="1050"/>
              <a:buChar char="•"/>
              <a:defRPr sz="1050">
                <a:solidFill>
                  <a:schemeClr val="dk1"/>
                </a:solidFill>
              </a:defRPr>
            </a:lvl3pPr>
            <a:lvl4pPr marL="1828800" lvl="3" indent="-292100" algn="l">
              <a:lnSpc>
                <a:spcPct val="90000"/>
              </a:lnSpc>
              <a:spcBef>
                <a:spcPts val="600"/>
              </a:spcBef>
              <a:spcAft>
                <a:spcPts val="0"/>
              </a:spcAft>
              <a:buSzPts val="1000"/>
              <a:buChar char="•"/>
              <a:defRPr sz="1000">
                <a:solidFill>
                  <a:schemeClr val="dk1"/>
                </a:solidFill>
              </a:defRPr>
            </a:lvl4pPr>
            <a:lvl5pPr marL="2286000" lvl="4" indent="-292100" algn="l">
              <a:lnSpc>
                <a:spcPct val="90000"/>
              </a:lnSpc>
              <a:spcBef>
                <a:spcPts val="600"/>
              </a:spcBef>
              <a:spcAft>
                <a:spcPts val="0"/>
              </a:spcAft>
              <a:buSzPts val="1000"/>
              <a:buChar char="•"/>
              <a:defRPr sz="1000">
                <a:solidFill>
                  <a:schemeClr val="dk1"/>
                </a:solidFil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04" name="Google Shape;204;p54"/>
          <p:cNvSpPr txBox="1">
            <a:spLocks noGrp="1"/>
          </p:cNvSpPr>
          <p:nvPr>
            <p:ph type="body" idx="4"/>
          </p:nvPr>
        </p:nvSpPr>
        <p:spPr>
          <a:xfrm>
            <a:off x="4629149" y="1003997"/>
            <a:ext cx="4133088" cy="617934"/>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600"/>
              </a:spcBef>
              <a:spcAft>
                <a:spcPts val="0"/>
              </a:spcAft>
              <a:buSzPts val="1800"/>
              <a:buNone/>
              <a:defRPr sz="1800" b="0">
                <a:solidFill>
                  <a:schemeClr val="lt2"/>
                </a:solidFill>
                <a:latin typeface="Arial"/>
                <a:ea typeface="Arial"/>
                <a:cs typeface="Arial"/>
                <a:sym typeface="Arial"/>
              </a:defRPr>
            </a:lvl1pPr>
            <a:lvl2pPr marL="914400" lvl="1" indent="-228600" algn="l">
              <a:lnSpc>
                <a:spcPct val="90000"/>
              </a:lnSpc>
              <a:spcBef>
                <a:spcPts val="600"/>
              </a:spcBef>
              <a:spcAft>
                <a:spcPts val="0"/>
              </a:spcAft>
              <a:buSzPts val="1500"/>
              <a:buNone/>
              <a:defRPr sz="1500" b="1"/>
            </a:lvl2pPr>
            <a:lvl3pPr marL="1371600" lvl="2" indent="-228600" algn="l">
              <a:lnSpc>
                <a:spcPct val="90000"/>
              </a:lnSpc>
              <a:spcBef>
                <a:spcPts val="600"/>
              </a:spcBef>
              <a:spcAft>
                <a:spcPts val="0"/>
              </a:spcAft>
              <a:buSzPts val="1350"/>
              <a:buNone/>
              <a:defRPr sz="1350" b="1"/>
            </a:lvl3pPr>
            <a:lvl4pPr marL="1828800" lvl="3" indent="-228600" algn="l">
              <a:lnSpc>
                <a:spcPct val="90000"/>
              </a:lnSpc>
              <a:spcBef>
                <a:spcPts val="600"/>
              </a:spcBef>
              <a:spcAft>
                <a:spcPts val="0"/>
              </a:spcAft>
              <a:buSzPts val="1200"/>
              <a:buNone/>
              <a:defRPr sz="1200" b="1"/>
            </a:lvl4pPr>
            <a:lvl5pPr marL="2286000" lvl="4" indent="-228600" algn="l">
              <a:lnSpc>
                <a:spcPct val="90000"/>
              </a:lnSpc>
              <a:spcBef>
                <a:spcPts val="600"/>
              </a:spcBef>
              <a:spcAft>
                <a:spcPts val="0"/>
              </a:spcAft>
              <a:buSzPts val="1200"/>
              <a:buNone/>
              <a:defRPr sz="1200" b="1"/>
            </a:lvl5pPr>
            <a:lvl6pPr marL="2743200" lvl="5" indent="-228600" algn="l">
              <a:lnSpc>
                <a:spcPct val="90000"/>
              </a:lnSpc>
              <a:spcBef>
                <a:spcPts val="375"/>
              </a:spcBef>
              <a:spcAft>
                <a:spcPts val="0"/>
              </a:spcAft>
              <a:buClr>
                <a:schemeClr val="dk1"/>
              </a:buClr>
              <a:buSzPts val="1200"/>
              <a:buNone/>
              <a:defRPr sz="1200" b="1"/>
            </a:lvl6pPr>
            <a:lvl7pPr marL="3200400" lvl="6" indent="-228600" algn="l">
              <a:lnSpc>
                <a:spcPct val="90000"/>
              </a:lnSpc>
              <a:spcBef>
                <a:spcPts val="375"/>
              </a:spcBef>
              <a:spcAft>
                <a:spcPts val="0"/>
              </a:spcAft>
              <a:buClr>
                <a:schemeClr val="dk1"/>
              </a:buClr>
              <a:buSzPts val="1200"/>
              <a:buNone/>
              <a:defRPr sz="1200" b="1"/>
            </a:lvl7pPr>
            <a:lvl8pPr marL="3657600" lvl="7" indent="-228600" algn="l">
              <a:lnSpc>
                <a:spcPct val="90000"/>
              </a:lnSpc>
              <a:spcBef>
                <a:spcPts val="375"/>
              </a:spcBef>
              <a:spcAft>
                <a:spcPts val="0"/>
              </a:spcAft>
              <a:buClr>
                <a:schemeClr val="dk1"/>
              </a:buClr>
              <a:buSzPts val="1200"/>
              <a:buNone/>
              <a:defRPr sz="1200" b="1"/>
            </a:lvl8pPr>
            <a:lvl9pPr marL="4114800" lvl="8" indent="-228600" algn="l">
              <a:lnSpc>
                <a:spcPct val="90000"/>
              </a:lnSpc>
              <a:spcBef>
                <a:spcPts val="375"/>
              </a:spcBef>
              <a:spcAft>
                <a:spcPts val="0"/>
              </a:spcAft>
              <a:buClr>
                <a:schemeClr val="dk1"/>
              </a:buClr>
              <a:buSzPts val="1200"/>
              <a:buNone/>
              <a:defRPr sz="1200" b="1"/>
            </a:lvl9pPr>
          </a:lstStyle>
          <a:p>
            <a:endParaRPr/>
          </a:p>
        </p:txBody>
      </p:sp>
      <p:sp>
        <p:nvSpPr>
          <p:cNvPr id="205" name="Google Shape;205;p54"/>
          <p:cNvSpPr txBox="1">
            <a:spLocks noGrp="1"/>
          </p:cNvSpPr>
          <p:nvPr>
            <p:ph type="body" idx="5"/>
          </p:nvPr>
        </p:nvSpPr>
        <p:spPr>
          <a:xfrm>
            <a:off x="4629149" y="1796190"/>
            <a:ext cx="4133088" cy="1299592"/>
          </a:xfrm>
          <a:prstGeom prst="rect">
            <a:avLst/>
          </a:prstGeom>
          <a:noFill/>
          <a:ln>
            <a:noFill/>
          </a:ln>
        </p:spPr>
        <p:txBody>
          <a:bodyPr spcFirstLastPara="1" wrap="square" lIns="0" tIns="0" rIns="0" bIns="0" anchor="t" anchorCtr="0">
            <a:noAutofit/>
          </a:bodyPr>
          <a:lstStyle>
            <a:lvl1pPr marL="457200" lvl="0" indent="-317500" algn="l">
              <a:lnSpc>
                <a:spcPct val="90000"/>
              </a:lnSpc>
              <a:spcBef>
                <a:spcPts val="600"/>
              </a:spcBef>
              <a:spcAft>
                <a:spcPts val="0"/>
              </a:spcAft>
              <a:buSzPts val="1400"/>
              <a:buChar char="•"/>
              <a:defRPr sz="1400">
                <a:solidFill>
                  <a:schemeClr val="dk1"/>
                </a:solidFill>
                <a:latin typeface="Arial"/>
                <a:ea typeface="Arial"/>
                <a:cs typeface="Arial"/>
                <a:sym typeface="Arial"/>
              </a:defRPr>
            </a:lvl1pPr>
            <a:lvl2pPr marL="914400" lvl="1" indent="-304800" algn="l">
              <a:lnSpc>
                <a:spcPct val="90000"/>
              </a:lnSpc>
              <a:spcBef>
                <a:spcPts val="600"/>
              </a:spcBef>
              <a:spcAft>
                <a:spcPts val="0"/>
              </a:spcAft>
              <a:buSzPts val="1200"/>
              <a:buChar char="•"/>
              <a:defRPr sz="1200">
                <a:solidFill>
                  <a:schemeClr val="dk1"/>
                </a:solidFill>
              </a:defRPr>
            </a:lvl2pPr>
            <a:lvl3pPr marL="1371600" lvl="2" indent="-295275" algn="l">
              <a:lnSpc>
                <a:spcPct val="90000"/>
              </a:lnSpc>
              <a:spcBef>
                <a:spcPts val="600"/>
              </a:spcBef>
              <a:spcAft>
                <a:spcPts val="0"/>
              </a:spcAft>
              <a:buSzPts val="1050"/>
              <a:buChar char="•"/>
              <a:defRPr sz="1050">
                <a:solidFill>
                  <a:schemeClr val="dk1"/>
                </a:solidFill>
              </a:defRPr>
            </a:lvl3pPr>
            <a:lvl4pPr marL="1828800" lvl="3" indent="-292100" algn="l">
              <a:lnSpc>
                <a:spcPct val="90000"/>
              </a:lnSpc>
              <a:spcBef>
                <a:spcPts val="600"/>
              </a:spcBef>
              <a:spcAft>
                <a:spcPts val="0"/>
              </a:spcAft>
              <a:buSzPts val="1000"/>
              <a:buChar char="•"/>
              <a:defRPr sz="1000">
                <a:solidFill>
                  <a:schemeClr val="dk1"/>
                </a:solidFill>
              </a:defRPr>
            </a:lvl4pPr>
            <a:lvl5pPr marL="2286000" lvl="4" indent="-292100" algn="l">
              <a:lnSpc>
                <a:spcPct val="90000"/>
              </a:lnSpc>
              <a:spcBef>
                <a:spcPts val="600"/>
              </a:spcBef>
              <a:spcAft>
                <a:spcPts val="0"/>
              </a:spcAft>
              <a:buSzPts val="1000"/>
              <a:buChar char="•"/>
              <a:defRPr sz="1000">
                <a:solidFill>
                  <a:schemeClr val="dk1"/>
                </a:solidFil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cxnSp>
        <p:nvCxnSpPr>
          <p:cNvPr id="206" name="Google Shape;206;p54"/>
          <p:cNvCxnSpPr/>
          <p:nvPr/>
        </p:nvCxnSpPr>
        <p:spPr>
          <a:xfrm>
            <a:off x="381000" y="1663741"/>
            <a:ext cx="4023360" cy="0"/>
          </a:xfrm>
          <a:prstGeom prst="straightConnector1">
            <a:avLst/>
          </a:prstGeom>
          <a:noFill/>
          <a:ln w="12700" cap="flat" cmpd="sng">
            <a:solidFill>
              <a:srgbClr val="77A0DF"/>
            </a:solidFill>
            <a:prstDash val="solid"/>
            <a:miter lim="800000"/>
            <a:headEnd type="none" w="sm" len="sm"/>
            <a:tailEnd type="none" w="sm" len="sm"/>
          </a:ln>
        </p:spPr>
      </p:cxnSp>
      <p:cxnSp>
        <p:nvCxnSpPr>
          <p:cNvPr id="207" name="Google Shape;207;p54"/>
          <p:cNvCxnSpPr/>
          <p:nvPr/>
        </p:nvCxnSpPr>
        <p:spPr>
          <a:xfrm>
            <a:off x="4647077" y="1663741"/>
            <a:ext cx="4023360" cy="0"/>
          </a:xfrm>
          <a:prstGeom prst="straightConnector1">
            <a:avLst/>
          </a:prstGeom>
          <a:noFill/>
          <a:ln w="12700" cap="flat" cmpd="sng">
            <a:solidFill>
              <a:srgbClr val="77A0DF"/>
            </a:solidFill>
            <a:prstDash val="solid"/>
            <a:miter lim="800000"/>
            <a:headEnd type="none" w="sm" len="sm"/>
            <a:tailEnd type="none" w="sm" len="sm"/>
          </a:ln>
        </p:spPr>
      </p:cxnSp>
      <p:sp>
        <p:nvSpPr>
          <p:cNvPr id="208" name="Google Shape;208;p54"/>
          <p:cNvSpPr>
            <a:spLocks noGrp="1"/>
          </p:cNvSpPr>
          <p:nvPr>
            <p:ph type="pic" idx="6"/>
          </p:nvPr>
        </p:nvSpPr>
        <p:spPr>
          <a:xfrm>
            <a:off x="4629150" y="3181350"/>
            <a:ext cx="4133850" cy="1333500"/>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grpSp>
        <p:nvGrpSpPr>
          <p:cNvPr id="209" name="Google Shape;209;p54"/>
          <p:cNvGrpSpPr/>
          <p:nvPr/>
        </p:nvGrpSpPr>
        <p:grpSpPr>
          <a:xfrm>
            <a:off x="9206185" y="51750"/>
            <a:ext cx="2202899" cy="4431983"/>
            <a:chOff x="9248019" y="51750"/>
            <a:chExt cx="2202899" cy="4431983"/>
          </a:xfrm>
        </p:grpSpPr>
        <p:sp>
          <p:nvSpPr>
            <p:cNvPr id="210" name="Google Shape;210;p54"/>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THERE ARE TWO (2) OPTION TO CUSTOMIZE A LAYOUT WITH A </a:t>
              </a:r>
              <a:br>
                <a:rPr lang="en-US" sz="900" b="1" i="0" u="none" strike="noStrike" cap="none">
                  <a:solidFill>
                    <a:srgbClr val="7D8183"/>
                  </a:solidFill>
                  <a:latin typeface="Arial"/>
                  <a:ea typeface="Arial"/>
                  <a:cs typeface="Arial"/>
                  <a:sym typeface="Arial"/>
                </a:rPr>
              </a:br>
              <a:r>
                <a:rPr lang="en-US" sz="900" b="1" i="0" u="none" strike="noStrike" cap="none">
                  <a:solidFill>
                    <a:srgbClr val="7D8183"/>
                  </a:solidFill>
                  <a:latin typeface="Arial"/>
                  <a:ea typeface="Arial"/>
                  <a:cs typeface="Arial"/>
                  <a:sym typeface="Arial"/>
                </a:rPr>
                <a:t>NEW PICTURE:</a:t>
              </a:r>
              <a:endParaRPr sz="1400" b="0" i="0" u="none" strike="noStrike" cap="none">
                <a:solidFill>
                  <a:srgbClr val="000000"/>
                </a:solidFill>
                <a:latin typeface="Arial"/>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u="none" strike="noStrike" cap="none">
                  <a:solidFill>
                    <a:srgbClr val="7D8183"/>
                  </a:solidFill>
                  <a:latin typeface="Arial"/>
                  <a:ea typeface="Arial"/>
                  <a:cs typeface="Arial"/>
                  <a:sym typeface="Arial"/>
                </a:rPr>
                <a:t>Delete the current picture, if there </a:t>
              </a:r>
              <a:br>
                <a:rPr lang="en-US" sz="900" b="1" i="0" u="none" strike="noStrike" cap="none">
                  <a:solidFill>
                    <a:srgbClr val="7D8183"/>
                  </a:solidFill>
                  <a:latin typeface="Arial"/>
                  <a:ea typeface="Arial"/>
                  <a:cs typeface="Arial"/>
                  <a:sym typeface="Arial"/>
                </a:rPr>
              </a:br>
              <a:r>
                <a:rPr lang="en-US" sz="900" b="1" i="0" u="none" strike="noStrike" cap="none">
                  <a:solidFill>
                    <a:srgbClr val="7D8183"/>
                  </a:solidFill>
                  <a:latin typeface="Arial"/>
                  <a:ea typeface="Arial"/>
                  <a:cs typeface="Arial"/>
                  <a:sym typeface="Arial"/>
                </a:rPr>
                <a:t>is one.</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On the Insert tab, click the Pictures button OR you can click the picture icon      on the slide surface to start your search.</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Navigate to the image you want to use and select Insert. </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Under Home click the Reset button to reapply the Layout.</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Resize the picture to fit the slide, as needed, using the Crop tool. Hold the Shift key and click and drag a corner to scale equally.</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On the Home tab, click the Arrange button, then Send to Back so the photo is behind the logos, text, and the transparent overlay. </a:t>
              </a:r>
              <a:endParaRPr sz="1400" b="0" i="0" u="none" strike="noStrike" cap="none">
                <a:solidFill>
                  <a:srgbClr val="000000"/>
                </a:solidFill>
                <a:latin typeface="Arial"/>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if appropriate).</a:t>
              </a:r>
              <a:endParaRPr sz="1400" b="0" i="0" u="none" strike="noStrike" cap="none">
                <a:solidFill>
                  <a:srgbClr val="000000"/>
                </a:solidFill>
                <a:latin typeface="Arial"/>
                <a:ea typeface="Arial"/>
                <a:cs typeface="Arial"/>
                <a:sym typeface="Arial"/>
              </a:endParaRPr>
            </a:p>
          </p:txBody>
        </p:sp>
        <p:pic>
          <p:nvPicPr>
            <p:cNvPr id="211" name="Google Shape;211;p54"/>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212" name="Google Shape;212;p54"/>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3" name="Google Shape;213;p54"/>
          <p:cNvSpPr txBox="1">
            <a:spLocks noGrp="1"/>
          </p:cNvSpPr>
          <p:nvPr>
            <p:ph type="body" idx="7"/>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Arial"/>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14" name="Google Shape;214;p54"/>
          <p:cNvSpPr txBox="1">
            <a:spLocks noGrp="1"/>
          </p:cNvSpPr>
          <p:nvPr>
            <p:ph type="body" idx="8"/>
          </p:nvPr>
        </p:nvSpPr>
        <p:spPr>
          <a:xfrm>
            <a:off x="381648" y="4745251"/>
            <a:ext cx="8385048" cy="110800"/>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720"/>
              </a:spcBef>
              <a:spcAft>
                <a:spcPts val="0"/>
              </a:spcAft>
              <a:buSzPts val="800"/>
              <a:buFont typeface="Arial"/>
              <a:buNone/>
              <a:defRPr sz="800">
                <a:latin typeface="Arial"/>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7542979"/>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Content with Photo Right">
  <p:cSld name="Content with Photo Right">
    <p:spTree>
      <p:nvGrpSpPr>
        <p:cNvPr id="1" name="Shape 215"/>
        <p:cNvGrpSpPr/>
        <p:nvPr/>
      </p:nvGrpSpPr>
      <p:grpSpPr>
        <a:xfrm>
          <a:off x="0" y="0"/>
          <a:ext cx="0" cy="0"/>
          <a:chOff x="0" y="0"/>
          <a:chExt cx="0" cy="0"/>
        </a:xfrm>
      </p:grpSpPr>
      <p:sp>
        <p:nvSpPr>
          <p:cNvPr id="216" name="Google Shape;216;p55"/>
          <p:cNvSpPr>
            <a:spLocks noGrp="1"/>
          </p:cNvSpPr>
          <p:nvPr>
            <p:ph type="pic" idx="2"/>
          </p:nvPr>
        </p:nvSpPr>
        <p:spPr>
          <a:xfrm>
            <a:off x="4038600" y="1283636"/>
            <a:ext cx="4727448" cy="3232800"/>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17" name="Google Shape;217;p55"/>
          <p:cNvSpPr txBox="1">
            <a:spLocks noGrp="1"/>
          </p:cNvSpPr>
          <p:nvPr>
            <p:ph type="body" idx="1"/>
          </p:nvPr>
        </p:nvSpPr>
        <p:spPr>
          <a:xfrm>
            <a:off x="381648" y="1283636"/>
            <a:ext cx="3567811" cy="3232800"/>
          </a:xfrm>
          <a:prstGeom prst="rect">
            <a:avLst/>
          </a:prstGeom>
          <a:noFill/>
          <a:ln>
            <a:noFill/>
          </a:ln>
        </p:spPr>
        <p:txBody>
          <a:bodyPr spcFirstLastPara="1" wrap="square" lIns="0" tIns="0" rIns="0" bIns="0" anchor="t" anchorCtr="0">
            <a:noAutofit/>
          </a:bodyPr>
          <a:lstStyle>
            <a:lvl1pPr marL="457200" lvl="0" indent="-330200" algn="l">
              <a:lnSpc>
                <a:spcPct val="90000"/>
              </a:lnSpc>
              <a:spcBef>
                <a:spcPts val="600"/>
              </a:spcBef>
              <a:spcAft>
                <a:spcPts val="0"/>
              </a:spcAft>
              <a:buSzPts val="1600"/>
              <a:buChar char="•"/>
              <a:defRPr>
                <a:solidFill>
                  <a:schemeClr val="dk1"/>
                </a:solidFill>
                <a:latin typeface="Arial"/>
                <a:ea typeface="Arial"/>
                <a:cs typeface="Arial"/>
                <a:sym typeface="Arial"/>
              </a:defRPr>
            </a:lvl1pPr>
            <a:lvl2pPr marL="914400" lvl="1" indent="-317500" algn="l">
              <a:lnSpc>
                <a:spcPct val="90000"/>
              </a:lnSpc>
              <a:spcBef>
                <a:spcPts val="600"/>
              </a:spcBef>
              <a:spcAft>
                <a:spcPts val="0"/>
              </a:spcAft>
              <a:buSzPts val="1400"/>
              <a:buFont typeface="Arial"/>
              <a:buChar char="–"/>
              <a:defRPr>
                <a:solidFill>
                  <a:schemeClr val="dk1"/>
                </a:solidFill>
              </a:defRPr>
            </a:lvl2pPr>
            <a:lvl3pPr marL="1371600" lvl="2" indent="-298450" algn="l">
              <a:lnSpc>
                <a:spcPct val="90000"/>
              </a:lnSpc>
              <a:spcBef>
                <a:spcPts val="600"/>
              </a:spcBef>
              <a:spcAft>
                <a:spcPts val="0"/>
              </a:spcAft>
              <a:buSzPts val="1100"/>
              <a:buFont typeface="Noto Sans Symbols"/>
              <a:buChar char="▪"/>
              <a:defRPr>
                <a:solidFill>
                  <a:schemeClr val="dk1"/>
                </a:solidFill>
              </a:defRPr>
            </a:lvl3pPr>
            <a:lvl4pPr marL="1828800" lvl="3" indent="-295275" algn="l">
              <a:lnSpc>
                <a:spcPct val="90000"/>
              </a:lnSpc>
              <a:spcBef>
                <a:spcPts val="600"/>
              </a:spcBef>
              <a:spcAft>
                <a:spcPts val="0"/>
              </a:spcAft>
              <a:buSzPts val="1050"/>
              <a:buChar char="•"/>
              <a:defRPr>
                <a:solidFill>
                  <a:schemeClr val="dk1"/>
                </a:solidFill>
              </a:defRPr>
            </a:lvl4pPr>
            <a:lvl5pPr marL="2286000" lvl="4" indent="-295275" algn="l">
              <a:lnSpc>
                <a:spcPct val="90000"/>
              </a:lnSpc>
              <a:spcBef>
                <a:spcPts val="600"/>
              </a:spcBef>
              <a:spcAft>
                <a:spcPts val="0"/>
              </a:spcAft>
              <a:buSzPts val="1050"/>
              <a:buChar char="•"/>
              <a:defRPr>
                <a:solidFill>
                  <a:schemeClr val="dk1"/>
                </a:solidFil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grpSp>
        <p:nvGrpSpPr>
          <p:cNvPr id="218" name="Google Shape;218;p55"/>
          <p:cNvGrpSpPr/>
          <p:nvPr/>
        </p:nvGrpSpPr>
        <p:grpSpPr>
          <a:xfrm>
            <a:off x="9206185" y="51750"/>
            <a:ext cx="2202899" cy="4431983"/>
            <a:chOff x="9248019" y="51750"/>
            <a:chExt cx="2202899" cy="4431983"/>
          </a:xfrm>
        </p:grpSpPr>
        <p:sp>
          <p:nvSpPr>
            <p:cNvPr id="219" name="Google Shape;219;p55"/>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THERE ARE TWO (2) OPTION TO CUSTOMIZE A LAYOUT WITH A </a:t>
              </a:r>
              <a:br>
                <a:rPr lang="en-US" sz="900" b="1" i="0" u="none" strike="noStrike" cap="none">
                  <a:solidFill>
                    <a:srgbClr val="7D8183"/>
                  </a:solidFill>
                  <a:latin typeface="Arial"/>
                  <a:ea typeface="Arial"/>
                  <a:cs typeface="Arial"/>
                  <a:sym typeface="Arial"/>
                </a:rPr>
              </a:br>
              <a:r>
                <a:rPr lang="en-US" sz="900" b="1" i="0" u="none" strike="noStrike" cap="none">
                  <a:solidFill>
                    <a:srgbClr val="7D8183"/>
                  </a:solidFill>
                  <a:latin typeface="Arial"/>
                  <a:ea typeface="Arial"/>
                  <a:cs typeface="Arial"/>
                  <a:sym typeface="Arial"/>
                </a:rPr>
                <a:t>NEW PICTURE:</a:t>
              </a:r>
              <a:endParaRPr sz="1400" b="0" i="0" u="none" strike="noStrike" cap="none">
                <a:solidFill>
                  <a:srgbClr val="000000"/>
                </a:solidFill>
                <a:latin typeface="Arial"/>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u="none" strike="noStrike" cap="none">
                  <a:solidFill>
                    <a:srgbClr val="7D8183"/>
                  </a:solidFill>
                  <a:latin typeface="Arial"/>
                  <a:ea typeface="Arial"/>
                  <a:cs typeface="Arial"/>
                  <a:sym typeface="Arial"/>
                </a:rPr>
                <a:t>Delete the current picture, if there </a:t>
              </a:r>
              <a:br>
                <a:rPr lang="en-US" sz="900" b="1" i="0" u="none" strike="noStrike" cap="none">
                  <a:solidFill>
                    <a:srgbClr val="7D8183"/>
                  </a:solidFill>
                  <a:latin typeface="Arial"/>
                  <a:ea typeface="Arial"/>
                  <a:cs typeface="Arial"/>
                  <a:sym typeface="Arial"/>
                </a:rPr>
              </a:br>
              <a:r>
                <a:rPr lang="en-US" sz="900" b="1" i="0" u="none" strike="noStrike" cap="none">
                  <a:solidFill>
                    <a:srgbClr val="7D8183"/>
                  </a:solidFill>
                  <a:latin typeface="Arial"/>
                  <a:ea typeface="Arial"/>
                  <a:cs typeface="Arial"/>
                  <a:sym typeface="Arial"/>
                </a:rPr>
                <a:t>is one.</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On the Insert tab, click the Pictures button OR you can click the picture icon      on the slide surface to start your search.</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Navigate to the image you want to use and select Insert. </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Under Home click the Reset button to reapply the Layout.</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Resize the picture to fit the slide, as needed, using the Crop tool. Hold the Shift key and click and drag a corner to scale equally.</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On the Home tab, click the Arrange button, then Send to Back so the photo is behind the logos, text, and the transparent overlay. </a:t>
              </a:r>
              <a:endParaRPr sz="1400" b="0" i="0" u="none" strike="noStrike" cap="none">
                <a:solidFill>
                  <a:srgbClr val="000000"/>
                </a:solidFill>
                <a:latin typeface="Arial"/>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if appropriate).</a:t>
              </a:r>
              <a:endParaRPr sz="1400" b="0" i="0" u="none" strike="noStrike" cap="none">
                <a:solidFill>
                  <a:srgbClr val="000000"/>
                </a:solidFill>
                <a:latin typeface="Arial"/>
                <a:ea typeface="Arial"/>
                <a:cs typeface="Arial"/>
                <a:sym typeface="Arial"/>
              </a:endParaRPr>
            </a:p>
          </p:txBody>
        </p:sp>
        <p:pic>
          <p:nvPicPr>
            <p:cNvPr id="220" name="Google Shape;220;p55"/>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221" name="Google Shape;221;p55"/>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2" name="Google Shape;222;p55"/>
          <p:cNvSpPr txBox="1">
            <a:spLocks noGrp="1"/>
          </p:cNvSpPr>
          <p:nvPr>
            <p:ph type="body" idx="3"/>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Arial"/>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23" name="Google Shape;223;p55"/>
          <p:cNvSpPr txBox="1">
            <a:spLocks noGrp="1"/>
          </p:cNvSpPr>
          <p:nvPr>
            <p:ph type="body" idx="4"/>
          </p:nvPr>
        </p:nvSpPr>
        <p:spPr>
          <a:xfrm>
            <a:off x="381648" y="4745251"/>
            <a:ext cx="8385048" cy="110800"/>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720"/>
              </a:spcBef>
              <a:spcAft>
                <a:spcPts val="0"/>
              </a:spcAft>
              <a:buSzPts val="800"/>
              <a:buFont typeface="Arial"/>
              <a:buNone/>
              <a:defRPr sz="800">
                <a:latin typeface="Arial"/>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40372360"/>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Full Background Photo">
  <p:cSld name="Full Background Photo">
    <p:spTree>
      <p:nvGrpSpPr>
        <p:cNvPr id="1" name="Shape 224"/>
        <p:cNvGrpSpPr/>
        <p:nvPr/>
      </p:nvGrpSpPr>
      <p:grpSpPr>
        <a:xfrm>
          <a:off x="0" y="0"/>
          <a:ext cx="0" cy="0"/>
          <a:chOff x="0" y="0"/>
          <a:chExt cx="0" cy="0"/>
        </a:xfrm>
      </p:grpSpPr>
      <p:sp>
        <p:nvSpPr>
          <p:cNvPr id="225" name="Google Shape;225;p56"/>
          <p:cNvSpPr/>
          <p:nvPr/>
        </p:nvSpPr>
        <p:spPr>
          <a:xfrm>
            <a:off x="380569" y="443552"/>
            <a:ext cx="716367" cy="27432"/>
          </a:xfrm>
          <a:prstGeom prst="rect">
            <a:avLst/>
          </a:prstGeom>
          <a:solidFill>
            <a:srgbClr val="8DC8E8"/>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Libre Franklin"/>
              <a:ea typeface="Libre Franklin"/>
              <a:cs typeface="Libre Franklin"/>
              <a:sym typeface="Libre Franklin"/>
            </a:endParaRPr>
          </a:p>
        </p:txBody>
      </p:sp>
      <p:pic>
        <p:nvPicPr>
          <p:cNvPr id="226" name="Google Shape;226;p56"/>
          <p:cNvPicPr preferRelativeResize="0"/>
          <p:nvPr/>
        </p:nvPicPr>
        <p:blipFill rotWithShape="1">
          <a:blip r:embed="rId2">
            <a:alphaModFix/>
          </a:blip>
          <a:srcRect/>
          <a:stretch/>
        </p:blipFill>
        <p:spPr>
          <a:xfrm>
            <a:off x="7945916" y="4716809"/>
            <a:ext cx="816829" cy="207669"/>
          </a:xfrm>
          <a:prstGeom prst="rect">
            <a:avLst/>
          </a:prstGeom>
          <a:noFill/>
          <a:ln>
            <a:noFill/>
          </a:ln>
        </p:spPr>
      </p:pic>
      <p:sp>
        <p:nvSpPr>
          <p:cNvPr id="227" name="Google Shape;227;p56"/>
          <p:cNvSpPr>
            <a:spLocks noGrp="1"/>
          </p:cNvSpPr>
          <p:nvPr>
            <p:ph type="pic" idx="2"/>
          </p:nvPr>
        </p:nvSpPr>
        <p:spPr>
          <a:xfrm>
            <a:off x="0" y="0"/>
            <a:ext cx="9144000" cy="5143500"/>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grpSp>
        <p:nvGrpSpPr>
          <p:cNvPr id="228" name="Google Shape;228;p56"/>
          <p:cNvGrpSpPr/>
          <p:nvPr/>
        </p:nvGrpSpPr>
        <p:grpSpPr>
          <a:xfrm>
            <a:off x="9206185" y="51750"/>
            <a:ext cx="2202899" cy="4431983"/>
            <a:chOff x="9248019" y="51750"/>
            <a:chExt cx="2202899" cy="4431983"/>
          </a:xfrm>
        </p:grpSpPr>
        <p:sp>
          <p:nvSpPr>
            <p:cNvPr id="229" name="Google Shape;229;p56"/>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THERE ARE TWO (2) OPTION TO CUSTOMIZE A LAYOUT WITH A </a:t>
              </a:r>
              <a:br>
                <a:rPr lang="en-US" sz="900" b="1" i="0" u="none" strike="noStrike" cap="none">
                  <a:solidFill>
                    <a:srgbClr val="7D8183"/>
                  </a:solidFill>
                  <a:latin typeface="Arial"/>
                  <a:ea typeface="Arial"/>
                  <a:cs typeface="Arial"/>
                  <a:sym typeface="Arial"/>
                </a:rPr>
              </a:br>
              <a:r>
                <a:rPr lang="en-US" sz="900" b="1" i="0" u="none" strike="noStrike" cap="none">
                  <a:solidFill>
                    <a:srgbClr val="7D8183"/>
                  </a:solidFill>
                  <a:latin typeface="Arial"/>
                  <a:ea typeface="Arial"/>
                  <a:cs typeface="Arial"/>
                  <a:sym typeface="Arial"/>
                </a:rPr>
                <a:t>NEW PICTURE:</a:t>
              </a:r>
              <a:endParaRPr sz="1400" b="0" i="0" u="none" strike="noStrike" cap="none">
                <a:solidFill>
                  <a:srgbClr val="000000"/>
                </a:solidFill>
                <a:latin typeface="Arial"/>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u="none" strike="noStrike" cap="none">
                  <a:solidFill>
                    <a:srgbClr val="7D8183"/>
                  </a:solidFill>
                  <a:latin typeface="Arial"/>
                  <a:ea typeface="Arial"/>
                  <a:cs typeface="Arial"/>
                  <a:sym typeface="Arial"/>
                </a:rPr>
                <a:t>Delete the current picture, if there </a:t>
              </a:r>
              <a:br>
                <a:rPr lang="en-US" sz="900" b="1" i="0" u="none" strike="noStrike" cap="none">
                  <a:solidFill>
                    <a:srgbClr val="7D8183"/>
                  </a:solidFill>
                  <a:latin typeface="Arial"/>
                  <a:ea typeface="Arial"/>
                  <a:cs typeface="Arial"/>
                  <a:sym typeface="Arial"/>
                </a:rPr>
              </a:br>
              <a:r>
                <a:rPr lang="en-US" sz="900" b="1" i="0" u="none" strike="noStrike" cap="none">
                  <a:solidFill>
                    <a:srgbClr val="7D8183"/>
                  </a:solidFill>
                  <a:latin typeface="Arial"/>
                  <a:ea typeface="Arial"/>
                  <a:cs typeface="Arial"/>
                  <a:sym typeface="Arial"/>
                </a:rPr>
                <a:t>is one.</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On the Insert tab, click the Pictures button OR you can click the picture icon      on the slide surface to start your search.</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Navigate to the image you want to use and select Insert. </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Under Home click the Reset button to reapply the Layout.</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Resize the picture to fit the slide, as needed, using the Crop tool. Hold the Shift key and click and drag a corner to scale equally.</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On the Home tab, click the Arrange button, then Send to Back so the photo is behind the logos, text, and the transparent overlay. </a:t>
              </a:r>
              <a:endParaRPr sz="1400" b="0" i="0" u="none" strike="noStrike" cap="none">
                <a:solidFill>
                  <a:srgbClr val="000000"/>
                </a:solidFill>
                <a:latin typeface="Arial"/>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if appropriate).</a:t>
              </a:r>
              <a:endParaRPr sz="1400" b="0" i="0" u="none" strike="noStrike" cap="none">
                <a:solidFill>
                  <a:srgbClr val="000000"/>
                </a:solidFill>
                <a:latin typeface="Arial"/>
                <a:ea typeface="Arial"/>
                <a:cs typeface="Arial"/>
                <a:sym typeface="Arial"/>
              </a:endParaRPr>
            </a:p>
          </p:txBody>
        </p:sp>
        <p:pic>
          <p:nvPicPr>
            <p:cNvPr id="230" name="Google Shape;230;p56"/>
            <p:cNvPicPr preferRelativeResize="0"/>
            <p:nvPr/>
          </p:nvPicPr>
          <p:blipFill rotWithShape="1">
            <a:blip r:embed="rId3">
              <a:alphaModFix/>
            </a:blip>
            <a:srcRect/>
            <a:stretch/>
          </p:blipFill>
          <p:spPr>
            <a:xfrm>
              <a:off x="9679634" y="1280346"/>
              <a:ext cx="140548" cy="96627"/>
            </a:xfrm>
            <a:prstGeom prst="rect">
              <a:avLst/>
            </a:prstGeom>
            <a:noFill/>
            <a:ln>
              <a:noFill/>
            </a:ln>
          </p:spPr>
        </p:pic>
      </p:grpSp>
    </p:spTree>
    <p:extLst>
      <p:ext uri="{BB962C8B-B14F-4D97-AF65-F5344CB8AC3E}">
        <p14:creationId xmlns:p14="http://schemas.microsoft.com/office/powerpoint/2010/main" val="3369865217"/>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GN Teams">
  <p:cSld name="GN Teams">
    <p:spTree>
      <p:nvGrpSpPr>
        <p:cNvPr id="1" name="Shape 231"/>
        <p:cNvGrpSpPr/>
        <p:nvPr/>
      </p:nvGrpSpPr>
      <p:grpSpPr>
        <a:xfrm>
          <a:off x="0" y="0"/>
          <a:ext cx="0" cy="0"/>
          <a:chOff x="0" y="0"/>
          <a:chExt cx="0" cy="0"/>
        </a:xfrm>
      </p:grpSpPr>
      <p:sp>
        <p:nvSpPr>
          <p:cNvPr id="232" name="Google Shape;232;p57"/>
          <p:cNvSpPr>
            <a:spLocks noGrp="1"/>
          </p:cNvSpPr>
          <p:nvPr>
            <p:ph type="pic" idx="2"/>
          </p:nvPr>
        </p:nvSpPr>
        <p:spPr>
          <a:xfrm>
            <a:off x="381000"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33" name="Google Shape;233;p57"/>
          <p:cNvSpPr>
            <a:spLocks noGrp="1"/>
          </p:cNvSpPr>
          <p:nvPr>
            <p:ph type="pic" idx="3"/>
          </p:nvPr>
        </p:nvSpPr>
        <p:spPr>
          <a:xfrm>
            <a:off x="2090262"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34" name="Google Shape;234;p57"/>
          <p:cNvSpPr>
            <a:spLocks noGrp="1"/>
          </p:cNvSpPr>
          <p:nvPr>
            <p:ph type="pic" idx="4"/>
          </p:nvPr>
        </p:nvSpPr>
        <p:spPr>
          <a:xfrm>
            <a:off x="3799524"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35" name="Google Shape;235;p57"/>
          <p:cNvSpPr>
            <a:spLocks noGrp="1"/>
          </p:cNvSpPr>
          <p:nvPr>
            <p:ph type="pic" idx="5"/>
          </p:nvPr>
        </p:nvSpPr>
        <p:spPr>
          <a:xfrm>
            <a:off x="5508786"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36" name="Google Shape;236;p57"/>
          <p:cNvSpPr>
            <a:spLocks noGrp="1"/>
          </p:cNvSpPr>
          <p:nvPr>
            <p:ph type="pic" idx="6"/>
          </p:nvPr>
        </p:nvSpPr>
        <p:spPr>
          <a:xfrm>
            <a:off x="7218048"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37" name="Google Shape;237;p57"/>
          <p:cNvSpPr txBox="1">
            <a:spLocks noGrp="1"/>
          </p:cNvSpPr>
          <p:nvPr>
            <p:ph type="body" idx="1"/>
          </p:nvPr>
        </p:nvSpPr>
        <p:spPr>
          <a:xfrm>
            <a:off x="381000" y="2380112"/>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Arial"/>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38" name="Google Shape;238;p57"/>
          <p:cNvSpPr txBox="1">
            <a:spLocks noGrp="1"/>
          </p:cNvSpPr>
          <p:nvPr>
            <p:ph type="body" idx="7"/>
          </p:nvPr>
        </p:nvSpPr>
        <p:spPr>
          <a:xfrm>
            <a:off x="2090262" y="2380112"/>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Arial"/>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39" name="Google Shape;239;p57"/>
          <p:cNvSpPr txBox="1">
            <a:spLocks noGrp="1"/>
          </p:cNvSpPr>
          <p:nvPr>
            <p:ph type="body" idx="8"/>
          </p:nvPr>
        </p:nvSpPr>
        <p:spPr>
          <a:xfrm>
            <a:off x="3799524" y="2380112"/>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Arial"/>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40" name="Google Shape;240;p57"/>
          <p:cNvSpPr txBox="1">
            <a:spLocks noGrp="1"/>
          </p:cNvSpPr>
          <p:nvPr>
            <p:ph type="body" idx="9"/>
          </p:nvPr>
        </p:nvSpPr>
        <p:spPr>
          <a:xfrm>
            <a:off x="5508786" y="2380112"/>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Arial"/>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41" name="Google Shape;241;p57"/>
          <p:cNvSpPr txBox="1">
            <a:spLocks noGrp="1"/>
          </p:cNvSpPr>
          <p:nvPr>
            <p:ph type="body" idx="13"/>
          </p:nvPr>
        </p:nvSpPr>
        <p:spPr>
          <a:xfrm>
            <a:off x="7218048" y="2380112"/>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Arial"/>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42" name="Google Shape;242;p57"/>
          <p:cNvSpPr>
            <a:spLocks noGrp="1"/>
          </p:cNvSpPr>
          <p:nvPr>
            <p:ph type="pic" idx="14"/>
          </p:nvPr>
        </p:nvSpPr>
        <p:spPr>
          <a:xfrm>
            <a:off x="381000"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43" name="Google Shape;243;p57"/>
          <p:cNvSpPr>
            <a:spLocks noGrp="1"/>
          </p:cNvSpPr>
          <p:nvPr>
            <p:ph type="pic" idx="15"/>
          </p:nvPr>
        </p:nvSpPr>
        <p:spPr>
          <a:xfrm>
            <a:off x="2090262"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44" name="Google Shape;244;p57"/>
          <p:cNvSpPr>
            <a:spLocks noGrp="1"/>
          </p:cNvSpPr>
          <p:nvPr>
            <p:ph type="pic" idx="16"/>
          </p:nvPr>
        </p:nvSpPr>
        <p:spPr>
          <a:xfrm>
            <a:off x="3799524"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45" name="Google Shape;245;p57"/>
          <p:cNvSpPr>
            <a:spLocks noGrp="1"/>
          </p:cNvSpPr>
          <p:nvPr>
            <p:ph type="pic" idx="17"/>
          </p:nvPr>
        </p:nvSpPr>
        <p:spPr>
          <a:xfrm>
            <a:off x="5508786"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46" name="Google Shape;246;p57"/>
          <p:cNvSpPr>
            <a:spLocks noGrp="1"/>
          </p:cNvSpPr>
          <p:nvPr>
            <p:ph type="pic" idx="18"/>
          </p:nvPr>
        </p:nvSpPr>
        <p:spPr>
          <a:xfrm>
            <a:off x="7218048"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47" name="Google Shape;247;p57"/>
          <p:cNvSpPr txBox="1">
            <a:spLocks noGrp="1"/>
          </p:cNvSpPr>
          <p:nvPr>
            <p:ph type="body" idx="19"/>
          </p:nvPr>
        </p:nvSpPr>
        <p:spPr>
          <a:xfrm>
            <a:off x="381000" y="4228630"/>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Arial"/>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48" name="Google Shape;248;p57"/>
          <p:cNvSpPr txBox="1">
            <a:spLocks noGrp="1"/>
          </p:cNvSpPr>
          <p:nvPr>
            <p:ph type="body" idx="20"/>
          </p:nvPr>
        </p:nvSpPr>
        <p:spPr>
          <a:xfrm>
            <a:off x="2090262" y="4228630"/>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Arial"/>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49" name="Google Shape;249;p57"/>
          <p:cNvSpPr txBox="1">
            <a:spLocks noGrp="1"/>
          </p:cNvSpPr>
          <p:nvPr>
            <p:ph type="body" idx="21"/>
          </p:nvPr>
        </p:nvSpPr>
        <p:spPr>
          <a:xfrm>
            <a:off x="3799524" y="4228630"/>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Arial"/>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50" name="Google Shape;250;p57"/>
          <p:cNvSpPr txBox="1">
            <a:spLocks noGrp="1"/>
          </p:cNvSpPr>
          <p:nvPr>
            <p:ph type="body" idx="22"/>
          </p:nvPr>
        </p:nvSpPr>
        <p:spPr>
          <a:xfrm>
            <a:off x="5508786" y="4228630"/>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Arial"/>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51" name="Google Shape;251;p57"/>
          <p:cNvSpPr txBox="1">
            <a:spLocks noGrp="1"/>
          </p:cNvSpPr>
          <p:nvPr>
            <p:ph type="body" idx="23"/>
          </p:nvPr>
        </p:nvSpPr>
        <p:spPr>
          <a:xfrm>
            <a:off x="7218048" y="4228630"/>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Arial"/>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grpSp>
        <p:nvGrpSpPr>
          <p:cNvPr id="252" name="Google Shape;252;p57"/>
          <p:cNvGrpSpPr/>
          <p:nvPr/>
        </p:nvGrpSpPr>
        <p:grpSpPr>
          <a:xfrm>
            <a:off x="9206185" y="367221"/>
            <a:ext cx="2202899" cy="3801041"/>
            <a:chOff x="9248019" y="367221"/>
            <a:chExt cx="2202899" cy="3801041"/>
          </a:xfrm>
        </p:grpSpPr>
        <p:sp>
          <p:nvSpPr>
            <p:cNvPr id="253" name="Google Shape;253;p57"/>
            <p:cNvSpPr txBox="1"/>
            <p:nvPr/>
          </p:nvSpPr>
          <p:spPr>
            <a:xfrm>
              <a:off x="9248019" y="367221"/>
              <a:ext cx="2202899" cy="380104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THERE ARE TWO (2) OPTION TO CUSTOMIZE A LAYOUT WITH A </a:t>
              </a:r>
              <a:br>
                <a:rPr lang="en-US" sz="900" b="1" i="0" u="none" strike="noStrike" cap="none">
                  <a:solidFill>
                    <a:srgbClr val="7D8183"/>
                  </a:solidFill>
                  <a:latin typeface="Arial"/>
                  <a:ea typeface="Arial"/>
                  <a:cs typeface="Arial"/>
                  <a:sym typeface="Arial"/>
                </a:rPr>
              </a:br>
              <a:r>
                <a:rPr lang="en-US" sz="900" b="1" i="0" u="none" strike="noStrike" cap="none">
                  <a:solidFill>
                    <a:srgbClr val="7D8183"/>
                  </a:solidFill>
                  <a:latin typeface="Arial"/>
                  <a:ea typeface="Arial"/>
                  <a:cs typeface="Arial"/>
                  <a:sym typeface="Arial"/>
                </a:rPr>
                <a:t>NEW PICTURE:</a:t>
              </a:r>
              <a:endParaRPr sz="1400" b="0" i="0" u="none" strike="noStrike" cap="none">
                <a:solidFill>
                  <a:srgbClr val="000000"/>
                </a:solidFill>
                <a:latin typeface="Arial"/>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u="none" strike="noStrike" cap="none">
                  <a:solidFill>
                    <a:srgbClr val="7D8183"/>
                  </a:solidFill>
                  <a:latin typeface="Arial"/>
                  <a:ea typeface="Arial"/>
                  <a:cs typeface="Arial"/>
                  <a:sym typeface="Arial"/>
                </a:rPr>
                <a:t>Delete the current picture, if there </a:t>
              </a:r>
              <a:br>
                <a:rPr lang="en-US" sz="900" b="1" i="0" u="none" strike="noStrike" cap="none">
                  <a:solidFill>
                    <a:srgbClr val="7D8183"/>
                  </a:solidFill>
                  <a:latin typeface="Arial"/>
                  <a:ea typeface="Arial"/>
                  <a:cs typeface="Arial"/>
                  <a:sym typeface="Arial"/>
                </a:rPr>
              </a:br>
              <a:r>
                <a:rPr lang="en-US" sz="900" b="1" i="0" u="none" strike="noStrike" cap="none">
                  <a:solidFill>
                    <a:srgbClr val="7D8183"/>
                  </a:solidFill>
                  <a:latin typeface="Arial"/>
                  <a:ea typeface="Arial"/>
                  <a:cs typeface="Arial"/>
                  <a:sym typeface="Arial"/>
                </a:rPr>
                <a:t>is one.</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On the Insert tab, click the Pictures button OR you can click the picture icon      on the slide surface to start your search.</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Navigate to the image you want to use and select Insert. </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Under Home click the Reset button to reapply the Layout.</a:t>
              </a:r>
              <a:endParaRPr sz="1400" b="0" i="0" u="none" strike="noStrike" cap="none">
                <a:solidFill>
                  <a:srgbClr val="000000"/>
                </a:solidFill>
                <a:latin typeface="Arial"/>
                <a:ea typeface="Arial"/>
                <a:cs typeface="Arial"/>
                <a:sym typeface="Arial"/>
              </a:endParaRPr>
            </a:p>
            <a:p>
              <a:pPr marL="174625" marR="0" lvl="0" indent="0" algn="l" rtl="0">
                <a:lnSpc>
                  <a:spcPct val="100000"/>
                </a:lnSpc>
                <a:spcBef>
                  <a:spcPts val="600"/>
                </a:spcBef>
                <a:spcAft>
                  <a:spcPts val="0"/>
                </a:spcAft>
                <a:buClr>
                  <a:srgbClr val="7D8183"/>
                </a:buClr>
                <a:buSzPts val="900"/>
                <a:buFont typeface="Arial"/>
                <a:buNone/>
              </a:pPr>
              <a:r>
                <a:rPr lang="en-US" sz="900" b="1" i="0" u="none" strike="noStrike" cap="none">
                  <a:solidFill>
                    <a:srgbClr val="7D8183"/>
                  </a:solidFill>
                  <a:latin typeface="Arial"/>
                  <a:ea typeface="Arial"/>
                  <a:cs typeface="Arial"/>
                  <a:sym typeface="Arial"/>
                </a:rPr>
                <a:t>Resize the picture to fit the slide, as needed, using the Crop tool. Hold the Shift key and click and drag a corner to scale equally.</a:t>
              </a:r>
              <a:endParaRPr sz="1400" b="0" i="0" u="none" strike="noStrike" cap="none">
                <a:solidFill>
                  <a:srgbClr val="000000"/>
                </a:solidFill>
                <a:latin typeface="Arial"/>
                <a:ea typeface="Arial"/>
                <a:cs typeface="Arial"/>
                <a:sym typeface="Arial"/>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u="none" strike="noStrike" cap="none">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if appropriate).</a:t>
              </a:r>
              <a:endParaRPr sz="1400" b="0" i="0" u="none" strike="noStrike" cap="none">
                <a:solidFill>
                  <a:srgbClr val="000000"/>
                </a:solidFill>
                <a:latin typeface="Arial"/>
                <a:ea typeface="Arial"/>
                <a:cs typeface="Arial"/>
                <a:sym typeface="Arial"/>
              </a:endParaRPr>
            </a:p>
          </p:txBody>
        </p:sp>
        <p:pic>
          <p:nvPicPr>
            <p:cNvPr id="254" name="Google Shape;254;p57"/>
            <p:cNvPicPr preferRelativeResize="0"/>
            <p:nvPr/>
          </p:nvPicPr>
          <p:blipFill rotWithShape="1">
            <a:blip r:embed="rId2">
              <a:alphaModFix/>
            </a:blip>
            <a:srcRect/>
            <a:stretch/>
          </p:blipFill>
          <p:spPr>
            <a:xfrm>
              <a:off x="9679634" y="1593517"/>
              <a:ext cx="140548" cy="96627"/>
            </a:xfrm>
            <a:prstGeom prst="rect">
              <a:avLst/>
            </a:prstGeom>
            <a:noFill/>
            <a:ln>
              <a:noFill/>
            </a:ln>
          </p:spPr>
        </p:pic>
      </p:grpSp>
      <p:sp>
        <p:nvSpPr>
          <p:cNvPr id="255" name="Google Shape;255;p57"/>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6" name="Google Shape;256;p57"/>
          <p:cNvSpPr txBox="1">
            <a:spLocks noGrp="1"/>
          </p:cNvSpPr>
          <p:nvPr>
            <p:ph type="body" idx="24"/>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Arial"/>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57" name="Google Shape;257;p57"/>
          <p:cNvSpPr txBox="1">
            <a:spLocks noGrp="1"/>
          </p:cNvSpPr>
          <p:nvPr>
            <p:ph type="body" idx="25"/>
          </p:nvPr>
        </p:nvSpPr>
        <p:spPr>
          <a:xfrm>
            <a:off x="381648" y="4745251"/>
            <a:ext cx="8385048" cy="110800"/>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720"/>
              </a:spcBef>
              <a:spcAft>
                <a:spcPts val="0"/>
              </a:spcAft>
              <a:buSzPts val="800"/>
              <a:buFont typeface="Arial"/>
              <a:buNone/>
              <a:defRPr sz="800">
                <a:latin typeface="Arial"/>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962271760"/>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Org Chart" userDrawn="1">
  <p:cSld name="Org Chart">
    <p:spTree>
      <p:nvGrpSpPr>
        <p:cNvPr id="1" name="Shape 144"/>
        <p:cNvGrpSpPr/>
        <p:nvPr/>
      </p:nvGrpSpPr>
      <p:grpSpPr>
        <a:xfrm>
          <a:off x="0" y="0"/>
          <a:ext cx="0" cy="0"/>
          <a:chOff x="0" y="0"/>
          <a:chExt cx="0" cy="0"/>
        </a:xfrm>
      </p:grpSpPr>
      <p:cxnSp>
        <p:nvCxnSpPr>
          <p:cNvPr id="145" name="Google Shape;145;p49"/>
          <p:cNvCxnSpPr/>
          <p:nvPr/>
        </p:nvCxnSpPr>
        <p:spPr>
          <a:xfrm rot="10800000">
            <a:off x="2216888" y="2427651"/>
            <a:ext cx="5300331" cy="0"/>
          </a:xfrm>
          <a:prstGeom prst="straightConnector1">
            <a:avLst/>
          </a:prstGeom>
          <a:noFill/>
          <a:ln w="57150" cap="flat" cmpd="sng">
            <a:solidFill>
              <a:srgbClr val="D1E8F5"/>
            </a:solidFill>
            <a:prstDash val="solid"/>
            <a:miter lim="800000"/>
            <a:headEnd type="none" w="sm" len="sm"/>
            <a:tailEnd type="none" w="sm" len="sm"/>
          </a:ln>
        </p:spPr>
      </p:cxnSp>
      <p:cxnSp>
        <p:nvCxnSpPr>
          <p:cNvPr id="146" name="Google Shape;146;p49"/>
          <p:cNvCxnSpPr/>
          <p:nvPr/>
        </p:nvCxnSpPr>
        <p:spPr>
          <a:xfrm>
            <a:off x="4505817" y="1783017"/>
            <a:ext cx="0" cy="2151030"/>
          </a:xfrm>
          <a:prstGeom prst="straightConnector1">
            <a:avLst/>
          </a:prstGeom>
          <a:noFill/>
          <a:ln w="57150" cap="flat" cmpd="sng">
            <a:solidFill>
              <a:srgbClr val="D1E8F5"/>
            </a:solidFill>
            <a:prstDash val="solid"/>
            <a:miter lim="800000"/>
            <a:headEnd type="none" w="sm" len="sm"/>
            <a:tailEnd type="none" w="sm" len="sm"/>
          </a:ln>
        </p:spPr>
      </p:cxnSp>
      <p:sp>
        <p:nvSpPr>
          <p:cNvPr id="147" name="Google Shape;147;p49"/>
          <p:cNvSpPr/>
          <p:nvPr/>
        </p:nvSpPr>
        <p:spPr>
          <a:xfrm>
            <a:off x="3888320" y="1088291"/>
            <a:ext cx="1930649" cy="731215"/>
          </a:xfrm>
          <a:prstGeom prst="rect">
            <a:avLst/>
          </a:prstGeom>
          <a:solidFill>
            <a:srgbClr val="C3DC9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mn-lt"/>
              <a:ea typeface="Arial"/>
              <a:cs typeface="Arial"/>
              <a:sym typeface="Arial"/>
            </a:endParaRPr>
          </a:p>
        </p:txBody>
      </p:sp>
      <p:sp>
        <p:nvSpPr>
          <p:cNvPr id="148" name="Google Shape;148;p49"/>
          <p:cNvSpPr txBox="1">
            <a:spLocks noGrp="1"/>
          </p:cNvSpPr>
          <p:nvPr>
            <p:ph type="body" idx="1"/>
          </p:nvPr>
        </p:nvSpPr>
        <p:spPr>
          <a:xfrm>
            <a:off x="3873895" y="1120767"/>
            <a:ext cx="1930400" cy="293688"/>
          </a:xfrm>
          <a:prstGeom prst="rect">
            <a:avLst/>
          </a:prstGeom>
          <a:noFill/>
          <a:ln>
            <a:noFill/>
          </a:ln>
        </p:spPr>
        <p:txBody>
          <a:bodyPr spcFirstLastPara="1" wrap="square" lIns="0" tIns="0" rIns="0" bIns="0" anchor="t" anchorCtr="0">
            <a:noAutofit/>
          </a:bodyPr>
          <a:lstStyle>
            <a:lvl1pPr marL="457189" lvl="0" indent="-228594"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378" lvl="1" indent="-228594"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566" lvl="2" indent="-228594"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754" lvl="3" indent="-228594" algn="l">
              <a:lnSpc>
                <a:spcPct val="90000"/>
              </a:lnSpc>
              <a:spcBef>
                <a:spcPts val="600"/>
              </a:spcBef>
              <a:spcAft>
                <a:spcPts val="0"/>
              </a:spcAft>
              <a:buSzPts val="1050"/>
              <a:buNone/>
              <a:defRPr/>
            </a:lvl4pPr>
            <a:lvl5pPr marL="2285943" lvl="4" indent="-228594" algn="l">
              <a:lnSpc>
                <a:spcPct val="90000"/>
              </a:lnSpc>
              <a:spcBef>
                <a:spcPts val="600"/>
              </a:spcBef>
              <a:spcAft>
                <a:spcPts val="0"/>
              </a:spcAft>
              <a:buSzPts val="1050"/>
              <a:buNone/>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149" name="Google Shape;149;p49"/>
          <p:cNvSpPr>
            <a:spLocks noGrp="1"/>
          </p:cNvSpPr>
          <p:nvPr>
            <p:ph type="pic" idx="2"/>
          </p:nvPr>
        </p:nvSpPr>
        <p:spPr>
          <a:xfrm>
            <a:off x="3163858" y="1088290"/>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cxnSp>
        <p:nvCxnSpPr>
          <p:cNvPr id="150" name="Google Shape;150;p49"/>
          <p:cNvCxnSpPr/>
          <p:nvPr/>
        </p:nvCxnSpPr>
        <p:spPr>
          <a:xfrm>
            <a:off x="1692602" y="2370592"/>
            <a:ext cx="0" cy="2151030"/>
          </a:xfrm>
          <a:prstGeom prst="straightConnector1">
            <a:avLst/>
          </a:prstGeom>
          <a:noFill/>
          <a:ln w="57150" cap="flat" cmpd="sng">
            <a:solidFill>
              <a:srgbClr val="D1E8F5"/>
            </a:solidFill>
            <a:prstDash val="solid"/>
            <a:miter lim="800000"/>
            <a:headEnd type="none" w="sm" len="sm"/>
            <a:tailEnd type="none" w="sm" len="sm"/>
          </a:ln>
        </p:spPr>
      </p:cxnSp>
      <p:cxnSp>
        <p:nvCxnSpPr>
          <p:cNvPr id="151" name="Google Shape;151;p49"/>
          <p:cNvCxnSpPr/>
          <p:nvPr/>
        </p:nvCxnSpPr>
        <p:spPr>
          <a:xfrm>
            <a:off x="7280914" y="2370592"/>
            <a:ext cx="0" cy="2151030"/>
          </a:xfrm>
          <a:prstGeom prst="straightConnector1">
            <a:avLst/>
          </a:prstGeom>
          <a:noFill/>
          <a:ln w="57150" cap="flat" cmpd="sng">
            <a:solidFill>
              <a:srgbClr val="D1E8F5"/>
            </a:solidFill>
            <a:prstDash val="solid"/>
            <a:miter lim="800000"/>
            <a:headEnd type="none" w="sm" len="sm"/>
            <a:tailEnd type="none" w="sm" len="sm"/>
          </a:ln>
        </p:spPr>
      </p:cxnSp>
      <p:sp>
        <p:nvSpPr>
          <p:cNvPr id="152" name="Google Shape;152;p49"/>
          <p:cNvSpPr/>
          <p:nvPr/>
        </p:nvSpPr>
        <p:spPr>
          <a:xfrm>
            <a:off x="1113070" y="3784803"/>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mn-lt"/>
              <a:ea typeface="Arial"/>
              <a:cs typeface="Arial"/>
              <a:sym typeface="Arial"/>
            </a:endParaRPr>
          </a:p>
        </p:txBody>
      </p:sp>
      <p:sp>
        <p:nvSpPr>
          <p:cNvPr id="153" name="Google Shape;153;p49"/>
          <p:cNvSpPr txBox="1">
            <a:spLocks noGrp="1"/>
          </p:cNvSpPr>
          <p:nvPr>
            <p:ph type="body" idx="3"/>
          </p:nvPr>
        </p:nvSpPr>
        <p:spPr>
          <a:xfrm>
            <a:off x="1098646" y="3817279"/>
            <a:ext cx="1930400" cy="293688"/>
          </a:xfrm>
          <a:prstGeom prst="rect">
            <a:avLst/>
          </a:prstGeom>
          <a:noFill/>
          <a:ln>
            <a:noFill/>
          </a:ln>
        </p:spPr>
        <p:txBody>
          <a:bodyPr spcFirstLastPara="1" wrap="square" lIns="0" tIns="0" rIns="0" bIns="0" anchor="t" anchorCtr="0">
            <a:noAutofit/>
          </a:bodyPr>
          <a:lstStyle>
            <a:lvl1pPr marL="457189" lvl="0" indent="-228594"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378" lvl="1" indent="-228594"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566" lvl="2" indent="-228594"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754" lvl="3" indent="-228594" algn="l">
              <a:lnSpc>
                <a:spcPct val="90000"/>
              </a:lnSpc>
              <a:spcBef>
                <a:spcPts val="600"/>
              </a:spcBef>
              <a:spcAft>
                <a:spcPts val="0"/>
              </a:spcAft>
              <a:buSzPts val="1050"/>
              <a:buNone/>
              <a:defRPr/>
            </a:lvl4pPr>
            <a:lvl5pPr marL="2285943" lvl="4" indent="-228594" algn="l">
              <a:lnSpc>
                <a:spcPct val="90000"/>
              </a:lnSpc>
              <a:spcBef>
                <a:spcPts val="600"/>
              </a:spcBef>
              <a:spcAft>
                <a:spcPts val="0"/>
              </a:spcAft>
              <a:buSzPts val="1050"/>
              <a:buNone/>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154" name="Google Shape;154;p49"/>
          <p:cNvSpPr>
            <a:spLocks noGrp="1"/>
          </p:cNvSpPr>
          <p:nvPr>
            <p:ph type="pic" idx="4"/>
          </p:nvPr>
        </p:nvSpPr>
        <p:spPr>
          <a:xfrm>
            <a:off x="388608" y="3784802"/>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55" name="Google Shape;155;p49"/>
          <p:cNvSpPr/>
          <p:nvPr/>
        </p:nvSpPr>
        <p:spPr>
          <a:xfrm>
            <a:off x="3888320" y="3784803"/>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mn-lt"/>
              <a:ea typeface="Arial"/>
              <a:cs typeface="Arial"/>
              <a:sym typeface="Arial"/>
            </a:endParaRPr>
          </a:p>
        </p:txBody>
      </p:sp>
      <p:sp>
        <p:nvSpPr>
          <p:cNvPr id="156" name="Google Shape;156;p49"/>
          <p:cNvSpPr txBox="1">
            <a:spLocks noGrp="1"/>
          </p:cNvSpPr>
          <p:nvPr>
            <p:ph type="body" idx="5"/>
          </p:nvPr>
        </p:nvSpPr>
        <p:spPr>
          <a:xfrm>
            <a:off x="3873895" y="3817279"/>
            <a:ext cx="1930400" cy="293688"/>
          </a:xfrm>
          <a:prstGeom prst="rect">
            <a:avLst/>
          </a:prstGeom>
          <a:noFill/>
          <a:ln>
            <a:noFill/>
          </a:ln>
        </p:spPr>
        <p:txBody>
          <a:bodyPr spcFirstLastPara="1" wrap="square" lIns="0" tIns="0" rIns="0" bIns="0" anchor="t" anchorCtr="0">
            <a:noAutofit/>
          </a:bodyPr>
          <a:lstStyle>
            <a:lvl1pPr marL="457189" lvl="0" indent="-228594"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378" lvl="1" indent="-228594"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566" lvl="2" indent="-228594"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754" lvl="3" indent="-228594" algn="l">
              <a:lnSpc>
                <a:spcPct val="90000"/>
              </a:lnSpc>
              <a:spcBef>
                <a:spcPts val="600"/>
              </a:spcBef>
              <a:spcAft>
                <a:spcPts val="0"/>
              </a:spcAft>
              <a:buSzPts val="1050"/>
              <a:buNone/>
              <a:defRPr/>
            </a:lvl4pPr>
            <a:lvl5pPr marL="2285943" lvl="4" indent="-228594" algn="l">
              <a:lnSpc>
                <a:spcPct val="90000"/>
              </a:lnSpc>
              <a:spcBef>
                <a:spcPts val="600"/>
              </a:spcBef>
              <a:spcAft>
                <a:spcPts val="0"/>
              </a:spcAft>
              <a:buSzPts val="1050"/>
              <a:buNone/>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157" name="Google Shape;157;p49"/>
          <p:cNvSpPr>
            <a:spLocks noGrp="1"/>
          </p:cNvSpPr>
          <p:nvPr>
            <p:ph type="pic" idx="6"/>
          </p:nvPr>
        </p:nvSpPr>
        <p:spPr>
          <a:xfrm>
            <a:off x="3163858" y="3784802"/>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58" name="Google Shape;158;p49"/>
          <p:cNvSpPr/>
          <p:nvPr/>
        </p:nvSpPr>
        <p:spPr>
          <a:xfrm>
            <a:off x="6710400" y="3784803"/>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mn-lt"/>
              <a:ea typeface="Arial"/>
              <a:cs typeface="Arial"/>
              <a:sym typeface="Arial"/>
            </a:endParaRPr>
          </a:p>
        </p:txBody>
      </p:sp>
      <p:sp>
        <p:nvSpPr>
          <p:cNvPr id="159" name="Google Shape;159;p49"/>
          <p:cNvSpPr txBox="1">
            <a:spLocks noGrp="1"/>
          </p:cNvSpPr>
          <p:nvPr>
            <p:ph type="body" idx="7"/>
          </p:nvPr>
        </p:nvSpPr>
        <p:spPr>
          <a:xfrm>
            <a:off x="6695976" y="3817279"/>
            <a:ext cx="1930400" cy="293688"/>
          </a:xfrm>
          <a:prstGeom prst="rect">
            <a:avLst/>
          </a:prstGeom>
          <a:noFill/>
          <a:ln>
            <a:noFill/>
          </a:ln>
        </p:spPr>
        <p:txBody>
          <a:bodyPr spcFirstLastPara="1" wrap="square" lIns="0" tIns="0" rIns="0" bIns="0" anchor="t" anchorCtr="0">
            <a:noAutofit/>
          </a:bodyPr>
          <a:lstStyle>
            <a:lvl1pPr marL="457189" lvl="0" indent="-228594"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378" lvl="1" indent="-228594"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566" lvl="2" indent="-228594"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754" lvl="3" indent="-228594" algn="l">
              <a:lnSpc>
                <a:spcPct val="90000"/>
              </a:lnSpc>
              <a:spcBef>
                <a:spcPts val="600"/>
              </a:spcBef>
              <a:spcAft>
                <a:spcPts val="0"/>
              </a:spcAft>
              <a:buSzPts val="1050"/>
              <a:buNone/>
              <a:defRPr/>
            </a:lvl4pPr>
            <a:lvl5pPr marL="2285943" lvl="4" indent="-228594" algn="l">
              <a:lnSpc>
                <a:spcPct val="90000"/>
              </a:lnSpc>
              <a:spcBef>
                <a:spcPts val="600"/>
              </a:spcBef>
              <a:spcAft>
                <a:spcPts val="0"/>
              </a:spcAft>
              <a:buSzPts val="1050"/>
              <a:buNone/>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160" name="Google Shape;160;p49"/>
          <p:cNvSpPr>
            <a:spLocks noGrp="1"/>
          </p:cNvSpPr>
          <p:nvPr>
            <p:ph type="pic" idx="8"/>
          </p:nvPr>
        </p:nvSpPr>
        <p:spPr>
          <a:xfrm>
            <a:off x="5985938" y="3784802"/>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61" name="Google Shape;161;p49"/>
          <p:cNvSpPr/>
          <p:nvPr/>
        </p:nvSpPr>
        <p:spPr>
          <a:xfrm>
            <a:off x="1113070" y="2917501"/>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mn-lt"/>
              <a:ea typeface="Arial"/>
              <a:cs typeface="Arial"/>
              <a:sym typeface="Arial"/>
            </a:endParaRPr>
          </a:p>
        </p:txBody>
      </p:sp>
      <p:sp>
        <p:nvSpPr>
          <p:cNvPr id="162" name="Google Shape;162;p49"/>
          <p:cNvSpPr txBox="1">
            <a:spLocks noGrp="1"/>
          </p:cNvSpPr>
          <p:nvPr>
            <p:ph type="body" idx="9"/>
          </p:nvPr>
        </p:nvSpPr>
        <p:spPr>
          <a:xfrm>
            <a:off x="1098646" y="2949977"/>
            <a:ext cx="1930400" cy="293688"/>
          </a:xfrm>
          <a:prstGeom prst="rect">
            <a:avLst/>
          </a:prstGeom>
          <a:noFill/>
          <a:ln>
            <a:noFill/>
          </a:ln>
        </p:spPr>
        <p:txBody>
          <a:bodyPr spcFirstLastPara="1" wrap="square" lIns="0" tIns="0" rIns="0" bIns="0" anchor="t" anchorCtr="0">
            <a:noAutofit/>
          </a:bodyPr>
          <a:lstStyle>
            <a:lvl1pPr marL="457189" lvl="0" indent="-228594"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378" lvl="1" indent="-228594"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566" lvl="2" indent="-228594"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754" lvl="3" indent="-228594" algn="l">
              <a:lnSpc>
                <a:spcPct val="90000"/>
              </a:lnSpc>
              <a:spcBef>
                <a:spcPts val="600"/>
              </a:spcBef>
              <a:spcAft>
                <a:spcPts val="0"/>
              </a:spcAft>
              <a:buSzPts val="1050"/>
              <a:buNone/>
              <a:defRPr/>
            </a:lvl4pPr>
            <a:lvl5pPr marL="2285943" lvl="4" indent="-228594" algn="l">
              <a:lnSpc>
                <a:spcPct val="90000"/>
              </a:lnSpc>
              <a:spcBef>
                <a:spcPts val="600"/>
              </a:spcBef>
              <a:spcAft>
                <a:spcPts val="0"/>
              </a:spcAft>
              <a:buSzPts val="1050"/>
              <a:buNone/>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163" name="Google Shape;163;p49"/>
          <p:cNvSpPr>
            <a:spLocks noGrp="1"/>
          </p:cNvSpPr>
          <p:nvPr>
            <p:ph type="pic" idx="13"/>
          </p:nvPr>
        </p:nvSpPr>
        <p:spPr>
          <a:xfrm>
            <a:off x="388608" y="2917500"/>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64" name="Google Shape;164;p49"/>
          <p:cNvSpPr/>
          <p:nvPr/>
        </p:nvSpPr>
        <p:spPr>
          <a:xfrm>
            <a:off x="3888320" y="2917501"/>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mn-lt"/>
              <a:ea typeface="Arial"/>
              <a:cs typeface="Arial"/>
              <a:sym typeface="Arial"/>
            </a:endParaRPr>
          </a:p>
        </p:txBody>
      </p:sp>
      <p:sp>
        <p:nvSpPr>
          <p:cNvPr id="165" name="Google Shape;165;p49"/>
          <p:cNvSpPr txBox="1">
            <a:spLocks noGrp="1"/>
          </p:cNvSpPr>
          <p:nvPr>
            <p:ph type="body" idx="14"/>
          </p:nvPr>
        </p:nvSpPr>
        <p:spPr>
          <a:xfrm>
            <a:off x="3873895" y="2949977"/>
            <a:ext cx="1930400" cy="293688"/>
          </a:xfrm>
          <a:prstGeom prst="rect">
            <a:avLst/>
          </a:prstGeom>
          <a:noFill/>
          <a:ln>
            <a:noFill/>
          </a:ln>
        </p:spPr>
        <p:txBody>
          <a:bodyPr spcFirstLastPara="1" wrap="square" lIns="0" tIns="0" rIns="0" bIns="0" anchor="t" anchorCtr="0">
            <a:noAutofit/>
          </a:bodyPr>
          <a:lstStyle>
            <a:lvl1pPr marL="457189" lvl="0" indent="-228594"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378" lvl="1" indent="-228594"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566" lvl="2" indent="-228594"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754" lvl="3" indent="-228594" algn="l">
              <a:lnSpc>
                <a:spcPct val="90000"/>
              </a:lnSpc>
              <a:spcBef>
                <a:spcPts val="600"/>
              </a:spcBef>
              <a:spcAft>
                <a:spcPts val="0"/>
              </a:spcAft>
              <a:buSzPts val="1050"/>
              <a:buNone/>
              <a:defRPr/>
            </a:lvl4pPr>
            <a:lvl5pPr marL="2285943" lvl="4" indent="-228594" algn="l">
              <a:lnSpc>
                <a:spcPct val="90000"/>
              </a:lnSpc>
              <a:spcBef>
                <a:spcPts val="600"/>
              </a:spcBef>
              <a:spcAft>
                <a:spcPts val="0"/>
              </a:spcAft>
              <a:buSzPts val="1050"/>
              <a:buNone/>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166" name="Google Shape;166;p49"/>
          <p:cNvSpPr>
            <a:spLocks noGrp="1"/>
          </p:cNvSpPr>
          <p:nvPr>
            <p:ph type="pic" idx="15"/>
          </p:nvPr>
        </p:nvSpPr>
        <p:spPr>
          <a:xfrm>
            <a:off x="3163858" y="2917500"/>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67" name="Google Shape;167;p49"/>
          <p:cNvSpPr/>
          <p:nvPr/>
        </p:nvSpPr>
        <p:spPr>
          <a:xfrm>
            <a:off x="6710400" y="2917501"/>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mn-lt"/>
              <a:ea typeface="Arial"/>
              <a:cs typeface="Arial"/>
              <a:sym typeface="Arial"/>
            </a:endParaRPr>
          </a:p>
        </p:txBody>
      </p:sp>
      <p:sp>
        <p:nvSpPr>
          <p:cNvPr id="168" name="Google Shape;168;p49"/>
          <p:cNvSpPr txBox="1">
            <a:spLocks noGrp="1"/>
          </p:cNvSpPr>
          <p:nvPr>
            <p:ph type="body" idx="16"/>
          </p:nvPr>
        </p:nvSpPr>
        <p:spPr>
          <a:xfrm>
            <a:off x="6695976" y="2949977"/>
            <a:ext cx="1930400" cy="293688"/>
          </a:xfrm>
          <a:prstGeom prst="rect">
            <a:avLst/>
          </a:prstGeom>
          <a:noFill/>
          <a:ln>
            <a:noFill/>
          </a:ln>
        </p:spPr>
        <p:txBody>
          <a:bodyPr spcFirstLastPara="1" wrap="square" lIns="0" tIns="0" rIns="0" bIns="0" anchor="t" anchorCtr="0">
            <a:noAutofit/>
          </a:bodyPr>
          <a:lstStyle>
            <a:lvl1pPr marL="457189" lvl="0" indent="-228594"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378" lvl="1" indent="-228594"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566" lvl="2" indent="-228594"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754" lvl="3" indent="-228594" algn="l">
              <a:lnSpc>
                <a:spcPct val="90000"/>
              </a:lnSpc>
              <a:spcBef>
                <a:spcPts val="600"/>
              </a:spcBef>
              <a:spcAft>
                <a:spcPts val="0"/>
              </a:spcAft>
              <a:buSzPts val="1050"/>
              <a:buNone/>
              <a:defRPr/>
            </a:lvl4pPr>
            <a:lvl5pPr marL="2285943" lvl="4" indent="-228594" algn="l">
              <a:lnSpc>
                <a:spcPct val="90000"/>
              </a:lnSpc>
              <a:spcBef>
                <a:spcPts val="600"/>
              </a:spcBef>
              <a:spcAft>
                <a:spcPts val="0"/>
              </a:spcAft>
              <a:buSzPts val="1050"/>
              <a:buNone/>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169" name="Google Shape;169;p49"/>
          <p:cNvSpPr>
            <a:spLocks noGrp="1"/>
          </p:cNvSpPr>
          <p:nvPr>
            <p:ph type="pic" idx="17"/>
          </p:nvPr>
        </p:nvSpPr>
        <p:spPr>
          <a:xfrm>
            <a:off x="5985938" y="2917500"/>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70" name="Google Shape;170;p49"/>
          <p:cNvSpPr/>
          <p:nvPr/>
        </p:nvSpPr>
        <p:spPr>
          <a:xfrm>
            <a:off x="1113070" y="2059173"/>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mn-lt"/>
              <a:ea typeface="Arial"/>
              <a:cs typeface="Arial"/>
              <a:sym typeface="Arial"/>
            </a:endParaRPr>
          </a:p>
        </p:txBody>
      </p:sp>
      <p:sp>
        <p:nvSpPr>
          <p:cNvPr id="171" name="Google Shape;171;p49"/>
          <p:cNvSpPr txBox="1">
            <a:spLocks noGrp="1"/>
          </p:cNvSpPr>
          <p:nvPr>
            <p:ph type="body" idx="18"/>
          </p:nvPr>
        </p:nvSpPr>
        <p:spPr>
          <a:xfrm>
            <a:off x="1098646" y="2091649"/>
            <a:ext cx="1930400" cy="293688"/>
          </a:xfrm>
          <a:prstGeom prst="rect">
            <a:avLst/>
          </a:prstGeom>
          <a:noFill/>
          <a:ln>
            <a:noFill/>
          </a:ln>
        </p:spPr>
        <p:txBody>
          <a:bodyPr spcFirstLastPara="1" wrap="square" lIns="0" tIns="0" rIns="0" bIns="0" anchor="t" anchorCtr="0">
            <a:noAutofit/>
          </a:bodyPr>
          <a:lstStyle>
            <a:lvl1pPr marL="457189" lvl="0" indent="-228594"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378" lvl="1" indent="-228594"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566" lvl="2" indent="-228594"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754" lvl="3" indent="-228594" algn="l">
              <a:lnSpc>
                <a:spcPct val="90000"/>
              </a:lnSpc>
              <a:spcBef>
                <a:spcPts val="600"/>
              </a:spcBef>
              <a:spcAft>
                <a:spcPts val="0"/>
              </a:spcAft>
              <a:buSzPts val="1050"/>
              <a:buNone/>
              <a:defRPr/>
            </a:lvl4pPr>
            <a:lvl5pPr marL="2285943" lvl="4" indent="-228594" algn="l">
              <a:lnSpc>
                <a:spcPct val="90000"/>
              </a:lnSpc>
              <a:spcBef>
                <a:spcPts val="600"/>
              </a:spcBef>
              <a:spcAft>
                <a:spcPts val="0"/>
              </a:spcAft>
              <a:buSzPts val="1050"/>
              <a:buNone/>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dirty="0"/>
          </a:p>
        </p:txBody>
      </p:sp>
      <p:sp>
        <p:nvSpPr>
          <p:cNvPr id="172" name="Google Shape;172;p49"/>
          <p:cNvSpPr>
            <a:spLocks noGrp="1"/>
          </p:cNvSpPr>
          <p:nvPr>
            <p:ph type="pic" idx="19"/>
          </p:nvPr>
        </p:nvSpPr>
        <p:spPr>
          <a:xfrm>
            <a:off x="388608" y="2059172"/>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73" name="Google Shape;173;p49"/>
          <p:cNvSpPr txBox="1">
            <a:spLocks noGrp="1"/>
          </p:cNvSpPr>
          <p:nvPr>
            <p:ph type="title"/>
          </p:nvPr>
        </p:nvSpPr>
        <p:spPr>
          <a:xfrm>
            <a:off x="381648" y="585796"/>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 name="Google Shape;174;p49"/>
          <p:cNvSpPr/>
          <p:nvPr/>
        </p:nvSpPr>
        <p:spPr>
          <a:xfrm>
            <a:off x="3888320" y="2059173"/>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mn-lt"/>
              <a:ea typeface="Arial"/>
              <a:cs typeface="Arial"/>
              <a:sym typeface="Arial"/>
            </a:endParaRPr>
          </a:p>
        </p:txBody>
      </p:sp>
      <p:sp>
        <p:nvSpPr>
          <p:cNvPr id="175" name="Google Shape;175;p49"/>
          <p:cNvSpPr txBox="1">
            <a:spLocks noGrp="1"/>
          </p:cNvSpPr>
          <p:nvPr>
            <p:ph type="body" idx="20"/>
          </p:nvPr>
        </p:nvSpPr>
        <p:spPr>
          <a:xfrm>
            <a:off x="3873895" y="2091649"/>
            <a:ext cx="1930400" cy="293688"/>
          </a:xfrm>
          <a:prstGeom prst="rect">
            <a:avLst/>
          </a:prstGeom>
          <a:noFill/>
          <a:ln>
            <a:noFill/>
          </a:ln>
        </p:spPr>
        <p:txBody>
          <a:bodyPr spcFirstLastPara="1" wrap="square" lIns="0" tIns="0" rIns="0" bIns="0" anchor="t" anchorCtr="0">
            <a:noAutofit/>
          </a:bodyPr>
          <a:lstStyle>
            <a:lvl1pPr marL="457189" lvl="0" indent="-228594"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378" lvl="1" indent="-228594"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566" lvl="2" indent="-228594"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754" lvl="3" indent="-228594" algn="l">
              <a:lnSpc>
                <a:spcPct val="90000"/>
              </a:lnSpc>
              <a:spcBef>
                <a:spcPts val="600"/>
              </a:spcBef>
              <a:spcAft>
                <a:spcPts val="0"/>
              </a:spcAft>
              <a:buSzPts val="1050"/>
              <a:buNone/>
              <a:defRPr/>
            </a:lvl4pPr>
            <a:lvl5pPr marL="2285943" lvl="4" indent="-228594" algn="l">
              <a:lnSpc>
                <a:spcPct val="90000"/>
              </a:lnSpc>
              <a:spcBef>
                <a:spcPts val="600"/>
              </a:spcBef>
              <a:spcAft>
                <a:spcPts val="0"/>
              </a:spcAft>
              <a:buSzPts val="1050"/>
              <a:buNone/>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176" name="Google Shape;176;p49"/>
          <p:cNvSpPr>
            <a:spLocks noGrp="1"/>
          </p:cNvSpPr>
          <p:nvPr>
            <p:ph type="pic" idx="21"/>
          </p:nvPr>
        </p:nvSpPr>
        <p:spPr>
          <a:xfrm>
            <a:off x="3163858" y="2059172"/>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77" name="Google Shape;177;p49"/>
          <p:cNvSpPr/>
          <p:nvPr/>
        </p:nvSpPr>
        <p:spPr>
          <a:xfrm>
            <a:off x="6710400" y="2059173"/>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mn-lt"/>
              <a:ea typeface="Arial"/>
              <a:cs typeface="Arial"/>
              <a:sym typeface="Arial"/>
            </a:endParaRPr>
          </a:p>
        </p:txBody>
      </p:sp>
      <p:sp>
        <p:nvSpPr>
          <p:cNvPr id="178" name="Google Shape;178;p49"/>
          <p:cNvSpPr txBox="1">
            <a:spLocks noGrp="1"/>
          </p:cNvSpPr>
          <p:nvPr>
            <p:ph type="body" idx="22"/>
          </p:nvPr>
        </p:nvSpPr>
        <p:spPr>
          <a:xfrm>
            <a:off x="6695976" y="2091649"/>
            <a:ext cx="1930400" cy="293688"/>
          </a:xfrm>
          <a:prstGeom prst="rect">
            <a:avLst/>
          </a:prstGeom>
          <a:noFill/>
          <a:ln>
            <a:noFill/>
          </a:ln>
        </p:spPr>
        <p:txBody>
          <a:bodyPr spcFirstLastPara="1" wrap="square" lIns="0" tIns="0" rIns="0" bIns="0" anchor="t" anchorCtr="0">
            <a:noAutofit/>
          </a:bodyPr>
          <a:lstStyle>
            <a:lvl1pPr marL="457189" lvl="0" indent="-228594"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378" lvl="1" indent="-228594"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566" lvl="2" indent="-228594"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754" lvl="3" indent="-228594" algn="l">
              <a:lnSpc>
                <a:spcPct val="90000"/>
              </a:lnSpc>
              <a:spcBef>
                <a:spcPts val="600"/>
              </a:spcBef>
              <a:spcAft>
                <a:spcPts val="0"/>
              </a:spcAft>
              <a:buSzPts val="1050"/>
              <a:buNone/>
              <a:defRPr/>
            </a:lvl4pPr>
            <a:lvl5pPr marL="2285943" lvl="4" indent="-228594" algn="l">
              <a:lnSpc>
                <a:spcPct val="90000"/>
              </a:lnSpc>
              <a:spcBef>
                <a:spcPts val="600"/>
              </a:spcBef>
              <a:spcAft>
                <a:spcPts val="0"/>
              </a:spcAft>
              <a:buSzPts val="1050"/>
              <a:buNone/>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179" name="Google Shape;179;p49"/>
          <p:cNvSpPr>
            <a:spLocks noGrp="1"/>
          </p:cNvSpPr>
          <p:nvPr>
            <p:ph type="pic" idx="23"/>
          </p:nvPr>
        </p:nvSpPr>
        <p:spPr>
          <a:xfrm>
            <a:off x="5985938" y="2059172"/>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grpSp>
        <p:nvGrpSpPr>
          <p:cNvPr id="180" name="Google Shape;180;p49"/>
          <p:cNvGrpSpPr/>
          <p:nvPr/>
        </p:nvGrpSpPr>
        <p:grpSpPr>
          <a:xfrm>
            <a:off x="9206186" y="157807"/>
            <a:ext cx="2202899" cy="4708981"/>
            <a:chOff x="9206185" y="157806"/>
            <a:chExt cx="2202899" cy="4708979"/>
          </a:xfrm>
        </p:grpSpPr>
        <p:pic>
          <p:nvPicPr>
            <p:cNvPr id="181" name="Google Shape;181;p49"/>
            <p:cNvPicPr preferRelativeResize="0"/>
            <p:nvPr/>
          </p:nvPicPr>
          <p:blipFill rotWithShape="1">
            <a:blip r:embed="rId2">
              <a:alphaModFix/>
            </a:blip>
            <a:srcRect/>
            <a:stretch/>
          </p:blipFill>
          <p:spPr>
            <a:xfrm>
              <a:off x="9637800" y="1253766"/>
              <a:ext cx="140548" cy="96627"/>
            </a:xfrm>
            <a:prstGeom prst="rect">
              <a:avLst/>
            </a:prstGeom>
            <a:noFill/>
            <a:ln>
              <a:noFill/>
            </a:ln>
          </p:spPr>
        </p:pic>
        <p:sp>
          <p:nvSpPr>
            <p:cNvPr id="182" name="Google Shape;182;p49"/>
            <p:cNvSpPr txBox="1"/>
            <p:nvPr/>
          </p:nvSpPr>
          <p:spPr>
            <a:xfrm>
              <a:off x="9206185" y="157806"/>
              <a:ext cx="2202899" cy="4708979"/>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TO EDIT THIS LAYOUT BY ADDING IMAGES AND OTHER CONTENT:</a:t>
              </a:r>
              <a:endParaRPr sz="1800" dirty="0"/>
            </a:p>
            <a:p>
              <a:pPr marL="174621" marR="0" lvl="0" indent="-174621" algn="l" rtl="0">
                <a:lnSpc>
                  <a:spcPct val="100000"/>
                </a:lnSpc>
                <a:spcBef>
                  <a:spcPts val="1200"/>
                </a:spcBef>
                <a:spcAft>
                  <a:spcPts val="0"/>
                </a:spcAft>
                <a:buClr>
                  <a:srgbClr val="7D8183"/>
                </a:buClr>
                <a:buSzPts val="900"/>
                <a:buFont typeface="Arial"/>
                <a:buAutoNum type="arabicPeriod"/>
              </a:pPr>
              <a:r>
                <a:rPr lang="en-US" sz="900" b="1" i="0" dirty="0">
                  <a:solidFill>
                    <a:srgbClr val="7D8183"/>
                  </a:solidFill>
                  <a:latin typeface="Arial"/>
                  <a:ea typeface="Arial"/>
                  <a:cs typeface="Arial"/>
                  <a:sym typeface="Arial"/>
                </a:rPr>
                <a:t>Delete the current picture (s), if there </a:t>
              </a:r>
              <a:br>
                <a:rPr lang="en-US" sz="900" b="1" i="0" dirty="0">
                  <a:solidFill>
                    <a:srgbClr val="7D8183"/>
                  </a:solidFill>
                  <a:latin typeface="Arial"/>
                  <a:ea typeface="Arial"/>
                  <a:cs typeface="Arial"/>
                  <a:sym typeface="Arial"/>
                </a:rPr>
              </a:br>
              <a:r>
                <a:rPr lang="en-US" sz="900" b="1" i="0" dirty="0">
                  <a:solidFill>
                    <a:srgbClr val="7D8183"/>
                  </a:solidFill>
                  <a:latin typeface="Arial"/>
                  <a:ea typeface="Arial"/>
                  <a:cs typeface="Arial"/>
                  <a:sym typeface="Arial"/>
                </a:rPr>
                <a:t>are any.</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On the Insert tab, click the Pictures button OR you can click the picture icon      on the slide surface to start your search.</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Navigate to the image you want to use and select Insert. </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Resize the picture to fit the photo area, as needed, using the Crop tool. Hold the Shift key and click and drag a corner to scale equally.</a:t>
              </a:r>
              <a:endParaRPr sz="1800" dirty="0"/>
            </a:p>
            <a:p>
              <a:pPr marL="174621" marR="0" lvl="0" indent="-174621" algn="l" rtl="0">
                <a:lnSpc>
                  <a:spcPct val="100000"/>
                </a:lnSpc>
                <a:spcBef>
                  <a:spcPts val="1200"/>
                </a:spcBef>
                <a:spcAft>
                  <a:spcPts val="0"/>
                </a:spcAft>
                <a:buClr>
                  <a:srgbClr val="7D8183"/>
                </a:buClr>
                <a:buSzPts val="900"/>
                <a:buFont typeface="Arial"/>
                <a:buAutoNum type="arabicPeriod" startAt="2"/>
              </a:pPr>
              <a:r>
                <a:rPr lang="en-US" sz="900" b="1" i="0" dirty="0">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a:t>
              </a:r>
              <a:r>
                <a:rPr lang="en-US" sz="900" b="1" i="0">
                  <a:solidFill>
                    <a:srgbClr val="7D8183"/>
                  </a:solidFill>
                  <a:latin typeface="Arial"/>
                  <a:ea typeface="Arial"/>
                  <a:cs typeface="Arial"/>
                  <a:sym typeface="Arial"/>
                </a:rPr>
                <a:t>if appropriate</a:t>
              </a:r>
              <a:r>
                <a:rPr lang="en-US" sz="900" b="1" i="0" dirty="0">
                  <a:solidFill>
                    <a:srgbClr val="7D8183"/>
                  </a:solidFill>
                  <a:latin typeface="Arial"/>
                  <a:ea typeface="Arial"/>
                  <a:cs typeface="Arial"/>
                  <a:sym typeface="Arial"/>
                </a:rPr>
                <a:t>).</a:t>
              </a:r>
              <a:endParaRPr sz="1800" dirty="0"/>
            </a:p>
            <a:p>
              <a:pPr marL="174621" marR="0" lvl="0" indent="-174621" algn="l" rtl="0">
                <a:lnSpc>
                  <a:spcPct val="100000"/>
                </a:lnSpc>
                <a:spcBef>
                  <a:spcPts val="1200"/>
                </a:spcBef>
                <a:spcAft>
                  <a:spcPts val="0"/>
                </a:spcAft>
                <a:buClr>
                  <a:srgbClr val="7D8183"/>
                </a:buClr>
                <a:buSzPts val="900"/>
                <a:buFont typeface="Arial"/>
                <a:buAutoNum type="arabicPeriod" startAt="2"/>
              </a:pPr>
              <a:r>
                <a:rPr lang="en-US" sz="900" b="1" i="0" dirty="0">
                  <a:solidFill>
                    <a:srgbClr val="7D8183"/>
                  </a:solidFill>
                  <a:latin typeface="Arial"/>
                  <a:ea typeface="Arial"/>
                  <a:cs typeface="Arial"/>
                  <a:sym typeface="Arial"/>
                </a:rPr>
                <a:t>Add organizational chart content such as names, titles, and departments. To delete or move box or line elements, you must go to the master to do so. Another slide has been created that is editable on the slide face which works better if your content is slightly different than this master layout.</a:t>
              </a:r>
              <a:endParaRPr sz="1800" dirty="0"/>
            </a:p>
          </p:txBody>
        </p:sp>
      </p:grpSp>
      <p:sp>
        <p:nvSpPr>
          <p:cNvPr id="42" name="Google Shape;58;p36">
            <a:extLst>
              <a:ext uri="{FF2B5EF4-FFF2-40B4-BE49-F238E27FC236}">
                <a16:creationId xmlns:a16="http://schemas.microsoft.com/office/drawing/2014/main" id="{A5002E38-614A-426A-9F6D-8D330A8BBFB8}"/>
              </a:ext>
            </a:extLst>
          </p:cNvPr>
          <p:cNvSpPr txBox="1">
            <a:spLocks noGrp="1"/>
          </p:cNvSpPr>
          <p:nvPr>
            <p:ph type="body" idx="26"/>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baseline="0">
                <a:solidFill>
                  <a:schemeClr val="dk1"/>
                </a:solidFill>
                <a:latin typeface="+mn-lt"/>
                <a:ea typeface="Arial"/>
                <a:cs typeface="Arial"/>
                <a:sym typeface="Arial"/>
              </a:defRPr>
            </a:lvl1pPr>
            <a:lvl2pPr marL="914378" lvl="1" indent="-228594" algn="l">
              <a:lnSpc>
                <a:spcPct val="90000"/>
              </a:lnSpc>
              <a:spcBef>
                <a:spcPts val="600"/>
              </a:spcBef>
              <a:spcAft>
                <a:spcPts val="0"/>
              </a:spcAft>
              <a:buSzPts val="1400"/>
              <a:buNone/>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dirty="0"/>
          </a:p>
        </p:txBody>
      </p:sp>
      <p:sp>
        <p:nvSpPr>
          <p:cNvPr id="44" name="Google Shape;60;p36">
            <a:extLst>
              <a:ext uri="{FF2B5EF4-FFF2-40B4-BE49-F238E27FC236}">
                <a16:creationId xmlns:a16="http://schemas.microsoft.com/office/drawing/2014/main" id="{3C2C8317-47AC-4BC0-954A-C4160D974042}"/>
              </a:ext>
            </a:extLst>
          </p:cNvPr>
          <p:cNvSpPr txBox="1">
            <a:spLocks noGrp="1"/>
          </p:cNvSpPr>
          <p:nvPr>
            <p:ph type="body" idx="27" hasCustomPrompt="1"/>
          </p:nvPr>
        </p:nvSpPr>
        <p:spPr>
          <a:xfrm>
            <a:off x="381648" y="4745252"/>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378" lvl="1" indent="-342892" algn="l">
              <a:lnSpc>
                <a:spcPct val="90000"/>
              </a:lnSpc>
              <a:spcBef>
                <a:spcPts val="600"/>
              </a:spcBef>
              <a:spcAft>
                <a:spcPts val="0"/>
              </a:spcAft>
              <a:buSzPts val="1800"/>
              <a:buChar char="•"/>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r>
              <a:rPr lang="en-US" dirty="0"/>
              <a:t>Footnote placeholder</a:t>
            </a:r>
          </a:p>
        </p:txBody>
      </p:sp>
    </p:spTree>
    <p:extLst>
      <p:ext uri="{BB962C8B-B14F-4D97-AF65-F5344CB8AC3E}">
        <p14:creationId xmlns:p14="http://schemas.microsoft.com/office/powerpoint/2010/main" val="2878385023"/>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58"/>
        <p:cNvGrpSpPr/>
        <p:nvPr/>
      </p:nvGrpSpPr>
      <p:grpSpPr>
        <a:xfrm>
          <a:off x="0" y="0"/>
          <a:ext cx="0" cy="0"/>
          <a:chOff x="0" y="0"/>
          <a:chExt cx="0" cy="0"/>
        </a:xfrm>
      </p:grpSpPr>
      <p:sp>
        <p:nvSpPr>
          <p:cNvPr id="259" name="Google Shape;259;p58"/>
          <p:cNvSpPr txBox="1">
            <a:spLocks noGrp="1"/>
          </p:cNvSpPr>
          <p:nvPr>
            <p:ph type="body" idx="1"/>
          </p:nvPr>
        </p:nvSpPr>
        <p:spPr>
          <a:xfrm>
            <a:off x="381647" y="292659"/>
            <a:ext cx="8384400" cy="124650"/>
          </a:xfrm>
          <a:prstGeom prst="rect">
            <a:avLst/>
          </a:prstGeom>
          <a:noFill/>
          <a:ln>
            <a:noFill/>
          </a:ln>
        </p:spPr>
        <p:txBody>
          <a:bodyPr spcFirstLastPara="1" wrap="square" lIns="0" tIns="0" rIns="0" bIns="0" anchor="b" anchorCtr="0">
            <a:spAutoFit/>
          </a:bodyPr>
          <a:lstStyle>
            <a:lvl1pPr marL="457200" lvl="0" indent="-228600" algn="l">
              <a:lnSpc>
                <a:spcPct val="90000"/>
              </a:lnSpc>
              <a:spcBef>
                <a:spcPts val="0"/>
              </a:spcBef>
              <a:spcAft>
                <a:spcPts val="0"/>
              </a:spcAft>
              <a:buSzPts val="900"/>
              <a:buNone/>
              <a:defRPr sz="900">
                <a:solidFill>
                  <a:schemeClr val="dk1"/>
                </a:solidFill>
                <a:latin typeface="Arial"/>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84370191"/>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End Slide">
  <p:cSld name="End Slide">
    <p:spTree>
      <p:nvGrpSpPr>
        <p:cNvPr id="1" name="Shape 36"/>
        <p:cNvGrpSpPr/>
        <p:nvPr/>
      </p:nvGrpSpPr>
      <p:grpSpPr>
        <a:xfrm>
          <a:off x="0" y="0"/>
          <a:ext cx="0" cy="0"/>
          <a:chOff x="0" y="0"/>
          <a:chExt cx="0" cy="0"/>
        </a:xfrm>
      </p:grpSpPr>
      <p:sp>
        <p:nvSpPr>
          <p:cNvPr id="37" name="Google Shape;37;p40"/>
          <p:cNvSpPr txBox="1">
            <a:spLocks noGrp="1"/>
          </p:cNvSpPr>
          <p:nvPr>
            <p:ph type="sldNum" idx="12"/>
          </p:nvPr>
        </p:nvSpPr>
        <p:spPr>
          <a:xfrm>
            <a:off x="8525021" y="4999031"/>
            <a:ext cx="226256" cy="215444"/>
          </a:xfrm>
          <a:prstGeom prst="rect">
            <a:avLst/>
          </a:prstGeom>
          <a:noFill/>
          <a:ln>
            <a:noFill/>
          </a:ln>
        </p:spPr>
        <p:txBody>
          <a:bodyPr spcFirstLastPara="1" wrap="square" lIns="0" tIns="0" rIns="0" bIns="0" anchor="t" anchorCtr="0">
            <a:spAutoFit/>
          </a:bodyPr>
          <a:lstStyle>
            <a:lvl1pPr marL="0" lvl="0" indent="0" algn="r">
              <a:spcBef>
                <a:spcPts val="0"/>
              </a:spcBef>
              <a:spcAft>
                <a:spcPts val="0"/>
              </a:spcAft>
              <a:buNone/>
              <a:defRPr/>
            </a:lvl1pPr>
            <a:lvl2pPr marL="0" lvl="1" indent="0" algn="r">
              <a:spcBef>
                <a:spcPts val="0"/>
              </a:spcBef>
              <a:spcAft>
                <a:spcPts val="0"/>
              </a:spcAft>
              <a:buNone/>
              <a:defRPr/>
            </a:lvl2pPr>
            <a:lvl3pPr marL="0" lvl="2" indent="0" algn="r">
              <a:spcBef>
                <a:spcPts val="0"/>
              </a:spcBef>
              <a:spcAft>
                <a:spcPts val="0"/>
              </a:spcAft>
              <a:buNone/>
              <a:defRPr/>
            </a:lvl3pPr>
            <a:lvl4pPr marL="0" lvl="3" indent="0" algn="r">
              <a:spcBef>
                <a:spcPts val="0"/>
              </a:spcBef>
              <a:spcAft>
                <a:spcPts val="0"/>
              </a:spcAft>
              <a:buNone/>
              <a:defRPr/>
            </a:lvl4pPr>
            <a:lvl5pPr marL="0" lvl="4" indent="0" algn="r">
              <a:spcBef>
                <a:spcPts val="0"/>
              </a:spcBef>
              <a:spcAft>
                <a:spcPts val="0"/>
              </a:spcAft>
              <a:buNone/>
              <a:defRPr/>
            </a:lvl5pPr>
            <a:lvl6pPr marL="0" lvl="5" indent="0" algn="r">
              <a:spcBef>
                <a:spcPts val="0"/>
              </a:spcBef>
              <a:spcAft>
                <a:spcPts val="0"/>
              </a:spcAft>
              <a:buNone/>
              <a:defRPr/>
            </a:lvl6pPr>
            <a:lvl7pPr marL="0" lvl="6" indent="0" algn="r">
              <a:spcBef>
                <a:spcPts val="0"/>
              </a:spcBef>
              <a:spcAft>
                <a:spcPts val="0"/>
              </a:spcAft>
              <a:buNone/>
              <a:defRPr/>
            </a:lvl7pPr>
            <a:lvl8pPr marL="0" lvl="7" indent="0" algn="r">
              <a:spcBef>
                <a:spcPts val="0"/>
              </a:spcBef>
              <a:spcAft>
                <a:spcPts val="0"/>
              </a:spcAft>
              <a:buNone/>
              <a:defRPr/>
            </a:lvl8pPr>
            <a:lvl9pPr marL="0" lvl="8" indent="0" algn="r">
              <a:spcBef>
                <a:spcPts val="0"/>
              </a:spcBef>
              <a:spcAft>
                <a:spcPts val="0"/>
              </a:spcAft>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Google Shape;38;p40"/>
          <p:cNvSpPr txBox="1"/>
          <p:nvPr/>
        </p:nvSpPr>
        <p:spPr>
          <a:xfrm>
            <a:off x="283004" y="2193131"/>
            <a:ext cx="8577993" cy="757238"/>
          </a:xfrm>
          <a:prstGeom prst="rect">
            <a:avLst/>
          </a:prstGeom>
          <a:no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13294B"/>
              </a:buClr>
              <a:buSzPts val="4500"/>
              <a:buFont typeface="Arial"/>
              <a:buNone/>
              <a:tabLst/>
              <a:defRPr/>
            </a:pPr>
            <a:r>
              <a:rPr kumimoji="0" lang="en-US" sz="4000" b="1" i="1" u="none" strike="noStrike" kern="0" cap="none" spc="0" normalizeH="0" baseline="0" noProof="0" dirty="0">
                <a:ln>
                  <a:noFill/>
                </a:ln>
                <a:solidFill>
                  <a:srgbClr val="13294B"/>
                </a:solidFill>
                <a:effectLst/>
                <a:uLnTx/>
                <a:uFillTx/>
                <a:latin typeface="Gene Sans" panose="00000500000000000000" pitchFamily="50" charset="0"/>
                <a:ea typeface="Arial"/>
                <a:cs typeface="Arial"/>
                <a:sym typeface="Arial"/>
              </a:rPr>
              <a:t>Doing now what patients need next</a:t>
            </a:r>
            <a:endParaRPr kumimoji="0" sz="4000" b="1" i="0" u="none" strike="noStrike" kern="0" cap="none" spc="0" normalizeH="0" baseline="0" noProof="0" dirty="0">
              <a:ln>
                <a:noFill/>
              </a:ln>
              <a:solidFill>
                <a:srgbClr val="13294B"/>
              </a:solidFill>
              <a:effectLst/>
              <a:uLnTx/>
              <a:uFillTx/>
              <a:latin typeface="Gene Sans" panose="00000500000000000000" pitchFamily="50" charset="0"/>
              <a:ea typeface="Arial"/>
              <a:cs typeface="Arial"/>
              <a:sym typeface="Arial"/>
            </a:endParaRPr>
          </a:p>
        </p:txBody>
      </p:sp>
    </p:spTree>
    <p:extLst>
      <p:ext uri="{BB962C8B-B14F-4D97-AF65-F5344CB8AC3E}">
        <p14:creationId xmlns:p14="http://schemas.microsoft.com/office/powerpoint/2010/main" val="3518843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Title Slide 3" userDrawn="1">
  <p:cSld name="Title Slide 3">
    <p:bg>
      <p:bgPr>
        <a:solidFill>
          <a:schemeClr val="lt1"/>
        </a:solidFill>
        <a:effectLst/>
      </p:bgPr>
    </p:bg>
    <p:spTree>
      <p:nvGrpSpPr>
        <p:cNvPr id="1" name="Shape 20"/>
        <p:cNvGrpSpPr/>
        <p:nvPr/>
      </p:nvGrpSpPr>
      <p:grpSpPr>
        <a:xfrm>
          <a:off x="0" y="0"/>
          <a:ext cx="0" cy="0"/>
          <a:chOff x="0" y="0"/>
          <a:chExt cx="0" cy="0"/>
        </a:xfrm>
      </p:grpSpPr>
      <p:grpSp>
        <p:nvGrpSpPr>
          <p:cNvPr id="21" name="Google Shape;21;p34"/>
          <p:cNvGrpSpPr/>
          <p:nvPr/>
        </p:nvGrpSpPr>
        <p:grpSpPr>
          <a:xfrm>
            <a:off x="6234948" y="444810"/>
            <a:ext cx="3064354" cy="4059936"/>
            <a:chOff x="4159643" y="863536"/>
            <a:chExt cx="3872715" cy="5130928"/>
          </a:xfrm>
        </p:grpSpPr>
        <p:pic>
          <p:nvPicPr>
            <p:cNvPr id="22" name="Google Shape;22;p34"/>
            <p:cNvPicPr preferRelativeResize="0"/>
            <p:nvPr/>
          </p:nvPicPr>
          <p:blipFill rotWithShape="1">
            <a:blip r:embed="rId2">
              <a:alphaModFix/>
            </a:blip>
            <a:srcRect l="4199" r="67479"/>
            <a:stretch/>
          </p:blipFill>
          <p:spPr>
            <a:xfrm>
              <a:off x="4159643" y="863536"/>
              <a:ext cx="3872715" cy="5130928"/>
            </a:xfrm>
            <a:prstGeom prst="rect">
              <a:avLst/>
            </a:prstGeom>
            <a:noFill/>
            <a:ln>
              <a:noFill/>
            </a:ln>
          </p:spPr>
        </p:pic>
        <p:grpSp>
          <p:nvGrpSpPr>
            <p:cNvPr id="23" name="Google Shape;23;p34"/>
            <p:cNvGrpSpPr/>
            <p:nvPr/>
          </p:nvGrpSpPr>
          <p:grpSpPr>
            <a:xfrm>
              <a:off x="6731136" y="1549464"/>
              <a:ext cx="569119" cy="414333"/>
              <a:chOff x="10083800" y="2413000"/>
              <a:chExt cx="569119" cy="414333"/>
            </a:xfrm>
          </p:grpSpPr>
          <p:pic>
            <p:nvPicPr>
              <p:cNvPr id="24" name="Google Shape;24;p34"/>
              <p:cNvPicPr preferRelativeResize="0"/>
              <p:nvPr/>
            </p:nvPicPr>
            <p:blipFill rotWithShape="1">
              <a:blip r:embed="rId2">
                <a:alphaModFix/>
              </a:blip>
              <a:srcRect l="23045" t="13400" r="72792" b="78525"/>
              <a:stretch/>
            </p:blipFill>
            <p:spPr>
              <a:xfrm>
                <a:off x="10083800" y="2413000"/>
                <a:ext cx="546000" cy="414333"/>
              </a:xfrm>
              <a:prstGeom prst="rect">
                <a:avLst/>
              </a:prstGeom>
              <a:solidFill>
                <a:schemeClr val="lt1"/>
              </a:solidFill>
              <a:ln>
                <a:noFill/>
              </a:ln>
            </p:spPr>
          </p:pic>
          <p:sp>
            <p:nvSpPr>
              <p:cNvPr id="25" name="Google Shape;25;p34"/>
              <p:cNvSpPr/>
              <p:nvPr/>
            </p:nvSpPr>
            <p:spPr>
              <a:xfrm>
                <a:off x="10426341" y="2533651"/>
                <a:ext cx="226578" cy="13810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26" name="Google Shape;26;p34"/>
              <p:cNvPicPr preferRelativeResize="0"/>
              <p:nvPr/>
            </p:nvPicPr>
            <p:blipFill rotWithShape="1">
              <a:blip r:embed="rId2">
                <a:alphaModFix/>
              </a:blip>
              <a:srcRect l="23911" t="16101" r="75630" b="81882"/>
              <a:stretch/>
            </p:blipFill>
            <p:spPr>
              <a:xfrm>
                <a:off x="10426341" y="2551563"/>
                <a:ext cx="60238" cy="103486"/>
              </a:xfrm>
              <a:prstGeom prst="rect">
                <a:avLst/>
              </a:prstGeom>
              <a:noFill/>
              <a:ln>
                <a:noFill/>
              </a:ln>
            </p:spPr>
          </p:pic>
          <p:pic>
            <p:nvPicPr>
              <p:cNvPr id="27" name="Google Shape;27;p34"/>
              <p:cNvPicPr preferRelativeResize="0"/>
              <p:nvPr/>
            </p:nvPicPr>
            <p:blipFill rotWithShape="1">
              <a:blip r:embed="rId2">
                <a:alphaModFix/>
              </a:blip>
              <a:srcRect l="25670" t="16101" r="73063" b="81882"/>
              <a:stretch/>
            </p:blipFill>
            <p:spPr>
              <a:xfrm>
                <a:off x="10486579" y="2551563"/>
                <a:ext cx="166340" cy="103486"/>
              </a:xfrm>
              <a:prstGeom prst="rect">
                <a:avLst/>
              </a:prstGeom>
              <a:noFill/>
              <a:ln>
                <a:noFill/>
              </a:ln>
            </p:spPr>
          </p:pic>
          <p:sp>
            <p:nvSpPr>
              <p:cNvPr id="28" name="Google Shape;28;p34"/>
              <p:cNvSpPr/>
              <p:nvPr/>
            </p:nvSpPr>
            <p:spPr>
              <a:xfrm>
                <a:off x="10604934" y="2671759"/>
                <a:ext cx="47985" cy="13810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grpSp>
      <p:grpSp>
        <p:nvGrpSpPr>
          <p:cNvPr id="32" name="Google Shape;32;p34"/>
          <p:cNvGrpSpPr/>
          <p:nvPr/>
        </p:nvGrpSpPr>
        <p:grpSpPr>
          <a:xfrm>
            <a:off x="7677110" y="4670091"/>
            <a:ext cx="1070428" cy="293357"/>
            <a:chOff x="1773" y="2562"/>
            <a:chExt cx="1985" cy="544"/>
          </a:xfrm>
        </p:grpSpPr>
        <p:sp>
          <p:nvSpPr>
            <p:cNvPr id="33" name="Google Shape;33;p34"/>
            <p:cNvSpPr/>
            <p:nvPr/>
          </p:nvSpPr>
          <p:spPr>
            <a:xfrm>
              <a:off x="1773" y="2562"/>
              <a:ext cx="1985" cy="304"/>
            </a:xfrm>
            <a:custGeom>
              <a:avLst/>
              <a:gdLst/>
              <a:ahLst/>
              <a:cxnLst/>
              <a:rect l="l" t="t" r="r" b="b"/>
              <a:pathLst>
                <a:path w="299" h="43" extrusionOk="0">
                  <a:moveTo>
                    <a:pt x="29" y="15"/>
                  </a:moveTo>
                  <a:cubicBezTo>
                    <a:pt x="29" y="11"/>
                    <a:pt x="29" y="11"/>
                    <a:pt x="29" y="11"/>
                  </a:cubicBezTo>
                  <a:cubicBezTo>
                    <a:pt x="29" y="11"/>
                    <a:pt x="30" y="5"/>
                    <a:pt x="20" y="5"/>
                  </a:cubicBezTo>
                  <a:cubicBezTo>
                    <a:pt x="10" y="5"/>
                    <a:pt x="10" y="11"/>
                    <a:pt x="10" y="11"/>
                  </a:cubicBezTo>
                  <a:cubicBezTo>
                    <a:pt x="10" y="31"/>
                    <a:pt x="10" y="31"/>
                    <a:pt x="10" y="31"/>
                  </a:cubicBezTo>
                  <a:cubicBezTo>
                    <a:pt x="10" y="31"/>
                    <a:pt x="10" y="37"/>
                    <a:pt x="20" y="37"/>
                  </a:cubicBezTo>
                  <a:cubicBezTo>
                    <a:pt x="29" y="37"/>
                    <a:pt x="29" y="34"/>
                    <a:pt x="29" y="34"/>
                  </a:cubicBezTo>
                  <a:cubicBezTo>
                    <a:pt x="29" y="25"/>
                    <a:pt x="29" y="25"/>
                    <a:pt x="29" y="25"/>
                  </a:cubicBezTo>
                  <a:cubicBezTo>
                    <a:pt x="20" y="25"/>
                    <a:pt x="20" y="25"/>
                    <a:pt x="20" y="25"/>
                  </a:cubicBezTo>
                  <a:cubicBezTo>
                    <a:pt x="20" y="20"/>
                    <a:pt x="20" y="20"/>
                    <a:pt x="20" y="20"/>
                  </a:cubicBezTo>
                  <a:cubicBezTo>
                    <a:pt x="40" y="20"/>
                    <a:pt x="40" y="20"/>
                    <a:pt x="40" y="20"/>
                  </a:cubicBezTo>
                  <a:cubicBezTo>
                    <a:pt x="40" y="34"/>
                    <a:pt x="40" y="34"/>
                    <a:pt x="40" y="34"/>
                  </a:cubicBezTo>
                  <a:cubicBezTo>
                    <a:pt x="40" y="34"/>
                    <a:pt x="36" y="42"/>
                    <a:pt x="20" y="42"/>
                  </a:cubicBezTo>
                  <a:cubicBezTo>
                    <a:pt x="1" y="42"/>
                    <a:pt x="0" y="31"/>
                    <a:pt x="0" y="31"/>
                  </a:cubicBezTo>
                  <a:cubicBezTo>
                    <a:pt x="0" y="11"/>
                    <a:pt x="0" y="11"/>
                    <a:pt x="0" y="11"/>
                  </a:cubicBezTo>
                  <a:cubicBezTo>
                    <a:pt x="0" y="11"/>
                    <a:pt x="1" y="0"/>
                    <a:pt x="20" y="0"/>
                  </a:cubicBezTo>
                  <a:cubicBezTo>
                    <a:pt x="41" y="0"/>
                    <a:pt x="40" y="11"/>
                    <a:pt x="40" y="11"/>
                  </a:cubicBezTo>
                  <a:cubicBezTo>
                    <a:pt x="40" y="15"/>
                    <a:pt x="40" y="15"/>
                    <a:pt x="40" y="15"/>
                  </a:cubicBezTo>
                  <a:lnTo>
                    <a:pt x="29" y="15"/>
                  </a:lnTo>
                  <a:close/>
                  <a:moveTo>
                    <a:pt x="231" y="20"/>
                  </a:moveTo>
                  <a:cubicBezTo>
                    <a:pt x="231" y="20"/>
                    <a:pt x="232" y="12"/>
                    <a:pt x="215" y="12"/>
                  </a:cubicBezTo>
                  <a:cubicBezTo>
                    <a:pt x="199" y="12"/>
                    <a:pt x="200" y="20"/>
                    <a:pt x="200" y="20"/>
                  </a:cubicBezTo>
                  <a:cubicBezTo>
                    <a:pt x="200" y="34"/>
                    <a:pt x="200" y="34"/>
                    <a:pt x="200" y="34"/>
                  </a:cubicBezTo>
                  <a:cubicBezTo>
                    <a:pt x="200" y="34"/>
                    <a:pt x="199" y="42"/>
                    <a:pt x="215" y="42"/>
                  </a:cubicBezTo>
                  <a:cubicBezTo>
                    <a:pt x="232" y="42"/>
                    <a:pt x="231" y="34"/>
                    <a:pt x="231" y="34"/>
                  </a:cubicBezTo>
                  <a:cubicBezTo>
                    <a:pt x="231" y="32"/>
                    <a:pt x="231" y="32"/>
                    <a:pt x="231" y="32"/>
                  </a:cubicBezTo>
                  <a:cubicBezTo>
                    <a:pt x="222" y="32"/>
                    <a:pt x="222" y="32"/>
                    <a:pt x="222" y="32"/>
                  </a:cubicBezTo>
                  <a:cubicBezTo>
                    <a:pt x="222" y="34"/>
                    <a:pt x="222" y="34"/>
                    <a:pt x="222" y="34"/>
                  </a:cubicBezTo>
                  <a:cubicBezTo>
                    <a:pt x="222" y="34"/>
                    <a:pt x="222" y="38"/>
                    <a:pt x="215" y="38"/>
                  </a:cubicBezTo>
                  <a:cubicBezTo>
                    <a:pt x="208" y="38"/>
                    <a:pt x="208" y="34"/>
                    <a:pt x="208" y="34"/>
                  </a:cubicBezTo>
                  <a:cubicBezTo>
                    <a:pt x="208" y="34"/>
                    <a:pt x="208" y="29"/>
                    <a:pt x="208" y="29"/>
                  </a:cubicBezTo>
                  <a:cubicBezTo>
                    <a:pt x="231" y="29"/>
                    <a:pt x="231" y="29"/>
                    <a:pt x="231" y="29"/>
                  </a:cubicBezTo>
                  <a:lnTo>
                    <a:pt x="231" y="20"/>
                  </a:lnTo>
                  <a:close/>
                  <a:moveTo>
                    <a:pt x="215" y="17"/>
                  </a:moveTo>
                  <a:cubicBezTo>
                    <a:pt x="222" y="17"/>
                    <a:pt x="222" y="20"/>
                    <a:pt x="222" y="20"/>
                  </a:cubicBezTo>
                  <a:cubicBezTo>
                    <a:pt x="222" y="20"/>
                    <a:pt x="222" y="24"/>
                    <a:pt x="222" y="24"/>
                  </a:cubicBezTo>
                  <a:cubicBezTo>
                    <a:pt x="208" y="24"/>
                    <a:pt x="208" y="24"/>
                    <a:pt x="208" y="24"/>
                  </a:cubicBezTo>
                  <a:cubicBezTo>
                    <a:pt x="208" y="20"/>
                    <a:pt x="208" y="20"/>
                    <a:pt x="208" y="20"/>
                  </a:cubicBezTo>
                  <a:cubicBezTo>
                    <a:pt x="208" y="20"/>
                    <a:pt x="208" y="17"/>
                    <a:pt x="215" y="17"/>
                  </a:cubicBezTo>
                  <a:close/>
                  <a:moveTo>
                    <a:pt x="265" y="24"/>
                  </a:moveTo>
                  <a:cubicBezTo>
                    <a:pt x="265" y="20"/>
                    <a:pt x="265" y="20"/>
                    <a:pt x="265" y="20"/>
                  </a:cubicBezTo>
                  <a:cubicBezTo>
                    <a:pt x="265" y="20"/>
                    <a:pt x="266" y="12"/>
                    <a:pt x="249" y="12"/>
                  </a:cubicBezTo>
                  <a:cubicBezTo>
                    <a:pt x="233" y="12"/>
                    <a:pt x="234" y="20"/>
                    <a:pt x="234" y="20"/>
                  </a:cubicBezTo>
                  <a:cubicBezTo>
                    <a:pt x="234" y="34"/>
                    <a:pt x="234" y="34"/>
                    <a:pt x="234" y="34"/>
                  </a:cubicBezTo>
                  <a:cubicBezTo>
                    <a:pt x="234" y="34"/>
                    <a:pt x="233" y="42"/>
                    <a:pt x="249" y="42"/>
                  </a:cubicBezTo>
                  <a:cubicBezTo>
                    <a:pt x="266" y="42"/>
                    <a:pt x="265" y="34"/>
                    <a:pt x="265" y="34"/>
                  </a:cubicBezTo>
                  <a:cubicBezTo>
                    <a:pt x="265" y="31"/>
                    <a:pt x="265" y="31"/>
                    <a:pt x="265" y="31"/>
                  </a:cubicBezTo>
                  <a:cubicBezTo>
                    <a:pt x="256" y="31"/>
                    <a:pt x="256" y="31"/>
                    <a:pt x="256" y="31"/>
                  </a:cubicBezTo>
                  <a:cubicBezTo>
                    <a:pt x="256" y="34"/>
                    <a:pt x="256" y="34"/>
                    <a:pt x="256" y="34"/>
                  </a:cubicBezTo>
                  <a:cubicBezTo>
                    <a:pt x="256" y="34"/>
                    <a:pt x="256" y="38"/>
                    <a:pt x="249" y="38"/>
                  </a:cubicBezTo>
                  <a:cubicBezTo>
                    <a:pt x="242" y="38"/>
                    <a:pt x="242" y="34"/>
                    <a:pt x="242" y="34"/>
                  </a:cubicBezTo>
                  <a:cubicBezTo>
                    <a:pt x="242" y="34"/>
                    <a:pt x="242" y="20"/>
                    <a:pt x="242" y="20"/>
                  </a:cubicBezTo>
                  <a:cubicBezTo>
                    <a:pt x="242" y="20"/>
                    <a:pt x="243" y="17"/>
                    <a:pt x="250" y="17"/>
                  </a:cubicBezTo>
                  <a:cubicBezTo>
                    <a:pt x="257" y="17"/>
                    <a:pt x="256" y="20"/>
                    <a:pt x="256" y="20"/>
                  </a:cubicBezTo>
                  <a:cubicBezTo>
                    <a:pt x="256" y="24"/>
                    <a:pt x="256" y="24"/>
                    <a:pt x="256" y="24"/>
                  </a:cubicBezTo>
                  <a:lnTo>
                    <a:pt x="265" y="24"/>
                  </a:lnTo>
                  <a:close/>
                  <a:moveTo>
                    <a:pt x="178" y="18"/>
                  </a:moveTo>
                  <a:cubicBezTo>
                    <a:pt x="180" y="18"/>
                    <a:pt x="180" y="18"/>
                    <a:pt x="180" y="18"/>
                  </a:cubicBezTo>
                  <a:cubicBezTo>
                    <a:pt x="180" y="18"/>
                    <a:pt x="180" y="27"/>
                    <a:pt x="180" y="35"/>
                  </a:cubicBezTo>
                  <a:cubicBezTo>
                    <a:pt x="180" y="42"/>
                    <a:pt x="190" y="43"/>
                    <a:pt x="198" y="42"/>
                  </a:cubicBezTo>
                  <a:cubicBezTo>
                    <a:pt x="198" y="42"/>
                    <a:pt x="198" y="38"/>
                    <a:pt x="198" y="38"/>
                  </a:cubicBezTo>
                  <a:cubicBezTo>
                    <a:pt x="189" y="39"/>
                    <a:pt x="189" y="35"/>
                    <a:pt x="189" y="35"/>
                  </a:cubicBezTo>
                  <a:cubicBezTo>
                    <a:pt x="189" y="18"/>
                    <a:pt x="189" y="18"/>
                    <a:pt x="189" y="18"/>
                  </a:cubicBezTo>
                  <a:cubicBezTo>
                    <a:pt x="198" y="18"/>
                    <a:pt x="198" y="18"/>
                    <a:pt x="198" y="18"/>
                  </a:cubicBezTo>
                  <a:cubicBezTo>
                    <a:pt x="198" y="13"/>
                    <a:pt x="198" y="13"/>
                    <a:pt x="198" y="13"/>
                  </a:cubicBezTo>
                  <a:cubicBezTo>
                    <a:pt x="189" y="13"/>
                    <a:pt x="189" y="13"/>
                    <a:pt x="189" y="13"/>
                  </a:cubicBezTo>
                  <a:cubicBezTo>
                    <a:pt x="189" y="7"/>
                    <a:pt x="189" y="7"/>
                    <a:pt x="189" y="7"/>
                  </a:cubicBezTo>
                  <a:cubicBezTo>
                    <a:pt x="180" y="7"/>
                    <a:pt x="180" y="7"/>
                    <a:pt x="180" y="7"/>
                  </a:cubicBezTo>
                  <a:cubicBezTo>
                    <a:pt x="180" y="13"/>
                    <a:pt x="180" y="13"/>
                    <a:pt x="180" y="13"/>
                  </a:cubicBezTo>
                  <a:cubicBezTo>
                    <a:pt x="178" y="13"/>
                    <a:pt x="178" y="13"/>
                    <a:pt x="178" y="13"/>
                  </a:cubicBezTo>
                  <a:lnTo>
                    <a:pt x="178" y="18"/>
                  </a:lnTo>
                  <a:close/>
                  <a:moveTo>
                    <a:pt x="142" y="20"/>
                  </a:moveTo>
                  <a:cubicBezTo>
                    <a:pt x="142" y="20"/>
                    <a:pt x="143" y="12"/>
                    <a:pt x="126" y="12"/>
                  </a:cubicBezTo>
                  <a:cubicBezTo>
                    <a:pt x="110" y="12"/>
                    <a:pt x="111" y="20"/>
                    <a:pt x="111" y="20"/>
                  </a:cubicBezTo>
                  <a:cubicBezTo>
                    <a:pt x="111" y="34"/>
                    <a:pt x="111" y="34"/>
                    <a:pt x="111" y="34"/>
                  </a:cubicBezTo>
                  <a:cubicBezTo>
                    <a:pt x="111" y="34"/>
                    <a:pt x="110" y="42"/>
                    <a:pt x="126" y="42"/>
                  </a:cubicBezTo>
                  <a:cubicBezTo>
                    <a:pt x="142" y="42"/>
                    <a:pt x="142" y="34"/>
                    <a:pt x="142" y="34"/>
                  </a:cubicBezTo>
                  <a:cubicBezTo>
                    <a:pt x="142" y="32"/>
                    <a:pt x="142" y="32"/>
                    <a:pt x="142" y="32"/>
                  </a:cubicBezTo>
                  <a:cubicBezTo>
                    <a:pt x="133" y="32"/>
                    <a:pt x="133" y="32"/>
                    <a:pt x="133" y="32"/>
                  </a:cubicBezTo>
                  <a:cubicBezTo>
                    <a:pt x="133" y="34"/>
                    <a:pt x="133" y="34"/>
                    <a:pt x="133" y="34"/>
                  </a:cubicBezTo>
                  <a:cubicBezTo>
                    <a:pt x="133" y="34"/>
                    <a:pt x="133" y="38"/>
                    <a:pt x="126" y="38"/>
                  </a:cubicBezTo>
                  <a:cubicBezTo>
                    <a:pt x="119" y="38"/>
                    <a:pt x="119" y="34"/>
                    <a:pt x="119" y="34"/>
                  </a:cubicBezTo>
                  <a:cubicBezTo>
                    <a:pt x="119" y="34"/>
                    <a:pt x="119" y="29"/>
                    <a:pt x="119" y="29"/>
                  </a:cubicBezTo>
                  <a:cubicBezTo>
                    <a:pt x="142" y="29"/>
                    <a:pt x="142" y="29"/>
                    <a:pt x="142" y="29"/>
                  </a:cubicBezTo>
                  <a:lnTo>
                    <a:pt x="142" y="20"/>
                  </a:lnTo>
                  <a:close/>
                  <a:moveTo>
                    <a:pt x="126" y="17"/>
                  </a:moveTo>
                  <a:cubicBezTo>
                    <a:pt x="133" y="17"/>
                    <a:pt x="133" y="20"/>
                    <a:pt x="133" y="20"/>
                  </a:cubicBezTo>
                  <a:cubicBezTo>
                    <a:pt x="133" y="20"/>
                    <a:pt x="133" y="24"/>
                    <a:pt x="133" y="24"/>
                  </a:cubicBezTo>
                  <a:cubicBezTo>
                    <a:pt x="119" y="24"/>
                    <a:pt x="119" y="24"/>
                    <a:pt x="119" y="24"/>
                  </a:cubicBezTo>
                  <a:cubicBezTo>
                    <a:pt x="119" y="20"/>
                    <a:pt x="119" y="20"/>
                    <a:pt x="119" y="20"/>
                  </a:cubicBezTo>
                  <a:cubicBezTo>
                    <a:pt x="119" y="20"/>
                    <a:pt x="119" y="17"/>
                    <a:pt x="126" y="17"/>
                  </a:cubicBezTo>
                  <a:close/>
                  <a:moveTo>
                    <a:pt x="74" y="20"/>
                  </a:moveTo>
                  <a:cubicBezTo>
                    <a:pt x="74" y="20"/>
                    <a:pt x="75" y="12"/>
                    <a:pt x="59" y="12"/>
                  </a:cubicBezTo>
                  <a:cubicBezTo>
                    <a:pt x="42" y="12"/>
                    <a:pt x="43" y="20"/>
                    <a:pt x="43" y="20"/>
                  </a:cubicBezTo>
                  <a:cubicBezTo>
                    <a:pt x="43" y="34"/>
                    <a:pt x="43" y="34"/>
                    <a:pt x="43" y="34"/>
                  </a:cubicBezTo>
                  <a:cubicBezTo>
                    <a:pt x="43" y="34"/>
                    <a:pt x="42" y="42"/>
                    <a:pt x="59" y="42"/>
                  </a:cubicBezTo>
                  <a:cubicBezTo>
                    <a:pt x="75" y="42"/>
                    <a:pt x="74" y="34"/>
                    <a:pt x="74" y="34"/>
                  </a:cubicBezTo>
                  <a:cubicBezTo>
                    <a:pt x="74" y="32"/>
                    <a:pt x="74" y="32"/>
                    <a:pt x="74" y="32"/>
                  </a:cubicBezTo>
                  <a:cubicBezTo>
                    <a:pt x="66" y="32"/>
                    <a:pt x="66" y="32"/>
                    <a:pt x="66" y="32"/>
                  </a:cubicBezTo>
                  <a:cubicBezTo>
                    <a:pt x="66" y="34"/>
                    <a:pt x="66" y="34"/>
                    <a:pt x="66" y="34"/>
                  </a:cubicBezTo>
                  <a:cubicBezTo>
                    <a:pt x="66" y="34"/>
                    <a:pt x="66" y="38"/>
                    <a:pt x="59" y="38"/>
                  </a:cubicBezTo>
                  <a:cubicBezTo>
                    <a:pt x="52" y="38"/>
                    <a:pt x="52" y="34"/>
                    <a:pt x="52" y="34"/>
                  </a:cubicBezTo>
                  <a:cubicBezTo>
                    <a:pt x="52" y="34"/>
                    <a:pt x="52" y="29"/>
                    <a:pt x="52" y="29"/>
                  </a:cubicBezTo>
                  <a:cubicBezTo>
                    <a:pt x="74" y="29"/>
                    <a:pt x="74" y="29"/>
                    <a:pt x="74" y="29"/>
                  </a:cubicBezTo>
                  <a:lnTo>
                    <a:pt x="74" y="20"/>
                  </a:lnTo>
                  <a:close/>
                  <a:moveTo>
                    <a:pt x="59" y="17"/>
                  </a:moveTo>
                  <a:cubicBezTo>
                    <a:pt x="66" y="17"/>
                    <a:pt x="66" y="20"/>
                    <a:pt x="66" y="20"/>
                  </a:cubicBezTo>
                  <a:cubicBezTo>
                    <a:pt x="66" y="20"/>
                    <a:pt x="66" y="24"/>
                    <a:pt x="66" y="24"/>
                  </a:cubicBezTo>
                  <a:cubicBezTo>
                    <a:pt x="52" y="24"/>
                    <a:pt x="52" y="24"/>
                    <a:pt x="52" y="24"/>
                  </a:cubicBezTo>
                  <a:cubicBezTo>
                    <a:pt x="52" y="20"/>
                    <a:pt x="52" y="20"/>
                    <a:pt x="52" y="20"/>
                  </a:cubicBezTo>
                  <a:cubicBezTo>
                    <a:pt x="52" y="20"/>
                    <a:pt x="52" y="17"/>
                    <a:pt x="59" y="17"/>
                  </a:cubicBezTo>
                  <a:close/>
                  <a:moveTo>
                    <a:pt x="268" y="41"/>
                  </a:moveTo>
                  <a:cubicBezTo>
                    <a:pt x="277" y="41"/>
                    <a:pt x="277" y="41"/>
                    <a:pt x="277" y="41"/>
                  </a:cubicBezTo>
                  <a:cubicBezTo>
                    <a:pt x="277" y="20"/>
                    <a:pt x="277" y="20"/>
                    <a:pt x="277" y="20"/>
                  </a:cubicBezTo>
                  <a:cubicBezTo>
                    <a:pt x="277" y="20"/>
                    <a:pt x="277" y="16"/>
                    <a:pt x="284" y="16"/>
                  </a:cubicBezTo>
                  <a:cubicBezTo>
                    <a:pt x="291" y="16"/>
                    <a:pt x="291" y="20"/>
                    <a:pt x="291" y="20"/>
                  </a:cubicBezTo>
                  <a:cubicBezTo>
                    <a:pt x="291" y="41"/>
                    <a:pt x="291" y="41"/>
                    <a:pt x="291" y="41"/>
                  </a:cubicBezTo>
                  <a:cubicBezTo>
                    <a:pt x="299" y="41"/>
                    <a:pt x="299" y="41"/>
                    <a:pt x="299" y="41"/>
                  </a:cubicBezTo>
                  <a:cubicBezTo>
                    <a:pt x="299" y="19"/>
                    <a:pt x="299" y="19"/>
                    <a:pt x="299" y="19"/>
                  </a:cubicBezTo>
                  <a:cubicBezTo>
                    <a:pt x="299" y="19"/>
                    <a:pt x="299" y="12"/>
                    <a:pt x="284" y="12"/>
                  </a:cubicBezTo>
                  <a:cubicBezTo>
                    <a:pt x="281" y="12"/>
                    <a:pt x="279" y="12"/>
                    <a:pt x="277" y="12"/>
                  </a:cubicBezTo>
                  <a:cubicBezTo>
                    <a:pt x="277" y="12"/>
                    <a:pt x="277" y="0"/>
                    <a:pt x="277" y="0"/>
                  </a:cubicBezTo>
                  <a:cubicBezTo>
                    <a:pt x="277" y="0"/>
                    <a:pt x="268" y="0"/>
                    <a:pt x="268" y="0"/>
                  </a:cubicBezTo>
                  <a:lnTo>
                    <a:pt x="268" y="41"/>
                  </a:lnTo>
                  <a:close/>
                  <a:moveTo>
                    <a:pt x="92" y="12"/>
                  </a:moveTo>
                  <a:cubicBezTo>
                    <a:pt x="87" y="12"/>
                    <a:pt x="84" y="13"/>
                    <a:pt x="81" y="14"/>
                  </a:cubicBezTo>
                  <a:cubicBezTo>
                    <a:pt x="77" y="14"/>
                    <a:pt x="77" y="14"/>
                    <a:pt x="77" y="14"/>
                  </a:cubicBezTo>
                  <a:cubicBezTo>
                    <a:pt x="77" y="41"/>
                    <a:pt x="77" y="41"/>
                    <a:pt x="77" y="41"/>
                  </a:cubicBezTo>
                  <a:cubicBezTo>
                    <a:pt x="85" y="41"/>
                    <a:pt x="85" y="41"/>
                    <a:pt x="85" y="41"/>
                  </a:cubicBezTo>
                  <a:cubicBezTo>
                    <a:pt x="85" y="20"/>
                    <a:pt x="85" y="20"/>
                    <a:pt x="85" y="20"/>
                  </a:cubicBezTo>
                  <a:cubicBezTo>
                    <a:pt x="85" y="20"/>
                    <a:pt x="85" y="16"/>
                    <a:pt x="92" y="16"/>
                  </a:cubicBezTo>
                  <a:cubicBezTo>
                    <a:pt x="99" y="16"/>
                    <a:pt x="99" y="20"/>
                    <a:pt x="99" y="20"/>
                  </a:cubicBezTo>
                  <a:cubicBezTo>
                    <a:pt x="99" y="41"/>
                    <a:pt x="99" y="41"/>
                    <a:pt x="99" y="41"/>
                  </a:cubicBezTo>
                  <a:cubicBezTo>
                    <a:pt x="108" y="41"/>
                    <a:pt x="108" y="41"/>
                    <a:pt x="108" y="41"/>
                  </a:cubicBezTo>
                  <a:cubicBezTo>
                    <a:pt x="108" y="19"/>
                    <a:pt x="108" y="19"/>
                    <a:pt x="108" y="19"/>
                  </a:cubicBezTo>
                  <a:cubicBezTo>
                    <a:pt x="108" y="19"/>
                    <a:pt x="108" y="12"/>
                    <a:pt x="92" y="12"/>
                  </a:cubicBezTo>
                  <a:close/>
                  <a:moveTo>
                    <a:pt x="160" y="12"/>
                  </a:moveTo>
                  <a:cubicBezTo>
                    <a:pt x="155" y="12"/>
                    <a:pt x="152" y="13"/>
                    <a:pt x="149" y="14"/>
                  </a:cubicBezTo>
                  <a:cubicBezTo>
                    <a:pt x="145" y="14"/>
                    <a:pt x="145" y="14"/>
                    <a:pt x="145" y="14"/>
                  </a:cubicBezTo>
                  <a:cubicBezTo>
                    <a:pt x="145" y="41"/>
                    <a:pt x="145" y="41"/>
                    <a:pt x="145" y="41"/>
                  </a:cubicBezTo>
                  <a:cubicBezTo>
                    <a:pt x="153" y="41"/>
                    <a:pt x="153" y="41"/>
                    <a:pt x="153" y="41"/>
                  </a:cubicBezTo>
                  <a:cubicBezTo>
                    <a:pt x="153" y="20"/>
                    <a:pt x="153" y="20"/>
                    <a:pt x="153" y="20"/>
                  </a:cubicBezTo>
                  <a:cubicBezTo>
                    <a:pt x="153" y="20"/>
                    <a:pt x="153" y="16"/>
                    <a:pt x="160" y="16"/>
                  </a:cubicBezTo>
                  <a:cubicBezTo>
                    <a:pt x="167" y="16"/>
                    <a:pt x="167" y="20"/>
                    <a:pt x="167" y="20"/>
                  </a:cubicBezTo>
                  <a:cubicBezTo>
                    <a:pt x="167" y="41"/>
                    <a:pt x="167" y="41"/>
                    <a:pt x="167" y="41"/>
                  </a:cubicBezTo>
                  <a:cubicBezTo>
                    <a:pt x="176" y="41"/>
                    <a:pt x="176" y="41"/>
                    <a:pt x="176" y="41"/>
                  </a:cubicBezTo>
                  <a:cubicBezTo>
                    <a:pt x="176" y="19"/>
                    <a:pt x="176" y="19"/>
                    <a:pt x="176" y="19"/>
                  </a:cubicBezTo>
                  <a:cubicBezTo>
                    <a:pt x="176" y="19"/>
                    <a:pt x="175" y="12"/>
                    <a:pt x="160" y="12"/>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rgbClr val="DDEEF8"/>
                </a:solidFill>
                <a:latin typeface="Arial"/>
                <a:ea typeface="Arial"/>
                <a:cs typeface="Arial"/>
                <a:sym typeface="Arial"/>
              </a:endParaRPr>
            </a:p>
          </p:txBody>
        </p:sp>
        <p:sp>
          <p:nvSpPr>
            <p:cNvPr id="34" name="Google Shape;34;p34"/>
            <p:cNvSpPr/>
            <p:nvPr/>
          </p:nvSpPr>
          <p:spPr>
            <a:xfrm>
              <a:off x="1786" y="2950"/>
              <a:ext cx="1965" cy="156"/>
            </a:xfrm>
            <a:custGeom>
              <a:avLst/>
              <a:gdLst/>
              <a:ahLst/>
              <a:cxnLst/>
              <a:rect l="l" t="t" r="r" b="b"/>
              <a:pathLst>
                <a:path w="296" h="22" extrusionOk="0">
                  <a:moveTo>
                    <a:pt x="11" y="1"/>
                  </a:moveTo>
                  <a:cubicBezTo>
                    <a:pt x="11" y="5"/>
                    <a:pt x="11" y="5"/>
                    <a:pt x="11" y="5"/>
                  </a:cubicBezTo>
                  <a:cubicBezTo>
                    <a:pt x="12" y="8"/>
                    <a:pt x="12" y="11"/>
                    <a:pt x="13" y="14"/>
                  </a:cubicBezTo>
                  <a:cubicBezTo>
                    <a:pt x="13" y="16"/>
                    <a:pt x="13" y="16"/>
                    <a:pt x="15" y="16"/>
                  </a:cubicBezTo>
                  <a:cubicBezTo>
                    <a:pt x="15" y="17"/>
                    <a:pt x="15" y="17"/>
                    <a:pt x="15" y="17"/>
                  </a:cubicBezTo>
                  <a:cubicBezTo>
                    <a:pt x="9" y="17"/>
                    <a:pt x="9" y="17"/>
                    <a:pt x="9" y="17"/>
                  </a:cubicBezTo>
                  <a:cubicBezTo>
                    <a:pt x="9" y="16"/>
                    <a:pt x="9" y="16"/>
                    <a:pt x="9" y="16"/>
                  </a:cubicBezTo>
                  <a:cubicBezTo>
                    <a:pt x="10" y="16"/>
                    <a:pt x="10" y="16"/>
                    <a:pt x="10" y="16"/>
                  </a:cubicBezTo>
                  <a:cubicBezTo>
                    <a:pt x="10" y="16"/>
                    <a:pt x="11" y="16"/>
                    <a:pt x="10" y="15"/>
                  </a:cubicBezTo>
                  <a:cubicBezTo>
                    <a:pt x="10" y="11"/>
                    <a:pt x="10" y="11"/>
                    <a:pt x="10" y="11"/>
                  </a:cubicBezTo>
                  <a:cubicBezTo>
                    <a:pt x="5" y="11"/>
                    <a:pt x="5" y="11"/>
                    <a:pt x="5" y="11"/>
                  </a:cubicBezTo>
                  <a:cubicBezTo>
                    <a:pt x="5" y="12"/>
                    <a:pt x="4" y="13"/>
                    <a:pt x="4" y="14"/>
                  </a:cubicBezTo>
                  <a:cubicBezTo>
                    <a:pt x="3" y="16"/>
                    <a:pt x="3" y="16"/>
                    <a:pt x="4" y="16"/>
                  </a:cubicBezTo>
                  <a:cubicBezTo>
                    <a:pt x="5" y="16"/>
                    <a:pt x="5" y="16"/>
                    <a:pt x="5" y="16"/>
                  </a:cubicBezTo>
                  <a:cubicBezTo>
                    <a:pt x="5" y="17"/>
                    <a:pt x="5" y="17"/>
                    <a:pt x="5" y="17"/>
                  </a:cubicBezTo>
                  <a:cubicBezTo>
                    <a:pt x="0" y="17"/>
                    <a:pt x="0" y="17"/>
                    <a:pt x="0" y="17"/>
                  </a:cubicBezTo>
                  <a:cubicBezTo>
                    <a:pt x="0" y="16"/>
                    <a:pt x="0" y="16"/>
                    <a:pt x="0" y="16"/>
                  </a:cubicBezTo>
                  <a:cubicBezTo>
                    <a:pt x="1" y="16"/>
                    <a:pt x="1" y="16"/>
                    <a:pt x="3" y="14"/>
                  </a:cubicBezTo>
                  <a:cubicBezTo>
                    <a:pt x="10" y="1"/>
                    <a:pt x="10" y="1"/>
                    <a:pt x="10" y="1"/>
                  </a:cubicBezTo>
                  <a:lnTo>
                    <a:pt x="11" y="1"/>
                  </a:lnTo>
                  <a:close/>
                  <a:moveTo>
                    <a:pt x="6" y="10"/>
                  </a:moveTo>
                  <a:cubicBezTo>
                    <a:pt x="10" y="10"/>
                    <a:pt x="10" y="10"/>
                    <a:pt x="10" y="10"/>
                  </a:cubicBezTo>
                  <a:cubicBezTo>
                    <a:pt x="9" y="5"/>
                    <a:pt x="9" y="5"/>
                    <a:pt x="9" y="5"/>
                  </a:cubicBezTo>
                  <a:cubicBezTo>
                    <a:pt x="9" y="5"/>
                    <a:pt x="9" y="5"/>
                    <a:pt x="9" y="5"/>
                  </a:cubicBezTo>
                  <a:lnTo>
                    <a:pt x="6" y="10"/>
                  </a:lnTo>
                  <a:close/>
                  <a:moveTo>
                    <a:pt x="30" y="1"/>
                  </a:moveTo>
                  <a:cubicBezTo>
                    <a:pt x="33" y="13"/>
                    <a:pt x="33" y="13"/>
                    <a:pt x="33" y="13"/>
                  </a:cubicBezTo>
                  <a:cubicBezTo>
                    <a:pt x="40" y="1"/>
                    <a:pt x="40" y="1"/>
                    <a:pt x="40" y="1"/>
                  </a:cubicBezTo>
                  <a:cubicBezTo>
                    <a:pt x="45" y="1"/>
                    <a:pt x="45" y="1"/>
                    <a:pt x="45" y="1"/>
                  </a:cubicBezTo>
                  <a:cubicBezTo>
                    <a:pt x="45" y="2"/>
                    <a:pt x="45" y="2"/>
                    <a:pt x="45" y="2"/>
                  </a:cubicBezTo>
                  <a:cubicBezTo>
                    <a:pt x="43" y="2"/>
                    <a:pt x="42" y="2"/>
                    <a:pt x="42" y="5"/>
                  </a:cubicBezTo>
                  <a:cubicBezTo>
                    <a:pt x="41" y="13"/>
                    <a:pt x="41" y="13"/>
                    <a:pt x="41" y="13"/>
                  </a:cubicBezTo>
                  <a:cubicBezTo>
                    <a:pt x="40" y="16"/>
                    <a:pt x="40" y="16"/>
                    <a:pt x="42" y="16"/>
                  </a:cubicBezTo>
                  <a:cubicBezTo>
                    <a:pt x="42" y="17"/>
                    <a:pt x="42" y="17"/>
                    <a:pt x="42" y="17"/>
                  </a:cubicBezTo>
                  <a:cubicBezTo>
                    <a:pt x="36" y="17"/>
                    <a:pt x="36" y="17"/>
                    <a:pt x="36" y="17"/>
                  </a:cubicBezTo>
                  <a:cubicBezTo>
                    <a:pt x="36" y="16"/>
                    <a:pt x="36" y="16"/>
                    <a:pt x="36" y="16"/>
                  </a:cubicBezTo>
                  <a:cubicBezTo>
                    <a:pt x="38" y="16"/>
                    <a:pt x="38" y="16"/>
                    <a:pt x="38" y="13"/>
                  </a:cubicBezTo>
                  <a:cubicBezTo>
                    <a:pt x="40" y="4"/>
                    <a:pt x="40" y="4"/>
                    <a:pt x="40" y="4"/>
                  </a:cubicBezTo>
                  <a:cubicBezTo>
                    <a:pt x="40" y="4"/>
                    <a:pt x="40" y="4"/>
                    <a:pt x="40" y="4"/>
                  </a:cubicBezTo>
                  <a:cubicBezTo>
                    <a:pt x="32" y="16"/>
                    <a:pt x="32" y="16"/>
                    <a:pt x="32" y="16"/>
                  </a:cubicBezTo>
                  <a:cubicBezTo>
                    <a:pt x="31" y="16"/>
                    <a:pt x="31" y="16"/>
                    <a:pt x="31" y="16"/>
                  </a:cubicBezTo>
                  <a:cubicBezTo>
                    <a:pt x="28" y="4"/>
                    <a:pt x="28" y="4"/>
                    <a:pt x="28" y="4"/>
                  </a:cubicBezTo>
                  <a:cubicBezTo>
                    <a:pt x="28" y="4"/>
                    <a:pt x="28" y="4"/>
                    <a:pt x="28" y="4"/>
                  </a:cubicBezTo>
                  <a:cubicBezTo>
                    <a:pt x="27" y="10"/>
                    <a:pt x="27" y="10"/>
                    <a:pt x="27" y="10"/>
                  </a:cubicBezTo>
                  <a:cubicBezTo>
                    <a:pt x="27" y="13"/>
                    <a:pt x="26" y="14"/>
                    <a:pt x="26" y="15"/>
                  </a:cubicBezTo>
                  <a:cubicBezTo>
                    <a:pt x="26" y="16"/>
                    <a:pt x="27" y="16"/>
                    <a:pt x="28" y="16"/>
                  </a:cubicBezTo>
                  <a:cubicBezTo>
                    <a:pt x="28" y="17"/>
                    <a:pt x="28" y="17"/>
                    <a:pt x="28" y="17"/>
                  </a:cubicBezTo>
                  <a:cubicBezTo>
                    <a:pt x="22" y="17"/>
                    <a:pt x="22" y="17"/>
                    <a:pt x="22" y="17"/>
                  </a:cubicBezTo>
                  <a:cubicBezTo>
                    <a:pt x="23" y="16"/>
                    <a:pt x="23" y="16"/>
                    <a:pt x="23" y="16"/>
                  </a:cubicBezTo>
                  <a:cubicBezTo>
                    <a:pt x="24" y="16"/>
                    <a:pt x="24" y="16"/>
                    <a:pt x="25" y="15"/>
                  </a:cubicBezTo>
                  <a:cubicBezTo>
                    <a:pt x="25" y="14"/>
                    <a:pt x="25" y="13"/>
                    <a:pt x="26" y="10"/>
                  </a:cubicBezTo>
                  <a:cubicBezTo>
                    <a:pt x="27" y="5"/>
                    <a:pt x="27" y="5"/>
                    <a:pt x="27" y="5"/>
                  </a:cubicBezTo>
                  <a:cubicBezTo>
                    <a:pt x="28" y="2"/>
                    <a:pt x="28" y="2"/>
                    <a:pt x="26" y="2"/>
                  </a:cubicBezTo>
                  <a:cubicBezTo>
                    <a:pt x="26" y="1"/>
                    <a:pt x="26" y="1"/>
                    <a:pt x="26" y="1"/>
                  </a:cubicBezTo>
                  <a:lnTo>
                    <a:pt x="30" y="1"/>
                  </a:lnTo>
                  <a:close/>
                  <a:moveTo>
                    <a:pt x="52" y="14"/>
                  </a:moveTo>
                  <a:cubicBezTo>
                    <a:pt x="50" y="17"/>
                    <a:pt x="48" y="17"/>
                    <a:pt x="47" y="17"/>
                  </a:cubicBezTo>
                  <a:cubicBezTo>
                    <a:pt x="46" y="17"/>
                    <a:pt x="44" y="16"/>
                    <a:pt x="44" y="13"/>
                  </a:cubicBezTo>
                  <a:cubicBezTo>
                    <a:pt x="44" y="11"/>
                    <a:pt x="45" y="9"/>
                    <a:pt x="47" y="8"/>
                  </a:cubicBezTo>
                  <a:cubicBezTo>
                    <a:pt x="48" y="7"/>
                    <a:pt x="49" y="6"/>
                    <a:pt x="51" y="6"/>
                  </a:cubicBezTo>
                  <a:cubicBezTo>
                    <a:pt x="52" y="6"/>
                    <a:pt x="53" y="7"/>
                    <a:pt x="53" y="8"/>
                  </a:cubicBezTo>
                  <a:cubicBezTo>
                    <a:pt x="53" y="10"/>
                    <a:pt x="49" y="12"/>
                    <a:pt x="47" y="12"/>
                  </a:cubicBezTo>
                  <a:cubicBezTo>
                    <a:pt x="47" y="13"/>
                    <a:pt x="47" y="13"/>
                    <a:pt x="47" y="13"/>
                  </a:cubicBezTo>
                  <a:cubicBezTo>
                    <a:pt x="47" y="14"/>
                    <a:pt x="47" y="15"/>
                    <a:pt x="48" y="15"/>
                  </a:cubicBezTo>
                  <a:cubicBezTo>
                    <a:pt x="49" y="15"/>
                    <a:pt x="51" y="15"/>
                    <a:pt x="52" y="14"/>
                  </a:cubicBezTo>
                  <a:close/>
                  <a:moveTo>
                    <a:pt x="49" y="7"/>
                  </a:moveTo>
                  <a:cubicBezTo>
                    <a:pt x="48" y="8"/>
                    <a:pt x="47" y="9"/>
                    <a:pt x="47" y="12"/>
                  </a:cubicBezTo>
                  <a:cubicBezTo>
                    <a:pt x="50" y="11"/>
                    <a:pt x="51" y="10"/>
                    <a:pt x="51" y="8"/>
                  </a:cubicBezTo>
                  <a:cubicBezTo>
                    <a:pt x="51" y="7"/>
                    <a:pt x="50" y="7"/>
                    <a:pt x="50" y="7"/>
                  </a:cubicBezTo>
                  <a:cubicBezTo>
                    <a:pt x="50" y="7"/>
                    <a:pt x="49" y="7"/>
                    <a:pt x="49" y="7"/>
                  </a:cubicBezTo>
                  <a:close/>
                  <a:moveTo>
                    <a:pt x="55" y="8"/>
                  </a:moveTo>
                  <a:cubicBezTo>
                    <a:pt x="56" y="7"/>
                    <a:pt x="58" y="6"/>
                    <a:pt x="58" y="6"/>
                  </a:cubicBezTo>
                  <a:cubicBezTo>
                    <a:pt x="59" y="6"/>
                    <a:pt x="59" y="7"/>
                    <a:pt x="59" y="8"/>
                  </a:cubicBezTo>
                  <a:cubicBezTo>
                    <a:pt x="59" y="10"/>
                    <a:pt x="59" y="10"/>
                    <a:pt x="59" y="10"/>
                  </a:cubicBezTo>
                  <a:cubicBezTo>
                    <a:pt x="59" y="10"/>
                    <a:pt x="59" y="10"/>
                    <a:pt x="59" y="10"/>
                  </a:cubicBezTo>
                  <a:cubicBezTo>
                    <a:pt x="60" y="8"/>
                    <a:pt x="62" y="7"/>
                    <a:pt x="63" y="6"/>
                  </a:cubicBezTo>
                  <a:cubicBezTo>
                    <a:pt x="63" y="6"/>
                    <a:pt x="64" y="6"/>
                    <a:pt x="64" y="6"/>
                  </a:cubicBezTo>
                  <a:cubicBezTo>
                    <a:pt x="65" y="6"/>
                    <a:pt x="66" y="6"/>
                    <a:pt x="65" y="9"/>
                  </a:cubicBezTo>
                  <a:cubicBezTo>
                    <a:pt x="65" y="10"/>
                    <a:pt x="65" y="10"/>
                    <a:pt x="65" y="10"/>
                  </a:cubicBezTo>
                  <a:cubicBezTo>
                    <a:pt x="65" y="10"/>
                    <a:pt x="65" y="10"/>
                    <a:pt x="65" y="10"/>
                  </a:cubicBezTo>
                  <a:cubicBezTo>
                    <a:pt x="66" y="8"/>
                    <a:pt x="68" y="7"/>
                    <a:pt x="69" y="6"/>
                  </a:cubicBezTo>
                  <a:cubicBezTo>
                    <a:pt x="69" y="6"/>
                    <a:pt x="70" y="6"/>
                    <a:pt x="70" y="6"/>
                  </a:cubicBezTo>
                  <a:cubicBezTo>
                    <a:pt x="71" y="6"/>
                    <a:pt x="72" y="6"/>
                    <a:pt x="71" y="9"/>
                  </a:cubicBezTo>
                  <a:cubicBezTo>
                    <a:pt x="71" y="10"/>
                    <a:pt x="70" y="12"/>
                    <a:pt x="70" y="14"/>
                  </a:cubicBezTo>
                  <a:cubicBezTo>
                    <a:pt x="70" y="15"/>
                    <a:pt x="70" y="15"/>
                    <a:pt x="70" y="15"/>
                  </a:cubicBezTo>
                  <a:cubicBezTo>
                    <a:pt x="70" y="15"/>
                    <a:pt x="71" y="15"/>
                    <a:pt x="72" y="14"/>
                  </a:cubicBezTo>
                  <a:cubicBezTo>
                    <a:pt x="72" y="15"/>
                    <a:pt x="72" y="15"/>
                    <a:pt x="72" y="15"/>
                  </a:cubicBezTo>
                  <a:cubicBezTo>
                    <a:pt x="70" y="16"/>
                    <a:pt x="68" y="17"/>
                    <a:pt x="68" y="17"/>
                  </a:cubicBezTo>
                  <a:cubicBezTo>
                    <a:pt x="67" y="17"/>
                    <a:pt x="67" y="16"/>
                    <a:pt x="67" y="15"/>
                  </a:cubicBezTo>
                  <a:cubicBezTo>
                    <a:pt x="69" y="9"/>
                    <a:pt x="69" y="9"/>
                    <a:pt x="69" y="9"/>
                  </a:cubicBezTo>
                  <a:cubicBezTo>
                    <a:pt x="69" y="8"/>
                    <a:pt x="69" y="8"/>
                    <a:pt x="68" y="8"/>
                  </a:cubicBezTo>
                  <a:cubicBezTo>
                    <a:pt x="68" y="8"/>
                    <a:pt x="65" y="10"/>
                    <a:pt x="64" y="12"/>
                  </a:cubicBezTo>
                  <a:cubicBezTo>
                    <a:pt x="64" y="13"/>
                    <a:pt x="64" y="15"/>
                    <a:pt x="63" y="16"/>
                  </a:cubicBezTo>
                  <a:cubicBezTo>
                    <a:pt x="61" y="17"/>
                    <a:pt x="61" y="17"/>
                    <a:pt x="61" y="17"/>
                  </a:cubicBezTo>
                  <a:cubicBezTo>
                    <a:pt x="61" y="16"/>
                    <a:pt x="61" y="14"/>
                    <a:pt x="62" y="13"/>
                  </a:cubicBezTo>
                  <a:cubicBezTo>
                    <a:pt x="63" y="9"/>
                    <a:pt x="63" y="9"/>
                    <a:pt x="63" y="9"/>
                  </a:cubicBezTo>
                  <a:cubicBezTo>
                    <a:pt x="63" y="8"/>
                    <a:pt x="63" y="8"/>
                    <a:pt x="62" y="8"/>
                  </a:cubicBezTo>
                  <a:cubicBezTo>
                    <a:pt x="62" y="8"/>
                    <a:pt x="59" y="10"/>
                    <a:pt x="58" y="12"/>
                  </a:cubicBezTo>
                  <a:cubicBezTo>
                    <a:pt x="58" y="13"/>
                    <a:pt x="57" y="15"/>
                    <a:pt x="57" y="16"/>
                  </a:cubicBezTo>
                  <a:cubicBezTo>
                    <a:pt x="55" y="17"/>
                    <a:pt x="55" y="17"/>
                    <a:pt x="55" y="17"/>
                  </a:cubicBezTo>
                  <a:cubicBezTo>
                    <a:pt x="55" y="16"/>
                    <a:pt x="55" y="14"/>
                    <a:pt x="56" y="13"/>
                  </a:cubicBezTo>
                  <a:cubicBezTo>
                    <a:pt x="56" y="9"/>
                    <a:pt x="56" y="9"/>
                    <a:pt x="56" y="9"/>
                  </a:cubicBezTo>
                  <a:cubicBezTo>
                    <a:pt x="57" y="8"/>
                    <a:pt x="57" y="8"/>
                    <a:pt x="57" y="8"/>
                  </a:cubicBezTo>
                  <a:cubicBezTo>
                    <a:pt x="56" y="8"/>
                    <a:pt x="55" y="9"/>
                    <a:pt x="55" y="9"/>
                  </a:cubicBezTo>
                  <a:lnTo>
                    <a:pt x="55" y="8"/>
                  </a:lnTo>
                  <a:close/>
                  <a:moveTo>
                    <a:pt x="75" y="1"/>
                  </a:moveTo>
                  <a:cubicBezTo>
                    <a:pt x="77" y="0"/>
                    <a:pt x="79" y="0"/>
                    <a:pt x="79" y="0"/>
                  </a:cubicBezTo>
                  <a:cubicBezTo>
                    <a:pt x="79" y="0"/>
                    <a:pt x="79" y="0"/>
                    <a:pt x="79" y="1"/>
                  </a:cubicBezTo>
                  <a:cubicBezTo>
                    <a:pt x="77" y="9"/>
                    <a:pt x="77" y="9"/>
                    <a:pt x="77" y="9"/>
                  </a:cubicBezTo>
                  <a:cubicBezTo>
                    <a:pt x="77" y="9"/>
                    <a:pt x="77" y="9"/>
                    <a:pt x="77" y="9"/>
                  </a:cubicBezTo>
                  <a:cubicBezTo>
                    <a:pt x="79" y="7"/>
                    <a:pt x="81" y="6"/>
                    <a:pt x="82" y="6"/>
                  </a:cubicBezTo>
                  <a:cubicBezTo>
                    <a:pt x="83" y="6"/>
                    <a:pt x="84" y="7"/>
                    <a:pt x="84" y="8"/>
                  </a:cubicBezTo>
                  <a:cubicBezTo>
                    <a:pt x="84" y="11"/>
                    <a:pt x="82" y="14"/>
                    <a:pt x="80" y="16"/>
                  </a:cubicBezTo>
                  <a:cubicBezTo>
                    <a:pt x="79" y="17"/>
                    <a:pt x="78" y="17"/>
                    <a:pt x="77" y="17"/>
                  </a:cubicBezTo>
                  <a:cubicBezTo>
                    <a:pt x="75" y="17"/>
                    <a:pt x="74" y="17"/>
                    <a:pt x="74" y="16"/>
                  </a:cubicBezTo>
                  <a:cubicBezTo>
                    <a:pt x="74" y="15"/>
                    <a:pt x="74" y="15"/>
                    <a:pt x="74" y="13"/>
                  </a:cubicBezTo>
                  <a:cubicBezTo>
                    <a:pt x="76" y="2"/>
                    <a:pt x="76" y="2"/>
                    <a:pt x="76" y="2"/>
                  </a:cubicBezTo>
                  <a:cubicBezTo>
                    <a:pt x="77" y="1"/>
                    <a:pt x="77" y="1"/>
                    <a:pt x="76" y="1"/>
                  </a:cubicBezTo>
                  <a:cubicBezTo>
                    <a:pt x="75" y="1"/>
                    <a:pt x="75" y="1"/>
                    <a:pt x="75" y="1"/>
                  </a:cubicBezTo>
                  <a:close/>
                  <a:moveTo>
                    <a:pt x="78" y="10"/>
                  </a:moveTo>
                  <a:cubicBezTo>
                    <a:pt x="77" y="11"/>
                    <a:pt x="77" y="11"/>
                    <a:pt x="76" y="13"/>
                  </a:cubicBezTo>
                  <a:cubicBezTo>
                    <a:pt x="76" y="15"/>
                    <a:pt x="77" y="16"/>
                    <a:pt x="78" y="16"/>
                  </a:cubicBezTo>
                  <a:cubicBezTo>
                    <a:pt x="78" y="16"/>
                    <a:pt x="78" y="16"/>
                    <a:pt x="79" y="16"/>
                  </a:cubicBezTo>
                  <a:cubicBezTo>
                    <a:pt x="80" y="15"/>
                    <a:pt x="81" y="12"/>
                    <a:pt x="81" y="9"/>
                  </a:cubicBezTo>
                  <a:cubicBezTo>
                    <a:pt x="81" y="8"/>
                    <a:pt x="81" y="8"/>
                    <a:pt x="81" y="8"/>
                  </a:cubicBezTo>
                  <a:cubicBezTo>
                    <a:pt x="80" y="8"/>
                    <a:pt x="79" y="9"/>
                    <a:pt x="78" y="10"/>
                  </a:cubicBezTo>
                  <a:close/>
                  <a:moveTo>
                    <a:pt x="94" y="14"/>
                  </a:moveTo>
                  <a:cubicBezTo>
                    <a:pt x="91" y="17"/>
                    <a:pt x="89" y="17"/>
                    <a:pt x="88" y="17"/>
                  </a:cubicBezTo>
                  <a:cubicBezTo>
                    <a:pt x="87" y="17"/>
                    <a:pt x="86" y="16"/>
                    <a:pt x="86" y="13"/>
                  </a:cubicBezTo>
                  <a:cubicBezTo>
                    <a:pt x="86" y="11"/>
                    <a:pt x="87" y="9"/>
                    <a:pt x="88" y="8"/>
                  </a:cubicBezTo>
                  <a:cubicBezTo>
                    <a:pt x="89" y="7"/>
                    <a:pt x="91" y="6"/>
                    <a:pt x="92" y="6"/>
                  </a:cubicBezTo>
                  <a:cubicBezTo>
                    <a:pt x="94" y="6"/>
                    <a:pt x="95" y="7"/>
                    <a:pt x="95" y="8"/>
                  </a:cubicBezTo>
                  <a:cubicBezTo>
                    <a:pt x="95" y="10"/>
                    <a:pt x="90" y="12"/>
                    <a:pt x="88" y="12"/>
                  </a:cubicBezTo>
                  <a:cubicBezTo>
                    <a:pt x="88" y="13"/>
                    <a:pt x="88" y="13"/>
                    <a:pt x="88" y="13"/>
                  </a:cubicBezTo>
                  <a:cubicBezTo>
                    <a:pt x="88" y="14"/>
                    <a:pt x="88" y="15"/>
                    <a:pt x="90" y="15"/>
                  </a:cubicBezTo>
                  <a:cubicBezTo>
                    <a:pt x="91" y="15"/>
                    <a:pt x="92" y="15"/>
                    <a:pt x="93" y="14"/>
                  </a:cubicBezTo>
                  <a:lnTo>
                    <a:pt x="94" y="14"/>
                  </a:lnTo>
                  <a:close/>
                  <a:moveTo>
                    <a:pt x="90" y="7"/>
                  </a:moveTo>
                  <a:cubicBezTo>
                    <a:pt x="90" y="8"/>
                    <a:pt x="89" y="9"/>
                    <a:pt x="88" y="12"/>
                  </a:cubicBezTo>
                  <a:cubicBezTo>
                    <a:pt x="91" y="11"/>
                    <a:pt x="92" y="10"/>
                    <a:pt x="92" y="8"/>
                  </a:cubicBezTo>
                  <a:cubicBezTo>
                    <a:pt x="92" y="7"/>
                    <a:pt x="92" y="7"/>
                    <a:pt x="91" y="7"/>
                  </a:cubicBezTo>
                  <a:cubicBezTo>
                    <a:pt x="91" y="7"/>
                    <a:pt x="91" y="7"/>
                    <a:pt x="90" y="7"/>
                  </a:cubicBezTo>
                  <a:close/>
                  <a:moveTo>
                    <a:pt x="96" y="8"/>
                  </a:moveTo>
                  <a:cubicBezTo>
                    <a:pt x="97" y="7"/>
                    <a:pt x="99" y="6"/>
                    <a:pt x="100" y="6"/>
                  </a:cubicBezTo>
                  <a:cubicBezTo>
                    <a:pt x="100" y="6"/>
                    <a:pt x="100" y="7"/>
                    <a:pt x="100" y="8"/>
                  </a:cubicBezTo>
                  <a:cubicBezTo>
                    <a:pt x="100" y="10"/>
                    <a:pt x="100" y="10"/>
                    <a:pt x="100" y="10"/>
                  </a:cubicBezTo>
                  <a:cubicBezTo>
                    <a:pt x="100" y="10"/>
                    <a:pt x="100" y="10"/>
                    <a:pt x="100" y="10"/>
                  </a:cubicBezTo>
                  <a:cubicBezTo>
                    <a:pt x="101" y="7"/>
                    <a:pt x="102" y="6"/>
                    <a:pt x="103" y="6"/>
                  </a:cubicBezTo>
                  <a:cubicBezTo>
                    <a:pt x="103" y="6"/>
                    <a:pt x="104" y="6"/>
                    <a:pt x="104" y="7"/>
                  </a:cubicBezTo>
                  <a:cubicBezTo>
                    <a:pt x="104" y="7"/>
                    <a:pt x="104" y="7"/>
                    <a:pt x="104" y="8"/>
                  </a:cubicBezTo>
                  <a:cubicBezTo>
                    <a:pt x="104" y="8"/>
                    <a:pt x="104" y="8"/>
                    <a:pt x="103" y="9"/>
                  </a:cubicBezTo>
                  <a:cubicBezTo>
                    <a:pt x="103" y="9"/>
                    <a:pt x="103" y="9"/>
                    <a:pt x="103" y="9"/>
                  </a:cubicBezTo>
                  <a:cubicBezTo>
                    <a:pt x="102" y="8"/>
                    <a:pt x="102" y="8"/>
                    <a:pt x="102" y="8"/>
                  </a:cubicBezTo>
                  <a:cubicBezTo>
                    <a:pt x="102" y="8"/>
                    <a:pt x="101" y="8"/>
                    <a:pt x="101" y="9"/>
                  </a:cubicBezTo>
                  <a:cubicBezTo>
                    <a:pt x="100" y="10"/>
                    <a:pt x="100" y="11"/>
                    <a:pt x="100" y="12"/>
                  </a:cubicBezTo>
                  <a:cubicBezTo>
                    <a:pt x="99" y="14"/>
                    <a:pt x="99" y="15"/>
                    <a:pt x="99" y="16"/>
                  </a:cubicBezTo>
                  <a:cubicBezTo>
                    <a:pt x="99" y="16"/>
                    <a:pt x="99" y="16"/>
                    <a:pt x="99" y="16"/>
                  </a:cubicBezTo>
                  <a:cubicBezTo>
                    <a:pt x="96" y="17"/>
                    <a:pt x="96" y="17"/>
                    <a:pt x="96" y="17"/>
                  </a:cubicBezTo>
                  <a:cubicBezTo>
                    <a:pt x="96" y="16"/>
                    <a:pt x="97" y="14"/>
                    <a:pt x="97" y="13"/>
                  </a:cubicBezTo>
                  <a:cubicBezTo>
                    <a:pt x="98" y="9"/>
                    <a:pt x="98" y="9"/>
                    <a:pt x="98" y="9"/>
                  </a:cubicBezTo>
                  <a:cubicBezTo>
                    <a:pt x="98" y="8"/>
                    <a:pt x="98" y="8"/>
                    <a:pt x="98" y="8"/>
                  </a:cubicBezTo>
                  <a:cubicBezTo>
                    <a:pt x="98" y="8"/>
                    <a:pt x="97" y="9"/>
                    <a:pt x="96" y="9"/>
                  </a:cubicBezTo>
                  <a:lnTo>
                    <a:pt x="96" y="8"/>
                  </a:lnTo>
                  <a:close/>
                  <a:moveTo>
                    <a:pt x="119" y="9"/>
                  </a:moveTo>
                  <a:cubicBezTo>
                    <a:pt x="119" y="12"/>
                    <a:pt x="118" y="14"/>
                    <a:pt x="117" y="15"/>
                  </a:cubicBezTo>
                  <a:cubicBezTo>
                    <a:pt x="116" y="16"/>
                    <a:pt x="114" y="17"/>
                    <a:pt x="113" y="17"/>
                  </a:cubicBezTo>
                  <a:cubicBezTo>
                    <a:pt x="110" y="17"/>
                    <a:pt x="109" y="15"/>
                    <a:pt x="109" y="13"/>
                  </a:cubicBezTo>
                  <a:cubicBezTo>
                    <a:pt x="109" y="10"/>
                    <a:pt x="111" y="8"/>
                    <a:pt x="113" y="7"/>
                  </a:cubicBezTo>
                  <a:cubicBezTo>
                    <a:pt x="114" y="6"/>
                    <a:pt x="115" y="6"/>
                    <a:pt x="116" y="6"/>
                  </a:cubicBezTo>
                  <a:cubicBezTo>
                    <a:pt x="118" y="6"/>
                    <a:pt x="119" y="8"/>
                    <a:pt x="119" y="9"/>
                  </a:cubicBezTo>
                  <a:close/>
                  <a:moveTo>
                    <a:pt x="114" y="7"/>
                  </a:moveTo>
                  <a:cubicBezTo>
                    <a:pt x="113" y="8"/>
                    <a:pt x="112" y="9"/>
                    <a:pt x="112" y="13"/>
                  </a:cubicBezTo>
                  <a:cubicBezTo>
                    <a:pt x="112" y="15"/>
                    <a:pt x="113" y="16"/>
                    <a:pt x="114" y="16"/>
                  </a:cubicBezTo>
                  <a:cubicBezTo>
                    <a:pt x="114" y="16"/>
                    <a:pt x="114" y="16"/>
                    <a:pt x="114" y="16"/>
                  </a:cubicBezTo>
                  <a:cubicBezTo>
                    <a:pt x="115" y="16"/>
                    <a:pt x="117" y="13"/>
                    <a:pt x="117" y="10"/>
                  </a:cubicBezTo>
                  <a:cubicBezTo>
                    <a:pt x="117" y="8"/>
                    <a:pt x="116" y="7"/>
                    <a:pt x="115" y="7"/>
                  </a:cubicBezTo>
                  <a:cubicBezTo>
                    <a:pt x="115" y="7"/>
                    <a:pt x="114" y="7"/>
                    <a:pt x="114" y="7"/>
                  </a:cubicBezTo>
                  <a:close/>
                  <a:moveTo>
                    <a:pt x="128" y="7"/>
                  </a:moveTo>
                  <a:cubicBezTo>
                    <a:pt x="128" y="7"/>
                    <a:pt x="128" y="7"/>
                    <a:pt x="128" y="7"/>
                  </a:cubicBezTo>
                  <a:cubicBezTo>
                    <a:pt x="125" y="8"/>
                    <a:pt x="125" y="8"/>
                    <a:pt x="125" y="8"/>
                  </a:cubicBezTo>
                  <a:cubicBezTo>
                    <a:pt x="125" y="10"/>
                    <a:pt x="125" y="11"/>
                    <a:pt x="124" y="13"/>
                  </a:cubicBezTo>
                  <a:cubicBezTo>
                    <a:pt x="124" y="18"/>
                    <a:pt x="122" y="20"/>
                    <a:pt x="121" y="21"/>
                  </a:cubicBezTo>
                  <a:cubicBezTo>
                    <a:pt x="120" y="22"/>
                    <a:pt x="119" y="22"/>
                    <a:pt x="119" y="22"/>
                  </a:cubicBezTo>
                  <a:cubicBezTo>
                    <a:pt x="118" y="22"/>
                    <a:pt x="118" y="22"/>
                    <a:pt x="118" y="22"/>
                  </a:cubicBezTo>
                  <a:cubicBezTo>
                    <a:pt x="118" y="21"/>
                    <a:pt x="118" y="21"/>
                    <a:pt x="118" y="21"/>
                  </a:cubicBezTo>
                  <a:cubicBezTo>
                    <a:pt x="118" y="20"/>
                    <a:pt x="118" y="20"/>
                    <a:pt x="119" y="20"/>
                  </a:cubicBezTo>
                  <a:cubicBezTo>
                    <a:pt x="119" y="21"/>
                    <a:pt x="120" y="21"/>
                    <a:pt x="120" y="21"/>
                  </a:cubicBezTo>
                  <a:cubicBezTo>
                    <a:pt x="120" y="21"/>
                    <a:pt x="120" y="21"/>
                    <a:pt x="120" y="21"/>
                  </a:cubicBezTo>
                  <a:cubicBezTo>
                    <a:pt x="121" y="20"/>
                    <a:pt x="121" y="19"/>
                    <a:pt x="122" y="15"/>
                  </a:cubicBezTo>
                  <a:cubicBezTo>
                    <a:pt x="122" y="12"/>
                    <a:pt x="123" y="10"/>
                    <a:pt x="123" y="8"/>
                  </a:cubicBezTo>
                  <a:cubicBezTo>
                    <a:pt x="121" y="8"/>
                    <a:pt x="121" y="8"/>
                    <a:pt x="121" y="8"/>
                  </a:cubicBezTo>
                  <a:cubicBezTo>
                    <a:pt x="121" y="7"/>
                    <a:pt x="121" y="7"/>
                    <a:pt x="121" y="7"/>
                  </a:cubicBezTo>
                  <a:cubicBezTo>
                    <a:pt x="122" y="7"/>
                    <a:pt x="122" y="7"/>
                    <a:pt x="122" y="7"/>
                  </a:cubicBezTo>
                  <a:cubicBezTo>
                    <a:pt x="123" y="7"/>
                    <a:pt x="123" y="7"/>
                    <a:pt x="123" y="7"/>
                  </a:cubicBezTo>
                  <a:cubicBezTo>
                    <a:pt x="123" y="5"/>
                    <a:pt x="124" y="3"/>
                    <a:pt x="125" y="2"/>
                  </a:cubicBezTo>
                  <a:cubicBezTo>
                    <a:pt x="126" y="1"/>
                    <a:pt x="128" y="0"/>
                    <a:pt x="129" y="0"/>
                  </a:cubicBezTo>
                  <a:cubicBezTo>
                    <a:pt x="130" y="0"/>
                    <a:pt x="131" y="0"/>
                    <a:pt x="131" y="1"/>
                  </a:cubicBezTo>
                  <a:cubicBezTo>
                    <a:pt x="131" y="1"/>
                    <a:pt x="130" y="2"/>
                    <a:pt x="130" y="2"/>
                  </a:cubicBezTo>
                  <a:cubicBezTo>
                    <a:pt x="130" y="2"/>
                    <a:pt x="129" y="2"/>
                    <a:pt x="129" y="2"/>
                  </a:cubicBezTo>
                  <a:cubicBezTo>
                    <a:pt x="129" y="1"/>
                    <a:pt x="128" y="1"/>
                    <a:pt x="127" y="1"/>
                  </a:cubicBezTo>
                  <a:cubicBezTo>
                    <a:pt x="127" y="1"/>
                    <a:pt x="126" y="2"/>
                    <a:pt x="126" y="7"/>
                  </a:cubicBezTo>
                  <a:lnTo>
                    <a:pt x="128" y="7"/>
                  </a:lnTo>
                  <a:close/>
                  <a:moveTo>
                    <a:pt x="141" y="3"/>
                  </a:moveTo>
                  <a:cubicBezTo>
                    <a:pt x="140" y="7"/>
                    <a:pt x="140" y="7"/>
                    <a:pt x="140" y="7"/>
                  </a:cubicBezTo>
                  <a:cubicBezTo>
                    <a:pt x="143" y="7"/>
                    <a:pt x="143" y="7"/>
                    <a:pt x="143" y="7"/>
                  </a:cubicBezTo>
                  <a:cubicBezTo>
                    <a:pt x="142" y="7"/>
                    <a:pt x="142" y="7"/>
                    <a:pt x="142" y="7"/>
                  </a:cubicBezTo>
                  <a:cubicBezTo>
                    <a:pt x="140" y="8"/>
                    <a:pt x="140" y="8"/>
                    <a:pt x="140" y="8"/>
                  </a:cubicBezTo>
                  <a:cubicBezTo>
                    <a:pt x="138" y="14"/>
                    <a:pt x="138" y="14"/>
                    <a:pt x="138" y="14"/>
                  </a:cubicBezTo>
                  <a:cubicBezTo>
                    <a:pt x="138" y="15"/>
                    <a:pt x="138" y="15"/>
                    <a:pt x="138" y="15"/>
                  </a:cubicBezTo>
                  <a:cubicBezTo>
                    <a:pt x="139" y="15"/>
                    <a:pt x="140" y="14"/>
                    <a:pt x="140" y="14"/>
                  </a:cubicBezTo>
                  <a:cubicBezTo>
                    <a:pt x="141" y="14"/>
                    <a:pt x="141" y="14"/>
                    <a:pt x="141" y="14"/>
                  </a:cubicBezTo>
                  <a:cubicBezTo>
                    <a:pt x="141" y="14"/>
                    <a:pt x="141" y="14"/>
                    <a:pt x="141" y="14"/>
                  </a:cubicBezTo>
                  <a:cubicBezTo>
                    <a:pt x="140" y="15"/>
                    <a:pt x="138" y="17"/>
                    <a:pt x="137" y="17"/>
                  </a:cubicBezTo>
                  <a:cubicBezTo>
                    <a:pt x="136" y="17"/>
                    <a:pt x="135" y="16"/>
                    <a:pt x="136" y="14"/>
                  </a:cubicBezTo>
                  <a:cubicBezTo>
                    <a:pt x="137" y="8"/>
                    <a:pt x="137" y="8"/>
                    <a:pt x="137" y="8"/>
                  </a:cubicBezTo>
                  <a:cubicBezTo>
                    <a:pt x="135" y="8"/>
                    <a:pt x="135" y="8"/>
                    <a:pt x="135" y="8"/>
                  </a:cubicBezTo>
                  <a:cubicBezTo>
                    <a:pt x="135" y="7"/>
                    <a:pt x="135" y="7"/>
                    <a:pt x="135" y="7"/>
                  </a:cubicBezTo>
                  <a:cubicBezTo>
                    <a:pt x="136" y="7"/>
                    <a:pt x="136" y="7"/>
                    <a:pt x="136" y="7"/>
                  </a:cubicBezTo>
                  <a:cubicBezTo>
                    <a:pt x="137" y="7"/>
                    <a:pt x="137" y="7"/>
                    <a:pt x="137" y="7"/>
                  </a:cubicBezTo>
                  <a:cubicBezTo>
                    <a:pt x="138" y="5"/>
                    <a:pt x="138" y="5"/>
                    <a:pt x="138" y="5"/>
                  </a:cubicBezTo>
                  <a:cubicBezTo>
                    <a:pt x="140" y="3"/>
                    <a:pt x="140" y="3"/>
                    <a:pt x="140" y="3"/>
                  </a:cubicBezTo>
                  <a:lnTo>
                    <a:pt x="141" y="3"/>
                  </a:lnTo>
                  <a:close/>
                  <a:moveTo>
                    <a:pt x="143" y="17"/>
                  </a:moveTo>
                  <a:cubicBezTo>
                    <a:pt x="143" y="16"/>
                    <a:pt x="143" y="15"/>
                    <a:pt x="143" y="13"/>
                  </a:cubicBezTo>
                  <a:cubicBezTo>
                    <a:pt x="146" y="2"/>
                    <a:pt x="146" y="2"/>
                    <a:pt x="146" y="2"/>
                  </a:cubicBezTo>
                  <a:cubicBezTo>
                    <a:pt x="146" y="1"/>
                    <a:pt x="146" y="1"/>
                    <a:pt x="145" y="1"/>
                  </a:cubicBezTo>
                  <a:cubicBezTo>
                    <a:pt x="144" y="1"/>
                    <a:pt x="144" y="1"/>
                    <a:pt x="144" y="1"/>
                  </a:cubicBezTo>
                  <a:cubicBezTo>
                    <a:pt x="144" y="1"/>
                    <a:pt x="144" y="1"/>
                    <a:pt x="144" y="1"/>
                  </a:cubicBezTo>
                  <a:cubicBezTo>
                    <a:pt x="146" y="0"/>
                    <a:pt x="148" y="0"/>
                    <a:pt x="148" y="0"/>
                  </a:cubicBezTo>
                  <a:cubicBezTo>
                    <a:pt x="148" y="0"/>
                    <a:pt x="148" y="0"/>
                    <a:pt x="148" y="1"/>
                  </a:cubicBezTo>
                  <a:cubicBezTo>
                    <a:pt x="146" y="10"/>
                    <a:pt x="146" y="10"/>
                    <a:pt x="146" y="10"/>
                  </a:cubicBezTo>
                  <a:cubicBezTo>
                    <a:pt x="146" y="10"/>
                    <a:pt x="146" y="10"/>
                    <a:pt x="146" y="10"/>
                  </a:cubicBezTo>
                  <a:cubicBezTo>
                    <a:pt x="148" y="8"/>
                    <a:pt x="150" y="7"/>
                    <a:pt x="151" y="6"/>
                  </a:cubicBezTo>
                  <a:cubicBezTo>
                    <a:pt x="151" y="6"/>
                    <a:pt x="152" y="6"/>
                    <a:pt x="152" y="6"/>
                  </a:cubicBezTo>
                  <a:cubicBezTo>
                    <a:pt x="153" y="6"/>
                    <a:pt x="153" y="6"/>
                    <a:pt x="153" y="9"/>
                  </a:cubicBezTo>
                  <a:cubicBezTo>
                    <a:pt x="153" y="10"/>
                    <a:pt x="152" y="12"/>
                    <a:pt x="152" y="14"/>
                  </a:cubicBezTo>
                  <a:cubicBezTo>
                    <a:pt x="152" y="15"/>
                    <a:pt x="151" y="15"/>
                    <a:pt x="152" y="15"/>
                  </a:cubicBezTo>
                  <a:cubicBezTo>
                    <a:pt x="152" y="15"/>
                    <a:pt x="153" y="15"/>
                    <a:pt x="153" y="14"/>
                  </a:cubicBezTo>
                  <a:cubicBezTo>
                    <a:pt x="154" y="15"/>
                    <a:pt x="154" y="15"/>
                    <a:pt x="154" y="15"/>
                  </a:cubicBezTo>
                  <a:cubicBezTo>
                    <a:pt x="152" y="16"/>
                    <a:pt x="150" y="17"/>
                    <a:pt x="150" y="17"/>
                  </a:cubicBezTo>
                  <a:cubicBezTo>
                    <a:pt x="149" y="17"/>
                    <a:pt x="149" y="16"/>
                    <a:pt x="149" y="15"/>
                  </a:cubicBezTo>
                  <a:cubicBezTo>
                    <a:pt x="150" y="9"/>
                    <a:pt x="150" y="9"/>
                    <a:pt x="150" y="9"/>
                  </a:cubicBezTo>
                  <a:cubicBezTo>
                    <a:pt x="151" y="8"/>
                    <a:pt x="151" y="8"/>
                    <a:pt x="150" y="8"/>
                  </a:cubicBezTo>
                  <a:cubicBezTo>
                    <a:pt x="149" y="8"/>
                    <a:pt x="147" y="10"/>
                    <a:pt x="146" y="12"/>
                  </a:cubicBezTo>
                  <a:cubicBezTo>
                    <a:pt x="146" y="12"/>
                    <a:pt x="145" y="15"/>
                    <a:pt x="145" y="16"/>
                  </a:cubicBezTo>
                  <a:lnTo>
                    <a:pt x="143" y="17"/>
                  </a:lnTo>
                  <a:close/>
                  <a:moveTo>
                    <a:pt x="164" y="14"/>
                  </a:moveTo>
                  <a:cubicBezTo>
                    <a:pt x="161" y="17"/>
                    <a:pt x="159" y="17"/>
                    <a:pt x="158" y="17"/>
                  </a:cubicBezTo>
                  <a:cubicBezTo>
                    <a:pt x="157" y="17"/>
                    <a:pt x="155" y="16"/>
                    <a:pt x="155" y="13"/>
                  </a:cubicBezTo>
                  <a:cubicBezTo>
                    <a:pt x="155" y="11"/>
                    <a:pt x="156" y="9"/>
                    <a:pt x="158" y="8"/>
                  </a:cubicBezTo>
                  <a:cubicBezTo>
                    <a:pt x="159" y="7"/>
                    <a:pt x="161" y="6"/>
                    <a:pt x="162" y="6"/>
                  </a:cubicBezTo>
                  <a:cubicBezTo>
                    <a:pt x="163" y="6"/>
                    <a:pt x="164" y="7"/>
                    <a:pt x="164" y="8"/>
                  </a:cubicBezTo>
                  <a:cubicBezTo>
                    <a:pt x="164" y="10"/>
                    <a:pt x="160" y="12"/>
                    <a:pt x="158" y="12"/>
                  </a:cubicBezTo>
                  <a:cubicBezTo>
                    <a:pt x="158" y="13"/>
                    <a:pt x="158" y="13"/>
                    <a:pt x="158" y="13"/>
                  </a:cubicBezTo>
                  <a:cubicBezTo>
                    <a:pt x="158" y="14"/>
                    <a:pt x="158" y="15"/>
                    <a:pt x="160" y="15"/>
                  </a:cubicBezTo>
                  <a:cubicBezTo>
                    <a:pt x="161" y="15"/>
                    <a:pt x="162" y="15"/>
                    <a:pt x="163" y="14"/>
                  </a:cubicBezTo>
                  <a:lnTo>
                    <a:pt x="164" y="14"/>
                  </a:lnTo>
                  <a:close/>
                  <a:moveTo>
                    <a:pt x="160" y="7"/>
                  </a:moveTo>
                  <a:cubicBezTo>
                    <a:pt x="159" y="8"/>
                    <a:pt x="158" y="9"/>
                    <a:pt x="158" y="12"/>
                  </a:cubicBezTo>
                  <a:cubicBezTo>
                    <a:pt x="161" y="11"/>
                    <a:pt x="162" y="10"/>
                    <a:pt x="162" y="8"/>
                  </a:cubicBezTo>
                  <a:cubicBezTo>
                    <a:pt x="162" y="7"/>
                    <a:pt x="161" y="7"/>
                    <a:pt x="161" y="7"/>
                  </a:cubicBezTo>
                  <a:cubicBezTo>
                    <a:pt x="161" y="7"/>
                    <a:pt x="160" y="7"/>
                    <a:pt x="160" y="7"/>
                  </a:cubicBezTo>
                  <a:close/>
                  <a:moveTo>
                    <a:pt x="179" y="1"/>
                  </a:moveTo>
                  <a:cubicBezTo>
                    <a:pt x="182" y="1"/>
                    <a:pt x="184" y="2"/>
                    <a:pt x="184" y="5"/>
                  </a:cubicBezTo>
                  <a:cubicBezTo>
                    <a:pt x="184" y="7"/>
                    <a:pt x="183" y="9"/>
                    <a:pt x="180" y="9"/>
                  </a:cubicBezTo>
                  <a:cubicBezTo>
                    <a:pt x="181" y="10"/>
                    <a:pt x="181" y="11"/>
                    <a:pt x="182" y="13"/>
                  </a:cubicBezTo>
                  <a:cubicBezTo>
                    <a:pt x="183" y="14"/>
                    <a:pt x="183" y="15"/>
                    <a:pt x="183" y="15"/>
                  </a:cubicBezTo>
                  <a:cubicBezTo>
                    <a:pt x="184" y="16"/>
                    <a:pt x="184" y="16"/>
                    <a:pt x="185" y="16"/>
                  </a:cubicBezTo>
                  <a:cubicBezTo>
                    <a:pt x="185" y="17"/>
                    <a:pt x="185" y="17"/>
                    <a:pt x="185" y="17"/>
                  </a:cubicBezTo>
                  <a:cubicBezTo>
                    <a:pt x="184" y="17"/>
                    <a:pt x="184" y="17"/>
                    <a:pt x="184" y="17"/>
                  </a:cubicBezTo>
                  <a:cubicBezTo>
                    <a:pt x="182" y="17"/>
                    <a:pt x="181" y="16"/>
                    <a:pt x="180" y="15"/>
                  </a:cubicBezTo>
                  <a:cubicBezTo>
                    <a:pt x="180" y="13"/>
                    <a:pt x="179" y="12"/>
                    <a:pt x="178" y="11"/>
                  </a:cubicBezTo>
                  <a:cubicBezTo>
                    <a:pt x="178" y="10"/>
                    <a:pt x="178" y="10"/>
                    <a:pt x="177" y="10"/>
                  </a:cubicBezTo>
                  <a:cubicBezTo>
                    <a:pt x="176" y="10"/>
                    <a:pt x="176" y="10"/>
                    <a:pt x="176" y="10"/>
                  </a:cubicBezTo>
                  <a:cubicBezTo>
                    <a:pt x="176" y="13"/>
                    <a:pt x="176" y="13"/>
                    <a:pt x="176" y="13"/>
                  </a:cubicBezTo>
                  <a:cubicBezTo>
                    <a:pt x="175" y="16"/>
                    <a:pt x="175" y="16"/>
                    <a:pt x="177" y="16"/>
                  </a:cubicBezTo>
                  <a:cubicBezTo>
                    <a:pt x="177" y="17"/>
                    <a:pt x="177" y="17"/>
                    <a:pt x="177" y="17"/>
                  </a:cubicBezTo>
                  <a:cubicBezTo>
                    <a:pt x="171" y="17"/>
                    <a:pt x="171" y="17"/>
                    <a:pt x="171" y="17"/>
                  </a:cubicBezTo>
                  <a:cubicBezTo>
                    <a:pt x="171" y="16"/>
                    <a:pt x="171" y="16"/>
                    <a:pt x="171" y="16"/>
                  </a:cubicBezTo>
                  <a:cubicBezTo>
                    <a:pt x="173" y="16"/>
                    <a:pt x="173" y="16"/>
                    <a:pt x="173" y="13"/>
                  </a:cubicBezTo>
                  <a:cubicBezTo>
                    <a:pt x="175" y="5"/>
                    <a:pt x="175" y="5"/>
                    <a:pt x="175" y="5"/>
                  </a:cubicBezTo>
                  <a:cubicBezTo>
                    <a:pt x="175" y="2"/>
                    <a:pt x="175" y="2"/>
                    <a:pt x="173" y="2"/>
                  </a:cubicBezTo>
                  <a:cubicBezTo>
                    <a:pt x="173" y="1"/>
                    <a:pt x="173" y="1"/>
                    <a:pt x="173" y="1"/>
                  </a:cubicBezTo>
                  <a:lnTo>
                    <a:pt x="179" y="1"/>
                  </a:lnTo>
                  <a:close/>
                  <a:moveTo>
                    <a:pt x="176" y="9"/>
                  </a:moveTo>
                  <a:cubicBezTo>
                    <a:pt x="177" y="9"/>
                    <a:pt x="177" y="9"/>
                    <a:pt x="177" y="9"/>
                  </a:cubicBezTo>
                  <a:cubicBezTo>
                    <a:pt x="178" y="9"/>
                    <a:pt x="179" y="9"/>
                    <a:pt x="180" y="8"/>
                  </a:cubicBezTo>
                  <a:cubicBezTo>
                    <a:pt x="181" y="8"/>
                    <a:pt x="182" y="6"/>
                    <a:pt x="182" y="5"/>
                  </a:cubicBezTo>
                  <a:cubicBezTo>
                    <a:pt x="182" y="3"/>
                    <a:pt x="181" y="2"/>
                    <a:pt x="179" y="2"/>
                  </a:cubicBezTo>
                  <a:cubicBezTo>
                    <a:pt x="178" y="2"/>
                    <a:pt x="178" y="2"/>
                    <a:pt x="178" y="2"/>
                  </a:cubicBezTo>
                  <a:cubicBezTo>
                    <a:pt x="178" y="2"/>
                    <a:pt x="178" y="3"/>
                    <a:pt x="178" y="3"/>
                  </a:cubicBezTo>
                  <a:lnTo>
                    <a:pt x="176" y="9"/>
                  </a:lnTo>
                  <a:close/>
                  <a:moveTo>
                    <a:pt x="196" y="9"/>
                  </a:moveTo>
                  <a:cubicBezTo>
                    <a:pt x="196" y="12"/>
                    <a:pt x="195" y="14"/>
                    <a:pt x="194" y="15"/>
                  </a:cubicBezTo>
                  <a:cubicBezTo>
                    <a:pt x="193" y="16"/>
                    <a:pt x="191" y="17"/>
                    <a:pt x="190" y="17"/>
                  </a:cubicBezTo>
                  <a:cubicBezTo>
                    <a:pt x="187" y="17"/>
                    <a:pt x="187" y="15"/>
                    <a:pt x="187" y="13"/>
                  </a:cubicBezTo>
                  <a:cubicBezTo>
                    <a:pt x="187" y="10"/>
                    <a:pt x="188" y="8"/>
                    <a:pt x="190" y="7"/>
                  </a:cubicBezTo>
                  <a:cubicBezTo>
                    <a:pt x="191" y="6"/>
                    <a:pt x="192" y="6"/>
                    <a:pt x="193" y="6"/>
                  </a:cubicBezTo>
                  <a:cubicBezTo>
                    <a:pt x="195" y="6"/>
                    <a:pt x="196" y="8"/>
                    <a:pt x="196" y="9"/>
                  </a:cubicBezTo>
                  <a:close/>
                  <a:moveTo>
                    <a:pt x="191" y="7"/>
                  </a:moveTo>
                  <a:cubicBezTo>
                    <a:pt x="191" y="8"/>
                    <a:pt x="189" y="9"/>
                    <a:pt x="189" y="13"/>
                  </a:cubicBezTo>
                  <a:cubicBezTo>
                    <a:pt x="189" y="15"/>
                    <a:pt x="190" y="16"/>
                    <a:pt x="191" y="16"/>
                  </a:cubicBezTo>
                  <a:cubicBezTo>
                    <a:pt x="191" y="16"/>
                    <a:pt x="191" y="16"/>
                    <a:pt x="191" y="16"/>
                  </a:cubicBezTo>
                  <a:cubicBezTo>
                    <a:pt x="192" y="16"/>
                    <a:pt x="194" y="13"/>
                    <a:pt x="194" y="10"/>
                  </a:cubicBezTo>
                  <a:cubicBezTo>
                    <a:pt x="194" y="8"/>
                    <a:pt x="193" y="7"/>
                    <a:pt x="192" y="7"/>
                  </a:cubicBezTo>
                  <a:cubicBezTo>
                    <a:pt x="192" y="7"/>
                    <a:pt x="192" y="7"/>
                    <a:pt x="191" y="7"/>
                  </a:cubicBezTo>
                  <a:close/>
                  <a:moveTo>
                    <a:pt x="206" y="14"/>
                  </a:moveTo>
                  <a:cubicBezTo>
                    <a:pt x="204" y="16"/>
                    <a:pt x="202" y="17"/>
                    <a:pt x="201" y="17"/>
                  </a:cubicBezTo>
                  <a:cubicBezTo>
                    <a:pt x="199" y="17"/>
                    <a:pt x="198" y="16"/>
                    <a:pt x="198" y="14"/>
                  </a:cubicBezTo>
                  <a:cubicBezTo>
                    <a:pt x="198" y="12"/>
                    <a:pt x="199" y="9"/>
                    <a:pt x="201" y="8"/>
                  </a:cubicBezTo>
                  <a:cubicBezTo>
                    <a:pt x="202" y="7"/>
                    <a:pt x="203" y="6"/>
                    <a:pt x="205" y="6"/>
                  </a:cubicBezTo>
                  <a:cubicBezTo>
                    <a:pt x="206" y="6"/>
                    <a:pt x="207" y="7"/>
                    <a:pt x="207" y="7"/>
                  </a:cubicBezTo>
                  <a:cubicBezTo>
                    <a:pt x="207" y="8"/>
                    <a:pt x="206" y="8"/>
                    <a:pt x="206" y="8"/>
                  </a:cubicBezTo>
                  <a:cubicBezTo>
                    <a:pt x="206" y="9"/>
                    <a:pt x="205" y="9"/>
                    <a:pt x="205" y="8"/>
                  </a:cubicBezTo>
                  <a:cubicBezTo>
                    <a:pt x="204" y="8"/>
                    <a:pt x="204" y="7"/>
                    <a:pt x="203" y="7"/>
                  </a:cubicBezTo>
                  <a:cubicBezTo>
                    <a:pt x="203" y="7"/>
                    <a:pt x="202" y="8"/>
                    <a:pt x="202" y="9"/>
                  </a:cubicBezTo>
                  <a:cubicBezTo>
                    <a:pt x="201" y="10"/>
                    <a:pt x="201" y="11"/>
                    <a:pt x="201" y="13"/>
                  </a:cubicBezTo>
                  <a:cubicBezTo>
                    <a:pt x="201" y="15"/>
                    <a:pt x="201" y="15"/>
                    <a:pt x="202" y="15"/>
                  </a:cubicBezTo>
                  <a:cubicBezTo>
                    <a:pt x="203" y="15"/>
                    <a:pt x="205" y="14"/>
                    <a:pt x="205" y="14"/>
                  </a:cubicBezTo>
                  <a:lnTo>
                    <a:pt x="206" y="14"/>
                  </a:lnTo>
                  <a:close/>
                  <a:moveTo>
                    <a:pt x="207" y="17"/>
                  </a:moveTo>
                  <a:cubicBezTo>
                    <a:pt x="208" y="16"/>
                    <a:pt x="208" y="15"/>
                    <a:pt x="208" y="13"/>
                  </a:cubicBezTo>
                  <a:cubicBezTo>
                    <a:pt x="210" y="2"/>
                    <a:pt x="210" y="2"/>
                    <a:pt x="210" y="2"/>
                  </a:cubicBezTo>
                  <a:cubicBezTo>
                    <a:pt x="210" y="1"/>
                    <a:pt x="210" y="1"/>
                    <a:pt x="210" y="1"/>
                  </a:cubicBezTo>
                  <a:cubicBezTo>
                    <a:pt x="208" y="1"/>
                    <a:pt x="208" y="1"/>
                    <a:pt x="208" y="1"/>
                  </a:cubicBezTo>
                  <a:cubicBezTo>
                    <a:pt x="208" y="1"/>
                    <a:pt x="208" y="1"/>
                    <a:pt x="208" y="1"/>
                  </a:cubicBezTo>
                  <a:cubicBezTo>
                    <a:pt x="210" y="0"/>
                    <a:pt x="213" y="0"/>
                    <a:pt x="213" y="0"/>
                  </a:cubicBezTo>
                  <a:cubicBezTo>
                    <a:pt x="213" y="0"/>
                    <a:pt x="213" y="0"/>
                    <a:pt x="213" y="1"/>
                  </a:cubicBezTo>
                  <a:cubicBezTo>
                    <a:pt x="211" y="10"/>
                    <a:pt x="211" y="10"/>
                    <a:pt x="211" y="10"/>
                  </a:cubicBezTo>
                  <a:cubicBezTo>
                    <a:pt x="211" y="10"/>
                    <a:pt x="211" y="10"/>
                    <a:pt x="211" y="10"/>
                  </a:cubicBezTo>
                  <a:cubicBezTo>
                    <a:pt x="213" y="8"/>
                    <a:pt x="214" y="7"/>
                    <a:pt x="215" y="6"/>
                  </a:cubicBezTo>
                  <a:cubicBezTo>
                    <a:pt x="216" y="6"/>
                    <a:pt x="216" y="6"/>
                    <a:pt x="217" y="6"/>
                  </a:cubicBezTo>
                  <a:cubicBezTo>
                    <a:pt x="217" y="6"/>
                    <a:pt x="218" y="6"/>
                    <a:pt x="218" y="9"/>
                  </a:cubicBezTo>
                  <a:cubicBezTo>
                    <a:pt x="217" y="10"/>
                    <a:pt x="217" y="12"/>
                    <a:pt x="216" y="14"/>
                  </a:cubicBezTo>
                  <a:cubicBezTo>
                    <a:pt x="216" y="15"/>
                    <a:pt x="216" y="15"/>
                    <a:pt x="216" y="15"/>
                  </a:cubicBezTo>
                  <a:cubicBezTo>
                    <a:pt x="217" y="15"/>
                    <a:pt x="217" y="15"/>
                    <a:pt x="218" y="14"/>
                  </a:cubicBezTo>
                  <a:cubicBezTo>
                    <a:pt x="218" y="15"/>
                    <a:pt x="218" y="15"/>
                    <a:pt x="218" y="15"/>
                  </a:cubicBezTo>
                  <a:cubicBezTo>
                    <a:pt x="217" y="16"/>
                    <a:pt x="215" y="17"/>
                    <a:pt x="214" y="17"/>
                  </a:cubicBezTo>
                  <a:cubicBezTo>
                    <a:pt x="214" y="17"/>
                    <a:pt x="213" y="16"/>
                    <a:pt x="214" y="15"/>
                  </a:cubicBezTo>
                  <a:cubicBezTo>
                    <a:pt x="215" y="9"/>
                    <a:pt x="215" y="9"/>
                    <a:pt x="215" y="9"/>
                  </a:cubicBezTo>
                  <a:cubicBezTo>
                    <a:pt x="215" y="8"/>
                    <a:pt x="215" y="8"/>
                    <a:pt x="215" y="8"/>
                  </a:cubicBezTo>
                  <a:cubicBezTo>
                    <a:pt x="214" y="8"/>
                    <a:pt x="212" y="10"/>
                    <a:pt x="211" y="12"/>
                  </a:cubicBezTo>
                  <a:cubicBezTo>
                    <a:pt x="211" y="12"/>
                    <a:pt x="210" y="15"/>
                    <a:pt x="210" y="16"/>
                  </a:cubicBezTo>
                  <a:lnTo>
                    <a:pt x="207" y="17"/>
                  </a:lnTo>
                  <a:close/>
                  <a:moveTo>
                    <a:pt x="228" y="14"/>
                  </a:moveTo>
                  <a:cubicBezTo>
                    <a:pt x="226" y="17"/>
                    <a:pt x="224" y="17"/>
                    <a:pt x="223" y="17"/>
                  </a:cubicBezTo>
                  <a:cubicBezTo>
                    <a:pt x="222" y="17"/>
                    <a:pt x="220" y="16"/>
                    <a:pt x="220" y="13"/>
                  </a:cubicBezTo>
                  <a:cubicBezTo>
                    <a:pt x="220" y="11"/>
                    <a:pt x="221" y="9"/>
                    <a:pt x="223" y="8"/>
                  </a:cubicBezTo>
                  <a:cubicBezTo>
                    <a:pt x="224" y="7"/>
                    <a:pt x="225" y="6"/>
                    <a:pt x="227" y="6"/>
                  </a:cubicBezTo>
                  <a:cubicBezTo>
                    <a:pt x="228" y="6"/>
                    <a:pt x="229" y="7"/>
                    <a:pt x="229" y="8"/>
                  </a:cubicBezTo>
                  <a:cubicBezTo>
                    <a:pt x="229" y="10"/>
                    <a:pt x="225" y="12"/>
                    <a:pt x="223" y="12"/>
                  </a:cubicBezTo>
                  <a:cubicBezTo>
                    <a:pt x="223" y="13"/>
                    <a:pt x="223" y="13"/>
                    <a:pt x="223" y="13"/>
                  </a:cubicBezTo>
                  <a:cubicBezTo>
                    <a:pt x="223" y="14"/>
                    <a:pt x="223" y="15"/>
                    <a:pt x="224" y="15"/>
                  </a:cubicBezTo>
                  <a:cubicBezTo>
                    <a:pt x="225" y="15"/>
                    <a:pt x="226" y="15"/>
                    <a:pt x="228" y="14"/>
                  </a:cubicBezTo>
                  <a:close/>
                  <a:moveTo>
                    <a:pt x="225" y="7"/>
                  </a:moveTo>
                  <a:cubicBezTo>
                    <a:pt x="224" y="8"/>
                    <a:pt x="223" y="9"/>
                    <a:pt x="223" y="12"/>
                  </a:cubicBezTo>
                  <a:cubicBezTo>
                    <a:pt x="226" y="11"/>
                    <a:pt x="227" y="10"/>
                    <a:pt x="227" y="8"/>
                  </a:cubicBezTo>
                  <a:cubicBezTo>
                    <a:pt x="227" y="7"/>
                    <a:pt x="226" y="7"/>
                    <a:pt x="226" y="7"/>
                  </a:cubicBezTo>
                  <a:cubicBezTo>
                    <a:pt x="225" y="7"/>
                    <a:pt x="225" y="7"/>
                    <a:pt x="225" y="7"/>
                  </a:cubicBezTo>
                  <a:close/>
                  <a:moveTo>
                    <a:pt x="250" y="5"/>
                  </a:moveTo>
                  <a:cubicBezTo>
                    <a:pt x="250" y="2"/>
                    <a:pt x="248" y="2"/>
                    <a:pt x="246" y="2"/>
                  </a:cubicBezTo>
                  <a:cubicBezTo>
                    <a:pt x="242" y="2"/>
                    <a:pt x="239" y="6"/>
                    <a:pt x="239" y="10"/>
                  </a:cubicBezTo>
                  <a:cubicBezTo>
                    <a:pt x="239" y="14"/>
                    <a:pt x="241" y="16"/>
                    <a:pt x="244" y="16"/>
                  </a:cubicBezTo>
                  <a:cubicBezTo>
                    <a:pt x="245" y="16"/>
                    <a:pt x="246" y="16"/>
                    <a:pt x="247" y="15"/>
                  </a:cubicBezTo>
                  <a:cubicBezTo>
                    <a:pt x="247" y="12"/>
                    <a:pt x="247" y="12"/>
                    <a:pt x="247" y="12"/>
                  </a:cubicBezTo>
                  <a:cubicBezTo>
                    <a:pt x="247" y="11"/>
                    <a:pt x="247" y="11"/>
                    <a:pt x="245" y="10"/>
                  </a:cubicBezTo>
                  <a:cubicBezTo>
                    <a:pt x="245" y="10"/>
                    <a:pt x="245" y="10"/>
                    <a:pt x="245" y="10"/>
                  </a:cubicBezTo>
                  <a:cubicBezTo>
                    <a:pt x="251" y="10"/>
                    <a:pt x="251" y="10"/>
                    <a:pt x="251" y="10"/>
                  </a:cubicBezTo>
                  <a:cubicBezTo>
                    <a:pt x="251" y="10"/>
                    <a:pt x="251" y="10"/>
                    <a:pt x="251" y="10"/>
                  </a:cubicBezTo>
                  <a:cubicBezTo>
                    <a:pt x="250" y="10"/>
                    <a:pt x="250" y="11"/>
                    <a:pt x="250" y="12"/>
                  </a:cubicBezTo>
                  <a:cubicBezTo>
                    <a:pt x="249" y="14"/>
                    <a:pt x="249" y="14"/>
                    <a:pt x="249" y="14"/>
                  </a:cubicBezTo>
                  <a:cubicBezTo>
                    <a:pt x="249" y="15"/>
                    <a:pt x="249" y="16"/>
                    <a:pt x="249" y="16"/>
                  </a:cubicBezTo>
                  <a:cubicBezTo>
                    <a:pt x="247" y="17"/>
                    <a:pt x="246" y="17"/>
                    <a:pt x="244" y="17"/>
                  </a:cubicBezTo>
                  <a:cubicBezTo>
                    <a:pt x="240" y="17"/>
                    <a:pt x="237" y="15"/>
                    <a:pt x="237" y="10"/>
                  </a:cubicBezTo>
                  <a:cubicBezTo>
                    <a:pt x="237" y="5"/>
                    <a:pt x="241" y="1"/>
                    <a:pt x="247" y="1"/>
                  </a:cubicBezTo>
                  <a:cubicBezTo>
                    <a:pt x="249" y="1"/>
                    <a:pt x="250" y="1"/>
                    <a:pt x="251" y="1"/>
                  </a:cubicBezTo>
                  <a:cubicBezTo>
                    <a:pt x="251" y="2"/>
                    <a:pt x="251" y="4"/>
                    <a:pt x="251" y="5"/>
                  </a:cubicBezTo>
                  <a:lnTo>
                    <a:pt x="250" y="5"/>
                  </a:lnTo>
                  <a:close/>
                  <a:moveTo>
                    <a:pt x="252" y="8"/>
                  </a:moveTo>
                  <a:cubicBezTo>
                    <a:pt x="254" y="7"/>
                    <a:pt x="255" y="6"/>
                    <a:pt x="256" y="6"/>
                  </a:cubicBezTo>
                  <a:cubicBezTo>
                    <a:pt x="257" y="6"/>
                    <a:pt x="257" y="7"/>
                    <a:pt x="257" y="8"/>
                  </a:cubicBezTo>
                  <a:cubicBezTo>
                    <a:pt x="256" y="10"/>
                    <a:pt x="256" y="10"/>
                    <a:pt x="256" y="10"/>
                  </a:cubicBezTo>
                  <a:cubicBezTo>
                    <a:pt x="256" y="10"/>
                    <a:pt x="256" y="10"/>
                    <a:pt x="256" y="10"/>
                  </a:cubicBezTo>
                  <a:cubicBezTo>
                    <a:pt x="257" y="7"/>
                    <a:pt x="259" y="6"/>
                    <a:pt x="259" y="6"/>
                  </a:cubicBezTo>
                  <a:cubicBezTo>
                    <a:pt x="260" y="6"/>
                    <a:pt x="260" y="6"/>
                    <a:pt x="261" y="7"/>
                  </a:cubicBezTo>
                  <a:cubicBezTo>
                    <a:pt x="261" y="7"/>
                    <a:pt x="261" y="7"/>
                    <a:pt x="261" y="8"/>
                  </a:cubicBezTo>
                  <a:cubicBezTo>
                    <a:pt x="260" y="8"/>
                    <a:pt x="260" y="8"/>
                    <a:pt x="260" y="9"/>
                  </a:cubicBezTo>
                  <a:cubicBezTo>
                    <a:pt x="260" y="9"/>
                    <a:pt x="259" y="9"/>
                    <a:pt x="259" y="9"/>
                  </a:cubicBezTo>
                  <a:cubicBezTo>
                    <a:pt x="259" y="8"/>
                    <a:pt x="259" y="8"/>
                    <a:pt x="258" y="8"/>
                  </a:cubicBezTo>
                  <a:cubicBezTo>
                    <a:pt x="258" y="8"/>
                    <a:pt x="258" y="8"/>
                    <a:pt x="257" y="9"/>
                  </a:cubicBezTo>
                  <a:cubicBezTo>
                    <a:pt x="257" y="10"/>
                    <a:pt x="256" y="11"/>
                    <a:pt x="256" y="12"/>
                  </a:cubicBezTo>
                  <a:cubicBezTo>
                    <a:pt x="256" y="14"/>
                    <a:pt x="255" y="15"/>
                    <a:pt x="255" y="16"/>
                  </a:cubicBezTo>
                  <a:cubicBezTo>
                    <a:pt x="255" y="16"/>
                    <a:pt x="255" y="16"/>
                    <a:pt x="255" y="16"/>
                  </a:cubicBezTo>
                  <a:cubicBezTo>
                    <a:pt x="253" y="17"/>
                    <a:pt x="253" y="17"/>
                    <a:pt x="253" y="17"/>
                  </a:cubicBezTo>
                  <a:cubicBezTo>
                    <a:pt x="253" y="16"/>
                    <a:pt x="253" y="14"/>
                    <a:pt x="253" y="13"/>
                  </a:cubicBezTo>
                  <a:cubicBezTo>
                    <a:pt x="254" y="9"/>
                    <a:pt x="254" y="9"/>
                    <a:pt x="254" y="9"/>
                  </a:cubicBezTo>
                  <a:cubicBezTo>
                    <a:pt x="254" y="8"/>
                    <a:pt x="254" y="8"/>
                    <a:pt x="254" y="8"/>
                  </a:cubicBezTo>
                  <a:cubicBezTo>
                    <a:pt x="254" y="8"/>
                    <a:pt x="253" y="9"/>
                    <a:pt x="253" y="9"/>
                  </a:cubicBezTo>
                  <a:lnTo>
                    <a:pt x="252" y="8"/>
                  </a:lnTo>
                  <a:close/>
                  <a:moveTo>
                    <a:pt x="271" y="9"/>
                  </a:moveTo>
                  <a:cubicBezTo>
                    <a:pt x="271" y="12"/>
                    <a:pt x="270" y="14"/>
                    <a:pt x="268" y="15"/>
                  </a:cubicBezTo>
                  <a:cubicBezTo>
                    <a:pt x="267" y="16"/>
                    <a:pt x="266" y="17"/>
                    <a:pt x="264" y="17"/>
                  </a:cubicBezTo>
                  <a:cubicBezTo>
                    <a:pt x="262" y="17"/>
                    <a:pt x="261" y="15"/>
                    <a:pt x="261" y="13"/>
                  </a:cubicBezTo>
                  <a:cubicBezTo>
                    <a:pt x="261" y="10"/>
                    <a:pt x="263" y="8"/>
                    <a:pt x="264" y="7"/>
                  </a:cubicBezTo>
                  <a:cubicBezTo>
                    <a:pt x="266" y="6"/>
                    <a:pt x="267" y="6"/>
                    <a:pt x="267" y="6"/>
                  </a:cubicBezTo>
                  <a:cubicBezTo>
                    <a:pt x="270" y="6"/>
                    <a:pt x="271" y="8"/>
                    <a:pt x="271" y="9"/>
                  </a:cubicBezTo>
                  <a:close/>
                  <a:moveTo>
                    <a:pt x="266" y="7"/>
                  </a:moveTo>
                  <a:cubicBezTo>
                    <a:pt x="265" y="8"/>
                    <a:pt x="264" y="9"/>
                    <a:pt x="264" y="13"/>
                  </a:cubicBezTo>
                  <a:cubicBezTo>
                    <a:pt x="264" y="15"/>
                    <a:pt x="264" y="16"/>
                    <a:pt x="265" y="16"/>
                  </a:cubicBezTo>
                  <a:cubicBezTo>
                    <a:pt x="266" y="16"/>
                    <a:pt x="266" y="16"/>
                    <a:pt x="266" y="16"/>
                  </a:cubicBezTo>
                  <a:cubicBezTo>
                    <a:pt x="267" y="16"/>
                    <a:pt x="268" y="13"/>
                    <a:pt x="268" y="10"/>
                  </a:cubicBezTo>
                  <a:cubicBezTo>
                    <a:pt x="268" y="8"/>
                    <a:pt x="268" y="7"/>
                    <a:pt x="267" y="7"/>
                  </a:cubicBezTo>
                  <a:cubicBezTo>
                    <a:pt x="266" y="7"/>
                    <a:pt x="266" y="7"/>
                    <a:pt x="266" y="7"/>
                  </a:cubicBezTo>
                  <a:close/>
                  <a:moveTo>
                    <a:pt x="273" y="8"/>
                  </a:moveTo>
                  <a:cubicBezTo>
                    <a:pt x="274" y="7"/>
                    <a:pt x="276" y="6"/>
                    <a:pt x="277" y="6"/>
                  </a:cubicBezTo>
                  <a:cubicBezTo>
                    <a:pt x="277" y="6"/>
                    <a:pt x="278" y="7"/>
                    <a:pt x="277" y="8"/>
                  </a:cubicBezTo>
                  <a:cubicBezTo>
                    <a:pt x="276" y="13"/>
                    <a:pt x="276" y="13"/>
                    <a:pt x="276" y="13"/>
                  </a:cubicBezTo>
                  <a:cubicBezTo>
                    <a:pt x="276" y="15"/>
                    <a:pt x="276" y="15"/>
                    <a:pt x="276" y="15"/>
                  </a:cubicBezTo>
                  <a:cubicBezTo>
                    <a:pt x="277" y="15"/>
                    <a:pt x="278" y="14"/>
                    <a:pt x="278" y="13"/>
                  </a:cubicBezTo>
                  <a:cubicBezTo>
                    <a:pt x="279" y="13"/>
                    <a:pt x="280" y="11"/>
                    <a:pt x="280" y="10"/>
                  </a:cubicBezTo>
                  <a:cubicBezTo>
                    <a:pt x="281" y="10"/>
                    <a:pt x="281" y="8"/>
                    <a:pt x="281" y="7"/>
                  </a:cubicBezTo>
                  <a:cubicBezTo>
                    <a:pt x="283" y="6"/>
                    <a:pt x="283" y="6"/>
                    <a:pt x="283" y="6"/>
                  </a:cubicBezTo>
                  <a:cubicBezTo>
                    <a:pt x="284" y="6"/>
                    <a:pt x="284" y="6"/>
                    <a:pt x="284" y="6"/>
                  </a:cubicBezTo>
                  <a:cubicBezTo>
                    <a:pt x="283" y="9"/>
                    <a:pt x="283" y="12"/>
                    <a:pt x="282" y="14"/>
                  </a:cubicBezTo>
                  <a:cubicBezTo>
                    <a:pt x="282" y="15"/>
                    <a:pt x="282" y="15"/>
                    <a:pt x="282" y="15"/>
                  </a:cubicBezTo>
                  <a:cubicBezTo>
                    <a:pt x="282" y="15"/>
                    <a:pt x="283" y="15"/>
                    <a:pt x="284" y="14"/>
                  </a:cubicBezTo>
                  <a:cubicBezTo>
                    <a:pt x="284" y="15"/>
                    <a:pt x="284" y="15"/>
                    <a:pt x="284" y="15"/>
                  </a:cubicBezTo>
                  <a:cubicBezTo>
                    <a:pt x="283" y="16"/>
                    <a:pt x="281" y="17"/>
                    <a:pt x="280" y="17"/>
                  </a:cubicBezTo>
                  <a:cubicBezTo>
                    <a:pt x="279" y="17"/>
                    <a:pt x="279" y="16"/>
                    <a:pt x="280" y="15"/>
                  </a:cubicBezTo>
                  <a:cubicBezTo>
                    <a:pt x="280" y="13"/>
                    <a:pt x="280" y="13"/>
                    <a:pt x="280" y="13"/>
                  </a:cubicBezTo>
                  <a:cubicBezTo>
                    <a:pt x="280" y="13"/>
                    <a:pt x="280" y="13"/>
                    <a:pt x="280" y="13"/>
                  </a:cubicBezTo>
                  <a:cubicBezTo>
                    <a:pt x="279" y="14"/>
                    <a:pt x="277" y="16"/>
                    <a:pt x="276" y="16"/>
                  </a:cubicBezTo>
                  <a:cubicBezTo>
                    <a:pt x="276" y="17"/>
                    <a:pt x="275" y="17"/>
                    <a:pt x="274" y="17"/>
                  </a:cubicBezTo>
                  <a:cubicBezTo>
                    <a:pt x="274" y="17"/>
                    <a:pt x="273" y="17"/>
                    <a:pt x="274" y="14"/>
                  </a:cubicBezTo>
                  <a:cubicBezTo>
                    <a:pt x="275" y="9"/>
                    <a:pt x="275" y="9"/>
                    <a:pt x="275" y="9"/>
                  </a:cubicBezTo>
                  <a:cubicBezTo>
                    <a:pt x="275" y="8"/>
                    <a:pt x="275" y="8"/>
                    <a:pt x="275" y="8"/>
                  </a:cubicBezTo>
                  <a:cubicBezTo>
                    <a:pt x="274" y="8"/>
                    <a:pt x="274" y="9"/>
                    <a:pt x="273" y="9"/>
                  </a:cubicBezTo>
                  <a:lnTo>
                    <a:pt x="273" y="8"/>
                  </a:lnTo>
                  <a:close/>
                  <a:moveTo>
                    <a:pt x="290" y="6"/>
                  </a:moveTo>
                  <a:cubicBezTo>
                    <a:pt x="291" y="6"/>
                    <a:pt x="292" y="6"/>
                    <a:pt x="293" y="6"/>
                  </a:cubicBezTo>
                  <a:cubicBezTo>
                    <a:pt x="295" y="6"/>
                    <a:pt x="296" y="7"/>
                    <a:pt x="296" y="9"/>
                  </a:cubicBezTo>
                  <a:cubicBezTo>
                    <a:pt x="296" y="11"/>
                    <a:pt x="296" y="13"/>
                    <a:pt x="294" y="14"/>
                  </a:cubicBezTo>
                  <a:cubicBezTo>
                    <a:pt x="293" y="16"/>
                    <a:pt x="291" y="17"/>
                    <a:pt x="290" y="17"/>
                  </a:cubicBezTo>
                  <a:cubicBezTo>
                    <a:pt x="289" y="17"/>
                    <a:pt x="289" y="17"/>
                    <a:pt x="288" y="17"/>
                  </a:cubicBezTo>
                  <a:cubicBezTo>
                    <a:pt x="288" y="20"/>
                    <a:pt x="288" y="20"/>
                    <a:pt x="288" y="20"/>
                  </a:cubicBezTo>
                  <a:cubicBezTo>
                    <a:pt x="288" y="21"/>
                    <a:pt x="288" y="21"/>
                    <a:pt x="288" y="21"/>
                  </a:cubicBezTo>
                  <a:cubicBezTo>
                    <a:pt x="290" y="21"/>
                    <a:pt x="290" y="21"/>
                    <a:pt x="290" y="21"/>
                  </a:cubicBezTo>
                  <a:cubicBezTo>
                    <a:pt x="290" y="22"/>
                    <a:pt x="290" y="22"/>
                    <a:pt x="290" y="22"/>
                  </a:cubicBezTo>
                  <a:cubicBezTo>
                    <a:pt x="283" y="22"/>
                    <a:pt x="283" y="22"/>
                    <a:pt x="283" y="22"/>
                  </a:cubicBezTo>
                  <a:cubicBezTo>
                    <a:pt x="283" y="22"/>
                    <a:pt x="283" y="22"/>
                    <a:pt x="283" y="22"/>
                  </a:cubicBezTo>
                  <a:cubicBezTo>
                    <a:pt x="285" y="22"/>
                    <a:pt x="285" y="21"/>
                    <a:pt x="285" y="20"/>
                  </a:cubicBezTo>
                  <a:cubicBezTo>
                    <a:pt x="288" y="8"/>
                    <a:pt x="288" y="8"/>
                    <a:pt x="288" y="8"/>
                  </a:cubicBezTo>
                  <a:cubicBezTo>
                    <a:pt x="287" y="8"/>
                    <a:pt x="287" y="8"/>
                    <a:pt x="286" y="8"/>
                  </a:cubicBezTo>
                  <a:cubicBezTo>
                    <a:pt x="286" y="8"/>
                    <a:pt x="286" y="8"/>
                    <a:pt x="286" y="8"/>
                  </a:cubicBezTo>
                  <a:cubicBezTo>
                    <a:pt x="287" y="7"/>
                    <a:pt x="287" y="7"/>
                    <a:pt x="288" y="7"/>
                  </a:cubicBezTo>
                  <a:cubicBezTo>
                    <a:pt x="288" y="6"/>
                    <a:pt x="288" y="6"/>
                    <a:pt x="288" y="6"/>
                  </a:cubicBezTo>
                  <a:cubicBezTo>
                    <a:pt x="289" y="5"/>
                    <a:pt x="290" y="5"/>
                    <a:pt x="291" y="4"/>
                  </a:cubicBezTo>
                  <a:cubicBezTo>
                    <a:pt x="291" y="5"/>
                    <a:pt x="291" y="5"/>
                    <a:pt x="291" y="5"/>
                  </a:cubicBezTo>
                  <a:lnTo>
                    <a:pt x="290" y="6"/>
                  </a:lnTo>
                  <a:close/>
                  <a:moveTo>
                    <a:pt x="289" y="15"/>
                  </a:moveTo>
                  <a:cubicBezTo>
                    <a:pt x="289" y="16"/>
                    <a:pt x="289" y="16"/>
                    <a:pt x="290" y="16"/>
                  </a:cubicBezTo>
                  <a:cubicBezTo>
                    <a:pt x="292" y="16"/>
                    <a:pt x="294" y="13"/>
                    <a:pt x="294" y="10"/>
                  </a:cubicBezTo>
                  <a:cubicBezTo>
                    <a:pt x="294" y="8"/>
                    <a:pt x="293" y="7"/>
                    <a:pt x="292" y="7"/>
                  </a:cubicBezTo>
                  <a:cubicBezTo>
                    <a:pt x="291" y="7"/>
                    <a:pt x="291" y="7"/>
                    <a:pt x="290" y="7"/>
                  </a:cubicBezTo>
                  <a:lnTo>
                    <a:pt x="289" y="15"/>
                  </a:ln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cxnSp>
        <p:nvCxnSpPr>
          <p:cNvPr id="35" name="Google Shape;35;p34"/>
          <p:cNvCxnSpPr/>
          <p:nvPr/>
        </p:nvCxnSpPr>
        <p:spPr>
          <a:xfrm>
            <a:off x="381000" y="443054"/>
            <a:ext cx="8385048" cy="0"/>
          </a:xfrm>
          <a:prstGeom prst="straightConnector1">
            <a:avLst/>
          </a:prstGeom>
          <a:noFill/>
          <a:ln w="12700" cap="flat" cmpd="sng">
            <a:solidFill>
              <a:srgbClr val="004D99"/>
            </a:solidFill>
            <a:prstDash val="solid"/>
            <a:miter lim="800000"/>
            <a:headEnd type="none" w="sm" len="sm"/>
            <a:tailEnd type="none" w="sm" len="sm"/>
          </a:ln>
        </p:spPr>
      </p:cxnSp>
      <p:cxnSp>
        <p:nvCxnSpPr>
          <p:cNvPr id="36" name="Google Shape;36;p34"/>
          <p:cNvCxnSpPr/>
          <p:nvPr/>
        </p:nvCxnSpPr>
        <p:spPr>
          <a:xfrm>
            <a:off x="381000" y="4512077"/>
            <a:ext cx="8385048" cy="0"/>
          </a:xfrm>
          <a:prstGeom prst="straightConnector1">
            <a:avLst/>
          </a:prstGeom>
          <a:noFill/>
          <a:ln w="12700" cap="flat" cmpd="sng">
            <a:solidFill>
              <a:srgbClr val="004D99"/>
            </a:solidFill>
            <a:prstDash val="solid"/>
            <a:miter lim="800000"/>
            <a:headEnd type="none" w="sm" len="sm"/>
            <a:tailEnd type="none" w="sm" len="sm"/>
          </a:ln>
        </p:spPr>
      </p:cxnSp>
      <p:sp>
        <p:nvSpPr>
          <p:cNvPr id="37" name="Google Shape;37;p34"/>
          <p:cNvSpPr/>
          <p:nvPr/>
        </p:nvSpPr>
        <p:spPr>
          <a:xfrm>
            <a:off x="3788800" y="4913074"/>
            <a:ext cx="1461939" cy="9233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600" dirty="0">
                <a:solidFill>
                  <a:schemeClr val="dk1"/>
                </a:solidFill>
                <a:latin typeface="+mn-lt"/>
                <a:ea typeface="Arial"/>
                <a:cs typeface="Arial"/>
                <a:sym typeface="Arial"/>
              </a:rPr>
              <a:t>© 2021 Genentech, Inc. All rights reserved</a:t>
            </a:r>
            <a:endParaRPr dirty="0">
              <a:latin typeface="+mn-lt"/>
            </a:endParaRPr>
          </a:p>
        </p:txBody>
      </p:sp>
      <p:sp>
        <p:nvSpPr>
          <p:cNvPr id="38" name="Google Shape;38;p34"/>
          <p:cNvSpPr/>
          <p:nvPr/>
        </p:nvSpPr>
        <p:spPr>
          <a:xfrm>
            <a:off x="3887308" y="5011590"/>
            <a:ext cx="1369384" cy="9233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600" dirty="0">
                <a:solidFill>
                  <a:schemeClr val="dk1"/>
                </a:solidFill>
                <a:latin typeface="+mn-lt"/>
                <a:ea typeface="Arial"/>
                <a:cs typeface="Arial"/>
                <a:sym typeface="Arial"/>
              </a:rPr>
              <a:t>M-US-00004765</a:t>
            </a:r>
          </a:p>
        </p:txBody>
      </p:sp>
      <p:pic>
        <p:nvPicPr>
          <p:cNvPr id="20" name="Google Shape;16;p33">
            <a:extLst>
              <a:ext uri="{FF2B5EF4-FFF2-40B4-BE49-F238E27FC236}">
                <a16:creationId xmlns:a16="http://schemas.microsoft.com/office/drawing/2014/main" id="{7CC843C4-A408-4B87-8E2C-9D3FB73579A9}"/>
              </a:ext>
            </a:extLst>
          </p:cNvPr>
          <p:cNvPicPr preferRelativeResize="0"/>
          <p:nvPr userDrawn="1"/>
        </p:nvPicPr>
        <p:blipFill rotWithShape="1">
          <a:blip r:embed="rId3">
            <a:alphaModFix/>
          </a:blip>
          <a:srcRect/>
          <a:stretch/>
        </p:blipFill>
        <p:spPr>
          <a:xfrm>
            <a:off x="7945916" y="4716809"/>
            <a:ext cx="816829" cy="207669"/>
          </a:xfrm>
          <a:prstGeom prst="rect">
            <a:avLst/>
          </a:prstGeom>
          <a:noFill/>
          <a:ln>
            <a:noFill/>
          </a:ln>
        </p:spPr>
      </p:pic>
      <p:sp>
        <p:nvSpPr>
          <p:cNvPr id="39" name="Title 1">
            <a:extLst>
              <a:ext uri="{FF2B5EF4-FFF2-40B4-BE49-F238E27FC236}">
                <a16:creationId xmlns:a16="http://schemas.microsoft.com/office/drawing/2014/main" id="{BDFB52ED-B170-416B-810B-C46FC2839604}"/>
              </a:ext>
            </a:extLst>
          </p:cNvPr>
          <p:cNvSpPr>
            <a:spLocks noGrp="1"/>
          </p:cNvSpPr>
          <p:nvPr>
            <p:ph type="ctrTitle"/>
          </p:nvPr>
        </p:nvSpPr>
        <p:spPr bwMode="gray">
          <a:xfrm>
            <a:off x="381000" y="1902139"/>
            <a:ext cx="6480000" cy="1051057"/>
          </a:xfrm>
          <a:prstGeom prst="rect">
            <a:avLst/>
          </a:prstGeom>
        </p:spPr>
        <p:txBody>
          <a:bodyPr wrap="square" lIns="0" numCol="1" anchor="b">
            <a:spAutoFit/>
          </a:bodyPr>
          <a:lstStyle>
            <a:lvl1pPr algn="l">
              <a:lnSpc>
                <a:spcPct val="85000"/>
              </a:lnSpc>
              <a:defRPr sz="4000" b="1" cap="all" baseline="0">
                <a:solidFill>
                  <a:srgbClr val="003087"/>
                </a:solidFill>
                <a:latin typeface="+mj-lt"/>
              </a:defRPr>
            </a:lvl1pPr>
          </a:lstStyle>
          <a:p>
            <a:r>
              <a:rPr lang="en-US" dirty="0"/>
              <a:t>Click to edit Master title style</a:t>
            </a:r>
          </a:p>
        </p:txBody>
      </p:sp>
      <p:sp>
        <p:nvSpPr>
          <p:cNvPr id="42" name="Subtitle 2">
            <a:extLst>
              <a:ext uri="{FF2B5EF4-FFF2-40B4-BE49-F238E27FC236}">
                <a16:creationId xmlns:a16="http://schemas.microsoft.com/office/drawing/2014/main" id="{01C22FF3-2386-4CB8-9883-83039DF3AEA3}"/>
              </a:ext>
            </a:extLst>
          </p:cNvPr>
          <p:cNvSpPr>
            <a:spLocks noGrp="1"/>
          </p:cNvSpPr>
          <p:nvPr>
            <p:ph type="subTitle" idx="1"/>
          </p:nvPr>
        </p:nvSpPr>
        <p:spPr bwMode="gray">
          <a:xfrm>
            <a:off x="381000" y="3173221"/>
            <a:ext cx="6480000" cy="1129325"/>
          </a:xfrm>
        </p:spPr>
        <p:txBody>
          <a:bodyPr lIns="0" numCol="1">
            <a:noAutofit/>
          </a:bodyPr>
          <a:lstStyle>
            <a:lvl1pPr marL="0" indent="0" algn="l">
              <a:buNone/>
              <a:defRPr sz="1200">
                <a:solidFill>
                  <a:srgbClr val="0066CC"/>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43" name="Text Placeholder 6">
            <a:extLst>
              <a:ext uri="{FF2B5EF4-FFF2-40B4-BE49-F238E27FC236}">
                <a16:creationId xmlns:a16="http://schemas.microsoft.com/office/drawing/2014/main" id="{71CD66B7-6FCC-412B-9DDB-2885A2A039A4}"/>
              </a:ext>
            </a:extLst>
          </p:cNvPr>
          <p:cNvSpPr>
            <a:spLocks noGrp="1"/>
          </p:cNvSpPr>
          <p:nvPr>
            <p:ph type="body" sz="quarter" idx="10"/>
          </p:nvPr>
        </p:nvSpPr>
        <p:spPr bwMode="gray">
          <a:xfrm>
            <a:off x="381000" y="1401921"/>
            <a:ext cx="6480000" cy="276999"/>
          </a:xfrm>
        </p:spPr>
        <p:txBody>
          <a:bodyPr wrap="square" lIns="0" numCol="1" anchor="b" anchorCtr="0">
            <a:spAutoFit/>
          </a:bodyPr>
          <a:lstStyle>
            <a:lvl1pPr marL="0" indent="0">
              <a:buNone/>
              <a:defRPr sz="1800" b="1" cap="all" baseline="0">
                <a:solidFill>
                  <a:srgbClr val="0066CC"/>
                </a:solidFill>
                <a:latin typeface="+mj-lt"/>
              </a:defRPr>
            </a:lvl1pPr>
          </a:lstStyle>
          <a:p>
            <a:pPr lvl="0"/>
            <a:r>
              <a:rPr lang="en-US" dirty="0"/>
              <a:t>Click to edit Master text styles</a:t>
            </a:r>
          </a:p>
        </p:txBody>
      </p:sp>
      <p:sp>
        <p:nvSpPr>
          <p:cNvPr id="29" name="Google Shape;15;p33">
            <a:extLst>
              <a:ext uri="{FF2B5EF4-FFF2-40B4-BE49-F238E27FC236}">
                <a16:creationId xmlns:a16="http://schemas.microsoft.com/office/drawing/2014/main" id="{AC9F57D8-CBA2-4FC8-91FE-D4631D4AFFA2}"/>
              </a:ext>
            </a:extLst>
          </p:cNvPr>
          <p:cNvSpPr txBox="1"/>
          <p:nvPr userDrawn="1"/>
        </p:nvSpPr>
        <p:spPr>
          <a:xfrm>
            <a:off x="8770345" y="4980080"/>
            <a:ext cx="373655" cy="163420"/>
          </a:xfrm>
          <a:prstGeom prst="rect">
            <a:avLst/>
          </a:prstGeom>
          <a:noFill/>
          <a:ln>
            <a:noFill/>
          </a:ln>
        </p:spPr>
        <p:txBody>
          <a:bodyPr spcFirstLastPara="1" wrap="square" lIns="91425" tIns="45700" rIns="91425" bIns="45720" anchor="ctr" anchorCtr="0">
            <a:noAutofit/>
          </a:bodyPr>
          <a:lstStyle/>
          <a:p>
            <a:pPr marL="0" marR="0" lvl="0" indent="0" algn="r" rtl="0">
              <a:lnSpc>
                <a:spcPct val="100000"/>
              </a:lnSpc>
              <a:spcBef>
                <a:spcPts val="0"/>
              </a:spcBef>
              <a:spcAft>
                <a:spcPts val="0"/>
              </a:spcAft>
              <a:buClr>
                <a:schemeClr val="accent6"/>
              </a:buClr>
              <a:buSzPts val="300"/>
              <a:buFont typeface="Georgia"/>
              <a:buNone/>
            </a:pPr>
            <a:fld id="{00000000-1234-1234-1234-123412341234}" type="slidenum">
              <a:rPr lang="en-US" sz="700" b="0" i="0" u="none" strike="noStrike" cap="none">
                <a:solidFill>
                  <a:schemeClr val="dk1"/>
                </a:solidFill>
                <a:latin typeface="Gene Sans" panose="00000500000000000000" pitchFamily="50" charset="0"/>
                <a:ea typeface="Arial"/>
                <a:cs typeface="Arial"/>
                <a:sym typeface="Arial"/>
              </a:rPr>
              <a:t>‹#›</a:t>
            </a:fld>
            <a:endParaRPr sz="700" b="0" i="0" u="none" strike="noStrike" cap="none" dirty="0">
              <a:solidFill>
                <a:schemeClr val="dk1"/>
              </a:solidFill>
              <a:latin typeface="Gene Sans" panose="00000500000000000000" pitchFamily="50" charset="0"/>
              <a:ea typeface="Arial"/>
              <a:cs typeface="Arial"/>
              <a:sym typeface="Arial"/>
            </a:endParaRPr>
          </a:p>
        </p:txBody>
      </p:sp>
    </p:spTree>
    <p:extLst>
      <p:ext uri="{BB962C8B-B14F-4D97-AF65-F5344CB8AC3E}">
        <p14:creationId xmlns:p14="http://schemas.microsoft.com/office/powerpoint/2010/main" val="2164692256"/>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Disclaimer Slide" preserve="1" userDrawn="1">
  <p:cSld name="Disclaimer Slide">
    <p:spTree>
      <p:nvGrpSpPr>
        <p:cNvPr id="1" name="Shape 111"/>
        <p:cNvGrpSpPr/>
        <p:nvPr/>
      </p:nvGrpSpPr>
      <p:grpSpPr>
        <a:xfrm>
          <a:off x="0" y="0"/>
          <a:ext cx="0" cy="0"/>
          <a:chOff x="0" y="0"/>
          <a:chExt cx="0" cy="0"/>
        </a:xfrm>
      </p:grpSpPr>
      <p:sp>
        <p:nvSpPr>
          <p:cNvPr id="112" name="Google Shape;112;p45"/>
          <p:cNvSpPr txBox="1"/>
          <p:nvPr/>
        </p:nvSpPr>
        <p:spPr>
          <a:xfrm>
            <a:off x="381648" y="585795"/>
            <a:ext cx="8384400" cy="290849"/>
          </a:xfrm>
          <a:prstGeom prst="rect">
            <a:avLst/>
          </a:prstGeom>
        </p:spPr>
        <p:txBody>
          <a:bodyPr vert="horz" lIns="0" tIns="0" rIns="0" bIns="0" numCol="1" rtlCol="0" anchor="t" anchorCtr="0">
            <a:noAutofit/>
          </a:bodyPr>
          <a:lstStyle>
            <a:defPPr marR="0" lvl="0" algn="l" rtl="0">
              <a:lnSpc>
                <a:spcPct val="100000"/>
              </a:lnSpc>
              <a:spcBef>
                <a:spcPts val="0"/>
              </a:spcBef>
              <a:spcAft>
                <a:spcPts val="0"/>
              </a:spcAft>
            </a:defPPr>
            <a:lvl1pPr>
              <a:defRPr lang="en-US" sz="2100" b="1" kern="1200" cap="all" baseline="0" dirty="0">
                <a:solidFill>
                  <a:srgbClr val="003087"/>
                </a:solidFill>
                <a:latin typeface="Gene Sans" panose="00000500000000000000" pitchFamily="50" charset="0"/>
                <a:ea typeface="+mj-ea"/>
                <a:cs typeface="+mj-cs"/>
              </a:defRPr>
            </a:lvl1pPr>
          </a:lstStyle>
          <a:p>
            <a:pPr lvl="0"/>
            <a:r>
              <a:rPr lang="en-US" dirty="0">
                <a:sym typeface="Arial"/>
              </a:rPr>
              <a:t>DISCLAIMER SLIDE</a:t>
            </a:r>
            <a:endParaRPr dirty="0"/>
          </a:p>
        </p:txBody>
      </p:sp>
      <p:sp>
        <p:nvSpPr>
          <p:cNvPr id="113" name="Google Shape;113;p45"/>
          <p:cNvSpPr txBox="1"/>
          <p:nvPr/>
        </p:nvSpPr>
        <p:spPr>
          <a:xfrm>
            <a:off x="381648" y="1100433"/>
            <a:ext cx="8214940" cy="3447098"/>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chemeClr val="lt2"/>
              </a:buClr>
              <a:buSzPts val="1100"/>
              <a:buFont typeface="Arial"/>
              <a:buNone/>
            </a:pPr>
            <a:r>
              <a:rPr lang="en-US" sz="1600" dirty="0">
                <a:solidFill>
                  <a:schemeClr val="dk1"/>
                </a:solidFill>
                <a:latin typeface="+mn-lt"/>
                <a:ea typeface="Arial"/>
                <a:cs typeface="Arial"/>
                <a:sym typeface="Arial"/>
              </a:rPr>
              <a:t>Please Note:  The information we provide may include references to a Genentech product or use of a Genentech product that the FDA has not approved; because the FDA has not approved such product(s) or use, no conclusions regarding safety or efficacy may be made.  Providing this information should not be construed as recommendation for use of a Genentech product for unapproved uses.  For FDA approved products please consult the product’s full prescribing information for a complete discussion of risks and benefits of the product(s) for its approved indication(s).  </a:t>
            </a:r>
            <a:endParaRPr dirty="0">
              <a:latin typeface="+mn-lt"/>
            </a:endParaRPr>
          </a:p>
          <a:p>
            <a:pPr marL="0" marR="0" lvl="0" indent="0" algn="l" rtl="0">
              <a:lnSpc>
                <a:spcPct val="100000"/>
              </a:lnSpc>
              <a:spcBef>
                <a:spcPts val="0"/>
              </a:spcBef>
              <a:spcAft>
                <a:spcPts val="0"/>
              </a:spcAft>
              <a:buClr>
                <a:schemeClr val="lt2"/>
              </a:buClr>
              <a:buSzPts val="1100"/>
              <a:buFont typeface="Arial"/>
              <a:buNone/>
            </a:pPr>
            <a:endParaRPr sz="1600" dirty="0">
              <a:solidFill>
                <a:schemeClr val="dk1"/>
              </a:solidFill>
              <a:latin typeface="+mn-lt"/>
              <a:ea typeface="Arial"/>
              <a:cs typeface="Arial"/>
              <a:sym typeface="Arial"/>
            </a:endParaRPr>
          </a:p>
          <a:p>
            <a:pPr marL="0" marR="0" lvl="0" indent="0" algn="l" rtl="0">
              <a:lnSpc>
                <a:spcPct val="100000"/>
              </a:lnSpc>
              <a:spcBef>
                <a:spcPts val="0"/>
              </a:spcBef>
              <a:spcAft>
                <a:spcPts val="0"/>
              </a:spcAft>
              <a:buClr>
                <a:schemeClr val="lt2"/>
              </a:buClr>
              <a:buSzPts val="1100"/>
              <a:buFont typeface="Arial"/>
              <a:buNone/>
            </a:pPr>
            <a:r>
              <a:rPr lang="en-US" sz="1600" dirty="0">
                <a:solidFill>
                  <a:schemeClr val="dk1"/>
                </a:solidFill>
                <a:latin typeface="+mn-lt"/>
                <a:ea typeface="Arial"/>
                <a:cs typeface="Arial"/>
                <a:sym typeface="Arial"/>
              </a:rPr>
              <a:t>The information we provide may additionally include relevant references to non-Genentech product information derived from publicly available sources.</a:t>
            </a:r>
            <a:endParaRPr dirty="0">
              <a:latin typeface="+mn-lt"/>
            </a:endParaRPr>
          </a:p>
          <a:p>
            <a:pPr marL="0" marR="0" lvl="0" indent="0" algn="l" rtl="0">
              <a:lnSpc>
                <a:spcPct val="100000"/>
              </a:lnSpc>
              <a:spcBef>
                <a:spcPts val="0"/>
              </a:spcBef>
              <a:spcAft>
                <a:spcPts val="0"/>
              </a:spcAft>
              <a:buClr>
                <a:srgbClr val="000000"/>
              </a:buClr>
              <a:buSzPts val="1800"/>
              <a:buFont typeface="Arial"/>
              <a:buNone/>
            </a:pPr>
            <a:endParaRPr sz="1600" dirty="0">
              <a:solidFill>
                <a:schemeClr val="dk1"/>
              </a:solidFill>
              <a:latin typeface="+mn-lt"/>
              <a:ea typeface="Arial"/>
              <a:cs typeface="Arial"/>
              <a:sym typeface="Arial"/>
            </a:endParaRPr>
          </a:p>
          <a:p>
            <a:pPr marL="0" marR="0" lvl="0" indent="0" algn="l" rtl="0">
              <a:lnSpc>
                <a:spcPct val="100000"/>
              </a:lnSpc>
              <a:spcBef>
                <a:spcPts val="0"/>
              </a:spcBef>
              <a:spcAft>
                <a:spcPts val="0"/>
              </a:spcAft>
              <a:buClr>
                <a:srgbClr val="000000"/>
              </a:buClr>
              <a:buSzPts val="1800"/>
              <a:buFont typeface="Arial"/>
              <a:buNone/>
            </a:pPr>
            <a:endParaRPr sz="1600" dirty="0">
              <a:solidFill>
                <a:schemeClr val="dk1"/>
              </a:solidFill>
              <a:latin typeface="+mn-lt"/>
              <a:ea typeface="Arial"/>
              <a:cs typeface="Arial"/>
              <a:sym typeface="Arial"/>
            </a:endParaRPr>
          </a:p>
          <a:p>
            <a:pPr marL="0" marR="0" lvl="0" indent="0" algn="l" rtl="0">
              <a:lnSpc>
                <a:spcPct val="100000"/>
              </a:lnSpc>
              <a:spcBef>
                <a:spcPts val="0"/>
              </a:spcBef>
              <a:spcAft>
                <a:spcPts val="0"/>
              </a:spcAft>
              <a:buClr>
                <a:schemeClr val="lt2"/>
              </a:buClr>
              <a:buSzPts val="1800"/>
              <a:buFont typeface="Arial"/>
              <a:buNone/>
            </a:pPr>
            <a:r>
              <a:rPr lang="en-US" sz="1600" i="1" dirty="0">
                <a:solidFill>
                  <a:schemeClr val="dk1"/>
                </a:solidFill>
                <a:latin typeface="+mn-lt"/>
                <a:ea typeface="Arial"/>
                <a:cs typeface="Arial"/>
                <a:sym typeface="Arial"/>
              </a:rPr>
              <a:t>This deck may contain animations; please review this slide deck in “slideshow” mode to ensure fair-balance display of content.</a:t>
            </a:r>
            <a:endParaRPr sz="1600" b="1" i="0" u="none" strike="noStrike" cap="none" dirty="0">
              <a:solidFill>
                <a:schemeClr val="dk1"/>
              </a:solidFill>
              <a:latin typeface="+mn-lt"/>
              <a:ea typeface="Arial"/>
              <a:cs typeface="Arial"/>
              <a:sym typeface="Arial"/>
            </a:endParaRPr>
          </a:p>
        </p:txBody>
      </p:sp>
      <p:sp>
        <p:nvSpPr>
          <p:cNvPr id="4" name="Google Shape;58;p36">
            <a:extLst>
              <a:ext uri="{FF2B5EF4-FFF2-40B4-BE49-F238E27FC236}">
                <a16:creationId xmlns:a16="http://schemas.microsoft.com/office/drawing/2014/main" id="{4BE9E845-E7A3-45B0-9528-F712A0992ABA}"/>
              </a:ext>
            </a:extLst>
          </p:cNvPr>
          <p:cNvSpPr txBox="1">
            <a:spLocks noGrp="1"/>
          </p:cNvSpPr>
          <p:nvPr>
            <p:ph type="body" idx="2"/>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5" name="Google Shape;60;p36">
            <a:extLst>
              <a:ext uri="{FF2B5EF4-FFF2-40B4-BE49-F238E27FC236}">
                <a16:creationId xmlns:a16="http://schemas.microsoft.com/office/drawing/2014/main" id="{88226C9A-6777-4C14-A70A-0512CB734A1B}"/>
              </a:ext>
            </a:extLst>
          </p:cNvPr>
          <p:cNvSpPr txBox="1">
            <a:spLocks noGrp="1"/>
          </p:cNvSpPr>
          <p:nvPr>
            <p:ph type="body" idx="3" hasCustomPrompt="1"/>
          </p:nvPr>
        </p:nvSpPr>
        <p:spPr>
          <a:xfrm>
            <a:off x="381648" y="4745251"/>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r>
              <a:rPr lang="en-US" dirty="0"/>
              <a:t>Footnote placeholder</a:t>
            </a:r>
          </a:p>
        </p:txBody>
      </p:sp>
    </p:spTree>
    <p:extLst>
      <p:ext uri="{BB962C8B-B14F-4D97-AF65-F5344CB8AC3E}">
        <p14:creationId xmlns:p14="http://schemas.microsoft.com/office/powerpoint/2010/main" val="15426626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and Content" userDrawn="1">
  <p:cSld name="Title and Content">
    <p:spTree>
      <p:nvGrpSpPr>
        <p:cNvPr id="1" name="Shape 56"/>
        <p:cNvGrpSpPr/>
        <p:nvPr/>
      </p:nvGrpSpPr>
      <p:grpSpPr>
        <a:xfrm>
          <a:off x="0" y="0"/>
          <a:ext cx="0" cy="0"/>
          <a:chOff x="0" y="0"/>
          <a:chExt cx="0" cy="0"/>
        </a:xfrm>
      </p:grpSpPr>
      <p:sp>
        <p:nvSpPr>
          <p:cNvPr id="58" name="Google Shape;58;p36"/>
          <p:cNvSpPr txBox="1">
            <a:spLocks noGrp="1"/>
          </p:cNvSpPr>
          <p:nvPr>
            <p:ph type="body" idx="2"/>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60" name="Google Shape;60;p36"/>
          <p:cNvSpPr txBox="1">
            <a:spLocks noGrp="1"/>
          </p:cNvSpPr>
          <p:nvPr>
            <p:ph type="body" idx="3" hasCustomPrompt="1"/>
          </p:nvPr>
        </p:nvSpPr>
        <p:spPr>
          <a:xfrm>
            <a:off x="381648" y="4745251"/>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r>
              <a:rPr lang="en-US" dirty="0"/>
              <a:t>Footnote placeholder</a:t>
            </a:r>
          </a:p>
        </p:txBody>
      </p:sp>
      <p:sp>
        <p:nvSpPr>
          <p:cNvPr id="5" name="Text Placeholder 4">
            <a:extLst>
              <a:ext uri="{FF2B5EF4-FFF2-40B4-BE49-F238E27FC236}">
                <a16:creationId xmlns:a16="http://schemas.microsoft.com/office/drawing/2014/main" id="{740947E1-21DF-4371-929A-10D818EE6390}"/>
              </a:ext>
            </a:extLst>
          </p:cNvPr>
          <p:cNvSpPr>
            <a:spLocks noGrp="1"/>
          </p:cNvSpPr>
          <p:nvPr>
            <p:ph type="body" sz="quarter" idx="10"/>
          </p:nvPr>
        </p:nvSpPr>
        <p:spPr>
          <a:xfrm>
            <a:off x="381648" y="1283549"/>
            <a:ext cx="8385048" cy="3227832"/>
          </a:xfrm>
          <a:prstGeom prst="rect">
            <a:avLst/>
          </a:prstGeom>
        </p:spPr>
        <p:txBody>
          <a:bodyPr/>
          <a:lstStyle>
            <a:lvl1pPr>
              <a:defRPr>
                <a:latin typeface="+mn-lt"/>
              </a:defRPr>
            </a:lvl1pPr>
            <a:lvl2pPr marL="347472" indent="-173736">
              <a:lnSpc>
                <a:spcPct val="90000"/>
              </a:lnSpc>
              <a:spcBef>
                <a:spcPts val="600"/>
              </a:spcBef>
              <a:defRPr>
                <a:latin typeface="+mn-lt"/>
              </a:defRPr>
            </a:lvl2pPr>
            <a:lvl3pPr marL="521208" indent="-173736">
              <a:lnSpc>
                <a:spcPct val="90000"/>
              </a:lnSpc>
              <a:spcBef>
                <a:spcPts val="600"/>
              </a:spcBef>
              <a:buFont typeface="Wingdings" panose="05000000000000000000" pitchFamily="2" charset="2"/>
              <a:buChar char="§"/>
              <a:defRPr>
                <a:latin typeface="+mn-lt"/>
              </a:defRPr>
            </a:lvl3pPr>
            <a:lvl4pPr>
              <a:lnSpc>
                <a:spcPct val="90000"/>
              </a:lnSpc>
              <a:spcBef>
                <a:spcPts val="600"/>
              </a:spcBef>
              <a:defRPr>
                <a:latin typeface="+mn-lt"/>
              </a:defRPr>
            </a:lvl4pPr>
            <a:lvl5pPr>
              <a:lnSpc>
                <a:spcPct val="90000"/>
              </a:lnSpc>
              <a:spcBef>
                <a:spcPts val="600"/>
              </a:spcBef>
              <a:defRPr>
                <a:latin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BB5350E3-825C-486F-8520-FF4679AFA71C}"/>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35711658"/>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matchingName="Section Header" userDrawn="1">
  <p:cSld name="Section Header">
    <p:bg>
      <p:bgPr>
        <a:solidFill>
          <a:schemeClr val="lt1"/>
        </a:solidFill>
        <a:effectLst/>
      </p:bgPr>
    </p:bg>
    <p:spTree>
      <p:nvGrpSpPr>
        <p:cNvPr id="1" name="Shape 39"/>
        <p:cNvGrpSpPr/>
        <p:nvPr/>
      </p:nvGrpSpPr>
      <p:grpSpPr>
        <a:xfrm>
          <a:off x="0" y="0"/>
          <a:ext cx="0" cy="0"/>
          <a:chOff x="0" y="0"/>
          <a:chExt cx="0" cy="0"/>
        </a:xfrm>
      </p:grpSpPr>
      <p:grpSp>
        <p:nvGrpSpPr>
          <p:cNvPr id="40" name="Google Shape;40;p35"/>
          <p:cNvGrpSpPr/>
          <p:nvPr/>
        </p:nvGrpSpPr>
        <p:grpSpPr>
          <a:xfrm>
            <a:off x="6234948" y="444810"/>
            <a:ext cx="3064354" cy="4059936"/>
            <a:chOff x="4159643" y="863536"/>
            <a:chExt cx="3872715" cy="5130928"/>
          </a:xfrm>
        </p:grpSpPr>
        <p:pic>
          <p:nvPicPr>
            <p:cNvPr id="41" name="Google Shape;41;p35"/>
            <p:cNvPicPr preferRelativeResize="0"/>
            <p:nvPr/>
          </p:nvPicPr>
          <p:blipFill rotWithShape="1">
            <a:blip r:embed="rId2">
              <a:alphaModFix/>
            </a:blip>
            <a:srcRect l="4199" r="67479"/>
            <a:stretch/>
          </p:blipFill>
          <p:spPr>
            <a:xfrm>
              <a:off x="4159643" y="863536"/>
              <a:ext cx="3872715" cy="5130928"/>
            </a:xfrm>
            <a:prstGeom prst="rect">
              <a:avLst/>
            </a:prstGeom>
            <a:noFill/>
            <a:ln>
              <a:noFill/>
            </a:ln>
          </p:spPr>
        </p:pic>
        <p:grpSp>
          <p:nvGrpSpPr>
            <p:cNvPr id="42" name="Google Shape;42;p35"/>
            <p:cNvGrpSpPr/>
            <p:nvPr/>
          </p:nvGrpSpPr>
          <p:grpSpPr>
            <a:xfrm>
              <a:off x="6731136" y="1549464"/>
              <a:ext cx="569119" cy="414333"/>
              <a:chOff x="10083800" y="2413000"/>
              <a:chExt cx="569119" cy="414333"/>
            </a:xfrm>
          </p:grpSpPr>
          <p:pic>
            <p:nvPicPr>
              <p:cNvPr id="43" name="Google Shape;43;p35"/>
              <p:cNvPicPr preferRelativeResize="0"/>
              <p:nvPr/>
            </p:nvPicPr>
            <p:blipFill rotWithShape="1">
              <a:blip r:embed="rId2">
                <a:alphaModFix/>
              </a:blip>
              <a:srcRect l="23045" t="13400" r="72792" b="78525"/>
              <a:stretch/>
            </p:blipFill>
            <p:spPr>
              <a:xfrm>
                <a:off x="10083800" y="2413000"/>
                <a:ext cx="546000" cy="414333"/>
              </a:xfrm>
              <a:prstGeom prst="rect">
                <a:avLst/>
              </a:prstGeom>
              <a:solidFill>
                <a:schemeClr val="lt1"/>
              </a:solidFill>
              <a:ln>
                <a:noFill/>
              </a:ln>
            </p:spPr>
          </p:pic>
          <p:sp>
            <p:nvSpPr>
              <p:cNvPr id="44" name="Google Shape;44;p35"/>
              <p:cNvSpPr/>
              <p:nvPr/>
            </p:nvSpPr>
            <p:spPr>
              <a:xfrm>
                <a:off x="10426341" y="2533651"/>
                <a:ext cx="226578" cy="13810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45" name="Google Shape;45;p35"/>
              <p:cNvPicPr preferRelativeResize="0"/>
              <p:nvPr/>
            </p:nvPicPr>
            <p:blipFill rotWithShape="1">
              <a:blip r:embed="rId2">
                <a:alphaModFix/>
              </a:blip>
              <a:srcRect l="23911" t="16101" r="75630" b="81882"/>
              <a:stretch/>
            </p:blipFill>
            <p:spPr>
              <a:xfrm>
                <a:off x="10426341" y="2551563"/>
                <a:ext cx="60238" cy="103486"/>
              </a:xfrm>
              <a:prstGeom prst="rect">
                <a:avLst/>
              </a:prstGeom>
              <a:noFill/>
              <a:ln>
                <a:noFill/>
              </a:ln>
            </p:spPr>
          </p:pic>
          <p:pic>
            <p:nvPicPr>
              <p:cNvPr id="46" name="Google Shape;46;p35"/>
              <p:cNvPicPr preferRelativeResize="0"/>
              <p:nvPr/>
            </p:nvPicPr>
            <p:blipFill rotWithShape="1">
              <a:blip r:embed="rId2">
                <a:alphaModFix/>
              </a:blip>
              <a:srcRect l="25670" t="16101" r="73063" b="81882"/>
              <a:stretch/>
            </p:blipFill>
            <p:spPr>
              <a:xfrm>
                <a:off x="10486579" y="2551563"/>
                <a:ext cx="166340" cy="103486"/>
              </a:xfrm>
              <a:prstGeom prst="rect">
                <a:avLst/>
              </a:prstGeom>
              <a:noFill/>
              <a:ln>
                <a:noFill/>
              </a:ln>
            </p:spPr>
          </p:pic>
          <p:sp>
            <p:nvSpPr>
              <p:cNvPr id="47" name="Google Shape;47;p35"/>
              <p:cNvSpPr/>
              <p:nvPr/>
            </p:nvSpPr>
            <p:spPr>
              <a:xfrm>
                <a:off x="10604934" y="2671759"/>
                <a:ext cx="47985" cy="138108"/>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grpSp>
      <p:pic>
        <p:nvPicPr>
          <p:cNvPr id="50" name="Google Shape;50;p35"/>
          <p:cNvPicPr preferRelativeResize="0"/>
          <p:nvPr/>
        </p:nvPicPr>
        <p:blipFill rotWithShape="1">
          <a:blip r:embed="rId3">
            <a:alphaModFix/>
          </a:blip>
          <a:srcRect/>
          <a:stretch/>
        </p:blipFill>
        <p:spPr>
          <a:xfrm>
            <a:off x="7946421" y="4714955"/>
            <a:ext cx="813816" cy="206903"/>
          </a:xfrm>
          <a:prstGeom prst="rect">
            <a:avLst/>
          </a:prstGeom>
          <a:noFill/>
          <a:ln>
            <a:noFill/>
          </a:ln>
        </p:spPr>
      </p:pic>
      <p:sp>
        <p:nvSpPr>
          <p:cNvPr id="51" name="Google Shape;51;p35"/>
          <p:cNvSpPr txBox="1"/>
          <p:nvPr/>
        </p:nvSpPr>
        <p:spPr>
          <a:xfrm>
            <a:off x="8476030" y="250460"/>
            <a:ext cx="373655" cy="16342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chemeClr val="accent6"/>
              </a:buClr>
              <a:buSzPts val="300"/>
              <a:buFont typeface="Georgia"/>
              <a:buNone/>
            </a:pPr>
            <a:fld id="{00000000-1234-1234-1234-123412341234}" type="slidenum">
              <a:rPr lang="en-US" sz="700" b="0" i="0" u="none" strike="noStrike" cap="none">
                <a:solidFill>
                  <a:schemeClr val="lt1"/>
                </a:solidFill>
                <a:latin typeface="Arial"/>
                <a:ea typeface="Arial"/>
                <a:cs typeface="Arial"/>
                <a:sym typeface="Arial"/>
              </a:rPr>
              <a:t>‹#›</a:t>
            </a:fld>
            <a:endParaRPr sz="700" b="0" i="0" u="none" strike="noStrike" cap="none">
              <a:solidFill>
                <a:schemeClr val="lt1"/>
              </a:solidFill>
              <a:latin typeface="Arial"/>
              <a:ea typeface="Arial"/>
              <a:cs typeface="Arial"/>
              <a:sym typeface="Arial"/>
            </a:endParaRPr>
          </a:p>
        </p:txBody>
      </p:sp>
      <p:cxnSp>
        <p:nvCxnSpPr>
          <p:cNvPr id="52" name="Google Shape;52;p35"/>
          <p:cNvCxnSpPr/>
          <p:nvPr/>
        </p:nvCxnSpPr>
        <p:spPr>
          <a:xfrm>
            <a:off x="381000" y="443054"/>
            <a:ext cx="8385048" cy="0"/>
          </a:xfrm>
          <a:prstGeom prst="straightConnector1">
            <a:avLst/>
          </a:prstGeom>
          <a:noFill/>
          <a:ln w="12700" cap="flat" cmpd="sng">
            <a:solidFill>
              <a:srgbClr val="004D99"/>
            </a:solidFill>
            <a:prstDash val="solid"/>
            <a:miter lim="800000"/>
            <a:headEnd type="none" w="sm" len="sm"/>
            <a:tailEnd type="none" w="sm" len="sm"/>
          </a:ln>
        </p:spPr>
      </p:cxnSp>
      <p:cxnSp>
        <p:nvCxnSpPr>
          <p:cNvPr id="53" name="Google Shape;53;p35"/>
          <p:cNvCxnSpPr/>
          <p:nvPr/>
        </p:nvCxnSpPr>
        <p:spPr>
          <a:xfrm>
            <a:off x="381000" y="4512077"/>
            <a:ext cx="8385048" cy="0"/>
          </a:xfrm>
          <a:prstGeom prst="straightConnector1">
            <a:avLst/>
          </a:prstGeom>
          <a:noFill/>
          <a:ln w="12700" cap="flat" cmpd="sng">
            <a:solidFill>
              <a:srgbClr val="004D99"/>
            </a:solidFill>
            <a:prstDash val="solid"/>
            <a:miter lim="800000"/>
            <a:headEnd type="none" w="sm" len="sm"/>
            <a:tailEnd type="none" w="sm" len="sm"/>
          </a:ln>
        </p:spPr>
      </p:cxnSp>
      <p:sp>
        <p:nvSpPr>
          <p:cNvPr id="54" name="Google Shape;54;p35"/>
          <p:cNvSpPr/>
          <p:nvPr/>
        </p:nvSpPr>
        <p:spPr>
          <a:xfrm>
            <a:off x="3788800" y="4913074"/>
            <a:ext cx="1461939" cy="9233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600" dirty="0">
                <a:solidFill>
                  <a:schemeClr val="dk1"/>
                </a:solidFill>
                <a:latin typeface="+mn-lt"/>
                <a:ea typeface="Arial"/>
                <a:cs typeface="Arial"/>
                <a:sym typeface="Arial"/>
              </a:rPr>
              <a:t>© 2021 Genentech, Inc. All rights reserved</a:t>
            </a:r>
            <a:endParaRPr dirty="0">
              <a:latin typeface="+mn-lt"/>
            </a:endParaRPr>
          </a:p>
        </p:txBody>
      </p:sp>
      <p:sp>
        <p:nvSpPr>
          <p:cNvPr id="17" name="Title 1">
            <a:extLst>
              <a:ext uri="{FF2B5EF4-FFF2-40B4-BE49-F238E27FC236}">
                <a16:creationId xmlns:a16="http://schemas.microsoft.com/office/drawing/2014/main" id="{8D0CFAC9-A78A-49E3-A103-6662A2E7838E}"/>
              </a:ext>
            </a:extLst>
          </p:cNvPr>
          <p:cNvSpPr>
            <a:spLocks noGrp="1"/>
          </p:cNvSpPr>
          <p:nvPr>
            <p:ph type="title"/>
          </p:nvPr>
        </p:nvSpPr>
        <p:spPr bwMode="gray">
          <a:xfrm>
            <a:off x="381000" y="503838"/>
            <a:ext cx="6480000" cy="2139553"/>
          </a:xfrm>
        </p:spPr>
        <p:txBody>
          <a:bodyPr lIns="0" numCol="1" anchor="b">
            <a:noAutofit/>
          </a:bodyPr>
          <a:lstStyle>
            <a:lvl1pPr algn="l">
              <a:defRPr sz="3400" i="0">
                <a:solidFill>
                  <a:srgbClr val="003087"/>
                </a:solidFill>
              </a:defRPr>
            </a:lvl1pPr>
          </a:lstStyle>
          <a:p>
            <a:r>
              <a:rPr lang="en-US" dirty="0"/>
              <a:t>Click to edit Master title style</a:t>
            </a:r>
          </a:p>
        </p:txBody>
      </p:sp>
      <p:sp>
        <p:nvSpPr>
          <p:cNvPr id="18" name="Text Placeholder 2">
            <a:extLst>
              <a:ext uri="{FF2B5EF4-FFF2-40B4-BE49-F238E27FC236}">
                <a16:creationId xmlns:a16="http://schemas.microsoft.com/office/drawing/2014/main" id="{F5883B3F-C2F5-4649-8E5F-C68F35C39046}"/>
              </a:ext>
            </a:extLst>
          </p:cNvPr>
          <p:cNvSpPr>
            <a:spLocks noGrp="1"/>
          </p:cNvSpPr>
          <p:nvPr>
            <p:ph type="body" idx="1"/>
          </p:nvPr>
        </p:nvSpPr>
        <p:spPr bwMode="gray">
          <a:xfrm>
            <a:off x="381000" y="2698490"/>
            <a:ext cx="6480000" cy="1125140"/>
          </a:xfrm>
        </p:spPr>
        <p:txBody>
          <a:bodyPr lIns="0" numCol="1">
            <a:noAutofit/>
          </a:bodyPr>
          <a:lstStyle>
            <a:lvl1pPr marL="0" indent="0" algn="l">
              <a:buNone/>
              <a:defRPr sz="1600" i="0">
                <a:solidFill>
                  <a:srgbClr val="0066CC"/>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
        <p:nvSpPr>
          <p:cNvPr id="19" name="Google Shape;15;p33">
            <a:extLst>
              <a:ext uri="{FF2B5EF4-FFF2-40B4-BE49-F238E27FC236}">
                <a16:creationId xmlns:a16="http://schemas.microsoft.com/office/drawing/2014/main" id="{63D8D9EE-030A-469F-BD40-483F11F3634E}"/>
              </a:ext>
            </a:extLst>
          </p:cNvPr>
          <p:cNvSpPr txBox="1"/>
          <p:nvPr userDrawn="1"/>
        </p:nvSpPr>
        <p:spPr>
          <a:xfrm>
            <a:off x="8770345" y="4980080"/>
            <a:ext cx="373655" cy="163420"/>
          </a:xfrm>
          <a:prstGeom prst="rect">
            <a:avLst/>
          </a:prstGeom>
          <a:noFill/>
          <a:ln>
            <a:noFill/>
          </a:ln>
        </p:spPr>
        <p:txBody>
          <a:bodyPr spcFirstLastPara="1" wrap="square" lIns="91425" tIns="45700" rIns="91425" bIns="45720" anchor="ctr" anchorCtr="0">
            <a:noAutofit/>
          </a:bodyPr>
          <a:lstStyle/>
          <a:p>
            <a:pPr marL="0" marR="0" lvl="0" indent="0" algn="r" rtl="0">
              <a:lnSpc>
                <a:spcPct val="100000"/>
              </a:lnSpc>
              <a:spcBef>
                <a:spcPts val="0"/>
              </a:spcBef>
              <a:spcAft>
                <a:spcPts val="0"/>
              </a:spcAft>
              <a:buClr>
                <a:schemeClr val="accent6"/>
              </a:buClr>
              <a:buSzPts val="300"/>
              <a:buFont typeface="Georgia"/>
              <a:buNone/>
            </a:pPr>
            <a:fld id="{00000000-1234-1234-1234-123412341234}" type="slidenum">
              <a:rPr lang="en-US" sz="700" b="0" i="0" u="none" strike="noStrike" cap="none">
                <a:solidFill>
                  <a:schemeClr val="dk1"/>
                </a:solidFill>
                <a:latin typeface="Gene Sans" panose="00000500000000000000" pitchFamily="50" charset="0"/>
                <a:ea typeface="Arial"/>
                <a:cs typeface="Arial"/>
                <a:sym typeface="Arial"/>
              </a:rPr>
              <a:t>‹#›</a:t>
            </a:fld>
            <a:endParaRPr sz="700" b="0" i="0" u="none" strike="noStrike" cap="none" dirty="0">
              <a:solidFill>
                <a:schemeClr val="dk1"/>
              </a:solidFill>
              <a:latin typeface="Gene Sans" panose="00000500000000000000" pitchFamily="50" charset="0"/>
              <a:ea typeface="Arial"/>
              <a:cs typeface="Arial"/>
              <a:sym typeface="Arial"/>
            </a:endParaRPr>
          </a:p>
        </p:txBody>
      </p:sp>
    </p:spTree>
    <p:extLst>
      <p:ext uri="{BB962C8B-B14F-4D97-AF65-F5344CB8AC3E}">
        <p14:creationId xmlns:p14="http://schemas.microsoft.com/office/powerpoint/2010/main" val="4257957466"/>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Only" userDrawn="1">
  <p:cSld name="Title Only">
    <p:spTree>
      <p:nvGrpSpPr>
        <p:cNvPr id="1" name="Shape 94"/>
        <p:cNvGrpSpPr/>
        <p:nvPr/>
      </p:nvGrpSpPr>
      <p:grpSpPr>
        <a:xfrm>
          <a:off x="0" y="0"/>
          <a:ext cx="0" cy="0"/>
          <a:chOff x="0" y="0"/>
          <a:chExt cx="0" cy="0"/>
        </a:xfrm>
      </p:grpSpPr>
      <p:sp>
        <p:nvSpPr>
          <p:cNvPr id="5" name="Google Shape;58;p36">
            <a:extLst>
              <a:ext uri="{FF2B5EF4-FFF2-40B4-BE49-F238E27FC236}">
                <a16:creationId xmlns:a16="http://schemas.microsoft.com/office/drawing/2014/main" id="{1539828E-FA66-44F9-B80A-03403B7F726A}"/>
              </a:ext>
            </a:extLst>
          </p:cNvPr>
          <p:cNvSpPr txBox="1">
            <a:spLocks noGrp="1"/>
          </p:cNvSpPr>
          <p:nvPr>
            <p:ph type="body" idx="10"/>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7" name="Google Shape;60;p36">
            <a:extLst>
              <a:ext uri="{FF2B5EF4-FFF2-40B4-BE49-F238E27FC236}">
                <a16:creationId xmlns:a16="http://schemas.microsoft.com/office/drawing/2014/main" id="{1CB50A90-C9B9-4B22-B623-21B267040C7A}"/>
              </a:ext>
            </a:extLst>
          </p:cNvPr>
          <p:cNvSpPr txBox="1">
            <a:spLocks noGrp="1"/>
          </p:cNvSpPr>
          <p:nvPr>
            <p:ph type="body" idx="3" hasCustomPrompt="1"/>
          </p:nvPr>
        </p:nvSpPr>
        <p:spPr>
          <a:xfrm>
            <a:off x="381648" y="4745251"/>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r>
              <a:rPr lang="en-US" dirty="0"/>
              <a:t>Footnote placeholder</a:t>
            </a:r>
          </a:p>
        </p:txBody>
      </p:sp>
      <p:sp>
        <p:nvSpPr>
          <p:cNvPr id="2" name="Title 1">
            <a:extLst>
              <a:ext uri="{FF2B5EF4-FFF2-40B4-BE49-F238E27FC236}">
                <a16:creationId xmlns:a16="http://schemas.microsoft.com/office/drawing/2014/main" id="{90D15812-0D14-4DFC-B019-623144733D3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2440541"/>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Org Chart" userDrawn="1">
  <p:cSld name="Org Chart">
    <p:spTree>
      <p:nvGrpSpPr>
        <p:cNvPr id="1" name="Shape 144"/>
        <p:cNvGrpSpPr/>
        <p:nvPr/>
      </p:nvGrpSpPr>
      <p:grpSpPr>
        <a:xfrm>
          <a:off x="0" y="0"/>
          <a:ext cx="0" cy="0"/>
          <a:chOff x="0" y="0"/>
          <a:chExt cx="0" cy="0"/>
        </a:xfrm>
      </p:grpSpPr>
      <p:cxnSp>
        <p:nvCxnSpPr>
          <p:cNvPr id="145" name="Google Shape;145;p49"/>
          <p:cNvCxnSpPr/>
          <p:nvPr/>
        </p:nvCxnSpPr>
        <p:spPr>
          <a:xfrm rot="10800000">
            <a:off x="2216888" y="2427651"/>
            <a:ext cx="5300331" cy="0"/>
          </a:xfrm>
          <a:prstGeom prst="straightConnector1">
            <a:avLst/>
          </a:prstGeom>
          <a:noFill/>
          <a:ln w="57150" cap="flat" cmpd="sng">
            <a:solidFill>
              <a:srgbClr val="D1E8F5"/>
            </a:solidFill>
            <a:prstDash val="solid"/>
            <a:miter lim="800000"/>
            <a:headEnd type="none" w="sm" len="sm"/>
            <a:tailEnd type="none" w="sm" len="sm"/>
          </a:ln>
        </p:spPr>
      </p:cxnSp>
      <p:cxnSp>
        <p:nvCxnSpPr>
          <p:cNvPr id="146" name="Google Shape;146;p49"/>
          <p:cNvCxnSpPr/>
          <p:nvPr/>
        </p:nvCxnSpPr>
        <p:spPr>
          <a:xfrm>
            <a:off x="4505817" y="1783017"/>
            <a:ext cx="0" cy="2151030"/>
          </a:xfrm>
          <a:prstGeom prst="straightConnector1">
            <a:avLst/>
          </a:prstGeom>
          <a:noFill/>
          <a:ln w="57150" cap="flat" cmpd="sng">
            <a:solidFill>
              <a:srgbClr val="D1E8F5"/>
            </a:solidFill>
            <a:prstDash val="solid"/>
            <a:miter lim="800000"/>
            <a:headEnd type="none" w="sm" len="sm"/>
            <a:tailEnd type="none" w="sm" len="sm"/>
          </a:ln>
        </p:spPr>
      </p:cxnSp>
      <p:sp>
        <p:nvSpPr>
          <p:cNvPr id="147" name="Google Shape;147;p49"/>
          <p:cNvSpPr/>
          <p:nvPr/>
        </p:nvSpPr>
        <p:spPr>
          <a:xfrm>
            <a:off x="3888319" y="1088290"/>
            <a:ext cx="1930649" cy="731215"/>
          </a:xfrm>
          <a:prstGeom prst="rect">
            <a:avLst/>
          </a:prstGeom>
          <a:solidFill>
            <a:srgbClr val="C3DC9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n-lt"/>
              <a:ea typeface="Arial"/>
              <a:cs typeface="Arial"/>
              <a:sym typeface="Arial"/>
            </a:endParaRPr>
          </a:p>
        </p:txBody>
      </p:sp>
      <p:sp>
        <p:nvSpPr>
          <p:cNvPr id="148" name="Google Shape;148;p49"/>
          <p:cNvSpPr txBox="1">
            <a:spLocks noGrp="1"/>
          </p:cNvSpPr>
          <p:nvPr>
            <p:ph type="body" idx="1"/>
          </p:nvPr>
        </p:nvSpPr>
        <p:spPr>
          <a:xfrm>
            <a:off x="3873895" y="1120767"/>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49" name="Google Shape;149;p49"/>
          <p:cNvSpPr>
            <a:spLocks noGrp="1"/>
          </p:cNvSpPr>
          <p:nvPr>
            <p:ph type="pic" idx="2"/>
          </p:nvPr>
        </p:nvSpPr>
        <p:spPr>
          <a:xfrm>
            <a:off x="3163857" y="1088289"/>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cxnSp>
        <p:nvCxnSpPr>
          <p:cNvPr id="150" name="Google Shape;150;p49"/>
          <p:cNvCxnSpPr/>
          <p:nvPr/>
        </p:nvCxnSpPr>
        <p:spPr>
          <a:xfrm>
            <a:off x="1692602" y="2370592"/>
            <a:ext cx="0" cy="2151030"/>
          </a:xfrm>
          <a:prstGeom prst="straightConnector1">
            <a:avLst/>
          </a:prstGeom>
          <a:noFill/>
          <a:ln w="57150" cap="flat" cmpd="sng">
            <a:solidFill>
              <a:srgbClr val="D1E8F5"/>
            </a:solidFill>
            <a:prstDash val="solid"/>
            <a:miter lim="800000"/>
            <a:headEnd type="none" w="sm" len="sm"/>
            <a:tailEnd type="none" w="sm" len="sm"/>
          </a:ln>
        </p:spPr>
      </p:cxnSp>
      <p:cxnSp>
        <p:nvCxnSpPr>
          <p:cNvPr id="151" name="Google Shape;151;p49"/>
          <p:cNvCxnSpPr/>
          <p:nvPr/>
        </p:nvCxnSpPr>
        <p:spPr>
          <a:xfrm>
            <a:off x="7280914" y="2370592"/>
            <a:ext cx="0" cy="2151030"/>
          </a:xfrm>
          <a:prstGeom prst="straightConnector1">
            <a:avLst/>
          </a:prstGeom>
          <a:noFill/>
          <a:ln w="57150" cap="flat" cmpd="sng">
            <a:solidFill>
              <a:srgbClr val="D1E8F5"/>
            </a:solidFill>
            <a:prstDash val="solid"/>
            <a:miter lim="800000"/>
            <a:headEnd type="none" w="sm" len="sm"/>
            <a:tailEnd type="none" w="sm" len="sm"/>
          </a:ln>
        </p:spPr>
      </p:cxnSp>
      <p:sp>
        <p:nvSpPr>
          <p:cNvPr id="152" name="Google Shape;152;p49"/>
          <p:cNvSpPr/>
          <p:nvPr/>
        </p:nvSpPr>
        <p:spPr>
          <a:xfrm>
            <a:off x="1113069" y="3784802"/>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n-lt"/>
              <a:ea typeface="Arial"/>
              <a:cs typeface="Arial"/>
              <a:sym typeface="Arial"/>
            </a:endParaRPr>
          </a:p>
        </p:txBody>
      </p:sp>
      <p:sp>
        <p:nvSpPr>
          <p:cNvPr id="153" name="Google Shape;153;p49"/>
          <p:cNvSpPr txBox="1">
            <a:spLocks noGrp="1"/>
          </p:cNvSpPr>
          <p:nvPr>
            <p:ph type="body" idx="3"/>
          </p:nvPr>
        </p:nvSpPr>
        <p:spPr>
          <a:xfrm>
            <a:off x="1098645" y="3817279"/>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54" name="Google Shape;154;p49"/>
          <p:cNvSpPr>
            <a:spLocks noGrp="1"/>
          </p:cNvSpPr>
          <p:nvPr>
            <p:ph type="pic" idx="4"/>
          </p:nvPr>
        </p:nvSpPr>
        <p:spPr>
          <a:xfrm>
            <a:off x="388607" y="3784801"/>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55" name="Google Shape;155;p49"/>
          <p:cNvSpPr/>
          <p:nvPr/>
        </p:nvSpPr>
        <p:spPr>
          <a:xfrm>
            <a:off x="3888319" y="3784802"/>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n-lt"/>
              <a:ea typeface="Arial"/>
              <a:cs typeface="Arial"/>
              <a:sym typeface="Arial"/>
            </a:endParaRPr>
          </a:p>
        </p:txBody>
      </p:sp>
      <p:sp>
        <p:nvSpPr>
          <p:cNvPr id="156" name="Google Shape;156;p49"/>
          <p:cNvSpPr txBox="1">
            <a:spLocks noGrp="1"/>
          </p:cNvSpPr>
          <p:nvPr>
            <p:ph type="body" idx="5"/>
          </p:nvPr>
        </p:nvSpPr>
        <p:spPr>
          <a:xfrm>
            <a:off x="3873895" y="3817279"/>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57" name="Google Shape;157;p49"/>
          <p:cNvSpPr>
            <a:spLocks noGrp="1"/>
          </p:cNvSpPr>
          <p:nvPr>
            <p:ph type="pic" idx="6"/>
          </p:nvPr>
        </p:nvSpPr>
        <p:spPr>
          <a:xfrm>
            <a:off x="3163857" y="3784801"/>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58" name="Google Shape;158;p49"/>
          <p:cNvSpPr/>
          <p:nvPr/>
        </p:nvSpPr>
        <p:spPr>
          <a:xfrm>
            <a:off x="6710399" y="3784802"/>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n-lt"/>
              <a:ea typeface="Arial"/>
              <a:cs typeface="Arial"/>
              <a:sym typeface="Arial"/>
            </a:endParaRPr>
          </a:p>
        </p:txBody>
      </p:sp>
      <p:sp>
        <p:nvSpPr>
          <p:cNvPr id="159" name="Google Shape;159;p49"/>
          <p:cNvSpPr txBox="1">
            <a:spLocks noGrp="1"/>
          </p:cNvSpPr>
          <p:nvPr>
            <p:ph type="body" idx="7"/>
          </p:nvPr>
        </p:nvSpPr>
        <p:spPr>
          <a:xfrm>
            <a:off x="6695975" y="3817279"/>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0" name="Google Shape;160;p49"/>
          <p:cNvSpPr>
            <a:spLocks noGrp="1"/>
          </p:cNvSpPr>
          <p:nvPr>
            <p:ph type="pic" idx="8"/>
          </p:nvPr>
        </p:nvSpPr>
        <p:spPr>
          <a:xfrm>
            <a:off x="5985937" y="3784801"/>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61" name="Google Shape;161;p49"/>
          <p:cNvSpPr/>
          <p:nvPr/>
        </p:nvSpPr>
        <p:spPr>
          <a:xfrm>
            <a:off x="1113069" y="2917500"/>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n-lt"/>
              <a:ea typeface="Arial"/>
              <a:cs typeface="Arial"/>
              <a:sym typeface="Arial"/>
            </a:endParaRPr>
          </a:p>
        </p:txBody>
      </p:sp>
      <p:sp>
        <p:nvSpPr>
          <p:cNvPr id="162" name="Google Shape;162;p49"/>
          <p:cNvSpPr txBox="1">
            <a:spLocks noGrp="1"/>
          </p:cNvSpPr>
          <p:nvPr>
            <p:ph type="body" idx="9"/>
          </p:nvPr>
        </p:nvSpPr>
        <p:spPr>
          <a:xfrm>
            <a:off x="1098645" y="2949977"/>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3" name="Google Shape;163;p49"/>
          <p:cNvSpPr>
            <a:spLocks noGrp="1"/>
          </p:cNvSpPr>
          <p:nvPr>
            <p:ph type="pic" idx="13"/>
          </p:nvPr>
        </p:nvSpPr>
        <p:spPr>
          <a:xfrm>
            <a:off x="388607" y="2917499"/>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64" name="Google Shape;164;p49"/>
          <p:cNvSpPr/>
          <p:nvPr/>
        </p:nvSpPr>
        <p:spPr>
          <a:xfrm>
            <a:off x="3888319" y="2917500"/>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n-lt"/>
              <a:ea typeface="Arial"/>
              <a:cs typeface="Arial"/>
              <a:sym typeface="Arial"/>
            </a:endParaRPr>
          </a:p>
        </p:txBody>
      </p:sp>
      <p:sp>
        <p:nvSpPr>
          <p:cNvPr id="165" name="Google Shape;165;p49"/>
          <p:cNvSpPr txBox="1">
            <a:spLocks noGrp="1"/>
          </p:cNvSpPr>
          <p:nvPr>
            <p:ph type="body" idx="14"/>
          </p:nvPr>
        </p:nvSpPr>
        <p:spPr>
          <a:xfrm>
            <a:off x="3873895" y="2949977"/>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6" name="Google Shape;166;p49"/>
          <p:cNvSpPr>
            <a:spLocks noGrp="1"/>
          </p:cNvSpPr>
          <p:nvPr>
            <p:ph type="pic" idx="15"/>
          </p:nvPr>
        </p:nvSpPr>
        <p:spPr>
          <a:xfrm>
            <a:off x="3163857" y="2917499"/>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67" name="Google Shape;167;p49"/>
          <p:cNvSpPr/>
          <p:nvPr/>
        </p:nvSpPr>
        <p:spPr>
          <a:xfrm>
            <a:off x="6710399" y="2917500"/>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n-lt"/>
              <a:ea typeface="Arial"/>
              <a:cs typeface="Arial"/>
              <a:sym typeface="Arial"/>
            </a:endParaRPr>
          </a:p>
        </p:txBody>
      </p:sp>
      <p:sp>
        <p:nvSpPr>
          <p:cNvPr id="168" name="Google Shape;168;p49"/>
          <p:cNvSpPr txBox="1">
            <a:spLocks noGrp="1"/>
          </p:cNvSpPr>
          <p:nvPr>
            <p:ph type="body" idx="16"/>
          </p:nvPr>
        </p:nvSpPr>
        <p:spPr>
          <a:xfrm>
            <a:off x="6695975" y="2949977"/>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9" name="Google Shape;169;p49"/>
          <p:cNvSpPr>
            <a:spLocks noGrp="1"/>
          </p:cNvSpPr>
          <p:nvPr>
            <p:ph type="pic" idx="17"/>
          </p:nvPr>
        </p:nvSpPr>
        <p:spPr>
          <a:xfrm>
            <a:off x="5985937" y="2917499"/>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70" name="Google Shape;170;p49"/>
          <p:cNvSpPr/>
          <p:nvPr/>
        </p:nvSpPr>
        <p:spPr>
          <a:xfrm>
            <a:off x="1113069" y="2059172"/>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n-lt"/>
              <a:ea typeface="Arial"/>
              <a:cs typeface="Arial"/>
              <a:sym typeface="Arial"/>
            </a:endParaRPr>
          </a:p>
        </p:txBody>
      </p:sp>
      <p:sp>
        <p:nvSpPr>
          <p:cNvPr id="171" name="Google Shape;171;p49"/>
          <p:cNvSpPr txBox="1">
            <a:spLocks noGrp="1"/>
          </p:cNvSpPr>
          <p:nvPr>
            <p:ph type="body" idx="18"/>
          </p:nvPr>
        </p:nvSpPr>
        <p:spPr>
          <a:xfrm>
            <a:off x="1098645" y="2091649"/>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72" name="Google Shape;172;p49"/>
          <p:cNvSpPr>
            <a:spLocks noGrp="1"/>
          </p:cNvSpPr>
          <p:nvPr>
            <p:ph type="pic" idx="19"/>
          </p:nvPr>
        </p:nvSpPr>
        <p:spPr>
          <a:xfrm>
            <a:off x="388607" y="2059171"/>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73" name="Google Shape;173;p49"/>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 name="Google Shape;174;p49"/>
          <p:cNvSpPr/>
          <p:nvPr/>
        </p:nvSpPr>
        <p:spPr>
          <a:xfrm>
            <a:off x="3888319" y="2059172"/>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n-lt"/>
              <a:ea typeface="Arial"/>
              <a:cs typeface="Arial"/>
              <a:sym typeface="Arial"/>
            </a:endParaRPr>
          </a:p>
        </p:txBody>
      </p:sp>
      <p:sp>
        <p:nvSpPr>
          <p:cNvPr id="175" name="Google Shape;175;p49"/>
          <p:cNvSpPr txBox="1">
            <a:spLocks noGrp="1"/>
          </p:cNvSpPr>
          <p:nvPr>
            <p:ph type="body" idx="20"/>
          </p:nvPr>
        </p:nvSpPr>
        <p:spPr>
          <a:xfrm>
            <a:off x="3873895" y="2091649"/>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76" name="Google Shape;176;p49"/>
          <p:cNvSpPr>
            <a:spLocks noGrp="1"/>
          </p:cNvSpPr>
          <p:nvPr>
            <p:ph type="pic" idx="21"/>
          </p:nvPr>
        </p:nvSpPr>
        <p:spPr>
          <a:xfrm>
            <a:off x="3163857" y="2059171"/>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77" name="Google Shape;177;p49"/>
          <p:cNvSpPr/>
          <p:nvPr/>
        </p:nvSpPr>
        <p:spPr>
          <a:xfrm>
            <a:off x="6710399" y="2059172"/>
            <a:ext cx="1930649" cy="731215"/>
          </a:xfrm>
          <a:prstGeom prst="rect">
            <a:avLst/>
          </a:prstGeom>
          <a:solidFill>
            <a:srgbClr val="D1E8F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n-lt"/>
              <a:ea typeface="Arial"/>
              <a:cs typeface="Arial"/>
              <a:sym typeface="Arial"/>
            </a:endParaRPr>
          </a:p>
        </p:txBody>
      </p:sp>
      <p:sp>
        <p:nvSpPr>
          <p:cNvPr id="178" name="Google Shape;178;p49"/>
          <p:cNvSpPr txBox="1">
            <a:spLocks noGrp="1"/>
          </p:cNvSpPr>
          <p:nvPr>
            <p:ph type="body" idx="22"/>
          </p:nvPr>
        </p:nvSpPr>
        <p:spPr>
          <a:xfrm>
            <a:off x="6695975" y="2091649"/>
            <a:ext cx="1930400" cy="293688"/>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300"/>
              </a:spcBef>
              <a:spcAft>
                <a:spcPts val="0"/>
              </a:spcAft>
              <a:buSzPts val="900"/>
              <a:buNone/>
              <a:defRPr sz="900" b="1">
                <a:solidFill>
                  <a:schemeClr val="tx2"/>
                </a:solidFill>
                <a:latin typeface="+mn-lt"/>
                <a:ea typeface="Arial"/>
                <a:cs typeface="Arial"/>
                <a:sym typeface="Arial"/>
              </a:defRPr>
            </a:lvl1pPr>
            <a:lvl2pPr marL="914400" lvl="1" indent="-228600" algn="l">
              <a:lnSpc>
                <a:spcPct val="90000"/>
              </a:lnSpc>
              <a:spcBef>
                <a:spcPts val="300"/>
              </a:spcBef>
              <a:spcAft>
                <a:spcPts val="0"/>
              </a:spcAft>
              <a:buSzPts val="700"/>
              <a:buNone/>
              <a:defRPr sz="700" b="1">
                <a:solidFill>
                  <a:schemeClr val="dk2"/>
                </a:solidFill>
                <a:latin typeface="Arial"/>
                <a:ea typeface="Arial"/>
                <a:cs typeface="Arial"/>
                <a:sym typeface="Arial"/>
              </a:defRPr>
            </a:lvl2pPr>
            <a:lvl3pPr marL="1371600" lvl="2" indent="-228600" algn="l">
              <a:lnSpc>
                <a:spcPct val="90000"/>
              </a:lnSpc>
              <a:spcBef>
                <a:spcPts val="300"/>
              </a:spcBef>
              <a:spcAft>
                <a:spcPts val="0"/>
              </a:spcAft>
              <a:buSzPts val="700"/>
              <a:buNone/>
              <a:defRPr sz="700" i="1">
                <a:solidFill>
                  <a:schemeClr val="dk2"/>
                </a:solidFill>
                <a:latin typeface="Arial"/>
                <a:ea typeface="Arial"/>
                <a:cs typeface="Arial"/>
                <a:sym typeface="Arial"/>
              </a:defRPr>
            </a:lvl3pPr>
            <a:lvl4pPr marL="1828800" lvl="3" indent="-228600" algn="l">
              <a:lnSpc>
                <a:spcPct val="90000"/>
              </a:lnSpc>
              <a:spcBef>
                <a:spcPts val="600"/>
              </a:spcBef>
              <a:spcAft>
                <a:spcPts val="0"/>
              </a:spcAft>
              <a:buSzPts val="1050"/>
              <a:buNone/>
              <a:defRPr/>
            </a:lvl4pPr>
            <a:lvl5pPr marL="2286000" lvl="4" indent="-228600" algn="l">
              <a:lnSpc>
                <a:spcPct val="90000"/>
              </a:lnSpc>
              <a:spcBef>
                <a:spcPts val="600"/>
              </a:spcBef>
              <a:spcAft>
                <a:spcPts val="0"/>
              </a:spcAft>
              <a:buSzPts val="1050"/>
              <a:buNone/>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79" name="Google Shape;179;p49"/>
          <p:cNvSpPr>
            <a:spLocks noGrp="1"/>
          </p:cNvSpPr>
          <p:nvPr>
            <p:ph type="pic" idx="23"/>
          </p:nvPr>
        </p:nvSpPr>
        <p:spPr>
          <a:xfrm>
            <a:off x="5985937" y="2059171"/>
            <a:ext cx="730049" cy="730049"/>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900"/>
              <a:buFont typeface="Arial"/>
              <a:buNone/>
              <a:defRPr sz="9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grpSp>
        <p:nvGrpSpPr>
          <p:cNvPr id="180" name="Google Shape;180;p49"/>
          <p:cNvGrpSpPr/>
          <p:nvPr/>
        </p:nvGrpSpPr>
        <p:grpSpPr>
          <a:xfrm>
            <a:off x="9206185" y="157804"/>
            <a:ext cx="2202899" cy="4708981"/>
            <a:chOff x="9206185" y="157804"/>
            <a:chExt cx="2202899" cy="4708981"/>
          </a:xfrm>
        </p:grpSpPr>
        <p:pic>
          <p:nvPicPr>
            <p:cNvPr id="181" name="Google Shape;181;p49"/>
            <p:cNvPicPr preferRelativeResize="0"/>
            <p:nvPr/>
          </p:nvPicPr>
          <p:blipFill rotWithShape="1">
            <a:blip r:embed="rId2">
              <a:alphaModFix/>
            </a:blip>
            <a:srcRect/>
            <a:stretch/>
          </p:blipFill>
          <p:spPr>
            <a:xfrm>
              <a:off x="9637800" y="1253766"/>
              <a:ext cx="140548" cy="96627"/>
            </a:xfrm>
            <a:prstGeom prst="rect">
              <a:avLst/>
            </a:prstGeom>
            <a:noFill/>
            <a:ln>
              <a:noFill/>
            </a:ln>
          </p:spPr>
        </p:pic>
        <p:sp>
          <p:nvSpPr>
            <p:cNvPr id="182" name="Google Shape;182;p49"/>
            <p:cNvSpPr txBox="1"/>
            <p:nvPr/>
          </p:nvSpPr>
          <p:spPr>
            <a:xfrm>
              <a:off x="9206185" y="157804"/>
              <a:ext cx="2202899" cy="470898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a:solidFill>
                    <a:srgbClr val="7D8183"/>
                  </a:solidFill>
                  <a:latin typeface="Arial"/>
                  <a:ea typeface="Arial"/>
                  <a:cs typeface="Arial"/>
                  <a:sym typeface="Arial"/>
                </a:rPr>
                <a:t>TO EDIT THIS LAYOUT BY ADDING IMAGES AND OTHER CONTENT:</a:t>
              </a:r>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a:solidFill>
                    <a:srgbClr val="7D8183"/>
                  </a:solidFill>
                  <a:latin typeface="Arial"/>
                  <a:ea typeface="Arial"/>
                  <a:cs typeface="Arial"/>
                  <a:sym typeface="Arial"/>
                </a:rPr>
                <a:t>Delete the current picture (s), if there </a:t>
              </a:r>
              <a:br>
                <a:rPr lang="en-US" sz="900" b="1" i="0">
                  <a:solidFill>
                    <a:srgbClr val="7D8183"/>
                  </a:solidFill>
                  <a:latin typeface="Arial"/>
                  <a:ea typeface="Arial"/>
                  <a:cs typeface="Arial"/>
                  <a:sym typeface="Arial"/>
                </a:rPr>
              </a:br>
              <a:r>
                <a:rPr lang="en-US" sz="900" b="1" i="0">
                  <a:solidFill>
                    <a:srgbClr val="7D8183"/>
                  </a:solidFill>
                  <a:latin typeface="Arial"/>
                  <a:ea typeface="Arial"/>
                  <a:cs typeface="Arial"/>
                  <a:sym typeface="Arial"/>
                </a:rPr>
                <a:t>are any.</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On the Insert tab, click the Pictures button OR you can click the picture icon      on the slide surface to start your search.</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Navigate to the image you want to use and select Insert. </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Resize the picture to fit the photo area, as needed, using the Crop tool. Hold the Shift key and click and drag a corner to scale equally.</a:t>
              </a:r>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if appropriate).</a:t>
              </a:r>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a:solidFill>
                    <a:srgbClr val="7D8183"/>
                  </a:solidFill>
                  <a:latin typeface="Arial"/>
                  <a:ea typeface="Arial"/>
                  <a:cs typeface="Arial"/>
                  <a:sym typeface="Arial"/>
                </a:rPr>
                <a:t>Add organizational chart content such as names, titles, and departments. To delete or move box or line elements, you must go to the master to do so. Another slide has been created that is editable on the slide face which works better if your content is slightly different than this master layout.</a:t>
              </a:r>
              <a:endParaRPr/>
            </a:p>
          </p:txBody>
        </p:sp>
      </p:grpSp>
      <p:sp>
        <p:nvSpPr>
          <p:cNvPr id="42" name="Google Shape;58;p36">
            <a:extLst>
              <a:ext uri="{FF2B5EF4-FFF2-40B4-BE49-F238E27FC236}">
                <a16:creationId xmlns:a16="http://schemas.microsoft.com/office/drawing/2014/main" id="{A5002E38-614A-426A-9F6D-8D330A8BBFB8}"/>
              </a:ext>
            </a:extLst>
          </p:cNvPr>
          <p:cNvSpPr txBox="1">
            <a:spLocks noGrp="1"/>
          </p:cNvSpPr>
          <p:nvPr>
            <p:ph type="body" idx="26"/>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baseline="0">
                <a:solidFill>
                  <a:schemeClr val="dk1"/>
                </a:solidFill>
                <a:latin typeface="+mn-lt"/>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44" name="Google Shape;60;p36">
            <a:extLst>
              <a:ext uri="{FF2B5EF4-FFF2-40B4-BE49-F238E27FC236}">
                <a16:creationId xmlns:a16="http://schemas.microsoft.com/office/drawing/2014/main" id="{3C2C8317-47AC-4BC0-954A-C4160D974042}"/>
              </a:ext>
            </a:extLst>
          </p:cNvPr>
          <p:cNvSpPr txBox="1">
            <a:spLocks noGrp="1"/>
          </p:cNvSpPr>
          <p:nvPr>
            <p:ph type="body" idx="27" hasCustomPrompt="1"/>
          </p:nvPr>
        </p:nvSpPr>
        <p:spPr>
          <a:xfrm>
            <a:off x="381648" y="4745251"/>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r>
              <a:rPr lang="en-US" dirty="0"/>
              <a:t>Footnote placeholder</a:t>
            </a:r>
          </a:p>
        </p:txBody>
      </p:sp>
    </p:spTree>
    <p:extLst>
      <p:ext uri="{BB962C8B-B14F-4D97-AF65-F5344CB8AC3E}">
        <p14:creationId xmlns:p14="http://schemas.microsoft.com/office/powerpoint/2010/main" val="2791513762"/>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Photo Left+Content" userDrawn="1">
  <p:cSld name="Photo Left+Content">
    <p:spTree>
      <p:nvGrpSpPr>
        <p:cNvPr id="1" name="Shape 185"/>
        <p:cNvGrpSpPr/>
        <p:nvPr/>
      </p:nvGrpSpPr>
      <p:grpSpPr>
        <a:xfrm>
          <a:off x="0" y="0"/>
          <a:ext cx="0" cy="0"/>
          <a:chOff x="0" y="0"/>
          <a:chExt cx="0" cy="0"/>
        </a:xfrm>
      </p:grpSpPr>
      <p:sp>
        <p:nvSpPr>
          <p:cNvPr id="186" name="Google Shape;186;p50"/>
          <p:cNvSpPr>
            <a:spLocks noGrp="1"/>
          </p:cNvSpPr>
          <p:nvPr>
            <p:ph type="pic" idx="2"/>
          </p:nvPr>
        </p:nvSpPr>
        <p:spPr>
          <a:xfrm>
            <a:off x="381648" y="1727200"/>
            <a:ext cx="3997325" cy="2787650"/>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87" name="Google Shape;187;p50"/>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88" name="Google Shape;188;p50"/>
          <p:cNvSpPr txBox="1">
            <a:spLocks noGrp="1"/>
          </p:cNvSpPr>
          <p:nvPr>
            <p:ph type="body" idx="1"/>
          </p:nvPr>
        </p:nvSpPr>
        <p:spPr>
          <a:xfrm>
            <a:off x="4629150" y="1283549"/>
            <a:ext cx="4133850" cy="3231301"/>
          </a:xfrm>
          <a:prstGeom prst="rect">
            <a:avLst/>
          </a:prstGeom>
          <a:noFill/>
          <a:ln>
            <a:noFill/>
          </a:ln>
        </p:spPr>
        <p:txBody>
          <a:bodyPr spcFirstLastPara="1" wrap="square" lIns="0" tIns="0" rIns="0" bIns="0" anchor="t" anchorCtr="0">
            <a:noAutofit/>
          </a:bodyPr>
          <a:lstStyle>
            <a:lvl1pPr marL="457200" lvl="0" indent="-330200" algn="l">
              <a:lnSpc>
                <a:spcPct val="90000"/>
              </a:lnSpc>
              <a:spcBef>
                <a:spcPts val="600"/>
              </a:spcBef>
              <a:spcAft>
                <a:spcPts val="0"/>
              </a:spcAft>
              <a:buSzPts val="1600"/>
              <a:buChar char="•"/>
              <a:defRPr>
                <a:solidFill>
                  <a:schemeClr val="dk1"/>
                </a:solidFill>
                <a:latin typeface="+mn-lt"/>
              </a:defRPr>
            </a:lvl1pPr>
            <a:lvl2pPr marL="914400" lvl="1" indent="-317500" algn="l">
              <a:lnSpc>
                <a:spcPct val="90000"/>
              </a:lnSpc>
              <a:spcBef>
                <a:spcPts val="600"/>
              </a:spcBef>
              <a:spcAft>
                <a:spcPts val="0"/>
              </a:spcAft>
              <a:buSzPts val="1400"/>
              <a:buChar char="•"/>
              <a:defRPr>
                <a:solidFill>
                  <a:schemeClr val="dk1"/>
                </a:solidFill>
              </a:defRPr>
            </a:lvl2pPr>
            <a:lvl3pPr marL="1371600" lvl="2" indent="-298450" algn="l">
              <a:lnSpc>
                <a:spcPct val="90000"/>
              </a:lnSpc>
              <a:spcBef>
                <a:spcPts val="600"/>
              </a:spcBef>
              <a:spcAft>
                <a:spcPts val="0"/>
              </a:spcAft>
              <a:buSzPts val="1100"/>
              <a:buChar char="•"/>
              <a:defRPr>
                <a:solidFill>
                  <a:schemeClr val="dk1"/>
                </a:solidFill>
              </a:defRPr>
            </a:lvl3pPr>
            <a:lvl4pPr marL="1828800" lvl="3" indent="-295275" algn="l">
              <a:lnSpc>
                <a:spcPct val="90000"/>
              </a:lnSpc>
              <a:spcBef>
                <a:spcPts val="600"/>
              </a:spcBef>
              <a:spcAft>
                <a:spcPts val="0"/>
              </a:spcAft>
              <a:buSzPts val="1050"/>
              <a:buChar char="•"/>
              <a:defRPr>
                <a:solidFill>
                  <a:schemeClr val="dk1"/>
                </a:solidFill>
              </a:defRPr>
            </a:lvl4pPr>
            <a:lvl5pPr marL="2286000" lvl="4" indent="-295275" algn="l">
              <a:lnSpc>
                <a:spcPct val="90000"/>
              </a:lnSpc>
              <a:spcBef>
                <a:spcPts val="600"/>
              </a:spcBef>
              <a:spcAft>
                <a:spcPts val="0"/>
              </a:spcAft>
              <a:buSzPts val="1050"/>
              <a:buChar char="•"/>
              <a:defRPr>
                <a:solidFill>
                  <a:schemeClr val="dk1"/>
                </a:solidFil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89" name="Google Shape;189;p50"/>
          <p:cNvSpPr txBox="1"/>
          <p:nvPr/>
        </p:nvSpPr>
        <p:spPr>
          <a:xfrm>
            <a:off x="8770345" y="4980080"/>
            <a:ext cx="373655" cy="163420"/>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chemeClr val="accent6"/>
              </a:buClr>
              <a:buSzPts val="300"/>
              <a:buFont typeface="Georgia"/>
              <a:buNone/>
            </a:pPr>
            <a:fld id="{00000000-1234-1234-1234-123412341234}" type="slidenum">
              <a:rPr lang="en-US" sz="700" b="0" i="0" u="none" strike="noStrike" cap="none">
                <a:solidFill>
                  <a:srgbClr val="545859"/>
                </a:solidFill>
                <a:latin typeface="Arial"/>
                <a:ea typeface="Arial"/>
                <a:cs typeface="Arial"/>
                <a:sym typeface="Arial"/>
              </a:rPr>
              <a:t>‹#›</a:t>
            </a:fld>
            <a:endParaRPr sz="700" b="0" i="0" u="none" strike="noStrike" cap="none">
              <a:solidFill>
                <a:srgbClr val="545859"/>
              </a:solidFill>
              <a:latin typeface="Arial"/>
              <a:ea typeface="Arial"/>
              <a:cs typeface="Arial"/>
              <a:sym typeface="Arial"/>
            </a:endParaRPr>
          </a:p>
        </p:txBody>
      </p:sp>
      <p:grpSp>
        <p:nvGrpSpPr>
          <p:cNvPr id="190" name="Google Shape;190;p50"/>
          <p:cNvGrpSpPr/>
          <p:nvPr/>
        </p:nvGrpSpPr>
        <p:grpSpPr>
          <a:xfrm>
            <a:off x="-2241393" y="51750"/>
            <a:ext cx="2202899" cy="4431983"/>
            <a:chOff x="9248019" y="51750"/>
            <a:chExt cx="2202899" cy="4431983"/>
          </a:xfrm>
        </p:grpSpPr>
        <p:sp>
          <p:nvSpPr>
            <p:cNvPr id="191" name="Google Shape;191;p50"/>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a:solidFill>
                    <a:srgbClr val="7D8183"/>
                  </a:solidFill>
                  <a:latin typeface="Arial"/>
                  <a:ea typeface="Arial"/>
                  <a:cs typeface="Arial"/>
                  <a:sym typeface="Arial"/>
                </a:rPr>
                <a:t>THERE ARE TWO (2) OPTION TO CUSTOMIZE A LAYOUT WITH A </a:t>
              </a:r>
              <a:br>
                <a:rPr lang="en-US" sz="900" b="1" i="0">
                  <a:solidFill>
                    <a:srgbClr val="7D8183"/>
                  </a:solidFill>
                  <a:latin typeface="Arial"/>
                  <a:ea typeface="Arial"/>
                  <a:cs typeface="Arial"/>
                  <a:sym typeface="Arial"/>
                </a:rPr>
              </a:br>
              <a:r>
                <a:rPr lang="en-US" sz="900" b="1" i="0">
                  <a:solidFill>
                    <a:srgbClr val="7D8183"/>
                  </a:solidFill>
                  <a:latin typeface="Arial"/>
                  <a:ea typeface="Arial"/>
                  <a:cs typeface="Arial"/>
                  <a:sym typeface="Arial"/>
                </a:rPr>
                <a:t>NEW PICTURE:</a:t>
              </a:r>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a:solidFill>
                    <a:srgbClr val="7D8183"/>
                  </a:solidFill>
                  <a:latin typeface="Arial"/>
                  <a:ea typeface="Arial"/>
                  <a:cs typeface="Arial"/>
                  <a:sym typeface="Arial"/>
                </a:rPr>
                <a:t>Delete the current picture, if there </a:t>
              </a:r>
              <a:br>
                <a:rPr lang="en-US" sz="900" b="1" i="0">
                  <a:solidFill>
                    <a:srgbClr val="7D8183"/>
                  </a:solidFill>
                  <a:latin typeface="Arial"/>
                  <a:ea typeface="Arial"/>
                  <a:cs typeface="Arial"/>
                  <a:sym typeface="Arial"/>
                </a:rPr>
              </a:br>
              <a:r>
                <a:rPr lang="en-US" sz="900" b="1" i="0">
                  <a:solidFill>
                    <a:srgbClr val="7D8183"/>
                  </a:solidFill>
                  <a:latin typeface="Arial"/>
                  <a:ea typeface="Arial"/>
                  <a:cs typeface="Arial"/>
                  <a:sym typeface="Arial"/>
                </a:rPr>
                <a:t>is one.</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On the Insert tab, click the Pictures button OR you can click the picture icon      on the slide surface to start your search.</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Navigate to the image you want to use and select Insert. </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Under Home click the Reset button to reapply the Layout.</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Resize the picture to fit the slide, as needed, using the Crop tool. Hold the Shift key and click and drag a corner to scale equally.</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On the Home tab, click the Arrange button, then Send to Back so the photo is behind the logos, text, and the transparent overlay. </a:t>
              </a:r>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if appropriate).</a:t>
              </a:r>
              <a:endParaRPr/>
            </a:p>
          </p:txBody>
        </p:sp>
        <p:pic>
          <p:nvPicPr>
            <p:cNvPr id="192" name="Google Shape;192;p50"/>
            <p:cNvPicPr preferRelativeResize="0"/>
            <p:nvPr/>
          </p:nvPicPr>
          <p:blipFill rotWithShape="1">
            <a:blip r:embed="rId2">
              <a:alphaModFix/>
            </a:blip>
            <a:srcRect/>
            <a:stretch/>
          </p:blipFill>
          <p:spPr>
            <a:xfrm>
              <a:off x="9679634" y="1280346"/>
              <a:ext cx="140548" cy="96627"/>
            </a:xfrm>
            <a:prstGeom prst="rect">
              <a:avLst/>
            </a:prstGeom>
            <a:noFill/>
            <a:ln>
              <a:noFill/>
            </a:ln>
          </p:spPr>
        </p:pic>
      </p:grpSp>
      <p:cxnSp>
        <p:nvCxnSpPr>
          <p:cNvPr id="193" name="Google Shape;193;p50"/>
          <p:cNvCxnSpPr/>
          <p:nvPr/>
        </p:nvCxnSpPr>
        <p:spPr>
          <a:xfrm>
            <a:off x="381000" y="443054"/>
            <a:ext cx="8385048" cy="0"/>
          </a:xfrm>
          <a:prstGeom prst="straightConnector1">
            <a:avLst/>
          </a:prstGeom>
          <a:noFill/>
          <a:ln w="12700" cap="flat" cmpd="sng">
            <a:solidFill>
              <a:srgbClr val="8DC8E8"/>
            </a:solidFill>
            <a:prstDash val="solid"/>
            <a:miter lim="800000"/>
            <a:headEnd type="none" w="sm" len="sm"/>
            <a:tailEnd type="none" w="sm" len="sm"/>
          </a:ln>
        </p:spPr>
      </p:cxnSp>
      <p:sp>
        <p:nvSpPr>
          <p:cNvPr id="194" name="Google Shape;194;p50"/>
          <p:cNvSpPr/>
          <p:nvPr/>
        </p:nvSpPr>
        <p:spPr>
          <a:xfrm>
            <a:off x="3788800" y="4913074"/>
            <a:ext cx="1461939" cy="9233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600" dirty="0">
                <a:solidFill>
                  <a:schemeClr val="dk1"/>
                </a:solidFill>
                <a:latin typeface="Arial"/>
                <a:ea typeface="Arial"/>
                <a:cs typeface="Arial"/>
                <a:sym typeface="Arial"/>
              </a:rPr>
              <a:t>© 2021 Genentech, Inc. All rights reserved</a:t>
            </a:r>
            <a:endParaRPr dirty="0"/>
          </a:p>
        </p:txBody>
      </p:sp>
      <p:sp>
        <p:nvSpPr>
          <p:cNvPr id="13" name="Google Shape;58;p36">
            <a:extLst>
              <a:ext uri="{FF2B5EF4-FFF2-40B4-BE49-F238E27FC236}">
                <a16:creationId xmlns:a16="http://schemas.microsoft.com/office/drawing/2014/main" id="{AB501D2E-2E4B-4E1D-A0F8-52CED7282C64}"/>
              </a:ext>
            </a:extLst>
          </p:cNvPr>
          <p:cNvSpPr txBox="1">
            <a:spLocks noGrp="1"/>
          </p:cNvSpPr>
          <p:nvPr>
            <p:ph type="body" idx="10"/>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5" name="Google Shape;60;p36">
            <a:extLst>
              <a:ext uri="{FF2B5EF4-FFF2-40B4-BE49-F238E27FC236}">
                <a16:creationId xmlns:a16="http://schemas.microsoft.com/office/drawing/2014/main" id="{C5B4202C-C7BC-453C-9DD3-B4EEA9E8FF3D}"/>
              </a:ext>
            </a:extLst>
          </p:cNvPr>
          <p:cNvSpPr txBox="1">
            <a:spLocks noGrp="1"/>
          </p:cNvSpPr>
          <p:nvPr>
            <p:ph type="body" idx="3" hasCustomPrompt="1"/>
          </p:nvPr>
        </p:nvSpPr>
        <p:spPr>
          <a:xfrm>
            <a:off x="381648" y="4745251"/>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r>
              <a:rPr lang="en-US" dirty="0"/>
              <a:t>Footnote placeholder</a:t>
            </a:r>
          </a:p>
        </p:txBody>
      </p:sp>
    </p:spTree>
    <p:extLst>
      <p:ext uri="{BB962C8B-B14F-4D97-AF65-F5344CB8AC3E}">
        <p14:creationId xmlns:p14="http://schemas.microsoft.com/office/powerpoint/2010/main" val="3851747891"/>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Process + Photos" userDrawn="1">
  <p:cSld name="Process + Photos">
    <p:bg>
      <p:bgPr>
        <a:solidFill>
          <a:schemeClr val="lt1"/>
        </a:solidFill>
        <a:effectLst/>
      </p:bgPr>
    </p:bg>
    <p:spTree>
      <p:nvGrpSpPr>
        <p:cNvPr id="1" name="Shape 198"/>
        <p:cNvGrpSpPr/>
        <p:nvPr/>
      </p:nvGrpSpPr>
      <p:grpSpPr>
        <a:xfrm>
          <a:off x="0" y="0"/>
          <a:ext cx="0" cy="0"/>
          <a:chOff x="0" y="0"/>
          <a:chExt cx="0" cy="0"/>
        </a:xfrm>
      </p:grpSpPr>
      <p:sp>
        <p:nvSpPr>
          <p:cNvPr id="199" name="Google Shape;199;p51"/>
          <p:cNvSpPr>
            <a:spLocks noGrp="1"/>
          </p:cNvSpPr>
          <p:nvPr>
            <p:ph type="pic" idx="2"/>
          </p:nvPr>
        </p:nvSpPr>
        <p:spPr>
          <a:xfrm>
            <a:off x="0" y="1598613"/>
            <a:ext cx="2156274" cy="2282825"/>
          </a:xfrm>
          <a:prstGeom prst="rect">
            <a:avLst/>
          </a:prstGeom>
          <a:solidFill>
            <a:srgbClr val="F2F2F2"/>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00" name="Google Shape;200;p51"/>
          <p:cNvSpPr/>
          <p:nvPr/>
        </p:nvSpPr>
        <p:spPr>
          <a:xfrm>
            <a:off x="1674989" y="1599384"/>
            <a:ext cx="1797661" cy="2282052"/>
          </a:xfrm>
          <a:prstGeom prst="chevron">
            <a:avLst>
              <a:gd name="adj" fmla="val 27001"/>
            </a:avLst>
          </a:prstGeom>
          <a:solidFill>
            <a:srgbClr val="DDEEF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Arial"/>
              <a:cs typeface="Arial"/>
              <a:sym typeface="Arial"/>
            </a:endParaRPr>
          </a:p>
        </p:txBody>
      </p:sp>
      <p:sp>
        <p:nvSpPr>
          <p:cNvPr id="201" name="Google Shape;201;p51"/>
          <p:cNvSpPr/>
          <p:nvPr/>
        </p:nvSpPr>
        <p:spPr>
          <a:xfrm>
            <a:off x="2982690" y="1599382"/>
            <a:ext cx="1886036" cy="2282052"/>
          </a:xfrm>
          <a:prstGeom prst="chevron">
            <a:avLst>
              <a:gd name="adj" fmla="val 27001"/>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Arial"/>
              <a:cs typeface="Arial"/>
              <a:sym typeface="Arial"/>
            </a:endParaRPr>
          </a:p>
        </p:txBody>
      </p:sp>
      <p:sp>
        <p:nvSpPr>
          <p:cNvPr id="202" name="Google Shape;202;p51"/>
          <p:cNvSpPr/>
          <p:nvPr/>
        </p:nvSpPr>
        <p:spPr>
          <a:xfrm>
            <a:off x="4383510" y="1599384"/>
            <a:ext cx="1797661" cy="2282052"/>
          </a:xfrm>
          <a:prstGeom prst="chevron">
            <a:avLst>
              <a:gd name="adj" fmla="val 27001"/>
            </a:avLst>
          </a:prstGeom>
          <a:solidFill>
            <a:srgbClr val="DDEEF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Arial"/>
              <a:cs typeface="Arial"/>
              <a:sym typeface="Arial"/>
            </a:endParaRPr>
          </a:p>
        </p:txBody>
      </p:sp>
      <p:sp>
        <p:nvSpPr>
          <p:cNvPr id="203" name="Google Shape;203;p51"/>
          <p:cNvSpPr/>
          <p:nvPr/>
        </p:nvSpPr>
        <p:spPr>
          <a:xfrm>
            <a:off x="5682072" y="1599382"/>
            <a:ext cx="1913859" cy="2282052"/>
          </a:xfrm>
          <a:prstGeom prst="chevron">
            <a:avLst>
              <a:gd name="adj" fmla="val 27001"/>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Arial"/>
              <a:cs typeface="Arial"/>
              <a:sym typeface="Arial"/>
            </a:endParaRPr>
          </a:p>
        </p:txBody>
      </p:sp>
      <p:sp>
        <p:nvSpPr>
          <p:cNvPr id="204" name="Google Shape;204;p51"/>
          <p:cNvSpPr/>
          <p:nvPr/>
        </p:nvSpPr>
        <p:spPr>
          <a:xfrm>
            <a:off x="4383509" y="3566073"/>
            <a:ext cx="2858025" cy="315361"/>
          </a:xfrm>
          <a:prstGeom prst="parallelogram">
            <a:avLst>
              <a:gd name="adj" fmla="val 40361"/>
            </a:avLst>
          </a:prstGeom>
          <a:solidFill>
            <a:srgbClr val="8DC8E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n-lt"/>
              <a:ea typeface="Arial"/>
              <a:cs typeface="Arial"/>
              <a:sym typeface="Arial"/>
            </a:endParaRPr>
          </a:p>
        </p:txBody>
      </p:sp>
      <p:sp>
        <p:nvSpPr>
          <p:cNvPr id="205" name="Google Shape;205;p51"/>
          <p:cNvSpPr>
            <a:spLocks noGrp="1"/>
          </p:cNvSpPr>
          <p:nvPr>
            <p:ph type="pic" idx="3"/>
          </p:nvPr>
        </p:nvSpPr>
        <p:spPr>
          <a:xfrm>
            <a:off x="7070498" y="1599380"/>
            <a:ext cx="2073500" cy="228205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06" name="Google Shape;206;p51"/>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207" name="Google Shape;207;p51"/>
          <p:cNvSpPr txBox="1">
            <a:spLocks noGrp="1"/>
          </p:cNvSpPr>
          <p:nvPr>
            <p:ph type="body" idx="1"/>
          </p:nvPr>
        </p:nvSpPr>
        <p:spPr>
          <a:xfrm>
            <a:off x="3537256" y="2514141"/>
            <a:ext cx="1117230" cy="822325"/>
          </a:xfrm>
          <a:prstGeom prst="rect">
            <a:avLst/>
          </a:prstGeom>
          <a:noFill/>
          <a:ln>
            <a:noFill/>
          </a:ln>
        </p:spPr>
        <p:txBody>
          <a:bodyPr spcFirstLastPara="1" wrap="square" lIns="0" tIns="0" rIns="0" bIns="0" anchor="t" anchorCtr="0">
            <a:noAutofit/>
          </a:bodyPr>
          <a:lstStyle>
            <a:lvl1pPr marL="457200" lvl="0" indent="-228600" algn="ctr">
              <a:lnSpc>
                <a:spcPct val="90000"/>
              </a:lnSpc>
              <a:spcBef>
                <a:spcPts val="600"/>
              </a:spcBef>
              <a:spcAft>
                <a:spcPts val="0"/>
              </a:spcAft>
              <a:buSzPts val="1050"/>
              <a:buNone/>
              <a:defRPr sz="1050">
                <a:solidFill>
                  <a:srgbClr val="003087"/>
                </a:solidFill>
                <a:latin typeface="+mn-lt"/>
                <a:ea typeface="Arial"/>
                <a:cs typeface="Arial"/>
                <a:sym typeface="Arial"/>
              </a:defRPr>
            </a:lvl1pPr>
            <a:lvl2pPr marL="914400" lvl="1"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600" lvl="2"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800" lvl="3"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6000" lvl="4"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08" name="Google Shape;208;p51"/>
          <p:cNvSpPr txBox="1">
            <a:spLocks noGrp="1"/>
          </p:cNvSpPr>
          <p:nvPr>
            <p:ph type="body" idx="4"/>
          </p:nvPr>
        </p:nvSpPr>
        <p:spPr>
          <a:xfrm>
            <a:off x="4930957" y="2514141"/>
            <a:ext cx="1029178" cy="822325"/>
          </a:xfrm>
          <a:prstGeom prst="rect">
            <a:avLst/>
          </a:prstGeom>
          <a:noFill/>
          <a:ln>
            <a:noFill/>
          </a:ln>
        </p:spPr>
        <p:txBody>
          <a:bodyPr spcFirstLastPara="1" wrap="square" lIns="0" tIns="0" rIns="0" bIns="0" anchor="t" anchorCtr="0">
            <a:noAutofit/>
          </a:bodyPr>
          <a:lstStyle>
            <a:lvl1pPr marL="457200" lvl="0" indent="-228600" algn="ctr">
              <a:lnSpc>
                <a:spcPct val="90000"/>
              </a:lnSpc>
              <a:spcBef>
                <a:spcPts val="600"/>
              </a:spcBef>
              <a:spcAft>
                <a:spcPts val="0"/>
              </a:spcAft>
              <a:buSzPts val="1050"/>
              <a:buNone/>
              <a:defRPr sz="1050">
                <a:solidFill>
                  <a:srgbClr val="003087"/>
                </a:solidFill>
                <a:latin typeface="+mn-lt"/>
                <a:ea typeface="Arial"/>
                <a:cs typeface="Arial"/>
                <a:sym typeface="Arial"/>
              </a:defRPr>
            </a:lvl1pPr>
            <a:lvl2pPr marL="914400" lvl="1"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600" lvl="2"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800" lvl="3"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6000" lvl="4"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09" name="Google Shape;209;p51"/>
          <p:cNvSpPr txBox="1">
            <a:spLocks noGrp="1"/>
          </p:cNvSpPr>
          <p:nvPr>
            <p:ph type="body" idx="5"/>
          </p:nvPr>
        </p:nvSpPr>
        <p:spPr>
          <a:xfrm>
            <a:off x="6225415" y="2514141"/>
            <a:ext cx="1029162" cy="822325"/>
          </a:xfrm>
          <a:prstGeom prst="rect">
            <a:avLst/>
          </a:prstGeom>
          <a:noFill/>
          <a:ln>
            <a:noFill/>
          </a:ln>
        </p:spPr>
        <p:txBody>
          <a:bodyPr spcFirstLastPara="1" wrap="square" lIns="0" tIns="0" rIns="0" bIns="0" anchor="t" anchorCtr="0">
            <a:noAutofit/>
          </a:bodyPr>
          <a:lstStyle>
            <a:lvl1pPr marL="457200" lvl="0" indent="-228600" algn="ctr">
              <a:lnSpc>
                <a:spcPct val="90000"/>
              </a:lnSpc>
              <a:spcBef>
                <a:spcPts val="600"/>
              </a:spcBef>
              <a:spcAft>
                <a:spcPts val="0"/>
              </a:spcAft>
              <a:buSzPts val="1050"/>
              <a:buNone/>
              <a:defRPr sz="1050">
                <a:solidFill>
                  <a:srgbClr val="003087"/>
                </a:solidFill>
                <a:latin typeface="+mn-lt"/>
                <a:ea typeface="Arial"/>
                <a:cs typeface="Arial"/>
                <a:sym typeface="Arial"/>
              </a:defRPr>
            </a:lvl1pPr>
            <a:lvl2pPr marL="914400" lvl="1"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600" lvl="2"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800" lvl="3"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6000" lvl="4"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10" name="Google Shape;210;p51"/>
          <p:cNvSpPr txBox="1">
            <a:spLocks noGrp="1"/>
          </p:cNvSpPr>
          <p:nvPr>
            <p:ph type="body" idx="6"/>
          </p:nvPr>
        </p:nvSpPr>
        <p:spPr>
          <a:xfrm>
            <a:off x="4498506" y="3564416"/>
            <a:ext cx="2586906" cy="321637"/>
          </a:xfrm>
          <a:prstGeom prst="rect">
            <a:avLst/>
          </a:prstGeom>
          <a:noFill/>
          <a:ln>
            <a:noFill/>
          </a:ln>
        </p:spPr>
        <p:txBody>
          <a:bodyPr spcFirstLastPara="1" wrap="square" lIns="0" tIns="0" rIns="0" bIns="0" anchor="ctr" anchorCtr="0">
            <a:noAutofit/>
          </a:bodyPr>
          <a:lstStyle>
            <a:lvl1pPr marL="457200" lvl="0" indent="-228600" algn="ctr">
              <a:lnSpc>
                <a:spcPct val="90000"/>
              </a:lnSpc>
              <a:spcBef>
                <a:spcPts val="600"/>
              </a:spcBef>
              <a:spcAft>
                <a:spcPts val="0"/>
              </a:spcAft>
              <a:buSzPts val="1600"/>
              <a:buNone/>
              <a:defRPr sz="1600">
                <a:solidFill>
                  <a:srgbClr val="0066CC"/>
                </a:solidFill>
                <a:latin typeface="+mn-lt"/>
                <a:ea typeface="Arial"/>
                <a:cs typeface="Arial"/>
                <a:sym typeface="Arial"/>
              </a:defRPr>
            </a:lvl1pPr>
            <a:lvl2pPr marL="914400" lvl="1"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600" lvl="2"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800" lvl="3"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6000" lvl="4"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grpSp>
        <p:nvGrpSpPr>
          <p:cNvPr id="211" name="Google Shape;211;p51"/>
          <p:cNvGrpSpPr/>
          <p:nvPr/>
        </p:nvGrpSpPr>
        <p:grpSpPr>
          <a:xfrm>
            <a:off x="9206185" y="51750"/>
            <a:ext cx="2202899" cy="4431983"/>
            <a:chOff x="9248019" y="51750"/>
            <a:chExt cx="2202899" cy="4431983"/>
          </a:xfrm>
        </p:grpSpPr>
        <p:sp>
          <p:nvSpPr>
            <p:cNvPr id="212" name="Google Shape;212;p51"/>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a:solidFill>
                    <a:srgbClr val="7D8183"/>
                  </a:solidFill>
                  <a:latin typeface="Arial"/>
                  <a:ea typeface="Arial"/>
                  <a:cs typeface="Arial"/>
                  <a:sym typeface="Arial"/>
                </a:rPr>
                <a:t>THERE ARE TWO (2) OPTION TO CUSTOMIZE A LAYOUT WITH A </a:t>
              </a:r>
              <a:br>
                <a:rPr lang="en-US" sz="900" b="1" i="0">
                  <a:solidFill>
                    <a:srgbClr val="7D8183"/>
                  </a:solidFill>
                  <a:latin typeface="Arial"/>
                  <a:ea typeface="Arial"/>
                  <a:cs typeface="Arial"/>
                  <a:sym typeface="Arial"/>
                </a:rPr>
              </a:br>
              <a:r>
                <a:rPr lang="en-US" sz="900" b="1" i="0">
                  <a:solidFill>
                    <a:srgbClr val="7D8183"/>
                  </a:solidFill>
                  <a:latin typeface="Arial"/>
                  <a:ea typeface="Arial"/>
                  <a:cs typeface="Arial"/>
                  <a:sym typeface="Arial"/>
                </a:rPr>
                <a:t>NEW PICTURE:</a:t>
              </a:r>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a:solidFill>
                    <a:srgbClr val="7D8183"/>
                  </a:solidFill>
                  <a:latin typeface="Arial"/>
                  <a:ea typeface="Arial"/>
                  <a:cs typeface="Arial"/>
                  <a:sym typeface="Arial"/>
                </a:rPr>
                <a:t>Delete the current picture, if there </a:t>
              </a:r>
              <a:br>
                <a:rPr lang="en-US" sz="900" b="1" i="0">
                  <a:solidFill>
                    <a:srgbClr val="7D8183"/>
                  </a:solidFill>
                  <a:latin typeface="Arial"/>
                  <a:ea typeface="Arial"/>
                  <a:cs typeface="Arial"/>
                  <a:sym typeface="Arial"/>
                </a:rPr>
              </a:br>
              <a:r>
                <a:rPr lang="en-US" sz="900" b="1" i="0">
                  <a:solidFill>
                    <a:srgbClr val="7D8183"/>
                  </a:solidFill>
                  <a:latin typeface="Arial"/>
                  <a:ea typeface="Arial"/>
                  <a:cs typeface="Arial"/>
                  <a:sym typeface="Arial"/>
                </a:rPr>
                <a:t>is one.</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On the Insert tab, click the Pictures button OR you can click the picture icon      on the slide surface to start your search.</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Navigate to the image you want to use and select Insert. </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Under Home click the Reset button to reapply the Layout.</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Resize the picture to fit the slide, as needed, using the Crop tool. Hold the Shift key and click and drag a corner to scale equally.</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On the Home tab, click the Arrange button, then Send to Back so the photo is behind the logos, text, and the transparent overlay. </a:t>
              </a:r>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if appropriate).</a:t>
              </a:r>
              <a:endParaRPr/>
            </a:p>
          </p:txBody>
        </p:sp>
        <p:pic>
          <p:nvPicPr>
            <p:cNvPr id="213" name="Google Shape;213;p51"/>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214" name="Google Shape;214;p51"/>
          <p:cNvSpPr txBox="1">
            <a:spLocks noGrp="1"/>
          </p:cNvSpPr>
          <p:nvPr>
            <p:ph type="body" idx="7"/>
          </p:nvPr>
        </p:nvSpPr>
        <p:spPr>
          <a:xfrm>
            <a:off x="2191420" y="2514141"/>
            <a:ext cx="1015124" cy="822325"/>
          </a:xfrm>
          <a:prstGeom prst="rect">
            <a:avLst/>
          </a:prstGeom>
          <a:noFill/>
          <a:ln>
            <a:noFill/>
          </a:ln>
        </p:spPr>
        <p:txBody>
          <a:bodyPr spcFirstLastPara="1" wrap="square" lIns="0" tIns="0" rIns="0" bIns="0" anchor="t" anchorCtr="0">
            <a:noAutofit/>
          </a:bodyPr>
          <a:lstStyle>
            <a:lvl1pPr marL="457200" lvl="0" indent="-228600" algn="ctr">
              <a:lnSpc>
                <a:spcPct val="90000"/>
              </a:lnSpc>
              <a:spcBef>
                <a:spcPts val="600"/>
              </a:spcBef>
              <a:spcAft>
                <a:spcPts val="0"/>
              </a:spcAft>
              <a:buSzPts val="1050"/>
              <a:buNone/>
              <a:defRPr sz="1050">
                <a:solidFill>
                  <a:srgbClr val="003087"/>
                </a:solidFill>
                <a:latin typeface="+mn-lt"/>
                <a:ea typeface="Arial"/>
                <a:cs typeface="Arial"/>
                <a:sym typeface="Arial"/>
              </a:defRPr>
            </a:lvl1pPr>
            <a:lvl2pPr marL="914400" lvl="1"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600" lvl="2"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800" lvl="3"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6000" lvl="4"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15" name="Google Shape;215;p51"/>
          <p:cNvSpPr/>
          <p:nvPr/>
        </p:nvSpPr>
        <p:spPr>
          <a:xfrm>
            <a:off x="1670285" y="3566073"/>
            <a:ext cx="1451457" cy="315361"/>
          </a:xfrm>
          <a:prstGeom prst="parallelogram">
            <a:avLst>
              <a:gd name="adj" fmla="val 43503"/>
            </a:avLst>
          </a:prstGeom>
          <a:solidFill>
            <a:srgbClr val="8DC8E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mn-lt"/>
              <a:ea typeface="Arial"/>
              <a:cs typeface="Arial"/>
              <a:sym typeface="Arial"/>
            </a:endParaRPr>
          </a:p>
        </p:txBody>
      </p:sp>
      <p:sp>
        <p:nvSpPr>
          <p:cNvPr id="216" name="Google Shape;216;p51"/>
          <p:cNvSpPr txBox="1">
            <a:spLocks noGrp="1"/>
          </p:cNvSpPr>
          <p:nvPr>
            <p:ph type="body" idx="8"/>
          </p:nvPr>
        </p:nvSpPr>
        <p:spPr>
          <a:xfrm>
            <a:off x="1630745" y="3564416"/>
            <a:ext cx="1531555" cy="321637"/>
          </a:xfrm>
          <a:prstGeom prst="rect">
            <a:avLst/>
          </a:prstGeom>
          <a:noFill/>
          <a:ln>
            <a:noFill/>
          </a:ln>
        </p:spPr>
        <p:txBody>
          <a:bodyPr spcFirstLastPara="1" wrap="square" lIns="0" tIns="0" rIns="0" bIns="0" anchor="ctr" anchorCtr="0">
            <a:noAutofit/>
          </a:bodyPr>
          <a:lstStyle>
            <a:lvl1pPr marL="457200" lvl="0" indent="-228600" algn="ctr">
              <a:lnSpc>
                <a:spcPct val="90000"/>
              </a:lnSpc>
              <a:spcBef>
                <a:spcPts val="600"/>
              </a:spcBef>
              <a:spcAft>
                <a:spcPts val="0"/>
              </a:spcAft>
              <a:buSzPts val="1000"/>
              <a:buNone/>
              <a:defRPr sz="1000">
                <a:solidFill>
                  <a:srgbClr val="0066CC"/>
                </a:solidFill>
                <a:latin typeface="+mn-lt"/>
                <a:ea typeface="Arial"/>
                <a:cs typeface="Arial"/>
                <a:sym typeface="Arial"/>
              </a:defRPr>
            </a:lvl1pPr>
            <a:lvl2pPr marL="914400" lvl="1"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600" lvl="2"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800" lvl="3"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6000" lvl="4" indent="-228600"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2" name="Google Shape;58;p36">
            <a:extLst>
              <a:ext uri="{FF2B5EF4-FFF2-40B4-BE49-F238E27FC236}">
                <a16:creationId xmlns:a16="http://schemas.microsoft.com/office/drawing/2014/main" id="{C12D01A3-1CE1-47E9-8A94-34BB43D77982}"/>
              </a:ext>
            </a:extLst>
          </p:cNvPr>
          <p:cNvSpPr txBox="1">
            <a:spLocks noGrp="1"/>
          </p:cNvSpPr>
          <p:nvPr>
            <p:ph type="body" idx="14"/>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24" name="Google Shape;60;p36">
            <a:extLst>
              <a:ext uri="{FF2B5EF4-FFF2-40B4-BE49-F238E27FC236}">
                <a16:creationId xmlns:a16="http://schemas.microsoft.com/office/drawing/2014/main" id="{83DA06AC-099A-4867-AC53-43F48CC00D1A}"/>
              </a:ext>
            </a:extLst>
          </p:cNvPr>
          <p:cNvSpPr txBox="1">
            <a:spLocks noGrp="1"/>
          </p:cNvSpPr>
          <p:nvPr>
            <p:ph type="body" idx="15" hasCustomPrompt="1"/>
          </p:nvPr>
        </p:nvSpPr>
        <p:spPr>
          <a:xfrm>
            <a:off x="381648" y="4745251"/>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r>
              <a:rPr lang="en-US" dirty="0"/>
              <a:t>Footnote placeholder</a:t>
            </a:r>
          </a:p>
        </p:txBody>
      </p:sp>
    </p:spTree>
    <p:extLst>
      <p:ext uri="{BB962C8B-B14F-4D97-AF65-F5344CB8AC3E}">
        <p14:creationId xmlns:p14="http://schemas.microsoft.com/office/powerpoint/2010/main" val="1018358842"/>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Photo Left+Content" userDrawn="1">
  <p:cSld name="Photo Left+Content">
    <p:spTree>
      <p:nvGrpSpPr>
        <p:cNvPr id="1" name="Shape 185"/>
        <p:cNvGrpSpPr/>
        <p:nvPr/>
      </p:nvGrpSpPr>
      <p:grpSpPr>
        <a:xfrm>
          <a:off x="0" y="0"/>
          <a:ext cx="0" cy="0"/>
          <a:chOff x="0" y="0"/>
          <a:chExt cx="0" cy="0"/>
        </a:xfrm>
      </p:grpSpPr>
      <p:sp>
        <p:nvSpPr>
          <p:cNvPr id="186" name="Google Shape;186;p50"/>
          <p:cNvSpPr>
            <a:spLocks noGrp="1"/>
          </p:cNvSpPr>
          <p:nvPr>
            <p:ph type="pic" idx="2"/>
          </p:nvPr>
        </p:nvSpPr>
        <p:spPr>
          <a:xfrm>
            <a:off x="381649" y="1727200"/>
            <a:ext cx="3997325" cy="2787650"/>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187" name="Google Shape;187;p50"/>
          <p:cNvSpPr txBox="1">
            <a:spLocks noGrp="1"/>
          </p:cNvSpPr>
          <p:nvPr>
            <p:ph type="title"/>
          </p:nvPr>
        </p:nvSpPr>
        <p:spPr>
          <a:xfrm>
            <a:off x="381648" y="585796"/>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88" name="Google Shape;188;p50"/>
          <p:cNvSpPr txBox="1">
            <a:spLocks noGrp="1"/>
          </p:cNvSpPr>
          <p:nvPr>
            <p:ph type="body" idx="1"/>
          </p:nvPr>
        </p:nvSpPr>
        <p:spPr>
          <a:xfrm>
            <a:off x="4629150" y="1283550"/>
            <a:ext cx="4133850" cy="3231301"/>
          </a:xfrm>
          <a:prstGeom prst="rect">
            <a:avLst/>
          </a:prstGeom>
          <a:noFill/>
          <a:ln>
            <a:noFill/>
          </a:ln>
        </p:spPr>
        <p:txBody>
          <a:bodyPr spcFirstLastPara="1" wrap="square" lIns="0" tIns="0" rIns="0" bIns="0" anchor="t" anchorCtr="0">
            <a:noAutofit/>
          </a:bodyPr>
          <a:lstStyle>
            <a:lvl1pPr marL="457189" lvl="0" indent="-330192" algn="l">
              <a:lnSpc>
                <a:spcPct val="90000"/>
              </a:lnSpc>
              <a:spcBef>
                <a:spcPts val="600"/>
              </a:spcBef>
              <a:spcAft>
                <a:spcPts val="0"/>
              </a:spcAft>
              <a:buSzPts val="1600"/>
              <a:buChar char="•"/>
              <a:defRPr>
                <a:solidFill>
                  <a:schemeClr val="dk1"/>
                </a:solidFill>
                <a:latin typeface="+mn-lt"/>
              </a:defRPr>
            </a:lvl1pPr>
            <a:lvl2pPr marL="914378" lvl="1" indent="-317492" algn="l">
              <a:lnSpc>
                <a:spcPct val="90000"/>
              </a:lnSpc>
              <a:spcBef>
                <a:spcPts val="600"/>
              </a:spcBef>
              <a:spcAft>
                <a:spcPts val="0"/>
              </a:spcAft>
              <a:buSzPts val="1400"/>
              <a:buChar char="•"/>
              <a:defRPr>
                <a:solidFill>
                  <a:schemeClr val="dk1"/>
                </a:solidFill>
              </a:defRPr>
            </a:lvl2pPr>
            <a:lvl3pPr marL="1371566" lvl="2" indent="-298442" algn="l">
              <a:lnSpc>
                <a:spcPct val="90000"/>
              </a:lnSpc>
              <a:spcBef>
                <a:spcPts val="600"/>
              </a:spcBef>
              <a:spcAft>
                <a:spcPts val="0"/>
              </a:spcAft>
              <a:buSzPts val="1100"/>
              <a:buChar char="•"/>
              <a:defRPr>
                <a:solidFill>
                  <a:schemeClr val="dk1"/>
                </a:solidFill>
              </a:defRPr>
            </a:lvl3pPr>
            <a:lvl4pPr marL="1828754" lvl="3" indent="-295268" algn="l">
              <a:lnSpc>
                <a:spcPct val="90000"/>
              </a:lnSpc>
              <a:spcBef>
                <a:spcPts val="600"/>
              </a:spcBef>
              <a:spcAft>
                <a:spcPts val="0"/>
              </a:spcAft>
              <a:buSzPts val="1050"/>
              <a:buChar char="•"/>
              <a:defRPr>
                <a:solidFill>
                  <a:schemeClr val="dk1"/>
                </a:solidFill>
              </a:defRPr>
            </a:lvl4pPr>
            <a:lvl5pPr marL="2285943" lvl="4" indent="-295268" algn="l">
              <a:lnSpc>
                <a:spcPct val="90000"/>
              </a:lnSpc>
              <a:spcBef>
                <a:spcPts val="600"/>
              </a:spcBef>
              <a:spcAft>
                <a:spcPts val="0"/>
              </a:spcAft>
              <a:buSzPts val="1050"/>
              <a:buChar char="•"/>
              <a:defRPr>
                <a:solidFill>
                  <a:schemeClr val="dk1"/>
                </a:solidFill>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189" name="Google Shape;189;p50"/>
          <p:cNvSpPr txBox="1"/>
          <p:nvPr/>
        </p:nvSpPr>
        <p:spPr>
          <a:xfrm>
            <a:off x="8770346" y="4980081"/>
            <a:ext cx="373655" cy="163420"/>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chemeClr val="accent6"/>
              </a:buClr>
              <a:buSzPts val="300"/>
              <a:buFont typeface="Georgia"/>
              <a:buNone/>
            </a:pPr>
            <a:fld id="{00000000-1234-1234-1234-123412341234}" type="slidenum">
              <a:rPr lang="en-US" sz="700" b="0" i="0" u="none" strike="noStrike" cap="none">
                <a:solidFill>
                  <a:srgbClr val="545859"/>
                </a:solidFill>
                <a:latin typeface="Arial"/>
                <a:ea typeface="Arial"/>
                <a:cs typeface="Arial"/>
                <a:sym typeface="Arial"/>
              </a:rPr>
              <a:pPr marL="0" marR="0" lvl="0" indent="0" algn="r" rtl="0">
                <a:lnSpc>
                  <a:spcPct val="100000"/>
                </a:lnSpc>
                <a:spcBef>
                  <a:spcPts val="0"/>
                </a:spcBef>
                <a:spcAft>
                  <a:spcPts val="0"/>
                </a:spcAft>
                <a:buClr>
                  <a:schemeClr val="accent6"/>
                </a:buClr>
                <a:buSzPts val="300"/>
                <a:buFont typeface="Georgia"/>
                <a:buNone/>
              </a:pPr>
              <a:t>‹#›</a:t>
            </a:fld>
            <a:endParaRPr sz="700" b="0" i="0" u="none" strike="noStrike" cap="none" dirty="0">
              <a:solidFill>
                <a:srgbClr val="545859"/>
              </a:solidFill>
              <a:latin typeface="Arial"/>
              <a:ea typeface="Arial"/>
              <a:cs typeface="Arial"/>
              <a:sym typeface="Arial"/>
            </a:endParaRPr>
          </a:p>
        </p:txBody>
      </p:sp>
      <p:grpSp>
        <p:nvGrpSpPr>
          <p:cNvPr id="190" name="Google Shape;190;p50"/>
          <p:cNvGrpSpPr/>
          <p:nvPr/>
        </p:nvGrpSpPr>
        <p:grpSpPr>
          <a:xfrm>
            <a:off x="-2241393" y="51749"/>
            <a:ext cx="2202899" cy="4431983"/>
            <a:chOff x="9248019" y="51749"/>
            <a:chExt cx="2202899" cy="4431983"/>
          </a:xfrm>
        </p:grpSpPr>
        <p:sp>
          <p:nvSpPr>
            <p:cNvPr id="191" name="Google Shape;191;p50"/>
            <p:cNvSpPr txBox="1"/>
            <p:nvPr/>
          </p:nvSpPr>
          <p:spPr>
            <a:xfrm>
              <a:off x="9248019" y="51749"/>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THERE ARE TWO (2) OPTION TO CUSTOMIZE A LAYOUT WITH A </a:t>
              </a:r>
              <a:br>
                <a:rPr lang="en-US" sz="900" b="1" i="0" dirty="0">
                  <a:solidFill>
                    <a:srgbClr val="7D8183"/>
                  </a:solidFill>
                  <a:latin typeface="Arial"/>
                  <a:ea typeface="Arial"/>
                  <a:cs typeface="Arial"/>
                  <a:sym typeface="Arial"/>
                </a:rPr>
              </a:br>
              <a:r>
                <a:rPr lang="en-US" sz="900" b="1" i="0" dirty="0">
                  <a:solidFill>
                    <a:srgbClr val="7D8183"/>
                  </a:solidFill>
                  <a:latin typeface="Arial"/>
                  <a:ea typeface="Arial"/>
                  <a:cs typeface="Arial"/>
                  <a:sym typeface="Arial"/>
                </a:rPr>
                <a:t>NEW PICTURE:</a:t>
              </a:r>
              <a:endParaRPr sz="1800" dirty="0"/>
            </a:p>
            <a:p>
              <a:pPr marL="174621" marR="0" lvl="0" indent="-174621" algn="l" rtl="0">
                <a:lnSpc>
                  <a:spcPct val="100000"/>
                </a:lnSpc>
                <a:spcBef>
                  <a:spcPts val="1200"/>
                </a:spcBef>
                <a:spcAft>
                  <a:spcPts val="0"/>
                </a:spcAft>
                <a:buClr>
                  <a:srgbClr val="7D8183"/>
                </a:buClr>
                <a:buSzPts val="900"/>
                <a:buFont typeface="Arial"/>
                <a:buAutoNum type="arabicPeriod"/>
              </a:pPr>
              <a:r>
                <a:rPr lang="en-US" sz="900" b="1" i="0" dirty="0">
                  <a:solidFill>
                    <a:srgbClr val="7D8183"/>
                  </a:solidFill>
                  <a:latin typeface="Arial"/>
                  <a:ea typeface="Arial"/>
                  <a:cs typeface="Arial"/>
                  <a:sym typeface="Arial"/>
                </a:rPr>
                <a:t>Delete the current picture, if there </a:t>
              </a:r>
              <a:br>
                <a:rPr lang="en-US" sz="900" b="1" i="0" dirty="0">
                  <a:solidFill>
                    <a:srgbClr val="7D8183"/>
                  </a:solidFill>
                  <a:latin typeface="Arial"/>
                  <a:ea typeface="Arial"/>
                  <a:cs typeface="Arial"/>
                  <a:sym typeface="Arial"/>
                </a:rPr>
              </a:br>
              <a:r>
                <a:rPr lang="en-US" sz="900" b="1" i="0" dirty="0">
                  <a:solidFill>
                    <a:srgbClr val="7D8183"/>
                  </a:solidFill>
                  <a:latin typeface="Arial"/>
                  <a:ea typeface="Arial"/>
                  <a:cs typeface="Arial"/>
                  <a:sym typeface="Arial"/>
                </a:rPr>
                <a:t>is one.</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On the Insert tab, click the Pictures button OR you can click the picture icon      on the slide surface to start your search.</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Navigate to the image you want to use and select Insert. </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Under Home click the Reset button to reapply the Layout.</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Resize the picture to fit the slide, as needed, using the Crop tool. Hold the Shift key and click and drag a corner to scale equally.</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On the Home tab, click the Arrange button, then Send to Back so the photo is behind the logos, text, and the transparent overlay. </a:t>
              </a:r>
              <a:endParaRPr sz="1800" dirty="0"/>
            </a:p>
            <a:p>
              <a:pPr marL="174621" marR="0" lvl="0" indent="-174621" algn="l" rtl="0">
                <a:lnSpc>
                  <a:spcPct val="100000"/>
                </a:lnSpc>
                <a:spcBef>
                  <a:spcPts val="1200"/>
                </a:spcBef>
                <a:spcAft>
                  <a:spcPts val="0"/>
                </a:spcAft>
                <a:buClr>
                  <a:srgbClr val="7D8183"/>
                </a:buClr>
                <a:buSzPts val="900"/>
                <a:buFont typeface="Arial"/>
                <a:buAutoNum type="arabicPeriod" startAt="2"/>
              </a:pPr>
              <a:r>
                <a:rPr lang="en-US" sz="900" b="1" i="0" dirty="0">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a:t>
              </a:r>
              <a:r>
                <a:rPr lang="en-US" sz="900" b="1" i="0">
                  <a:solidFill>
                    <a:srgbClr val="7D8183"/>
                  </a:solidFill>
                  <a:latin typeface="Arial"/>
                  <a:ea typeface="Arial"/>
                  <a:cs typeface="Arial"/>
                  <a:sym typeface="Arial"/>
                </a:rPr>
                <a:t>if appropriate</a:t>
              </a:r>
              <a:r>
                <a:rPr lang="en-US" sz="900" b="1" i="0" dirty="0">
                  <a:solidFill>
                    <a:srgbClr val="7D8183"/>
                  </a:solidFill>
                  <a:latin typeface="Arial"/>
                  <a:ea typeface="Arial"/>
                  <a:cs typeface="Arial"/>
                  <a:sym typeface="Arial"/>
                </a:rPr>
                <a:t>).</a:t>
              </a:r>
              <a:endParaRPr sz="1800" dirty="0"/>
            </a:p>
          </p:txBody>
        </p:sp>
        <p:pic>
          <p:nvPicPr>
            <p:cNvPr id="192" name="Google Shape;192;p50"/>
            <p:cNvPicPr preferRelativeResize="0"/>
            <p:nvPr/>
          </p:nvPicPr>
          <p:blipFill rotWithShape="1">
            <a:blip r:embed="rId2">
              <a:alphaModFix/>
            </a:blip>
            <a:srcRect/>
            <a:stretch/>
          </p:blipFill>
          <p:spPr>
            <a:xfrm>
              <a:off x="9679634" y="1280346"/>
              <a:ext cx="140548" cy="96627"/>
            </a:xfrm>
            <a:prstGeom prst="rect">
              <a:avLst/>
            </a:prstGeom>
            <a:noFill/>
            <a:ln>
              <a:noFill/>
            </a:ln>
          </p:spPr>
        </p:pic>
      </p:grpSp>
      <p:cxnSp>
        <p:nvCxnSpPr>
          <p:cNvPr id="193" name="Google Shape;193;p50"/>
          <p:cNvCxnSpPr/>
          <p:nvPr/>
        </p:nvCxnSpPr>
        <p:spPr>
          <a:xfrm>
            <a:off x="381000" y="443054"/>
            <a:ext cx="8385048" cy="0"/>
          </a:xfrm>
          <a:prstGeom prst="straightConnector1">
            <a:avLst/>
          </a:prstGeom>
          <a:noFill/>
          <a:ln w="12700" cap="flat" cmpd="sng">
            <a:solidFill>
              <a:srgbClr val="8DC8E8"/>
            </a:solidFill>
            <a:prstDash val="solid"/>
            <a:miter lim="800000"/>
            <a:headEnd type="none" w="sm" len="sm"/>
            <a:tailEnd type="none" w="sm" len="sm"/>
          </a:ln>
        </p:spPr>
      </p:cxnSp>
      <p:sp>
        <p:nvSpPr>
          <p:cNvPr id="194" name="Google Shape;194;p50"/>
          <p:cNvSpPr/>
          <p:nvPr/>
        </p:nvSpPr>
        <p:spPr>
          <a:xfrm>
            <a:off x="3788801" y="4913075"/>
            <a:ext cx="1461939" cy="9233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600" dirty="0">
                <a:solidFill>
                  <a:schemeClr val="dk1"/>
                </a:solidFill>
                <a:latin typeface="Arial"/>
                <a:ea typeface="Arial"/>
                <a:cs typeface="Arial"/>
                <a:sym typeface="Arial"/>
              </a:rPr>
              <a:t>© 2021 Genentech, Inc. All rights reserved</a:t>
            </a:r>
            <a:endParaRPr sz="1800" dirty="0"/>
          </a:p>
        </p:txBody>
      </p:sp>
      <p:sp>
        <p:nvSpPr>
          <p:cNvPr id="13" name="Google Shape;58;p36">
            <a:extLst>
              <a:ext uri="{FF2B5EF4-FFF2-40B4-BE49-F238E27FC236}">
                <a16:creationId xmlns:a16="http://schemas.microsoft.com/office/drawing/2014/main" id="{AB501D2E-2E4B-4E1D-A0F8-52CED7282C64}"/>
              </a:ext>
            </a:extLst>
          </p:cNvPr>
          <p:cNvSpPr txBox="1">
            <a:spLocks noGrp="1"/>
          </p:cNvSpPr>
          <p:nvPr>
            <p:ph type="body" idx="10"/>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378" lvl="1" indent="-228594" algn="l">
              <a:lnSpc>
                <a:spcPct val="90000"/>
              </a:lnSpc>
              <a:spcBef>
                <a:spcPts val="600"/>
              </a:spcBef>
              <a:spcAft>
                <a:spcPts val="0"/>
              </a:spcAft>
              <a:buSzPts val="1400"/>
              <a:buNone/>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dirty="0"/>
          </a:p>
        </p:txBody>
      </p:sp>
      <p:sp>
        <p:nvSpPr>
          <p:cNvPr id="15" name="Google Shape;60;p36">
            <a:extLst>
              <a:ext uri="{FF2B5EF4-FFF2-40B4-BE49-F238E27FC236}">
                <a16:creationId xmlns:a16="http://schemas.microsoft.com/office/drawing/2014/main" id="{C5B4202C-C7BC-453C-9DD3-B4EEA9E8FF3D}"/>
              </a:ext>
            </a:extLst>
          </p:cNvPr>
          <p:cNvSpPr txBox="1">
            <a:spLocks noGrp="1"/>
          </p:cNvSpPr>
          <p:nvPr>
            <p:ph type="body" idx="3" hasCustomPrompt="1"/>
          </p:nvPr>
        </p:nvSpPr>
        <p:spPr>
          <a:xfrm>
            <a:off x="381648" y="4745252"/>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378" lvl="1" indent="-342892" algn="l">
              <a:lnSpc>
                <a:spcPct val="90000"/>
              </a:lnSpc>
              <a:spcBef>
                <a:spcPts val="600"/>
              </a:spcBef>
              <a:spcAft>
                <a:spcPts val="0"/>
              </a:spcAft>
              <a:buSzPts val="1800"/>
              <a:buChar char="•"/>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r>
              <a:rPr lang="en-US" dirty="0"/>
              <a:t>Footnote placeholder</a:t>
            </a:r>
          </a:p>
        </p:txBody>
      </p:sp>
    </p:spTree>
    <p:extLst>
      <p:ext uri="{BB962C8B-B14F-4D97-AF65-F5344CB8AC3E}">
        <p14:creationId xmlns:p14="http://schemas.microsoft.com/office/powerpoint/2010/main" val="1609626271"/>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Four Photos Right+Content" userDrawn="1">
  <p:cSld name="Four Photos Right+Content">
    <p:spTree>
      <p:nvGrpSpPr>
        <p:cNvPr id="1" name="Shape 219"/>
        <p:cNvGrpSpPr/>
        <p:nvPr/>
      </p:nvGrpSpPr>
      <p:grpSpPr>
        <a:xfrm>
          <a:off x="0" y="0"/>
          <a:ext cx="0" cy="0"/>
          <a:chOff x="0" y="0"/>
          <a:chExt cx="0" cy="0"/>
        </a:xfrm>
      </p:grpSpPr>
      <p:sp>
        <p:nvSpPr>
          <p:cNvPr id="220" name="Google Shape;220;p52"/>
          <p:cNvSpPr>
            <a:spLocks noGrp="1"/>
          </p:cNvSpPr>
          <p:nvPr>
            <p:ph type="pic" idx="2"/>
          </p:nvPr>
        </p:nvSpPr>
        <p:spPr>
          <a:xfrm>
            <a:off x="3899560" y="770382"/>
            <a:ext cx="2082139" cy="1801368"/>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21" name="Google Shape;221;p52"/>
          <p:cNvSpPr>
            <a:spLocks noGrp="1"/>
          </p:cNvSpPr>
          <p:nvPr>
            <p:ph type="pic" idx="3"/>
          </p:nvPr>
        </p:nvSpPr>
        <p:spPr>
          <a:xfrm>
            <a:off x="6137275" y="770381"/>
            <a:ext cx="2625725" cy="1801368"/>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22" name="Google Shape;222;p52"/>
          <p:cNvSpPr>
            <a:spLocks noGrp="1"/>
          </p:cNvSpPr>
          <p:nvPr>
            <p:ph type="pic" idx="4"/>
          </p:nvPr>
        </p:nvSpPr>
        <p:spPr>
          <a:xfrm>
            <a:off x="3899561" y="2716574"/>
            <a:ext cx="2082139" cy="179827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23" name="Google Shape;223;p52"/>
          <p:cNvSpPr>
            <a:spLocks noGrp="1"/>
          </p:cNvSpPr>
          <p:nvPr>
            <p:ph type="pic" idx="5"/>
          </p:nvPr>
        </p:nvSpPr>
        <p:spPr>
          <a:xfrm>
            <a:off x="6137275" y="2716574"/>
            <a:ext cx="2625725" cy="179827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24" name="Google Shape;224;p52"/>
          <p:cNvSpPr txBox="1">
            <a:spLocks noGrp="1"/>
          </p:cNvSpPr>
          <p:nvPr>
            <p:ph type="title"/>
          </p:nvPr>
        </p:nvSpPr>
        <p:spPr>
          <a:xfrm>
            <a:off x="381648" y="585795"/>
            <a:ext cx="34488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 name="Google Shape;225;p52"/>
          <p:cNvSpPr txBox="1">
            <a:spLocks noGrp="1"/>
          </p:cNvSpPr>
          <p:nvPr>
            <p:ph type="body" idx="1"/>
          </p:nvPr>
        </p:nvSpPr>
        <p:spPr>
          <a:xfrm>
            <a:off x="380999" y="1352550"/>
            <a:ext cx="3448800" cy="3162300"/>
          </a:xfrm>
          <a:prstGeom prst="rect">
            <a:avLst/>
          </a:prstGeom>
          <a:noFill/>
          <a:ln>
            <a:noFill/>
          </a:ln>
        </p:spPr>
        <p:txBody>
          <a:bodyPr spcFirstLastPara="1" wrap="square" lIns="0" tIns="0" rIns="0" bIns="0" anchor="t" anchorCtr="0">
            <a:noAutofit/>
          </a:bodyPr>
          <a:lstStyle>
            <a:lvl1pPr marL="173736" lvl="0" indent="-173736" algn="l">
              <a:lnSpc>
                <a:spcPct val="90000"/>
              </a:lnSpc>
              <a:spcBef>
                <a:spcPts val="600"/>
              </a:spcBef>
              <a:spcAft>
                <a:spcPts val="0"/>
              </a:spcAft>
              <a:buSzPts val="1400"/>
              <a:buChar char="•"/>
              <a:defRPr sz="1400">
                <a:solidFill>
                  <a:schemeClr val="dk1"/>
                </a:solidFill>
              </a:defRPr>
            </a:lvl1pPr>
            <a:lvl2pPr marL="347472" lvl="1" indent="-173736" algn="l">
              <a:lnSpc>
                <a:spcPct val="90000"/>
              </a:lnSpc>
              <a:spcBef>
                <a:spcPts val="600"/>
              </a:spcBef>
              <a:spcAft>
                <a:spcPts val="0"/>
              </a:spcAft>
              <a:buSzPts val="1200"/>
              <a:buFont typeface="Gene Sans Light" panose="00000400000000000000" pitchFamily="50" charset="0"/>
              <a:buChar char="–"/>
              <a:defRPr sz="1200">
                <a:solidFill>
                  <a:schemeClr val="dk1"/>
                </a:solidFill>
              </a:defRPr>
            </a:lvl2pPr>
            <a:lvl3pPr marL="1371600" lvl="2" indent="-295275" algn="l">
              <a:lnSpc>
                <a:spcPct val="90000"/>
              </a:lnSpc>
              <a:spcBef>
                <a:spcPts val="600"/>
              </a:spcBef>
              <a:spcAft>
                <a:spcPts val="0"/>
              </a:spcAft>
              <a:buSzPts val="1050"/>
              <a:buChar char="•"/>
              <a:defRPr sz="1050">
                <a:solidFill>
                  <a:schemeClr val="dk1"/>
                </a:solidFill>
              </a:defRPr>
            </a:lvl3pPr>
            <a:lvl4pPr marL="1828800" lvl="3" indent="-292100" algn="l">
              <a:lnSpc>
                <a:spcPct val="90000"/>
              </a:lnSpc>
              <a:spcBef>
                <a:spcPts val="600"/>
              </a:spcBef>
              <a:spcAft>
                <a:spcPts val="0"/>
              </a:spcAft>
              <a:buSzPts val="1000"/>
              <a:buChar char="•"/>
              <a:defRPr sz="1000">
                <a:solidFill>
                  <a:schemeClr val="dk1"/>
                </a:solidFill>
              </a:defRPr>
            </a:lvl4pPr>
            <a:lvl5pPr marL="2286000" lvl="4" indent="-292100" algn="l">
              <a:lnSpc>
                <a:spcPct val="90000"/>
              </a:lnSpc>
              <a:spcBef>
                <a:spcPts val="600"/>
              </a:spcBef>
              <a:spcAft>
                <a:spcPts val="0"/>
              </a:spcAft>
              <a:buSzPts val="1000"/>
              <a:buChar char="•"/>
              <a:defRPr sz="1000">
                <a:solidFill>
                  <a:schemeClr val="dk1"/>
                </a:solidFil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a:p>
            <a:pPr lvl="1"/>
            <a:endParaRPr dirty="0"/>
          </a:p>
        </p:txBody>
      </p:sp>
      <p:grpSp>
        <p:nvGrpSpPr>
          <p:cNvPr id="226" name="Google Shape;226;p52"/>
          <p:cNvGrpSpPr/>
          <p:nvPr/>
        </p:nvGrpSpPr>
        <p:grpSpPr>
          <a:xfrm>
            <a:off x="9206185" y="51750"/>
            <a:ext cx="2202899" cy="4431983"/>
            <a:chOff x="9248019" y="51750"/>
            <a:chExt cx="2202899" cy="4431983"/>
          </a:xfrm>
        </p:grpSpPr>
        <p:sp>
          <p:nvSpPr>
            <p:cNvPr id="227" name="Google Shape;227;p52"/>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a:solidFill>
                    <a:srgbClr val="7D8183"/>
                  </a:solidFill>
                  <a:latin typeface="Arial"/>
                  <a:ea typeface="Arial"/>
                  <a:cs typeface="Arial"/>
                  <a:sym typeface="Arial"/>
                </a:rPr>
                <a:t>THERE ARE TWO (2) OPTION TO CUSTOMIZE A LAYOUT WITH A </a:t>
              </a:r>
              <a:br>
                <a:rPr lang="en-US" sz="900" b="1" i="0">
                  <a:solidFill>
                    <a:srgbClr val="7D8183"/>
                  </a:solidFill>
                  <a:latin typeface="Arial"/>
                  <a:ea typeface="Arial"/>
                  <a:cs typeface="Arial"/>
                  <a:sym typeface="Arial"/>
                </a:rPr>
              </a:br>
              <a:r>
                <a:rPr lang="en-US" sz="900" b="1" i="0">
                  <a:solidFill>
                    <a:srgbClr val="7D8183"/>
                  </a:solidFill>
                  <a:latin typeface="Arial"/>
                  <a:ea typeface="Arial"/>
                  <a:cs typeface="Arial"/>
                  <a:sym typeface="Arial"/>
                </a:rPr>
                <a:t>NEW PICTURE:</a:t>
              </a:r>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a:solidFill>
                    <a:srgbClr val="7D8183"/>
                  </a:solidFill>
                  <a:latin typeface="Arial"/>
                  <a:ea typeface="Arial"/>
                  <a:cs typeface="Arial"/>
                  <a:sym typeface="Arial"/>
                </a:rPr>
                <a:t>Delete the current picture, if there </a:t>
              </a:r>
              <a:br>
                <a:rPr lang="en-US" sz="900" b="1" i="0">
                  <a:solidFill>
                    <a:srgbClr val="7D8183"/>
                  </a:solidFill>
                  <a:latin typeface="Arial"/>
                  <a:ea typeface="Arial"/>
                  <a:cs typeface="Arial"/>
                  <a:sym typeface="Arial"/>
                </a:rPr>
              </a:br>
              <a:r>
                <a:rPr lang="en-US" sz="900" b="1" i="0">
                  <a:solidFill>
                    <a:srgbClr val="7D8183"/>
                  </a:solidFill>
                  <a:latin typeface="Arial"/>
                  <a:ea typeface="Arial"/>
                  <a:cs typeface="Arial"/>
                  <a:sym typeface="Arial"/>
                </a:rPr>
                <a:t>is one.</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On the Insert tab, click the Pictures button OR you can click the picture icon      on the slide surface to start your search.</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Navigate to the image you want to use and select Insert. </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Under Home click the Reset button to reapply the Layout.</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Resize the picture to fit the slide, as needed, using the Crop tool. Hold the Shift key and click and drag a corner to scale equally.</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On the Home tab, click the Arrange button, then Send to Back so the photo is behind the logos, text, and the transparent overlay. </a:t>
              </a:r>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if appropriate).</a:t>
              </a:r>
              <a:endParaRPr/>
            </a:p>
          </p:txBody>
        </p:sp>
        <p:pic>
          <p:nvPicPr>
            <p:cNvPr id="228" name="Google Shape;228;p52"/>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13" name="Google Shape;58;p36">
            <a:extLst>
              <a:ext uri="{FF2B5EF4-FFF2-40B4-BE49-F238E27FC236}">
                <a16:creationId xmlns:a16="http://schemas.microsoft.com/office/drawing/2014/main" id="{E4CEAD88-5C59-4B37-B8AA-F209CD77F799}"/>
              </a:ext>
            </a:extLst>
          </p:cNvPr>
          <p:cNvSpPr txBox="1">
            <a:spLocks noGrp="1"/>
          </p:cNvSpPr>
          <p:nvPr>
            <p:ph type="body" idx="10"/>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5" name="Google Shape;60;p36">
            <a:extLst>
              <a:ext uri="{FF2B5EF4-FFF2-40B4-BE49-F238E27FC236}">
                <a16:creationId xmlns:a16="http://schemas.microsoft.com/office/drawing/2014/main" id="{27C44A00-7B4C-49EF-9E44-9C792355B0F8}"/>
              </a:ext>
            </a:extLst>
          </p:cNvPr>
          <p:cNvSpPr txBox="1">
            <a:spLocks noGrp="1"/>
          </p:cNvSpPr>
          <p:nvPr>
            <p:ph type="body" idx="11" hasCustomPrompt="1"/>
          </p:nvPr>
        </p:nvSpPr>
        <p:spPr>
          <a:xfrm>
            <a:off x="381648" y="4745251"/>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r>
              <a:rPr lang="en-US" dirty="0"/>
              <a:t>Footnote placeholder</a:t>
            </a:r>
          </a:p>
        </p:txBody>
      </p:sp>
    </p:spTree>
    <p:extLst>
      <p:ext uri="{BB962C8B-B14F-4D97-AF65-F5344CB8AC3E}">
        <p14:creationId xmlns:p14="http://schemas.microsoft.com/office/powerpoint/2010/main" val="2993709852"/>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Four Photos Right+Content2" userDrawn="1">
  <p:cSld name="Four Photos Right+Content2">
    <p:spTree>
      <p:nvGrpSpPr>
        <p:cNvPr id="1" name="Shape 231"/>
        <p:cNvGrpSpPr/>
        <p:nvPr/>
      </p:nvGrpSpPr>
      <p:grpSpPr>
        <a:xfrm>
          <a:off x="0" y="0"/>
          <a:ext cx="0" cy="0"/>
          <a:chOff x="0" y="0"/>
          <a:chExt cx="0" cy="0"/>
        </a:xfrm>
      </p:grpSpPr>
      <p:sp>
        <p:nvSpPr>
          <p:cNvPr id="232" name="Google Shape;232;p53"/>
          <p:cNvSpPr>
            <a:spLocks noGrp="1"/>
          </p:cNvSpPr>
          <p:nvPr>
            <p:ph type="pic" idx="2"/>
          </p:nvPr>
        </p:nvSpPr>
        <p:spPr>
          <a:xfrm>
            <a:off x="4572746" y="770382"/>
            <a:ext cx="2011680" cy="1801368"/>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33" name="Google Shape;233;p53"/>
          <p:cNvSpPr>
            <a:spLocks noGrp="1"/>
          </p:cNvSpPr>
          <p:nvPr>
            <p:ph type="pic" idx="3"/>
          </p:nvPr>
        </p:nvSpPr>
        <p:spPr>
          <a:xfrm>
            <a:off x="6751320" y="770381"/>
            <a:ext cx="2011680" cy="1801368"/>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34" name="Google Shape;234;p53"/>
          <p:cNvSpPr>
            <a:spLocks noGrp="1"/>
          </p:cNvSpPr>
          <p:nvPr>
            <p:ph type="pic" idx="4"/>
          </p:nvPr>
        </p:nvSpPr>
        <p:spPr>
          <a:xfrm>
            <a:off x="4572746" y="2716574"/>
            <a:ext cx="2011680" cy="179827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35" name="Google Shape;235;p53"/>
          <p:cNvSpPr>
            <a:spLocks noGrp="1"/>
          </p:cNvSpPr>
          <p:nvPr>
            <p:ph type="pic" idx="5"/>
          </p:nvPr>
        </p:nvSpPr>
        <p:spPr>
          <a:xfrm>
            <a:off x="6751320" y="2716574"/>
            <a:ext cx="2011680" cy="179827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grpSp>
        <p:nvGrpSpPr>
          <p:cNvPr id="237" name="Google Shape;237;p53"/>
          <p:cNvGrpSpPr/>
          <p:nvPr/>
        </p:nvGrpSpPr>
        <p:grpSpPr>
          <a:xfrm>
            <a:off x="9206185" y="51750"/>
            <a:ext cx="2202899" cy="4431983"/>
            <a:chOff x="9248019" y="51750"/>
            <a:chExt cx="2202899" cy="4431983"/>
          </a:xfrm>
        </p:grpSpPr>
        <p:sp>
          <p:nvSpPr>
            <p:cNvPr id="238" name="Google Shape;238;p53"/>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a:solidFill>
                    <a:srgbClr val="7D8183"/>
                  </a:solidFill>
                  <a:latin typeface="Arial"/>
                  <a:ea typeface="Arial"/>
                  <a:cs typeface="Arial"/>
                  <a:sym typeface="Arial"/>
                </a:rPr>
                <a:t>THERE ARE TWO (2) OPTION TO CUSTOMIZE A LAYOUT WITH A </a:t>
              </a:r>
              <a:br>
                <a:rPr lang="en-US" sz="900" b="1" i="0">
                  <a:solidFill>
                    <a:srgbClr val="7D8183"/>
                  </a:solidFill>
                  <a:latin typeface="Arial"/>
                  <a:ea typeface="Arial"/>
                  <a:cs typeface="Arial"/>
                  <a:sym typeface="Arial"/>
                </a:rPr>
              </a:br>
              <a:r>
                <a:rPr lang="en-US" sz="900" b="1" i="0">
                  <a:solidFill>
                    <a:srgbClr val="7D8183"/>
                  </a:solidFill>
                  <a:latin typeface="Arial"/>
                  <a:ea typeface="Arial"/>
                  <a:cs typeface="Arial"/>
                  <a:sym typeface="Arial"/>
                </a:rPr>
                <a:t>NEW PICTURE:</a:t>
              </a:r>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a:solidFill>
                    <a:srgbClr val="7D8183"/>
                  </a:solidFill>
                  <a:latin typeface="Arial"/>
                  <a:ea typeface="Arial"/>
                  <a:cs typeface="Arial"/>
                  <a:sym typeface="Arial"/>
                </a:rPr>
                <a:t>Delete the current picture, if there </a:t>
              </a:r>
              <a:br>
                <a:rPr lang="en-US" sz="900" b="1" i="0">
                  <a:solidFill>
                    <a:srgbClr val="7D8183"/>
                  </a:solidFill>
                  <a:latin typeface="Arial"/>
                  <a:ea typeface="Arial"/>
                  <a:cs typeface="Arial"/>
                  <a:sym typeface="Arial"/>
                </a:rPr>
              </a:br>
              <a:r>
                <a:rPr lang="en-US" sz="900" b="1" i="0">
                  <a:solidFill>
                    <a:srgbClr val="7D8183"/>
                  </a:solidFill>
                  <a:latin typeface="Arial"/>
                  <a:ea typeface="Arial"/>
                  <a:cs typeface="Arial"/>
                  <a:sym typeface="Arial"/>
                </a:rPr>
                <a:t>is one.</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On the Insert tab, click the Pictures button OR you can click the picture icon      on the slide surface to start your search.</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Navigate to the image you want to use and select Insert. </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Under Home click the Reset button to reapply the Layout.</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Resize the picture to fit the slide, as needed, using the Crop tool. Hold the Shift key and click and drag a corner to scale equally.</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On the Home tab, click the Arrange button, then Send to Back so the photo is behind the logos, text, and the transparent overlay. </a:t>
              </a:r>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if appropriate).</a:t>
              </a:r>
              <a:endParaRPr/>
            </a:p>
          </p:txBody>
        </p:sp>
        <p:pic>
          <p:nvPicPr>
            <p:cNvPr id="239" name="Google Shape;239;p53"/>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240" name="Google Shape;240;p53"/>
          <p:cNvSpPr txBox="1">
            <a:spLocks noGrp="1"/>
          </p:cNvSpPr>
          <p:nvPr>
            <p:ph type="title"/>
          </p:nvPr>
        </p:nvSpPr>
        <p:spPr>
          <a:xfrm>
            <a:off x="381648" y="585795"/>
            <a:ext cx="34488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58;p36">
            <a:extLst>
              <a:ext uri="{FF2B5EF4-FFF2-40B4-BE49-F238E27FC236}">
                <a16:creationId xmlns:a16="http://schemas.microsoft.com/office/drawing/2014/main" id="{D3046B04-7F3B-4C38-96F5-8F95BF50D41F}"/>
              </a:ext>
            </a:extLst>
          </p:cNvPr>
          <p:cNvSpPr txBox="1">
            <a:spLocks noGrp="1"/>
          </p:cNvSpPr>
          <p:nvPr>
            <p:ph type="body" idx="10"/>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5" name="Google Shape;60;p36">
            <a:extLst>
              <a:ext uri="{FF2B5EF4-FFF2-40B4-BE49-F238E27FC236}">
                <a16:creationId xmlns:a16="http://schemas.microsoft.com/office/drawing/2014/main" id="{D018E029-51AF-43D0-951B-C4A33D3F93AB}"/>
              </a:ext>
            </a:extLst>
          </p:cNvPr>
          <p:cNvSpPr txBox="1">
            <a:spLocks noGrp="1"/>
          </p:cNvSpPr>
          <p:nvPr>
            <p:ph type="body" idx="11" hasCustomPrompt="1"/>
          </p:nvPr>
        </p:nvSpPr>
        <p:spPr>
          <a:xfrm>
            <a:off x="381648" y="4745251"/>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r>
              <a:rPr lang="en-US" dirty="0"/>
              <a:t>Footnote placeholder</a:t>
            </a:r>
          </a:p>
        </p:txBody>
      </p:sp>
      <p:sp>
        <p:nvSpPr>
          <p:cNvPr id="14" name="Google Shape;225;p52">
            <a:extLst>
              <a:ext uri="{FF2B5EF4-FFF2-40B4-BE49-F238E27FC236}">
                <a16:creationId xmlns:a16="http://schemas.microsoft.com/office/drawing/2014/main" id="{A5E90432-4E1C-47B8-BD0C-A4FF9D3C83AC}"/>
              </a:ext>
            </a:extLst>
          </p:cNvPr>
          <p:cNvSpPr txBox="1">
            <a:spLocks noGrp="1"/>
          </p:cNvSpPr>
          <p:nvPr>
            <p:ph type="body" idx="1"/>
          </p:nvPr>
        </p:nvSpPr>
        <p:spPr>
          <a:xfrm>
            <a:off x="380999" y="1352550"/>
            <a:ext cx="3448800" cy="3162300"/>
          </a:xfrm>
          <a:prstGeom prst="rect">
            <a:avLst/>
          </a:prstGeom>
          <a:noFill/>
          <a:ln>
            <a:noFill/>
          </a:ln>
        </p:spPr>
        <p:txBody>
          <a:bodyPr spcFirstLastPara="1" wrap="square" lIns="0" tIns="0" rIns="0" bIns="0" anchor="t" anchorCtr="0">
            <a:noAutofit/>
          </a:bodyPr>
          <a:lstStyle>
            <a:lvl1pPr marL="173736" lvl="0" indent="-173736" algn="l">
              <a:lnSpc>
                <a:spcPct val="90000"/>
              </a:lnSpc>
              <a:spcBef>
                <a:spcPts val="600"/>
              </a:spcBef>
              <a:spcAft>
                <a:spcPts val="0"/>
              </a:spcAft>
              <a:buSzPts val="1400"/>
              <a:buChar char="•"/>
              <a:defRPr sz="1400">
                <a:solidFill>
                  <a:schemeClr val="dk1"/>
                </a:solidFill>
              </a:defRPr>
            </a:lvl1pPr>
            <a:lvl2pPr marL="347472" lvl="1" indent="-173736" algn="l">
              <a:lnSpc>
                <a:spcPct val="90000"/>
              </a:lnSpc>
              <a:spcBef>
                <a:spcPts val="600"/>
              </a:spcBef>
              <a:spcAft>
                <a:spcPts val="0"/>
              </a:spcAft>
              <a:buSzPts val="1200"/>
              <a:buFont typeface="Gene Sans Light" panose="00000400000000000000" pitchFamily="50" charset="0"/>
              <a:buChar char="–"/>
              <a:defRPr sz="1200">
                <a:solidFill>
                  <a:schemeClr val="dk1"/>
                </a:solidFill>
              </a:defRPr>
            </a:lvl2pPr>
            <a:lvl3pPr marL="1371600" lvl="2" indent="-295275" algn="l">
              <a:lnSpc>
                <a:spcPct val="90000"/>
              </a:lnSpc>
              <a:spcBef>
                <a:spcPts val="600"/>
              </a:spcBef>
              <a:spcAft>
                <a:spcPts val="0"/>
              </a:spcAft>
              <a:buSzPts val="1050"/>
              <a:buChar char="•"/>
              <a:defRPr sz="1050">
                <a:solidFill>
                  <a:schemeClr val="dk1"/>
                </a:solidFill>
              </a:defRPr>
            </a:lvl3pPr>
            <a:lvl4pPr marL="1828800" lvl="3" indent="-292100" algn="l">
              <a:lnSpc>
                <a:spcPct val="90000"/>
              </a:lnSpc>
              <a:spcBef>
                <a:spcPts val="600"/>
              </a:spcBef>
              <a:spcAft>
                <a:spcPts val="0"/>
              </a:spcAft>
              <a:buSzPts val="1000"/>
              <a:buChar char="•"/>
              <a:defRPr sz="1000">
                <a:solidFill>
                  <a:schemeClr val="dk1"/>
                </a:solidFill>
              </a:defRPr>
            </a:lvl4pPr>
            <a:lvl5pPr marL="2286000" lvl="4" indent="-292100" algn="l">
              <a:lnSpc>
                <a:spcPct val="90000"/>
              </a:lnSpc>
              <a:spcBef>
                <a:spcPts val="600"/>
              </a:spcBef>
              <a:spcAft>
                <a:spcPts val="0"/>
              </a:spcAft>
              <a:buSzPts val="1000"/>
              <a:buChar char="•"/>
              <a:defRPr sz="1000">
                <a:solidFill>
                  <a:schemeClr val="dk1"/>
                </a:solidFil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a:p>
            <a:pPr lvl="1"/>
            <a:endParaRPr dirty="0"/>
          </a:p>
        </p:txBody>
      </p:sp>
    </p:spTree>
    <p:extLst>
      <p:ext uri="{BB962C8B-B14F-4D97-AF65-F5344CB8AC3E}">
        <p14:creationId xmlns:p14="http://schemas.microsoft.com/office/powerpoint/2010/main" val="394983003"/>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Comparison + Photos" userDrawn="1">
  <p:cSld name="Comparison + Photos">
    <p:spTree>
      <p:nvGrpSpPr>
        <p:cNvPr id="1" name="Shape 243"/>
        <p:cNvGrpSpPr/>
        <p:nvPr/>
      </p:nvGrpSpPr>
      <p:grpSpPr>
        <a:xfrm>
          <a:off x="0" y="0"/>
          <a:ext cx="0" cy="0"/>
          <a:chOff x="0" y="0"/>
          <a:chExt cx="0" cy="0"/>
        </a:xfrm>
      </p:grpSpPr>
      <p:sp>
        <p:nvSpPr>
          <p:cNvPr id="244" name="Google Shape;244;p54"/>
          <p:cNvSpPr>
            <a:spLocks noGrp="1"/>
          </p:cNvSpPr>
          <p:nvPr>
            <p:ph type="pic" idx="2"/>
          </p:nvPr>
        </p:nvSpPr>
        <p:spPr>
          <a:xfrm>
            <a:off x="381000" y="3181350"/>
            <a:ext cx="4133850" cy="1333500"/>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45" name="Google Shape;245;p54"/>
          <p:cNvSpPr txBox="1">
            <a:spLocks noGrp="1"/>
          </p:cNvSpPr>
          <p:nvPr>
            <p:ph type="body" idx="1"/>
          </p:nvPr>
        </p:nvSpPr>
        <p:spPr>
          <a:xfrm>
            <a:off x="381000" y="1003997"/>
            <a:ext cx="4133088" cy="617934"/>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600"/>
              </a:spcBef>
              <a:spcAft>
                <a:spcPts val="0"/>
              </a:spcAft>
              <a:buSzPts val="1800"/>
              <a:buNone/>
              <a:defRPr sz="1800" b="0">
                <a:solidFill>
                  <a:schemeClr val="tx2"/>
                </a:solidFill>
                <a:latin typeface="+mn-lt"/>
                <a:ea typeface="Arial"/>
                <a:cs typeface="Arial"/>
                <a:sym typeface="Arial"/>
              </a:defRPr>
            </a:lvl1pPr>
            <a:lvl2pPr marL="914400" lvl="1" indent="-228600" algn="l">
              <a:lnSpc>
                <a:spcPct val="90000"/>
              </a:lnSpc>
              <a:spcBef>
                <a:spcPts val="600"/>
              </a:spcBef>
              <a:spcAft>
                <a:spcPts val="0"/>
              </a:spcAft>
              <a:buSzPts val="1500"/>
              <a:buNone/>
              <a:defRPr sz="1500" b="1"/>
            </a:lvl2pPr>
            <a:lvl3pPr marL="1371600" lvl="2" indent="-228600" algn="l">
              <a:lnSpc>
                <a:spcPct val="90000"/>
              </a:lnSpc>
              <a:spcBef>
                <a:spcPts val="600"/>
              </a:spcBef>
              <a:spcAft>
                <a:spcPts val="0"/>
              </a:spcAft>
              <a:buSzPts val="1350"/>
              <a:buNone/>
              <a:defRPr sz="1350" b="1"/>
            </a:lvl3pPr>
            <a:lvl4pPr marL="1828800" lvl="3" indent="-228600" algn="l">
              <a:lnSpc>
                <a:spcPct val="90000"/>
              </a:lnSpc>
              <a:spcBef>
                <a:spcPts val="600"/>
              </a:spcBef>
              <a:spcAft>
                <a:spcPts val="0"/>
              </a:spcAft>
              <a:buSzPts val="1200"/>
              <a:buNone/>
              <a:defRPr sz="1200" b="1"/>
            </a:lvl4pPr>
            <a:lvl5pPr marL="2286000" lvl="4" indent="-228600" algn="l">
              <a:lnSpc>
                <a:spcPct val="90000"/>
              </a:lnSpc>
              <a:spcBef>
                <a:spcPts val="600"/>
              </a:spcBef>
              <a:spcAft>
                <a:spcPts val="0"/>
              </a:spcAft>
              <a:buSzPts val="1200"/>
              <a:buNone/>
              <a:defRPr sz="1200" b="1"/>
            </a:lvl5pPr>
            <a:lvl6pPr marL="2743200" lvl="5" indent="-228600" algn="l">
              <a:lnSpc>
                <a:spcPct val="90000"/>
              </a:lnSpc>
              <a:spcBef>
                <a:spcPts val="375"/>
              </a:spcBef>
              <a:spcAft>
                <a:spcPts val="0"/>
              </a:spcAft>
              <a:buClr>
                <a:schemeClr val="dk1"/>
              </a:buClr>
              <a:buSzPts val="1200"/>
              <a:buNone/>
              <a:defRPr sz="1200" b="1"/>
            </a:lvl6pPr>
            <a:lvl7pPr marL="3200400" lvl="6" indent="-228600" algn="l">
              <a:lnSpc>
                <a:spcPct val="90000"/>
              </a:lnSpc>
              <a:spcBef>
                <a:spcPts val="375"/>
              </a:spcBef>
              <a:spcAft>
                <a:spcPts val="0"/>
              </a:spcAft>
              <a:buClr>
                <a:schemeClr val="dk1"/>
              </a:buClr>
              <a:buSzPts val="1200"/>
              <a:buNone/>
              <a:defRPr sz="1200" b="1"/>
            </a:lvl7pPr>
            <a:lvl8pPr marL="3657600" lvl="7" indent="-228600" algn="l">
              <a:lnSpc>
                <a:spcPct val="90000"/>
              </a:lnSpc>
              <a:spcBef>
                <a:spcPts val="375"/>
              </a:spcBef>
              <a:spcAft>
                <a:spcPts val="0"/>
              </a:spcAft>
              <a:buClr>
                <a:schemeClr val="dk1"/>
              </a:buClr>
              <a:buSzPts val="1200"/>
              <a:buNone/>
              <a:defRPr sz="1200" b="1"/>
            </a:lvl8pPr>
            <a:lvl9pPr marL="4114800" lvl="8" indent="-228600" algn="l">
              <a:lnSpc>
                <a:spcPct val="90000"/>
              </a:lnSpc>
              <a:spcBef>
                <a:spcPts val="375"/>
              </a:spcBef>
              <a:spcAft>
                <a:spcPts val="0"/>
              </a:spcAft>
              <a:buClr>
                <a:schemeClr val="dk1"/>
              </a:buClr>
              <a:buSzPts val="1200"/>
              <a:buNone/>
              <a:defRPr sz="1200" b="1"/>
            </a:lvl9pPr>
          </a:lstStyle>
          <a:p>
            <a:endParaRPr dirty="0"/>
          </a:p>
        </p:txBody>
      </p:sp>
      <p:sp>
        <p:nvSpPr>
          <p:cNvPr id="246" name="Google Shape;246;p54"/>
          <p:cNvSpPr txBox="1">
            <a:spLocks noGrp="1"/>
          </p:cNvSpPr>
          <p:nvPr>
            <p:ph type="body" idx="3"/>
          </p:nvPr>
        </p:nvSpPr>
        <p:spPr>
          <a:xfrm>
            <a:off x="381000" y="1796190"/>
            <a:ext cx="4133088" cy="1299592"/>
          </a:xfrm>
          <a:prstGeom prst="rect">
            <a:avLst/>
          </a:prstGeom>
          <a:noFill/>
          <a:ln>
            <a:noFill/>
          </a:ln>
        </p:spPr>
        <p:txBody>
          <a:bodyPr spcFirstLastPara="1" wrap="square" lIns="0" tIns="0" rIns="0" bIns="0" anchor="t" anchorCtr="0">
            <a:noAutofit/>
          </a:bodyPr>
          <a:lstStyle>
            <a:lvl1pPr marL="457200" lvl="0" indent="-317500" algn="l">
              <a:lnSpc>
                <a:spcPct val="90000"/>
              </a:lnSpc>
              <a:spcBef>
                <a:spcPts val="600"/>
              </a:spcBef>
              <a:spcAft>
                <a:spcPts val="0"/>
              </a:spcAft>
              <a:buSzPts val="1400"/>
              <a:buChar char="•"/>
              <a:defRPr sz="1400">
                <a:solidFill>
                  <a:schemeClr val="dk1"/>
                </a:solidFill>
                <a:latin typeface="+mn-lt"/>
              </a:defRPr>
            </a:lvl1pPr>
            <a:lvl2pPr marL="914400" lvl="1" indent="-304800" algn="l">
              <a:lnSpc>
                <a:spcPct val="90000"/>
              </a:lnSpc>
              <a:spcBef>
                <a:spcPts val="600"/>
              </a:spcBef>
              <a:spcAft>
                <a:spcPts val="0"/>
              </a:spcAft>
              <a:buSzPts val="1200"/>
              <a:buChar char="•"/>
              <a:defRPr sz="1200">
                <a:solidFill>
                  <a:schemeClr val="dk1"/>
                </a:solidFill>
              </a:defRPr>
            </a:lvl2pPr>
            <a:lvl3pPr marL="1371600" lvl="2" indent="-295275" algn="l">
              <a:lnSpc>
                <a:spcPct val="90000"/>
              </a:lnSpc>
              <a:spcBef>
                <a:spcPts val="600"/>
              </a:spcBef>
              <a:spcAft>
                <a:spcPts val="0"/>
              </a:spcAft>
              <a:buSzPts val="1050"/>
              <a:buChar char="•"/>
              <a:defRPr sz="1050">
                <a:solidFill>
                  <a:schemeClr val="dk1"/>
                </a:solidFill>
              </a:defRPr>
            </a:lvl3pPr>
            <a:lvl4pPr marL="1828800" lvl="3" indent="-292100" algn="l">
              <a:lnSpc>
                <a:spcPct val="90000"/>
              </a:lnSpc>
              <a:spcBef>
                <a:spcPts val="600"/>
              </a:spcBef>
              <a:spcAft>
                <a:spcPts val="0"/>
              </a:spcAft>
              <a:buSzPts val="1000"/>
              <a:buChar char="•"/>
              <a:defRPr sz="1000">
                <a:solidFill>
                  <a:schemeClr val="dk1"/>
                </a:solidFill>
              </a:defRPr>
            </a:lvl4pPr>
            <a:lvl5pPr marL="2286000" lvl="4" indent="-292100" algn="l">
              <a:lnSpc>
                <a:spcPct val="90000"/>
              </a:lnSpc>
              <a:spcBef>
                <a:spcPts val="600"/>
              </a:spcBef>
              <a:spcAft>
                <a:spcPts val="0"/>
              </a:spcAft>
              <a:buSzPts val="1000"/>
              <a:buChar char="•"/>
              <a:defRPr sz="1000">
                <a:solidFill>
                  <a:schemeClr val="dk1"/>
                </a:solidFil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247" name="Google Shape;247;p54"/>
          <p:cNvSpPr txBox="1">
            <a:spLocks noGrp="1"/>
          </p:cNvSpPr>
          <p:nvPr>
            <p:ph type="body" idx="4"/>
          </p:nvPr>
        </p:nvSpPr>
        <p:spPr>
          <a:xfrm>
            <a:off x="4629149" y="1003997"/>
            <a:ext cx="4133088" cy="617934"/>
          </a:xfrm>
          <a:prstGeom prst="rect">
            <a:avLst/>
          </a:prstGeom>
          <a:noFill/>
          <a:ln>
            <a:noFill/>
          </a:ln>
        </p:spPr>
        <p:txBody>
          <a:bodyPr spcFirstLastPara="1" wrap="square" lIns="0" tIns="0" rIns="0" bIns="0" anchor="b" anchorCtr="0">
            <a:noAutofit/>
          </a:bodyPr>
          <a:lstStyle>
            <a:lvl1pPr marL="457200" lvl="0" indent="-228600" algn="l">
              <a:lnSpc>
                <a:spcPct val="90000"/>
              </a:lnSpc>
              <a:spcBef>
                <a:spcPts val="600"/>
              </a:spcBef>
              <a:spcAft>
                <a:spcPts val="0"/>
              </a:spcAft>
              <a:buSzPts val="1800"/>
              <a:buNone/>
              <a:defRPr sz="1800" b="0">
                <a:solidFill>
                  <a:schemeClr val="tx2"/>
                </a:solidFill>
                <a:latin typeface="+mn-lt"/>
                <a:ea typeface="Arial"/>
                <a:cs typeface="Arial"/>
                <a:sym typeface="Arial"/>
              </a:defRPr>
            </a:lvl1pPr>
            <a:lvl2pPr marL="914400" lvl="1" indent="-228600" algn="l">
              <a:lnSpc>
                <a:spcPct val="90000"/>
              </a:lnSpc>
              <a:spcBef>
                <a:spcPts val="600"/>
              </a:spcBef>
              <a:spcAft>
                <a:spcPts val="0"/>
              </a:spcAft>
              <a:buSzPts val="1500"/>
              <a:buNone/>
              <a:defRPr sz="1500" b="1"/>
            </a:lvl2pPr>
            <a:lvl3pPr marL="1371600" lvl="2" indent="-228600" algn="l">
              <a:lnSpc>
                <a:spcPct val="90000"/>
              </a:lnSpc>
              <a:spcBef>
                <a:spcPts val="600"/>
              </a:spcBef>
              <a:spcAft>
                <a:spcPts val="0"/>
              </a:spcAft>
              <a:buSzPts val="1350"/>
              <a:buNone/>
              <a:defRPr sz="1350" b="1"/>
            </a:lvl3pPr>
            <a:lvl4pPr marL="1828800" lvl="3" indent="-228600" algn="l">
              <a:lnSpc>
                <a:spcPct val="90000"/>
              </a:lnSpc>
              <a:spcBef>
                <a:spcPts val="600"/>
              </a:spcBef>
              <a:spcAft>
                <a:spcPts val="0"/>
              </a:spcAft>
              <a:buSzPts val="1200"/>
              <a:buNone/>
              <a:defRPr sz="1200" b="1"/>
            </a:lvl4pPr>
            <a:lvl5pPr marL="2286000" lvl="4" indent="-228600" algn="l">
              <a:lnSpc>
                <a:spcPct val="90000"/>
              </a:lnSpc>
              <a:spcBef>
                <a:spcPts val="600"/>
              </a:spcBef>
              <a:spcAft>
                <a:spcPts val="0"/>
              </a:spcAft>
              <a:buSzPts val="1200"/>
              <a:buNone/>
              <a:defRPr sz="1200" b="1"/>
            </a:lvl5pPr>
            <a:lvl6pPr marL="2743200" lvl="5" indent="-228600" algn="l">
              <a:lnSpc>
                <a:spcPct val="90000"/>
              </a:lnSpc>
              <a:spcBef>
                <a:spcPts val="375"/>
              </a:spcBef>
              <a:spcAft>
                <a:spcPts val="0"/>
              </a:spcAft>
              <a:buClr>
                <a:schemeClr val="dk1"/>
              </a:buClr>
              <a:buSzPts val="1200"/>
              <a:buNone/>
              <a:defRPr sz="1200" b="1"/>
            </a:lvl6pPr>
            <a:lvl7pPr marL="3200400" lvl="6" indent="-228600" algn="l">
              <a:lnSpc>
                <a:spcPct val="90000"/>
              </a:lnSpc>
              <a:spcBef>
                <a:spcPts val="375"/>
              </a:spcBef>
              <a:spcAft>
                <a:spcPts val="0"/>
              </a:spcAft>
              <a:buClr>
                <a:schemeClr val="dk1"/>
              </a:buClr>
              <a:buSzPts val="1200"/>
              <a:buNone/>
              <a:defRPr sz="1200" b="1"/>
            </a:lvl7pPr>
            <a:lvl8pPr marL="3657600" lvl="7" indent="-228600" algn="l">
              <a:lnSpc>
                <a:spcPct val="90000"/>
              </a:lnSpc>
              <a:spcBef>
                <a:spcPts val="375"/>
              </a:spcBef>
              <a:spcAft>
                <a:spcPts val="0"/>
              </a:spcAft>
              <a:buClr>
                <a:schemeClr val="dk1"/>
              </a:buClr>
              <a:buSzPts val="1200"/>
              <a:buNone/>
              <a:defRPr sz="1200" b="1"/>
            </a:lvl8pPr>
            <a:lvl9pPr marL="4114800" lvl="8" indent="-228600" algn="l">
              <a:lnSpc>
                <a:spcPct val="90000"/>
              </a:lnSpc>
              <a:spcBef>
                <a:spcPts val="375"/>
              </a:spcBef>
              <a:spcAft>
                <a:spcPts val="0"/>
              </a:spcAft>
              <a:buClr>
                <a:schemeClr val="dk1"/>
              </a:buClr>
              <a:buSzPts val="1200"/>
              <a:buNone/>
              <a:defRPr sz="1200" b="1"/>
            </a:lvl9pPr>
          </a:lstStyle>
          <a:p>
            <a:endParaRPr/>
          </a:p>
        </p:txBody>
      </p:sp>
      <p:sp>
        <p:nvSpPr>
          <p:cNvPr id="248" name="Google Shape;248;p54"/>
          <p:cNvSpPr txBox="1">
            <a:spLocks noGrp="1"/>
          </p:cNvSpPr>
          <p:nvPr>
            <p:ph type="body" idx="5"/>
          </p:nvPr>
        </p:nvSpPr>
        <p:spPr>
          <a:xfrm>
            <a:off x="4629149" y="1796190"/>
            <a:ext cx="4133088" cy="1299592"/>
          </a:xfrm>
          <a:prstGeom prst="rect">
            <a:avLst/>
          </a:prstGeom>
          <a:noFill/>
          <a:ln>
            <a:noFill/>
          </a:ln>
        </p:spPr>
        <p:txBody>
          <a:bodyPr spcFirstLastPara="1" wrap="square" lIns="0" tIns="0" rIns="0" bIns="0" anchor="t" anchorCtr="0">
            <a:noAutofit/>
          </a:bodyPr>
          <a:lstStyle>
            <a:lvl1pPr marL="457200" lvl="0" indent="-317500" algn="l">
              <a:lnSpc>
                <a:spcPct val="90000"/>
              </a:lnSpc>
              <a:spcBef>
                <a:spcPts val="600"/>
              </a:spcBef>
              <a:spcAft>
                <a:spcPts val="0"/>
              </a:spcAft>
              <a:buSzPts val="1400"/>
              <a:buChar char="•"/>
              <a:defRPr sz="1400">
                <a:solidFill>
                  <a:schemeClr val="dk1"/>
                </a:solidFill>
                <a:latin typeface="+mn-lt"/>
              </a:defRPr>
            </a:lvl1pPr>
            <a:lvl2pPr marL="914400" lvl="1" indent="-304800" algn="l">
              <a:lnSpc>
                <a:spcPct val="90000"/>
              </a:lnSpc>
              <a:spcBef>
                <a:spcPts val="600"/>
              </a:spcBef>
              <a:spcAft>
                <a:spcPts val="0"/>
              </a:spcAft>
              <a:buSzPts val="1200"/>
              <a:buChar char="•"/>
              <a:defRPr sz="1200">
                <a:solidFill>
                  <a:schemeClr val="dk1"/>
                </a:solidFill>
              </a:defRPr>
            </a:lvl2pPr>
            <a:lvl3pPr marL="1371600" lvl="2" indent="-295275" algn="l">
              <a:lnSpc>
                <a:spcPct val="90000"/>
              </a:lnSpc>
              <a:spcBef>
                <a:spcPts val="600"/>
              </a:spcBef>
              <a:spcAft>
                <a:spcPts val="0"/>
              </a:spcAft>
              <a:buSzPts val="1050"/>
              <a:buChar char="•"/>
              <a:defRPr sz="1050">
                <a:solidFill>
                  <a:schemeClr val="dk1"/>
                </a:solidFill>
              </a:defRPr>
            </a:lvl3pPr>
            <a:lvl4pPr marL="1828800" lvl="3" indent="-292100" algn="l">
              <a:lnSpc>
                <a:spcPct val="90000"/>
              </a:lnSpc>
              <a:spcBef>
                <a:spcPts val="600"/>
              </a:spcBef>
              <a:spcAft>
                <a:spcPts val="0"/>
              </a:spcAft>
              <a:buSzPts val="1000"/>
              <a:buChar char="•"/>
              <a:defRPr sz="1000">
                <a:solidFill>
                  <a:schemeClr val="dk1"/>
                </a:solidFill>
              </a:defRPr>
            </a:lvl4pPr>
            <a:lvl5pPr marL="2286000" lvl="4" indent="-292100" algn="l">
              <a:lnSpc>
                <a:spcPct val="90000"/>
              </a:lnSpc>
              <a:spcBef>
                <a:spcPts val="600"/>
              </a:spcBef>
              <a:spcAft>
                <a:spcPts val="0"/>
              </a:spcAft>
              <a:buSzPts val="1000"/>
              <a:buChar char="•"/>
              <a:defRPr sz="1000">
                <a:solidFill>
                  <a:schemeClr val="dk1"/>
                </a:solidFil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cxnSp>
        <p:nvCxnSpPr>
          <p:cNvPr id="249" name="Google Shape;249;p54"/>
          <p:cNvCxnSpPr/>
          <p:nvPr/>
        </p:nvCxnSpPr>
        <p:spPr>
          <a:xfrm>
            <a:off x="381000" y="1663741"/>
            <a:ext cx="4023360" cy="0"/>
          </a:xfrm>
          <a:prstGeom prst="straightConnector1">
            <a:avLst/>
          </a:prstGeom>
          <a:noFill/>
          <a:ln w="12700" cap="flat" cmpd="sng">
            <a:solidFill>
              <a:schemeClr val="accent1">
                <a:lumMod val="40000"/>
                <a:lumOff val="60000"/>
              </a:schemeClr>
            </a:solidFill>
            <a:prstDash val="solid"/>
            <a:miter lim="800000"/>
            <a:headEnd type="none" w="sm" len="sm"/>
            <a:tailEnd type="none" w="sm" len="sm"/>
          </a:ln>
        </p:spPr>
      </p:cxnSp>
      <p:cxnSp>
        <p:nvCxnSpPr>
          <p:cNvPr id="250" name="Google Shape;250;p54"/>
          <p:cNvCxnSpPr/>
          <p:nvPr/>
        </p:nvCxnSpPr>
        <p:spPr>
          <a:xfrm>
            <a:off x="4647077" y="1663741"/>
            <a:ext cx="4023360" cy="0"/>
          </a:xfrm>
          <a:prstGeom prst="straightConnector1">
            <a:avLst/>
          </a:prstGeom>
          <a:noFill/>
          <a:ln w="12700" cap="flat" cmpd="sng">
            <a:solidFill>
              <a:schemeClr val="accent1">
                <a:lumMod val="40000"/>
                <a:lumOff val="60000"/>
              </a:schemeClr>
            </a:solidFill>
            <a:prstDash val="solid"/>
            <a:miter lim="800000"/>
            <a:headEnd type="none" w="sm" len="sm"/>
            <a:tailEnd type="none" w="sm" len="sm"/>
          </a:ln>
        </p:spPr>
      </p:cxnSp>
      <p:sp>
        <p:nvSpPr>
          <p:cNvPr id="251" name="Google Shape;251;p54"/>
          <p:cNvSpPr>
            <a:spLocks noGrp="1"/>
          </p:cNvSpPr>
          <p:nvPr>
            <p:ph type="pic" idx="6"/>
          </p:nvPr>
        </p:nvSpPr>
        <p:spPr>
          <a:xfrm>
            <a:off x="4629150" y="3181350"/>
            <a:ext cx="4133850" cy="1333500"/>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grpSp>
        <p:nvGrpSpPr>
          <p:cNvPr id="252" name="Google Shape;252;p54"/>
          <p:cNvGrpSpPr/>
          <p:nvPr/>
        </p:nvGrpSpPr>
        <p:grpSpPr>
          <a:xfrm>
            <a:off x="9206185" y="51750"/>
            <a:ext cx="2202899" cy="4431983"/>
            <a:chOff x="9248019" y="51750"/>
            <a:chExt cx="2202899" cy="4431983"/>
          </a:xfrm>
        </p:grpSpPr>
        <p:sp>
          <p:nvSpPr>
            <p:cNvPr id="253" name="Google Shape;253;p54"/>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a:solidFill>
                    <a:srgbClr val="7D8183"/>
                  </a:solidFill>
                  <a:latin typeface="Arial"/>
                  <a:ea typeface="Arial"/>
                  <a:cs typeface="Arial"/>
                  <a:sym typeface="Arial"/>
                </a:rPr>
                <a:t>THERE ARE TWO (2) OPTION TO CUSTOMIZE A LAYOUT WITH A </a:t>
              </a:r>
              <a:br>
                <a:rPr lang="en-US" sz="900" b="1" i="0">
                  <a:solidFill>
                    <a:srgbClr val="7D8183"/>
                  </a:solidFill>
                  <a:latin typeface="Arial"/>
                  <a:ea typeface="Arial"/>
                  <a:cs typeface="Arial"/>
                  <a:sym typeface="Arial"/>
                </a:rPr>
              </a:br>
              <a:r>
                <a:rPr lang="en-US" sz="900" b="1" i="0">
                  <a:solidFill>
                    <a:srgbClr val="7D8183"/>
                  </a:solidFill>
                  <a:latin typeface="Arial"/>
                  <a:ea typeface="Arial"/>
                  <a:cs typeface="Arial"/>
                  <a:sym typeface="Arial"/>
                </a:rPr>
                <a:t>NEW PICTURE:</a:t>
              </a:r>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a:solidFill>
                    <a:srgbClr val="7D8183"/>
                  </a:solidFill>
                  <a:latin typeface="Arial"/>
                  <a:ea typeface="Arial"/>
                  <a:cs typeface="Arial"/>
                  <a:sym typeface="Arial"/>
                </a:rPr>
                <a:t>Delete the current picture, if there </a:t>
              </a:r>
              <a:br>
                <a:rPr lang="en-US" sz="900" b="1" i="0">
                  <a:solidFill>
                    <a:srgbClr val="7D8183"/>
                  </a:solidFill>
                  <a:latin typeface="Arial"/>
                  <a:ea typeface="Arial"/>
                  <a:cs typeface="Arial"/>
                  <a:sym typeface="Arial"/>
                </a:rPr>
              </a:br>
              <a:r>
                <a:rPr lang="en-US" sz="900" b="1" i="0">
                  <a:solidFill>
                    <a:srgbClr val="7D8183"/>
                  </a:solidFill>
                  <a:latin typeface="Arial"/>
                  <a:ea typeface="Arial"/>
                  <a:cs typeface="Arial"/>
                  <a:sym typeface="Arial"/>
                </a:rPr>
                <a:t>is one.</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On the Insert tab, click the Pictures button OR you can click the picture icon      on the slide surface to start your search.</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Navigate to the image you want to use and select Insert. </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Under Home click the Reset button to reapply the Layout.</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Resize the picture to fit the slide, as needed, using the Crop tool. Hold the Shift key and click and drag a corner to scale equally.</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On the Home tab, click the Arrange button, then Send to Back so the photo is behind the logos, text, and the transparent overlay. </a:t>
              </a:r>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if appropriate).</a:t>
              </a:r>
              <a:endParaRPr/>
            </a:p>
          </p:txBody>
        </p:sp>
        <p:pic>
          <p:nvPicPr>
            <p:cNvPr id="254" name="Google Shape;254;p54"/>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256" name="Google Shape;256;p54"/>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6" name="Google Shape;58;p36">
            <a:extLst>
              <a:ext uri="{FF2B5EF4-FFF2-40B4-BE49-F238E27FC236}">
                <a16:creationId xmlns:a16="http://schemas.microsoft.com/office/drawing/2014/main" id="{50E15069-8876-40FA-8BEB-37FFF6384C21}"/>
              </a:ext>
            </a:extLst>
          </p:cNvPr>
          <p:cNvSpPr txBox="1">
            <a:spLocks noGrp="1"/>
          </p:cNvSpPr>
          <p:nvPr>
            <p:ph type="body" idx="10"/>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8" name="Google Shape;60;p36">
            <a:extLst>
              <a:ext uri="{FF2B5EF4-FFF2-40B4-BE49-F238E27FC236}">
                <a16:creationId xmlns:a16="http://schemas.microsoft.com/office/drawing/2014/main" id="{2C3A3D38-C89A-4674-AC85-8DD6BCDCB9CD}"/>
              </a:ext>
            </a:extLst>
          </p:cNvPr>
          <p:cNvSpPr txBox="1">
            <a:spLocks noGrp="1"/>
          </p:cNvSpPr>
          <p:nvPr>
            <p:ph type="body" idx="11" hasCustomPrompt="1"/>
          </p:nvPr>
        </p:nvSpPr>
        <p:spPr>
          <a:xfrm>
            <a:off x="381648" y="4745251"/>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r>
              <a:rPr lang="en-US" dirty="0"/>
              <a:t>Footnote placeholder</a:t>
            </a:r>
          </a:p>
        </p:txBody>
      </p:sp>
    </p:spTree>
    <p:extLst>
      <p:ext uri="{BB962C8B-B14F-4D97-AF65-F5344CB8AC3E}">
        <p14:creationId xmlns:p14="http://schemas.microsoft.com/office/powerpoint/2010/main" val="1312022637"/>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Content with Photo Right" userDrawn="1">
  <p:cSld name="Content with Photo Right">
    <p:spTree>
      <p:nvGrpSpPr>
        <p:cNvPr id="1" name="Shape 258"/>
        <p:cNvGrpSpPr/>
        <p:nvPr/>
      </p:nvGrpSpPr>
      <p:grpSpPr>
        <a:xfrm>
          <a:off x="0" y="0"/>
          <a:ext cx="0" cy="0"/>
          <a:chOff x="0" y="0"/>
          <a:chExt cx="0" cy="0"/>
        </a:xfrm>
      </p:grpSpPr>
      <p:sp>
        <p:nvSpPr>
          <p:cNvPr id="259" name="Google Shape;259;p55"/>
          <p:cNvSpPr>
            <a:spLocks noGrp="1"/>
          </p:cNvSpPr>
          <p:nvPr>
            <p:ph type="pic" idx="2"/>
          </p:nvPr>
        </p:nvSpPr>
        <p:spPr>
          <a:xfrm>
            <a:off x="4038600" y="1283636"/>
            <a:ext cx="4727448" cy="3232800"/>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60" name="Google Shape;260;p55"/>
          <p:cNvSpPr txBox="1">
            <a:spLocks noGrp="1"/>
          </p:cNvSpPr>
          <p:nvPr>
            <p:ph type="body" idx="1"/>
          </p:nvPr>
        </p:nvSpPr>
        <p:spPr>
          <a:xfrm>
            <a:off x="381648" y="1283636"/>
            <a:ext cx="3567811" cy="3232800"/>
          </a:xfrm>
          <a:prstGeom prst="rect">
            <a:avLst/>
          </a:prstGeom>
          <a:noFill/>
          <a:ln>
            <a:noFill/>
          </a:ln>
        </p:spPr>
        <p:txBody>
          <a:bodyPr spcFirstLastPara="1" wrap="square" lIns="0" tIns="0" rIns="0" bIns="0" anchor="t" anchorCtr="0">
            <a:noAutofit/>
          </a:bodyPr>
          <a:lstStyle>
            <a:lvl1pPr marL="457200" lvl="0" indent="-330200" algn="l">
              <a:lnSpc>
                <a:spcPct val="90000"/>
              </a:lnSpc>
              <a:spcBef>
                <a:spcPts val="600"/>
              </a:spcBef>
              <a:spcAft>
                <a:spcPts val="0"/>
              </a:spcAft>
              <a:buSzPts val="1600"/>
              <a:buChar char="•"/>
              <a:defRPr>
                <a:solidFill>
                  <a:schemeClr val="dk1"/>
                </a:solidFill>
                <a:latin typeface="+mn-lt"/>
              </a:defRPr>
            </a:lvl1pPr>
            <a:lvl2pPr marL="347472" lvl="1" indent="-173736" algn="l">
              <a:lnSpc>
                <a:spcPct val="90000"/>
              </a:lnSpc>
              <a:spcBef>
                <a:spcPts val="600"/>
              </a:spcBef>
              <a:spcAft>
                <a:spcPts val="0"/>
              </a:spcAft>
              <a:buSzPts val="1400"/>
              <a:buFont typeface="Gene Sans Light" panose="00000400000000000000" pitchFamily="50" charset="0"/>
              <a:buChar char="–"/>
              <a:defRPr>
                <a:solidFill>
                  <a:schemeClr val="dk1"/>
                </a:solidFill>
              </a:defRPr>
            </a:lvl2pPr>
            <a:lvl3pPr marL="521208" lvl="2" indent="-173736" algn="l">
              <a:lnSpc>
                <a:spcPct val="90000"/>
              </a:lnSpc>
              <a:spcBef>
                <a:spcPts val="600"/>
              </a:spcBef>
              <a:spcAft>
                <a:spcPts val="0"/>
              </a:spcAft>
              <a:buSzPts val="1100"/>
              <a:buFont typeface="Wingdings" panose="05000000000000000000" pitchFamily="2" charset="2"/>
              <a:buChar char="§"/>
              <a:defRPr>
                <a:solidFill>
                  <a:schemeClr val="dk1"/>
                </a:solidFill>
              </a:defRPr>
            </a:lvl3pPr>
            <a:lvl4pPr marL="1828800" lvl="3" indent="-295275" algn="l">
              <a:lnSpc>
                <a:spcPct val="90000"/>
              </a:lnSpc>
              <a:spcBef>
                <a:spcPts val="600"/>
              </a:spcBef>
              <a:spcAft>
                <a:spcPts val="0"/>
              </a:spcAft>
              <a:buSzPts val="1050"/>
              <a:buChar char="•"/>
              <a:defRPr>
                <a:solidFill>
                  <a:schemeClr val="dk1"/>
                </a:solidFill>
              </a:defRPr>
            </a:lvl4pPr>
            <a:lvl5pPr marL="2286000" lvl="4" indent="-295275" algn="l">
              <a:lnSpc>
                <a:spcPct val="90000"/>
              </a:lnSpc>
              <a:spcBef>
                <a:spcPts val="600"/>
              </a:spcBef>
              <a:spcAft>
                <a:spcPts val="0"/>
              </a:spcAft>
              <a:buSzPts val="1050"/>
              <a:buChar char="•"/>
              <a:defRPr>
                <a:solidFill>
                  <a:schemeClr val="dk1"/>
                </a:solidFill>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a:p>
            <a:pPr lvl="1"/>
            <a:endParaRPr lang="en-US" dirty="0"/>
          </a:p>
          <a:p>
            <a:pPr lvl="2"/>
            <a:endParaRPr dirty="0"/>
          </a:p>
        </p:txBody>
      </p:sp>
      <p:grpSp>
        <p:nvGrpSpPr>
          <p:cNvPr id="262" name="Google Shape;262;p55"/>
          <p:cNvGrpSpPr/>
          <p:nvPr/>
        </p:nvGrpSpPr>
        <p:grpSpPr>
          <a:xfrm>
            <a:off x="9206185" y="51750"/>
            <a:ext cx="2202899" cy="4431983"/>
            <a:chOff x="9248019" y="51750"/>
            <a:chExt cx="2202899" cy="4431983"/>
          </a:xfrm>
        </p:grpSpPr>
        <p:sp>
          <p:nvSpPr>
            <p:cNvPr id="263" name="Google Shape;263;p55"/>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a:solidFill>
                    <a:srgbClr val="7D8183"/>
                  </a:solidFill>
                  <a:latin typeface="Arial"/>
                  <a:ea typeface="Arial"/>
                  <a:cs typeface="Arial"/>
                  <a:sym typeface="Arial"/>
                </a:rPr>
                <a:t>THERE ARE TWO (2) OPTION TO CUSTOMIZE A LAYOUT WITH A </a:t>
              </a:r>
              <a:br>
                <a:rPr lang="en-US" sz="900" b="1" i="0">
                  <a:solidFill>
                    <a:srgbClr val="7D8183"/>
                  </a:solidFill>
                  <a:latin typeface="Arial"/>
                  <a:ea typeface="Arial"/>
                  <a:cs typeface="Arial"/>
                  <a:sym typeface="Arial"/>
                </a:rPr>
              </a:br>
              <a:r>
                <a:rPr lang="en-US" sz="900" b="1" i="0">
                  <a:solidFill>
                    <a:srgbClr val="7D8183"/>
                  </a:solidFill>
                  <a:latin typeface="Arial"/>
                  <a:ea typeface="Arial"/>
                  <a:cs typeface="Arial"/>
                  <a:sym typeface="Arial"/>
                </a:rPr>
                <a:t>NEW PICTURE:</a:t>
              </a:r>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a:solidFill>
                    <a:srgbClr val="7D8183"/>
                  </a:solidFill>
                  <a:latin typeface="Arial"/>
                  <a:ea typeface="Arial"/>
                  <a:cs typeface="Arial"/>
                  <a:sym typeface="Arial"/>
                </a:rPr>
                <a:t>Delete the current picture, if there </a:t>
              </a:r>
              <a:br>
                <a:rPr lang="en-US" sz="900" b="1" i="0">
                  <a:solidFill>
                    <a:srgbClr val="7D8183"/>
                  </a:solidFill>
                  <a:latin typeface="Arial"/>
                  <a:ea typeface="Arial"/>
                  <a:cs typeface="Arial"/>
                  <a:sym typeface="Arial"/>
                </a:rPr>
              </a:br>
              <a:r>
                <a:rPr lang="en-US" sz="900" b="1" i="0">
                  <a:solidFill>
                    <a:srgbClr val="7D8183"/>
                  </a:solidFill>
                  <a:latin typeface="Arial"/>
                  <a:ea typeface="Arial"/>
                  <a:cs typeface="Arial"/>
                  <a:sym typeface="Arial"/>
                </a:rPr>
                <a:t>is one.</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On the Insert tab, click the Pictures button OR you can click the picture icon      on the slide surface to start your search.</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Navigate to the image you want to use and select Insert. </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Under Home click the Reset button to reapply the Layout.</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Resize the picture to fit the slide, as needed, using the Crop tool. Hold the Shift key and click and drag a corner to scale equally.</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On the Home tab, click the Arrange button, then Send to Back so the photo is behind the logos, text, and the transparent overlay. </a:t>
              </a:r>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if appropriate).</a:t>
              </a:r>
              <a:endParaRPr/>
            </a:p>
          </p:txBody>
        </p:sp>
        <p:pic>
          <p:nvPicPr>
            <p:cNvPr id="264" name="Google Shape;264;p55"/>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266" name="Google Shape;266;p55"/>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0" name="Google Shape;58;p36">
            <a:extLst>
              <a:ext uri="{FF2B5EF4-FFF2-40B4-BE49-F238E27FC236}">
                <a16:creationId xmlns:a16="http://schemas.microsoft.com/office/drawing/2014/main" id="{F404236B-D023-46FE-8251-54022025D1C0}"/>
              </a:ext>
            </a:extLst>
          </p:cNvPr>
          <p:cNvSpPr txBox="1">
            <a:spLocks noGrp="1"/>
          </p:cNvSpPr>
          <p:nvPr>
            <p:ph type="body" idx="10"/>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12" name="Google Shape;60;p36">
            <a:extLst>
              <a:ext uri="{FF2B5EF4-FFF2-40B4-BE49-F238E27FC236}">
                <a16:creationId xmlns:a16="http://schemas.microsoft.com/office/drawing/2014/main" id="{AEEEB67F-751E-402C-AE62-D65F3D6004FE}"/>
              </a:ext>
            </a:extLst>
          </p:cNvPr>
          <p:cNvSpPr txBox="1">
            <a:spLocks noGrp="1"/>
          </p:cNvSpPr>
          <p:nvPr>
            <p:ph type="body" idx="3" hasCustomPrompt="1"/>
          </p:nvPr>
        </p:nvSpPr>
        <p:spPr>
          <a:xfrm>
            <a:off x="381648" y="4745251"/>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r>
              <a:rPr lang="en-US" dirty="0"/>
              <a:t>Footnote placeholder</a:t>
            </a:r>
          </a:p>
        </p:txBody>
      </p:sp>
    </p:spTree>
    <p:extLst>
      <p:ext uri="{BB962C8B-B14F-4D97-AF65-F5344CB8AC3E}">
        <p14:creationId xmlns:p14="http://schemas.microsoft.com/office/powerpoint/2010/main" val="2399851772"/>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Full Background Photo">
  <p:cSld name="Full Background Photo">
    <p:spTree>
      <p:nvGrpSpPr>
        <p:cNvPr id="1" name="Shape 268"/>
        <p:cNvGrpSpPr/>
        <p:nvPr/>
      </p:nvGrpSpPr>
      <p:grpSpPr>
        <a:xfrm>
          <a:off x="0" y="0"/>
          <a:ext cx="0" cy="0"/>
          <a:chOff x="0" y="0"/>
          <a:chExt cx="0" cy="0"/>
        </a:xfrm>
      </p:grpSpPr>
      <p:sp>
        <p:nvSpPr>
          <p:cNvPr id="269" name="Google Shape;269;p56"/>
          <p:cNvSpPr/>
          <p:nvPr/>
        </p:nvSpPr>
        <p:spPr>
          <a:xfrm>
            <a:off x="380569" y="443552"/>
            <a:ext cx="716367" cy="27432"/>
          </a:xfrm>
          <a:prstGeom prst="rect">
            <a:avLst/>
          </a:prstGeom>
          <a:solidFill>
            <a:srgbClr val="8DC8E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Libre Franklin"/>
              <a:ea typeface="Libre Franklin"/>
              <a:cs typeface="Libre Franklin"/>
              <a:sym typeface="Libre Franklin"/>
            </a:endParaRPr>
          </a:p>
        </p:txBody>
      </p:sp>
      <p:pic>
        <p:nvPicPr>
          <p:cNvPr id="270" name="Google Shape;270;p56"/>
          <p:cNvPicPr preferRelativeResize="0"/>
          <p:nvPr/>
        </p:nvPicPr>
        <p:blipFill rotWithShape="1">
          <a:blip r:embed="rId2">
            <a:alphaModFix/>
          </a:blip>
          <a:srcRect/>
          <a:stretch/>
        </p:blipFill>
        <p:spPr>
          <a:xfrm>
            <a:off x="7945916" y="4716809"/>
            <a:ext cx="816829" cy="207669"/>
          </a:xfrm>
          <a:prstGeom prst="rect">
            <a:avLst/>
          </a:prstGeom>
          <a:noFill/>
          <a:ln>
            <a:noFill/>
          </a:ln>
        </p:spPr>
      </p:pic>
      <p:sp>
        <p:nvSpPr>
          <p:cNvPr id="271" name="Google Shape;271;p56"/>
          <p:cNvSpPr>
            <a:spLocks noGrp="1"/>
          </p:cNvSpPr>
          <p:nvPr>
            <p:ph type="pic" idx="2"/>
          </p:nvPr>
        </p:nvSpPr>
        <p:spPr>
          <a:xfrm>
            <a:off x="0" y="0"/>
            <a:ext cx="9144000" cy="5143500"/>
          </a:xfrm>
          <a:prstGeom prst="rect">
            <a:avLst/>
          </a:prstGeom>
          <a:solidFill>
            <a:srgbClr val="EDEDED"/>
          </a:solidFill>
          <a:ln>
            <a:noFill/>
          </a:ln>
        </p:spPr>
        <p:txBody>
          <a:bodyPr spcFirstLastPara="1" wrap="square" lIns="0" tIns="0" rIns="0" bIns="0" anchor="ctr"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grpSp>
        <p:nvGrpSpPr>
          <p:cNvPr id="272" name="Google Shape;272;p56"/>
          <p:cNvGrpSpPr/>
          <p:nvPr/>
        </p:nvGrpSpPr>
        <p:grpSpPr>
          <a:xfrm>
            <a:off x="9206185" y="51750"/>
            <a:ext cx="2202899" cy="4431983"/>
            <a:chOff x="9248019" y="51750"/>
            <a:chExt cx="2202899" cy="4431983"/>
          </a:xfrm>
        </p:grpSpPr>
        <p:sp>
          <p:nvSpPr>
            <p:cNvPr id="273" name="Google Shape;273;p56"/>
            <p:cNvSpPr txBox="1"/>
            <p:nvPr/>
          </p:nvSpPr>
          <p:spPr>
            <a:xfrm>
              <a:off x="9248019" y="51750"/>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a:solidFill>
                    <a:srgbClr val="7D8183"/>
                  </a:solidFill>
                  <a:latin typeface="Arial"/>
                  <a:ea typeface="Arial"/>
                  <a:cs typeface="Arial"/>
                  <a:sym typeface="Arial"/>
                </a:rPr>
                <a:t>THERE ARE TWO (2) OPTION TO CUSTOMIZE A LAYOUT WITH A </a:t>
              </a:r>
              <a:br>
                <a:rPr lang="en-US" sz="900" b="1" i="0">
                  <a:solidFill>
                    <a:srgbClr val="7D8183"/>
                  </a:solidFill>
                  <a:latin typeface="Arial"/>
                  <a:ea typeface="Arial"/>
                  <a:cs typeface="Arial"/>
                  <a:sym typeface="Arial"/>
                </a:rPr>
              </a:br>
              <a:r>
                <a:rPr lang="en-US" sz="900" b="1" i="0">
                  <a:solidFill>
                    <a:srgbClr val="7D8183"/>
                  </a:solidFill>
                  <a:latin typeface="Arial"/>
                  <a:ea typeface="Arial"/>
                  <a:cs typeface="Arial"/>
                  <a:sym typeface="Arial"/>
                </a:rPr>
                <a:t>NEW PICTURE:</a:t>
              </a:r>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a:solidFill>
                    <a:srgbClr val="7D8183"/>
                  </a:solidFill>
                  <a:latin typeface="Arial"/>
                  <a:ea typeface="Arial"/>
                  <a:cs typeface="Arial"/>
                  <a:sym typeface="Arial"/>
                </a:rPr>
                <a:t>Delete the current picture, if there </a:t>
              </a:r>
              <a:br>
                <a:rPr lang="en-US" sz="900" b="1" i="0">
                  <a:solidFill>
                    <a:srgbClr val="7D8183"/>
                  </a:solidFill>
                  <a:latin typeface="Arial"/>
                  <a:ea typeface="Arial"/>
                  <a:cs typeface="Arial"/>
                  <a:sym typeface="Arial"/>
                </a:rPr>
              </a:br>
              <a:r>
                <a:rPr lang="en-US" sz="900" b="1" i="0">
                  <a:solidFill>
                    <a:srgbClr val="7D8183"/>
                  </a:solidFill>
                  <a:latin typeface="Arial"/>
                  <a:ea typeface="Arial"/>
                  <a:cs typeface="Arial"/>
                  <a:sym typeface="Arial"/>
                </a:rPr>
                <a:t>is one.</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On the Insert tab, click the Pictures button OR you can click the picture icon      on the slide surface to start your search.</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Navigate to the image you want to use and select Insert. </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Under Home click the Reset button to reapply the Layout.</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Resize the picture to fit the slide, as needed, using the Crop tool. Hold the Shift key and click and drag a corner to scale equally.</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On the Home tab, click the Arrange button, then Send to Back so the photo is behind the logos, text, and the transparent overlay. </a:t>
              </a:r>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if appropriate).</a:t>
              </a:r>
              <a:endParaRPr/>
            </a:p>
          </p:txBody>
        </p:sp>
        <p:pic>
          <p:nvPicPr>
            <p:cNvPr id="274" name="Google Shape;274;p56"/>
            <p:cNvPicPr preferRelativeResize="0"/>
            <p:nvPr/>
          </p:nvPicPr>
          <p:blipFill rotWithShape="1">
            <a:blip r:embed="rId3">
              <a:alphaModFix/>
            </a:blip>
            <a:srcRect/>
            <a:stretch/>
          </p:blipFill>
          <p:spPr>
            <a:xfrm>
              <a:off x="9679634" y="1280346"/>
              <a:ext cx="140548" cy="96627"/>
            </a:xfrm>
            <a:prstGeom prst="rect">
              <a:avLst/>
            </a:prstGeom>
            <a:noFill/>
            <a:ln>
              <a:noFill/>
            </a:ln>
          </p:spPr>
        </p:pic>
      </p:grpSp>
    </p:spTree>
    <p:extLst>
      <p:ext uri="{BB962C8B-B14F-4D97-AF65-F5344CB8AC3E}">
        <p14:creationId xmlns:p14="http://schemas.microsoft.com/office/powerpoint/2010/main" val="1849012657"/>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GN Teams" userDrawn="1">
  <p:cSld name="GN Teams">
    <p:spTree>
      <p:nvGrpSpPr>
        <p:cNvPr id="1" name="Shape 275"/>
        <p:cNvGrpSpPr/>
        <p:nvPr/>
      </p:nvGrpSpPr>
      <p:grpSpPr>
        <a:xfrm>
          <a:off x="0" y="0"/>
          <a:ext cx="0" cy="0"/>
          <a:chOff x="0" y="0"/>
          <a:chExt cx="0" cy="0"/>
        </a:xfrm>
      </p:grpSpPr>
      <p:sp>
        <p:nvSpPr>
          <p:cNvPr id="276" name="Google Shape;276;p57"/>
          <p:cNvSpPr>
            <a:spLocks noGrp="1"/>
          </p:cNvSpPr>
          <p:nvPr>
            <p:ph type="pic" idx="2"/>
          </p:nvPr>
        </p:nvSpPr>
        <p:spPr>
          <a:xfrm>
            <a:off x="381000"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77" name="Google Shape;277;p57"/>
          <p:cNvSpPr>
            <a:spLocks noGrp="1"/>
          </p:cNvSpPr>
          <p:nvPr>
            <p:ph type="pic" idx="3"/>
          </p:nvPr>
        </p:nvSpPr>
        <p:spPr>
          <a:xfrm>
            <a:off x="2090262"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78" name="Google Shape;278;p57"/>
          <p:cNvSpPr>
            <a:spLocks noGrp="1"/>
          </p:cNvSpPr>
          <p:nvPr>
            <p:ph type="pic" idx="4"/>
          </p:nvPr>
        </p:nvSpPr>
        <p:spPr>
          <a:xfrm>
            <a:off x="3799524"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79" name="Google Shape;279;p57"/>
          <p:cNvSpPr>
            <a:spLocks noGrp="1"/>
          </p:cNvSpPr>
          <p:nvPr>
            <p:ph type="pic" idx="5"/>
          </p:nvPr>
        </p:nvSpPr>
        <p:spPr>
          <a:xfrm>
            <a:off x="5508786"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80" name="Google Shape;280;p57"/>
          <p:cNvSpPr>
            <a:spLocks noGrp="1"/>
          </p:cNvSpPr>
          <p:nvPr>
            <p:ph type="pic" idx="6"/>
          </p:nvPr>
        </p:nvSpPr>
        <p:spPr>
          <a:xfrm>
            <a:off x="7218048" y="1030288"/>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81" name="Google Shape;281;p57"/>
          <p:cNvSpPr txBox="1">
            <a:spLocks noGrp="1"/>
          </p:cNvSpPr>
          <p:nvPr>
            <p:ph type="body" idx="1"/>
          </p:nvPr>
        </p:nvSpPr>
        <p:spPr>
          <a:xfrm>
            <a:off x="381000" y="2380112"/>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82" name="Google Shape;282;p57"/>
          <p:cNvSpPr txBox="1">
            <a:spLocks noGrp="1"/>
          </p:cNvSpPr>
          <p:nvPr>
            <p:ph type="body" idx="7"/>
          </p:nvPr>
        </p:nvSpPr>
        <p:spPr>
          <a:xfrm>
            <a:off x="2090262" y="2380112"/>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83" name="Google Shape;283;p57"/>
          <p:cNvSpPr txBox="1">
            <a:spLocks noGrp="1"/>
          </p:cNvSpPr>
          <p:nvPr>
            <p:ph type="body" idx="8"/>
          </p:nvPr>
        </p:nvSpPr>
        <p:spPr>
          <a:xfrm>
            <a:off x="3799524" y="2380112"/>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84" name="Google Shape;284;p57"/>
          <p:cNvSpPr txBox="1">
            <a:spLocks noGrp="1"/>
          </p:cNvSpPr>
          <p:nvPr>
            <p:ph type="body" idx="9"/>
          </p:nvPr>
        </p:nvSpPr>
        <p:spPr>
          <a:xfrm>
            <a:off x="5508786" y="2380112"/>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85" name="Google Shape;285;p57"/>
          <p:cNvSpPr txBox="1">
            <a:spLocks noGrp="1"/>
          </p:cNvSpPr>
          <p:nvPr>
            <p:ph type="body" idx="13"/>
          </p:nvPr>
        </p:nvSpPr>
        <p:spPr>
          <a:xfrm>
            <a:off x="7218048" y="2380112"/>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86" name="Google Shape;286;p57"/>
          <p:cNvSpPr>
            <a:spLocks noGrp="1"/>
          </p:cNvSpPr>
          <p:nvPr>
            <p:ph type="pic" idx="14"/>
          </p:nvPr>
        </p:nvSpPr>
        <p:spPr>
          <a:xfrm>
            <a:off x="381000"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87" name="Google Shape;287;p57"/>
          <p:cNvSpPr>
            <a:spLocks noGrp="1"/>
          </p:cNvSpPr>
          <p:nvPr>
            <p:ph type="pic" idx="15"/>
          </p:nvPr>
        </p:nvSpPr>
        <p:spPr>
          <a:xfrm>
            <a:off x="2090262"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88" name="Google Shape;288;p57"/>
          <p:cNvSpPr>
            <a:spLocks noGrp="1"/>
          </p:cNvSpPr>
          <p:nvPr>
            <p:ph type="pic" idx="16"/>
          </p:nvPr>
        </p:nvSpPr>
        <p:spPr>
          <a:xfrm>
            <a:off x="3799524"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89" name="Google Shape;289;p57"/>
          <p:cNvSpPr>
            <a:spLocks noGrp="1"/>
          </p:cNvSpPr>
          <p:nvPr>
            <p:ph type="pic" idx="17"/>
          </p:nvPr>
        </p:nvSpPr>
        <p:spPr>
          <a:xfrm>
            <a:off x="5508786"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90" name="Google Shape;290;p57"/>
          <p:cNvSpPr>
            <a:spLocks noGrp="1"/>
          </p:cNvSpPr>
          <p:nvPr>
            <p:ph type="pic" idx="18"/>
          </p:nvPr>
        </p:nvSpPr>
        <p:spPr>
          <a:xfrm>
            <a:off x="7218048" y="2878806"/>
            <a:ext cx="1548000" cy="1298448"/>
          </a:xfrm>
          <a:prstGeom prst="rect">
            <a:avLst/>
          </a:prstGeom>
          <a:no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291" name="Google Shape;291;p57"/>
          <p:cNvSpPr txBox="1">
            <a:spLocks noGrp="1"/>
          </p:cNvSpPr>
          <p:nvPr>
            <p:ph type="body" idx="19"/>
          </p:nvPr>
        </p:nvSpPr>
        <p:spPr>
          <a:xfrm>
            <a:off x="381000" y="4228630"/>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92" name="Google Shape;292;p57"/>
          <p:cNvSpPr txBox="1">
            <a:spLocks noGrp="1"/>
          </p:cNvSpPr>
          <p:nvPr>
            <p:ph type="body" idx="20"/>
          </p:nvPr>
        </p:nvSpPr>
        <p:spPr>
          <a:xfrm>
            <a:off x="2090262" y="4228630"/>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93" name="Google Shape;293;p57"/>
          <p:cNvSpPr txBox="1">
            <a:spLocks noGrp="1"/>
          </p:cNvSpPr>
          <p:nvPr>
            <p:ph type="body" idx="21"/>
          </p:nvPr>
        </p:nvSpPr>
        <p:spPr>
          <a:xfrm>
            <a:off x="3799524" y="4228630"/>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94" name="Google Shape;294;p57"/>
          <p:cNvSpPr txBox="1">
            <a:spLocks noGrp="1"/>
          </p:cNvSpPr>
          <p:nvPr>
            <p:ph type="body" idx="22"/>
          </p:nvPr>
        </p:nvSpPr>
        <p:spPr>
          <a:xfrm>
            <a:off x="5508786" y="4228630"/>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295" name="Google Shape;295;p57"/>
          <p:cNvSpPr txBox="1">
            <a:spLocks noGrp="1"/>
          </p:cNvSpPr>
          <p:nvPr>
            <p:ph type="body" idx="23"/>
          </p:nvPr>
        </p:nvSpPr>
        <p:spPr>
          <a:xfrm>
            <a:off x="7218048" y="4228630"/>
            <a:ext cx="1548000" cy="383276"/>
          </a:xfrm>
          <a:prstGeom prst="rect">
            <a:avLst/>
          </a:prstGeom>
          <a:noFill/>
          <a:ln>
            <a:noFill/>
          </a:ln>
        </p:spPr>
        <p:txBody>
          <a:bodyPr spcFirstLastPara="1" wrap="square" lIns="0" tIns="0" rIns="0" bIns="0" anchor="t" anchorCtr="0">
            <a:noAutofit/>
          </a:bodyPr>
          <a:lstStyle>
            <a:lvl1pPr marL="457200" lvl="0" indent="-228600" algn="l">
              <a:lnSpc>
                <a:spcPct val="88000"/>
              </a:lnSpc>
              <a:spcBef>
                <a:spcPts val="100"/>
              </a:spcBef>
              <a:spcAft>
                <a:spcPts val="0"/>
              </a:spcAft>
              <a:buSzPts val="600"/>
              <a:buNone/>
              <a:defRPr sz="600" b="1">
                <a:solidFill>
                  <a:schemeClr val="dk1"/>
                </a:solidFill>
                <a:latin typeface="+mn-lt"/>
                <a:ea typeface="Arial"/>
                <a:cs typeface="Arial"/>
                <a:sym typeface="Arial"/>
              </a:defRPr>
            </a:lvl1pPr>
            <a:lvl2pPr marL="914400" lvl="1" indent="-228600" algn="l">
              <a:lnSpc>
                <a:spcPct val="88000"/>
              </a:lnSpc>
              <a:spcBef>
                <a:spcPts val="100"/>
              </a:spcBef>
              <a:spcAft>
                <a:spcPts val="0"/>
              </a:spcAft>
              <a:buSzPts val="500"/>
              <a:buNone/>
              <a:defRPr sz="500">
                <a:solidFill>
                  <a:schemeClr val="dk1"/>
                </a:solidFill>
                <a:latin typeface="Arial"/>
                <a:ea typeface="Arial"/>
                <a:cs typeface="Arial"/>
                <a:sym typeface="Arial"/>
              </a:defRPr>
            </a:lvl2pPr>
            <a:lvl3pPr marL="1371600" lvl="2" indent="-295275" algn="l">
              <a:lnSpc>
                <a:spcPct val="90000"/>
              </a:lnSpc>
              <a:spcBef>
                <a:spcPts val="600"/>
              </a:spcBef>
              <a:spcAft>
                <a:spcPts val="0"/>
              </a:spcAft>
              <a:buSzPts val="1050"/>
              <a:buChar char="•"/>
              <a:defRPr sz="1050"/>
            </a:lvl3pPr>
            <a:lvl4pPr marL="1828800" lvl="3" indent="-292100" algn="l">
              <a:lnSpc>
                <a:spcPct val="90000"/>
              </a:lnSpc>
              <a:spcBef>
                <a:spcPts val="600"/>
              </a:spcBef>
              <a:spcAft>
                <a:spcPts val="0"/>
              </a:spcAft>
              <a:buSzPts val="1000"/>
              <a:buChar char="•"/>
              <a:defRPr sz="1000"/>
            </a:lvl4pPr>
            <a:lvl5pPr marL="2286000" lvl="4" indent="-292100" algn="l">
              <a:lnSpc>
                <a:spcPct val="90000"/>
              </a:lnSpc>
              <a:spcBef>
                <a:spcPts val="600"/>
              </a:spcBef>
              <a:spcAft>
                <a:spcPts val="0"/>
              </a:spcAft>
              <a:buSzPts val="1000"/>
              <a:buChar char="•"/>
              <a:defRPr sz="1000"/>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grpSp>
        <p:nvGrpSpPr>
          <p:cNvPr id="296" name="Google Shape;296;p57"/>
          <p:cNvGrpSpPr/>
          <p:nvPr/>
        </p:nvGrpSpPr>
        <p:grpSpPr>
          <a:xfrm>
            <a:off x="9206185" y="367221"/>
            <a:ext cx="2202899" cy="3801041"/>
            <a:chOff x="9248019" y="367221"/>
            <a:chExt cx="2202899" cy="3801041"/>
          </a:xfrm>
        </p:grpSpPr>
        <p:sp>
          <p:nvSpPr>
            <p:cNvPr id="297" name="Google Shape;297;p57"/>
            <p:cNvSpPr txBox="1"/>
            <p:nvPr/>
          </p:nvSpPr>
          <p:spPr>
            <a:xfrm>
              <a:off x="9248019" y="367221"/>
              <a:ext cx="2202899" cy="3801041"/>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a:solidFill>
                    <a:srgbClr val="7D8183"/>
                  </a:solidFill>
                  <a:latin typeface="Arial"/>
                  <a:ea typeface="Arial"/>
                  <a:cs typeface="Arial"/>
                  <a:sym typeface="Arial"/>
                </a:rPr>
                <a:t>THERE ARE TWO (2) OPTION TO CUSTOMIZE A LAYOUT WITH A </a:t>
              </a:r>
              <a:br>
                <a:rPr lang="en-US" sz="900" b="1" i="0">
                  <a:solidFill>
                    <a:srgbClr val="7D8183"/>
                  </a:solidFill>
                  <a:latin typeface="Arial"/>
                  <a:ea typeface="Arial"/>
                  <a:cs typeface="Arial"/>
                  <a:sym typeface="Arial"/>
                </a:rPr>
              </a:br>
              <a:r>
                <a:rPr lang="en-US" sz="900" b="1" i="0">
                  <a:solidFill>
                    <a:srgbClr val="7D8183"/>
                  </a:solidFill>
                  <a:latin typeface="Arial"/>
                  <a:ea typeface="Arial"/>
                  <a:cs typeface="Arial"/>
                  <a:sym typeface="Arial"/>
                </a:rPr>
                <a:t>NEW PICTURE:</a:t>
              </a:r>
              <a:endParaRPr/>
            </a:p>
            <a:p>
              <a:pPr marL="174625" marR="0" lvl="0" indent="-174625" algn="l" rtl="0">
                <a:lnSpc>
                  <a:spcPct val="100000"/>
                </a:lnSpc>
                <a:spcBef>
                  <a:spcPts val="1200"/>
                </a:spcBef>
                <a:spcAft>
                  <a:spcPts val="0"/>
                </a:spcAft>
                <a:buClr>
                  <a:srgbClr val="7D8183"/>
                </a:buClr>
                <a:buSzPts val="900"/>
                <a:buFont typeface="Arial"/>
                <a:buAutoNum type="arabicPeriod"/>
              </a:pPr>
              <a:r>
                <a:rPr lang="en-US" sz="900" b="1" i="0">
                  <a:solidFill>
                    <a:srgbClr val="7D8183"/>
                  </a:solidFill>
                  <a:latin typeface="Arial"/>
                  <a:ea typeface="Arial"/>
                  <a:cs typeface="Arial"/>
                  <a:sym typeface="Arial"/>
                </a:rPr>
                <a:t>Delete the current picture, if there </a:t>
              </a:r>
              <a:br>
                <a:rPr lang="en-US" sz="900" b="1" i="0">
                  <a:solidFill>
                    <a:srgbClr val="7D8183"/>
                  </a:solidFill>
                  <a:latin typeface="Arial"/>
                  <a:ea typeface="Arial"/>
                  <a:cs typeface="Arial"/>
                  <a:sym typeface="Arial"/>
                </a:rPr>
              </a:br>
              <a:r>
                <a:rPr lang="en-US" sz="900" b="1" i="0">
                  <a:solidFill>
                    <a:srgbClr val="7D8183"/>
                  </a:solidFill>
                  <a:latin typeface="Arial"/>
                  <a:ea typeface="Arial"/>
                  <a:cs typeface="Arial"/>
                  <a:sym typeface="Arial"/>
                </a:rPr>
                <a:t>is one.</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On the Insert tab, click the Pictures button OR you can click the picture icon      on the slide surface to start your search.</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Navigate to the image you want to use and select Insert. </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Under Home click the Reset button to reapply the Layout.</a:t>
              </a:r>
              <a:endParaRPr/>
            </a:p>
            <a:p>
              <a:pPr marL="174625" marR="0" lvl="0" indent="0" algn="l" rtl="0">
                <a:lnSpc>
                  <a:spcPct val="100000"/>
                </a:lnSpc>
                <a:spcBef>
                  <a:spcPts val="600"/>
                </a:spcBef>
                <a:spcAft>
                  <a:spcPts val="0"/>
                </a:spcAft>
                <a:buClr>
                  <a:srgbClr val="7D8183"/>
                </a:buClr>
                <a:buSzPts val="900"/>
                <a:buFont typeface="Arial"/>
                <a:buNone/>
              </a:pPr>
              <a:r>
                <a:rPr lang="en-US" sz="900" b="1" i="0">
                  <a:solidFill>
                    <a:srgbClr val="7D8183"/>
                  </a:solidFill>
                  <a:latin typeface="Arial"/>
                  <a:ea typeface="Arial"/>
                  <a:cs typeface="Arial"/>
                  <a:sym typeface="Arial"/>
                </a:rPr>
                <a:t>Resize the picture to fit the slide, as needed, using the Crop tool. Hold the Shift key and click and drag a corner to scale equally.</a:t>
              </a:r>
              <a:endParaRPr/>
            </a:p>
            <a:p>
              <a:pPr marL="174625" marR="0" lvl="0" indent="-174625" algn="l" rtl="0">
                <a:lnSpc>
                  <a:spcPct val="100000"/>
                </a:lnSpc>
                <a:spcBef>
                  <a:spcPts val="1200"/>
                </a:spcBef>
                <a:spcAft>
                  <a:spcPts val="0"/>
                </a:spcAft>
                <a:buClr>
                  <a:srgbClr val="7D8183"/>
                </a:buClr>
                <a:buSzPts val="900"/>
                <a:buFont typeface="Arial"/>
                <a:buAutoNum type="arabicPeriod" startAt="2"/>
              </a:pPr>
              <a:r>
                <a:rPr lang="en-US" sz="900" b="1" i="0">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if appropriate).</a:t>
              </a:r>
              <a:endParaRPr/>
            </a:p>
          </p:txBody>
        </p:sp>
        <p:pic>
          <p:nvPicPr>
            <p:cNvPr id="298" name="Google Shape;298;p57"/>
            <p:cNvPicPr preferRelativeResize="0"/>
            <p:nvPr/>
          </p:nvPicPr>
          <p:blipFill rotWithShape="1">
            <a:blip r:embed="rId2">
              <a:alphaModFix/>
            </a:blip>
            <a:srcRect/>
            <a:stretch/>
          </p:blipFill>
          <p:spPr>
            <a:xfrm>
              <a:off x="9679634" y="1593517"/>
              <a:ext cx="140548" cy="96627"/>
            </a:xfrm>
            <a:prstGeom prst="rect">
              <a:avLst/>
            </a:prstGeom>
            <a:noFill/>
            <a:ln>
              <a:noFill/>
            </a:ln>
          </p:spPr>
        </p:pic>
      </p:grpSp>
      <p:sp>
        <p:nvSpPr>
          <p:cNvPr id="300" name="Google Shape;300;p57"/>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28" name="Google Shape;58;p36">
            <a:extLst>
              <a:ext uri="{FF2B5EF4-FFF2-40B4-BE49-F238E27FC236}">
                <a16:creationId xmlns:a16="http://schemas.microsoft.com/office/drawing/2014/main" id="{BF456FB0-BD13-49E8-839B-71E752FEC2A1}"/>
              </a:ext>
            </a:extLst>
          </p:cNvPr>
          <p:cNvSpPr txBox="1">
            <a:spLocks noGrp="1"/>
          </p:cNvSpPr>
          <p:nvPr>
            <p:ph type="body" idx="26"/>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
        <p:nvSpPr>
          <p:cNvPr id="30" name="Google Shape;60;p36">
            <a:extLst>
              <a:ext uri="{FF2B5EF4-FFF2-40B4-BE49-F238E27FC236}">
                <a16:creationId xmlns:a16="http://schemas.microsoft.com/office/drawing/2014/main" id="{C5D4A2AD-5C44-450A-AA23-14CB1311079C}"/>
              </a:ext>
            </a:extLst>
          </p:cNvPr>
          <p:cNvSpPr txBox="1">
            <a:spLocks noGrp="1"/>
          </p:cNvSpPr>
          <p:nvPr>
            <p:ph type="body" idx="27" hasCustomPrompt="1"/>
          </p:nvPr>
        </p:nvSpPr>
        <p:spPr>
          <a:xfrm>
            <a:off x="381648" y="4745251"/>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r>
              <a:rPr lang="en-US" dirty="0"/>
              <a:t>Footnote placeholder</a:t>
            </a:r>
          </a:p>
        </p:txBody>
      </p:sp>
    </p:spTree>
    <p:extLst>
      <p:ext uri="{BB962C8B-B14F-4D97-AF65-F5344CB8AC3E}">
        <p14:creationId xmlns:p14="http://schemas.microsoft.com/office/powerpoint/2010/main" val="2943559138"/>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Blank" userDrawn="1">
  <p:cSld name="Blank">
    <p:spTree>
      <p:nvGrpSpPr>
        <p:cNvPr id="1" name="Shape 302"/>
        <p:cNvGrpSpPr/>
        <p:nvPr/>
      </p:nvGrpSpPr>
      <p:grpSpPr>
        <a:xfrm>
          <a:off x="0" y="0"/>
          <a:ext cx="0" cy="0"/>
          <a:chOff x="0" y="0"/>
          <a:chExt cx="0" cy="0"/>
        </a:xfrm>
      </p:grpSpPr>
      <p:sp>
        <p:nvSpPr>
          <p:cNvPr id="3" name="Google Shape;58;p36">
            <a:extLst>
              <a:ext uri="{FF2B5EF4-FFF2-40B4-BE49-F238E27FC236}">
                <a16:creationId xmlns:a16="http://schemas.microsoft.com/office/drawing/2014/main" id="{856E29D5-8897-4AD3-B1D6-51191087C9FD}"/>
              </a:ext>
            </a:extLst>
          </p:cNvPr>
          <p:cNvSpPr txBox="1">
            <a:spLocks noGrp="1"/>
          </p:cNvSpPr>
          <p:nvPr>
            <p:ph type="body" idx="2"/>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400" lvl="1" indent="-228600" algn="l">
              <a:lnSpc>
                <a:spcPct val="90000"/>
              </a:lnSpc>
              <a:spcBef>
                <a:spcPts val="600"/>
              </a:spcBef>
              <a:spcAft>
                <a:spcPts val="0"/>
              </a:spcAft>
              <a:buSzPts val="1400"/>
              <a:buNone/>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344455238"/>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Section Header_2" type="secHead">
  <p:cSld name="Section Header_2">
    <p:spTree>
      <p:nvGrpSpPr>
        <p:cNvPr id="1" name="Shape 61"/>
        <p:cNvGrpSpPr/>
        <p:nvPr/>
      </p:nvGrpSpPr>
      <p:grpSpPr>
        <a:xfrm>
          <a:off x="0" y="0"/>
          <a:ext cx="0" cy="0"/>
          <a:chOff x="0" y="0"/>
          <a:chExt cx="0" cy="0"/>
        </a:xfrm>
      </p:grpSpPr>
      <p:sp>
        <p:nvSpPr>
          <p:cNvPr id="62" name="Google Shape;62;p37"/>
          <p:cNvSpPr txBox="1">
            <a:spLocks noGrp="1"/>
          </p:cNvSpPr>
          <p:nvPr>
            <p:ph type="title"/>
          </p:nvPr>
        </p:nvSpPr>
        <p:spPr>
          <a:xfrm>
            <a:off x="383931" y="2985156"/>
            <a:ext cx="8375400" cy="311624"/>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chemeClr val="accent3"/>
              </a:buClr>
              <a:buSzPts val="2250"/>
              <a:buFont typeface="Arial"/>
              <a:buNone/>
              <a:defRPr sz="2250" b="1" cap="none">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63" name="Google Shape;63;p37"/>
          <p:cNvSpPr txBox="1">
            <a:spLocks noGrp="1"/>
          </p:cNvSpPr>
          <p:nvPr>
            <p:ph type="body" idx="1"/>
          </p:nvPr>
        </p:nvSpPr>
        <p:spPr>
          <a:xfrm>
            <a:off x="383931" y="3461259"/>
            <a:ext cx="8375400" cy="276999"/>
          </a:xfrm>
          <a:prstGeom prst="rect">
            <a:avLst/>
          </a:prstGeom>
          <a:noFill/>
          <a:ln>
            <a:noFill/>
          </a:ln>
        </p:spPr>
        <p:txBody>
          <a:bodyPr spcFirstLastPara="1" wrap="square" lIns="0" tIns="0" rIns="0" bIns="0" anchor="t" anchorCtr="0">
            <a:spAutoFit/>
          </a:bodyPr>
          <a:lstStyle>
            <a:lvl1pPr marL="0" lvl="0" indent="0" algn="l">
              <a:lnSpc>
                <a:spcPct val="100000"/>
              </a:lnSpc>
              <a:spcBef>
                <a:spcPts val="0"/>
              </a:spcBef>
              <a:spcAft>
                <a:spcPts val="0"/>
              </a:spcAft>
              <a:buSzPts val="1800"/>
              <a:buNone/>
              <a:defRPr sz="1800">
                <a:latin typeface="+mn-lt"/>
              </a:defRPr>
            </a:lvl1pPr>
            <a:lvl2pPr marL="914400" lvl="1" indent="-228600" algn="l">
              <a:lnSpc>
                <a:spcPct val="90000"/>
              </a:lnSpc>
              <a:spcBef>
                <a:spcPts val="600"/>
              </a:spcBef>
              <a:spcAft>
                <a:spcPts val="0"/>
              </a:spcAft>
              <a:buSzPts val="1350"/>
              <a:buNone/>
              <a:defRPr sz="1350"/>
            </a:lvl2pPr>
            <a:lvl3pPr marL="1371600" lvl="2" indent="-228600" algn="l">
              <a:lnSpc>
                <a:spcPct val="90000"/>
              </a:lnSpc>
              <a:spcBef>
                <a:spcPts val="600"/>
              </a:spcBef>
              <a:spcAft>
                <a:spcPts val="0"/>
              </a:spcAft>
              <a:buSzPts val="1200"/>
              <a:buNone/>
              <a:defRPr sz="1200"/>
            </a:lvl3pPr>
            <a:lvl4pPr marL="1828800" lvl="3" indent="-228600" algn="l">
              <a:lnSpc>
                <a:spcPct val="90000"/>
              </a:lnSpc>
              <a:spcBef>
                <a:spcPts val="600"/>
              </a:spcBef>
              <a:spcAft>
                <a:spcPts val="0"/>
              </a:spcAft>
              <a:buSzPts val="1050"/>
              <a:buNone/>
              <a:defRPr sz="1050"/>
            </a:lvl4pPr>
            <a:lvl5pPr marL="2286000" lvl="4" indent="-228600" algn="l">
              <a:lnSpc>
                <a:spcPct val="90000"/>
              </a:lnSpc>
              <a:spcBef>
                <a:spcPts val="600"/>
              </a:spcBef>
              <a:spcAft>
                <a:spcPts val="0"/>
              </a:spcAft>
              <a:buSzPts val="1050"/>
              <a:buNone/>
              <a:defRPr sz="1050"/>
            </a:lvl5pPr>
            <a:lvl6pPr marL="2743200" lvl="5" indent="-228600" algn="l">
              <a:lnSpc>
                <a:spcPct val="90000"/>
              </a:lnSpc>
              <a:spcBef>
                <a:spcPts val="375"/>
              </a:spcBef>
              <a:spcAft>
                <a:spcPts val="0"/>
              </a:spcAft>
              <a:buClr>
                <a:schemeClr val="dk1"/>
              </a:buClr>
              <a:buSzPts val="1050"/>
              <a:buNone/>
              <a:defRPr sz="1050"/>
            </a:lvl6pPr>
            <a:lvl7pPr marL="3200400" lvl="6" indent="-228600" algn="l">
              <a:lnSpc>
                <a:spcPct val="90000"/>
              </a:lnSpc>
              <a:spcBef>
                <a:spcPts val="375"/>
              </a:spcBef>
              <a:spcAft>
                <a:spcPts val="0"/>
              </a:spcAft>
              <a:buClr>
                <a:schemeClr val="dk1"/>
              </a:buClr>
              <a:buSzPts val="1050"/>
              <a:buNone/>
              <a:defRPr sz="1050"/>
            </a:lvl7pPr>
            <a:lvl8pPr marL="3657600" lvl="7" indent="-228600" algn="l">
              <a:lnSpc>
                <a:spcPct val="90000"/>
              </a:lnSpc>
              <a:spcBef>
                <a:spcPts val="375"/>
              </a:spcBef>
              <a:spcAft>
                <a:spcPts val="0"/>
              </a:spcAft>
              <a:buClr>
                <a:schemeClr val="dk1"/>
              </a:buClr>
              <a:buSzPts val="1050"/>
              <a:buNone/>
              <a:defRPr sz="1050"/>
            </a:lvl8pPr>
            <a:lvl9pPr marL="4114800" lvl="8" indent="-228600" algn="l">
              <a:lnSpc>
                <a:spcPct val="90000"/>
              </a:lnSpc>
              <a:spcBef>
                <a:spcPts val="375"/>
              </a:spcBef>
              <a:spcAft>
                <a:spcPts val="0"/>
              </a:spcAft>
              <a:buClr>
                <a:schemeClr val="dk1"/>
              </a:buClr>
              <a:buSzPts val="1050"/>
              <a:buNone/>
              <a:defRPr sz="1050"/>
            </a:lvl9pPr>
          </a:lstStyle>
          <a:p>
            <a:endParaRPr dirty="0"/>
          </a:p>
        </p:txBody>
      </p:sp>
    </p:spTree>
    <p:extLst>
      <p:ext uri="{BB962C8B-B14F-4D97-AF65-F5344CB8AC3E}">
        <p14:creationId xmlns:p14="http://schemas.microsoft.com/office/powerpoint/2010/main" val="5303444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28F8A4-74A8-49ED-9F32-AFB00C91BAF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0B28F8A4-74A8-49ED-9F32-AFB00C91BA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388328" y="1352550"/>
            <a:ext cx="8353800" cy="3146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l-PL" dirty="0"/>
          </a:p>
        </p:txBody>
      </p:sp>
      <p:sp>
        <p:nvSpPr>
          <p:cNvPr id="8" name="Text Placeholder 7">
            <a:extLst>
              <a:ext uri="{FF2B5EF4-FFF2-40B4-BE49-F238E27FC236}">
                <a16:creationId xmlns:a16="http://schemas.microsoft.com/office/drawing/2014/main" id="{9113A743-70F2-478E-9538-CBF7F73D30D9}"/>
              </a:ext>
            </a:extLst>
          </p:cNvPr>
          <p:cNvSpPr>
            <a:spLocks noGrp="1"/>
          </p:cNvSpPr>
          <p:nvPr>
            <p:ph type="body" sz="quarter" idx="12" hasCustomPrompt="1"/>
          </p:nvPr>
        </p:nvSpPr>
        <p:spPr>
          <a:xfrm>
            <a:off x="381648" y="928221"/>
            <a:ext cx="8353800" cy="253916"/>
          </a:xfrm>
        </p:spPr>
        <p:txBody>
          <a:bodyPr>
            <a:spAutoFit/>
          </a:bodyPr>
          <a:lstStyle>
            <a:lvl1pPr marL="0" indent="0">
              <a:buNone/>
              <a:defRPr sz="1650">
                <a:solidFill>
                  <a:schemeClr val="accent6"/>
                </a:solidFill>
              </a:defRPr>
            </a:lvl1pPr>
          </a:lstStyle>
          <a:p>
            <a:pPr lvl="0"/>
            <a:r>
              <a:rPr lang="en-US" dirty="0"/>
              <a:t>Click to edit Master title style</a:t>
            </a:r>
          </a:p>
        </p:txBody>
      </p:sp>
      <p:sp>
        <p:nvSpPr>
          <p:cNvPr id="15" name="shpPlaceholderNumber">
            <a:extLst>
              <a:ext uri="{FF2B5EF4-FFF2-40B4-BE49-F238E27FC236}">
                <a16:creationId xmlns:a16="http://schemas.microsoft.com/office/drawing/2014/main" id="{40C367F2-1B3C-4426-A83B-D7E4DBC33CE6}"/>
              </a:ext>
            </a:extLst>
          </p:cNvPr>
          <p:cNvSpPr>
            <a:spLocks noGrp="1" noChangeArrowheads="1"/>
          </p:cNvSpPr>
          <p:nvPr>
            <p:ph type="sldNum" sz="quarter" idx="4"/>
          </p:nvPr>
        </p:nvSpPr>
        <p:spPr bwMode="auto">
          <a:xfrm>
            <a:off x="8525021" y="4999031"/>
            <a:ext cx="226256"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a:spcBef>
                <a:spcPct val="0"/>
              </a:spcBef>
              <a:defRPr sz="600">
                <a:solidFill>
                  <a:schemeClr val="tx1"/>
                </a:solidFill>
              </a:defRPr>
            </a:lvl1pPr>
          </a:lstStyle>
          <a:p>
            <a:fld id="{0FBB20A0-29A2-4F03-9BB9-2B9F07088D58}" type="slidenum">
              <a:rPr lang="en-GB" smtClean="0"/>
              <a:pPr/>
              <a:t>‹#›</a:t>
            </a:fld>
            <a:endParaRPr lang="en-GB" dirty="0"/>
          </a:p>
        </p:txBody>
      </p:sp>
      <p:sp>
        <p:nvSpPr>
          <p:cNvPr id="4" name="Title 3">
            <a:extLst>
              <a:ext uri="{FF2B5EF4-FFF2-40B4-BE49-F238E27FC236}">
                <a16:creationId xmlns:a16="http://schemas.microsoft.com/office/drawing/2014/main" id="{157647BE-18BB-429C-B6FA-07217D7A8DF1}"/>
              </a:ext>
            </a:extLst>
          </p:cNvPr>
          <p:cNvSpPr>
            <a:spLocks noGrp="1"/>
          </p:cNvSpPr>
          <p:nvPr>
            <p:ph type="title"/>
          </p:nvPr>
        </p:nvSpPr>
        <p:spPr>
          <a:xfrm>
            <a:off x="381648" y="585795"/>
            <a:ext cx="8353800" cy="300083"/>
          </a:xfrm>
        </p:spPr>
        <p:txBody>
          <a:bodyPr vert="horz"/>
          <a:lstStyle/>
          <a:p>
            <a:r>
              <a:rPr lang="en-US" dirty="0"/>
              <a:t>Click to edit Master title style</a:t>
            </a:r>
          </a:p>
        </p:txBody>
      </p:sp>
      <p:sp>
        <p:nvSpPr>
          <p:cNvPr id="9" name="Text Placeholder 18">
            <a:extLst>
              <a:ext uri="{FF2B5EF4-FFF2-40B4-BE49-F238E27FC236}">
                <a16:creationId xmlns:a16="http://schemas.microsoft.com/office/drawing/2014/main" id="{BEE7C373-DC4D-4D7F-80B4-CBF485F67A65}"/>
              </a:ext>
            </a:extLst>
          </p:cNvPr>
          <p:cNvSpPr>
            <a:spLocks noGrp="1"/>
          </p:cNvSpPr>
          <p:nvPr>
            <p:ph type="body" sz="quarter" idx="13" hasCustomPrompt="1"/>
          </p:nvPr>
        </p:nvSpPr>
        <p:spPr>
          <a:xfrm>
            <a:off x="397121" y="4714473"/>
            <a:ext cx="8353800" cy="123111"/>
          </a:xfrm>
          <a:prstGeom prst="rect">
            <a:avLst/>
          </a:prstGeom>
        </p:spPr>
        <p:txBody>
          <a:bodyPr tIns="0" bIns="0" anchor="b">
            <a:spAutoFit/>
          </a:bodyPr>
          <a:lstStyle>
            <a:lvl1pPr marL="0" indent="0">
              <a:buNone/>
              <a:defRPr lang="en-US" sz="800" kern="1200" dirty="0">
                <a:solidFill>
                  <a:schemeClr val="tx1"/>
                </a:solidFill>
                <a:latin typeface="+mn-lt"/>
                <a:ea typeface="Verdana" panose="020B0604030504040204" pitchFamily="34" charset="0"/>
                <a:cs typeface="Arial"/>
              </a:defRPr>
            </a:lvl1pPr>
          </a:lstStyle>
          <a:p>
            <a:pPr lvl="0"/>
            <a:r>
              <a:rPr lang="en-US" dirty="0"/>
              <a:t>Footnote placeholder</a:t>
            </a:r>
          </a:p>
        </p:txBody>
      </p:sp>
      <p:pic>
        <p:nvPicPr>
          <p:cNvPr id="7" name="Google Shape;235;p18">
            <a:hlinkClick r:id="" action="ppaction://noaction"/>
            <a:extLst>
              <a:ext uri="{FF2B5EF4-FFF2-40B4-BE49-F238E27FC236}">
                <a16:creationId xmlns:a16="http://schemas.microsoft.com/office/drawing/2014/main" id="{D9476E17-5583-D94A-A497-AEC957AF73EE}"/>
              </a:ext>
            </a:extLst>
          </p:cNvPr>
          <p:cNvPicPr preferRelativeResize="0"/>
          <p:nvPr userDrawn="1"/>
        </p:nvPicPr>
        <p:blipFill rotWithShape="1">
          <a:blip r:embed="rId6">
            <a:alphaModFix/>
          </a:blip>
          <a:srcRect/>
          <a:stretch/>
        </p:blipFill>
        <p:spPr>
          <a:xfrm>
            <a:off x="8839905" y="427269"/>
            <a:ext cx="177568" cy="177568"/>
          </a:xfrm>
          <a:prstGeom prst="rect">
            <a:avLst/>
          </a:prstGeom>
          <a:noFill/>
          <a:ln>
            <a:noFill/>
          </a:ln>
        </p:spPr>
      </p:pic>
    </p:spTree>
    <p:extLst>
      <p:ext uri="{BB962C8B-B14F-4D97-AF65-F5344CB8AC3E}">
        <p14:creationId xmlns:p14="http://schemas.microsoft.com/office/powerpoint/2010/main" val="37914065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matchingName="Tagline_1">
  <p:cSld name="Tagline_1">
    <p:bg>
      <p:bgPr>
        <a:solidFill>
          <a:schemeClr val="lt1"/>
        </a:solidFill>
        <a:effectLst/>
      </p:bgPr>
    </p:bg>
    <p:spTree>
      <p:nvGrpSpPr>
        <p:cNvPr id="1" name="Shape 98"/>
        <p:cNvGrpSpPr/>
        <p:nvPr/>
      </p:nvGrpSpPr>
      <p:grpSpPr>
        <a:xfrm>
          <a:off x="0" y="0"/>
          <a:ext cx="0" cy="0"/>
          <a:chOff x="0" y="0"/>
          <a:chExt cx="0" cy="0"/>
        </a:xfrm>
      </p:grpSpPr>
      <p:sp>
        <p:nvSpPr>
          <p:cNvPr id="100" name="Google Shape;100;p42"/>
          <p:cNvSpPr/>
          <p:nvPr/>
        </p:nvSpPr>
        <p:spPr>
          <a:xfrm>
            <a:off x="3788800" y="4913074"/>
            <a:ext cx="1461939" cy="9233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600" dirty="0">
                <a:solidFill>
                  <a:schemeClr val="dk1"/>
                </a:solidFill>
                <a:latin typeface="+mn-lt"/>
                <a:ea typeface="Arial"/>
                <a:cs typeface="Arial"/>
                <a:sym typeface="Arial"/>
              </a:rPr>
              <a:t>© 2021 Genentech, Inc. All rights reserved</a:t>
            </a:r>
            <a:endParaRPr dirty="0">
              <a:latin typeface="+mn-lt"/>
            </a:endParaRPr>
          </a:p>
        </p:txBody>
      </p:sp>
      <p:sp>
        <p:nvSpPr>
          <p:cNvPr id="4" name="TextBox 3">
            <a:extLst>
              <a:ext uri="{FF2B5EF4-FFF2-40B4-BE49-F238E27FC236}">
                <a16:creationId xmlns:a16="http://schemas.microsoft.com/office/drawing/2014/main" id="{C00EDFC1-5DD0-4BA3-B4F3-1DBE65D957A3}"/>
              </a:ext>
            </a:extLst>
          </p:cNvPr>
          <p:cNvSpPr txBox="1"/>
          <p:nvPr userDrawn="1"/>
        </p:nvSpPr>
        <p:spPr bwMode="gray">
          <a:xfrm>
            <a:off x="1396409" y="1826691"/>
            <a:ext cx="6351182" cy="1329595"/>
          </a:xfrm>
          <a:prstGeom prst="rect">
            <a:avLst/>
          </a:prstGeom>
          <a:noFill/>
        </p:spPr>
        <p:txBody>
          <a:bodyPr wrap="square" lIns="0" tIns="0" rIns="0" bIns="0" numCol="1" rtlCol="0">
            <a:spAutoFit/>
          </a:bodyPr>
          <a:lstStyle/>
          <a:p>
            <a:pPr algn="ctr">
              <a:lnSpc>
                <a:spcPct val="90000"/>
              </a:lnSpc>
              <a:spcAft>
                <a:spcPts val="900"/>
              </a:spcAft>
            </a:pPr>
            <a:r>
              <a:rPr lang="en-US" sz="4800" b="0" i="1" u="none" strike="noStrike" kern="1200" cap="none" baseline="0" dirty="0">
                <a:solidFill>
                  <a:srgbClr val="003087"/>
                </a:solidFill>
                <a:latin typeface="Gene Serif Light" panose="00000400000000000000" pitchFamily="50" charset="0"/>
                <a:ea typeface="Roboto" charset="0"/>
                <a:cs typeface="Arial" panose="020B0604020202020204" pitchFamily="34" charset="0"/>
                <a:sym typeface="Georgia"/>
              </a:rPr>
              <a:t>Doing now what patients need next</a:t>
            </a:r>
          </a:p>
        </p:txBody>
      </p:sp>
    </p:spTree>
    <p:extLst>
      <p:ext uri="{BB962C8B-B14F-4D97-AF65-F5344CB8AC3E}">
        <p14:creationId xmlns:p14="http://schemas.microsoft.com/office/powerpoint/2010/main" val="3136977076"/>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Process + Photos" userDrawn="1">
  <p:cSld name="Process + Photos">
    <p:bg>
      <p:bgPr>
        <a:solidFill>
          <a:schemeClr val="lt1"/>
        </a:solidFill>
        <a:effectLst/>
      </p:bgPr>
    </p:bg>
    <p:spTree>
      <p:nvGrpSpPr>
        <p:cNvPr id="1" name="Shape 198"/>
        <p:cNvGrpSpPr/>
        <p:nvPr/>
      </p:nvGrpSpPr>
      <p:grpSpPr>
        <a:xfrm>
          <a:off x="0" y="0"/>
          <a:ext cx="0" cy="0"/>
          <a:chOff x="0" y="0"/>
          <a:chExt cx="0" cy="0"/>
        </a:xfrm>
      </p:grpSpPr>
      <p:sp>
        <p:nvSpPr>
          <p:cNvPr id="199" name="Google Shape;199;p51"/>
          <p:cNvSpPr>
            <a:spLocks noGrp="1"/>
          </p:cNvSpPr>
          <p:nvPr>
            <p:ph type="pic" idx="2"/>
          </p:nvPr>
        </p:nvSpPr>
        <p:spPr>
          <a:xfrm>
            <a:off x="0" y="1598614"/>
            <a:ext cx="2156274" cy="2282825"/>
          </a:xfrm>
          <a:prstGeom prst="rect">
            <a:avLst/>
          </a:prstGeom>
          <a:solidFill>
            <a:srgbClr val="F2F2F2"/>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00" name="Google Shape;200;p51"/>
          <p:cNvSpPr/>
          <p:nvPr/>
        </p:nvSpPr>
        <p:spPr>
          <a:xfrm>
            <a:off x="1674990" y="1599384"/>
            <a:ext cx="1797661" cy="2282052"/>
          </a:xfrm>
          <a:prstGeom prst="chevron">
            <a:avLst>
              <a:gd name="adj" fmla="val 27001"/>
            </a:avLst>
          </a:prstGeom>
          <a:solidFill>
            <a:srgbClr val="DDEEF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dk1"/>
              </a:solidFill>
              <a:latin typeface="+mn-lt"/>
              <a:ea typeface="Arial"/>
              <a:cs typeface="Arial"/>
              <a:sym typeface="Arial"/>
            </a:endParaRPr>
          </a:p>
        </p:txBody>
      </p:sp>
      <p:sp>
        <p:nvSpPr>
          <p:cNvPr id="201" name="Google Shape;201;p51"/>
          <p:cNvSpPr/>
          <p:nvPr/>
        </p:nvSpPr>
        <p:spPr>
          <a:xfrm>
            <a:off x="2982691" y="1599382"/>
            <a:ext cx="1886036" cy="2282052"/>
          </a:xfrm>
          <a:prstGeom prst="chevron">
            <a:avLst>
              <a:gd name="adj" fmla="val 27001"/>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dk1"/>
              </a:solidFill>
              <a:latin typeface="+mn-lt"/>
              <a:ea typeface="Arial"/>
              <a:cs typeface="Arial"/>
              <a:sym typeface="Arial"/>
            </a:endParaRPr>
          </a:p>
        </p:txBody>
      </p:sp>
      <p:sp>
        <p:nvSpPr>
          <p:cNvPr id="202" name="Google Shape;202;p51"/>
          <p:cNvSpPr/>
          <p:nvPr/>
        </p:nvSpPr>
        <p:spPr>
          <a:xfrm>
            <a:off x="4383511" y="1599384"/>
            <a:ext cx="1797661" cy="2282052"/>
          </a:xfrm>
          <a:prstGeom prst="chevron">
            <a:avLst>
              <a:gd name="adj" fmla="val 27001"/>
            </a:avLst>
          </a:prstGeom>
          <a:solidFill>
            <a:srgbClr val="DDEEF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dk1"/>
              </a:solidFill>
              <a:latin typeface="+mn-lt"/>
              <a:ea typeface="Arial"/>
              <a:cs typeface="Arial"/>
              <a:sym typeface="Arial"/>
            </a:endParaRPr>
          </a:p>
        </p:txBody>
      </p:sp>
      <p:sp>
        <p:nvSpPr>
          <p:cNvPr id="203" name="Google Shape;203;p51"/>
          <p:cNvSpPr/>
          <p:nvPr/>
        </p:nvSpPr>
        <p:spPr>
          <a:xfrm>
            <a:off x="5682073" y="1599382"/>
            <a:ext cx="1913859" cy="2282052"/>
          </a:xfrm>
          <a:prstGeom prst="chevron">
            <a:avLst>
              <a:gd name="adj" fmla="val 27001"/>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dk1"/>
              </a:solidFill>
              <a:latin typeface="+mn-lt"/>
              <a:ea typeface="Arial"/>
              <a:cs typeface="Arial"/>
              <a:sym typeface="Arial"/>
            </a:endParaRPr>
          </a:p>
        </p:txBody>
      </p:sp>
      <p:sp>
        <p:nvSpPr>
          <p:cNvPr id="204" name="Google Shape;204;p51"/>
          <p:cNvSpPr/>
          <p:nvPr/>
        </p:nvSpPr>
        <p:spPr>
          <a:xfrm>
            <a:off x="4383509" y="3566074"/>
            <a:ext cx="2858025" cy="315361"/>
          </a:xfrm>
          <a:prstGeom prst="parallelogram">
            <a:avLst>
              <a:gd name="adj" fmla="val 40361"/>
            </a:avLst>
          </a:prstGeom>
          <a:solidFill>
            <a:srgbClr val="8DC8E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mn-lt"/>
              <a:ea typeface="Arial"/>
              <a:cs typeface="Arial"/>
              <a:sym typeface="Arial"/>
            </a:endParaRPr>
          </a:p>
        </p:txBody>
      </p:sp>
      <p:sp>
        <p:nvSpPr>
          <p:cNvPr id="205" name="Google Shape;205;p51"/>
          <p:cNvSpPr>
            <a:spLocks noGrp="1"/>
          </p:cNvSpPr>
          <p:nvPr>
            <p:ph type="pic" idx="3"/>
          </p:nvPr>
        </p:nvSpPr>
        <p:spPr>
          <a:xfrm>
            <a:off x="7070499" y="1599381"/>
            <a:ext cx="2073500" cy="228205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06" name="Google Shape;206;p51"/>
          <p:cNvSpPr txBox="1">
            <a:spLocks noGrp="1"/>
          </p:cNvSpPr>
          <p:nvPr>
            <p:ph type="title"/>
          </p:nvPr>
        </p:nvSpPr>
        <p:spPr>
          <a:xfrm>
            <a:off x="381648" y="585796"/>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207" name="Google Shape;207;p51"/>
          <p:cNvSpPr txBox="1">
            <a:spLocks noGrp="1"/>
          </p:cNvSpPr>
          <p:nvPr>
            <p:ph type="body" idx="1"/>
          </p:nvPr>
        </p:nvSpPr>
        <p:spPr>
          <a:xfrm>
            <a:off x="3537256" y="2514142"/>
            <a:ext cx="1117230" cy="822325"/>
          </a:xfrm>
          <a:prstGeom prst="rect">
            <a:avLst/>
          </a:prstGeom>
          <a:noFill/>
          <a:ln>
            <a:noFill/>
          </a:ln>
        </p:spPr>
        <p:txBody>
          <a:bodyPr spcFirstLastPara="1" wrap="square" lIns="0" tIns="0" rIns="0" bIns="0" anchor="t" anchorCtr="0">
            <a:noAutofit/>
          </a:bodyPr>
          <a:lstStyle>
            <a:lvl1pPr marL="457189" lvl="0" indent="-228594" algn="ctr">
              <a:lnSpc>
                <a:spcPct val="90000"/>
              </a:lnSpc>
              <a:spcBef>
                <a:spcPts val="600"/>
              </a:spcBef>
              <a:spcAft>
                <a:spcPts val="0"/>
              </a:spcAft>
              <a:buSzPts val="1050"/>
              <a:buNone/>
              <a:defRPr sz="1050">
                <a:solidFill>
                  <a:srgbClr val="003087"/>
                </a:solidFill>
                <a:latin typeface="+mn-lt"/>
                <a:ea typeface="Arial"/>
                <a:cs typeface="Arial"/>
                <a:sym typeface="Arial"/>
              </a:defRPr>
            </a:lvl1pPr>
            <a:lvl2pPr marL="914378" lvl="1"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566" lvl="2"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754" lvl="3"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5943" lvl="4"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208" name="Google Shape;208;p51"/>
          <p:cNvSpPr txBox="1">
            <a:spLocks noGrp="1"/>
          </p:cNvSpPr>
          <p:nvPr>
            <p:ph type="body" idx="4"/>
          </p:nvPr>
        </p:nvSpPr>
        <p:spPr>
          <a:xfrm>
            <a:off x="4930958" y="2514142"/>
            <a:ext cx="1029178" cy="822325"/>
          </a:xfrm>
          <a:prstGeom prst="rect">
            <a:avLst/>
          </a:prstGeom>
          <a:noFill/>
          <a:ln>
            <a:noFill/>
          </a:ln>
        </p:spPr>
        <p:txBody>
          <a:bodyPr spcFirstLastPara="1" wrap="square" lIns="0" tIns="0" rIns="0" bIns="0" anchor="t" anchorCtr="0">
            <a:noAutofit/>
          </a:bodyPr>
          <a:lstStyle>
            <a:lvl1pPr marL="457189" lvl="0" indent="-228594" algn="ctr">
              <a:lnSpc>
                <a:spcPct val="90000"/>
              </a:lnSpc>
              <a:spcBef>
                <a:spcPts val="600"/>
              </a:spcBef>
              <a:spcAft>
                <a:spcPts val="0"/>
              </a:spcAft>
              <a:buSzPts val="1050"/>
              <a:buNone/>
              <a:defRPr sz="1050">
                <a:solidFill>
                  <a:srgbClr val="003087"/>
                </a:solidFill>
                <a:latin typeface="+mn-lt"/>
                <a:ea typeface="Arial"/>
                <a:cs typeface="Arial"/>
                <a:sym typeface="Arial"/>
              </a:defRPr>
            </a:lvl1pPr>
            <a:lvl2pPr marL="914378" lvl="1"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566" lvl="2"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754" lvl="3"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5943" lvl="4"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209" name="Google Shape;209;p51"/>
          <p:cNvSpPr txBox="1">
            <a:spLocks noGrp="1"/>
          </p:cNvSpPr>
          <p:nvPr>
            <p:ph type="body" idx="5"/>
          </p:nvPr>
        </p:nvSpPr>
        <p:spPr>
          <a:xfrm>
            <a:off x="6225415" y="2514142"/>
            <a:ext cx="1029162" cy="822325"/>
          </a:xfrm>
          <a:prstGeom prst="rect">
            <a:avLst/>
          </a:prstGeom>
          <a:noFill/>
          <a:ln>
            <a:noFill/>
          </a:ln>
        </p:spPr>
        <p:txBody>
          <a:bodyPr spcFirstLastPara="1" wrap="square" lIns="0" tIns="0" rIns="0" bIns="0" anchor="t" anchorCtr="0">
            <a:noAutofit/>
          </a:bodyPr>
          <a:lstStyle>
            <a:lvl1pPr marL="457189" lvl="0" indent="-228594" algn="ctr">
              <a:lnSpc>
                <a:spcPct val="90000"/>
              </a:lnSpc>
              <a:spcBef>
                <a:spcPts val="600"/>
              </a:spcBef>
              <a:spcAft>
                <a:spcPts val="0"/>
              </a:spcAft>
              <a:buSzPts val="1050"/>
              <a:buNone/>
              <a:defRPr sz="1050">
                <a:solidFill>
                  <a:srgbClr val="003087"/>
                </a:solidFill>
                <a:latin typeface="+mn-lt"/>
                <a:ea typeface="Arial"/>
                <a:cs typeface="Arial"/>
                <a:sym typeface="Arial"/>
              </a:defRPr>
            </a:lvl1pPr>
            <a:lvl2pPr marL="914378" lvl="1"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566" lvl="2"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754" lvl="3"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5943" lvl="4"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210" name="Google Shape;210;p51"/>
          <p:cNvSpPr txBox="1">
            <a:spLocks noGrp="1"/>
          </p:cNvSpPr>
          <p:nvPr>
            <p:ph type="body" idx="6"/>
          </p:nvPr>
        </p:nvSpPr>
        <p:spPr>
          <a:xfrm>
            <a:off x="4498506" y="3564417"/>
            <a:ext cx="2586906" cy="321637"/>
          </a:xfrm>
          <a:prstGeom prst="rect">
            <a:avLst/>
          </a:prstGeom>
          <a:noFill/>
          <a:ln>
            <a:noFill/>
          </a:ln>
        </p:spPr>
        <p:txBody>
          <a:bodyPr spcFirstLastPara="1" wrap="square" lIns="0" tIns="0" rIns="0" bIns="0" anchor="ctr" anchorCtr="0">
            <a:noAutofit/>
          </a:bodyPr>
          <a:lstStyle>
            <a:lvl1pPr marL="457189" lvl="0" indent="-228594" algn="ctr">
              <a:lnSpc>
                <a:spcPct val="90000"/>
              </a:lnSpc>
              <a:spcBef>
                <a:spcPts val="600"/>
              </a:spcBef>
              <a:spcAft>
                <a:spcPts val="0"/>
              </a:spcAft>
              <a:buSzPts val="1600"/>
              <a:buNone/>
              <a:defRPr sz="1600">
                <a:solidFill>
                  <a:srgbClr val="0066CC"/>
                </a:solidFill>
                <a:latin typeface="+mn-lt"/>
                <a:ea typeface="Arial"/>
                <a:cs typeface="Arial"/>
                <a:sym typeface="Arial"/>
              </a:defRPr>
            </a:lvl1pPr>
            <a:lvl2pPr marL="914378" lvl="1"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566" lvl="2"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754" lvl="3"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5943" lvl="4"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grpSp>
        <p:nvGrpSpPr>
          <p:cNvPr id="211" name="Google Shape;211;p51"/>
          <p:cNvGrpSpPr/>
          <p:nvPr/>
        </p:nvGrpSpPr>
        <p:grpSpPr>
          <a:xfrm>
            <a:off x="9206186" y="51749"/>
            <a:ext cx="2202899" cy="4431983"/>
            <a:chOff x="9248019" y="51749"/>
            <a:chExt cx="2202899" cy="4431983"/>
          </a:xfrm>
        </p:grpSpPr>
        <p:sp>
          <p:nvSpPr>
            <p:cNvPr id="212" name="Google Shape;212;p51"/>
            <p:cNvSpPr txBox="1"/>
            <p:nvPr/>
          </p:nvSpPr>
          <p:spPr>
            <a:xfrm>
              <a:off x="9248019" y="51749"/>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THERE ARE TWO (2) OPTION TO CUSTOMIZE A LAYOUT WITH A </a:t>
              </a:r>
              <a:br>
                <a:rPr lang="en-US" sz="900" b="1" i="0" dirty="0">
                  <a:solidFill>
                    <a:srgbClr val="7D8183"/>
                  </a:solidFill>
                  <a:latin typeface="Arial"/>
                  <a:ea typeface="Arial"/>
                  <a:cs typeface="Arial"/>
                  <a:sym typeface="Arial"/>
                </a:rPr>
              </a:br>
              <a:r>
                <a:rPr lang="en-US" sz="900" b="1" i="0" dirty="0">
                  <a:solidFill>
                    <a:srgbClr val="7D8183"/>
                  </a:solidFill>
                  <a:latin typeface="Arial"/>
                  <a:ea typeface="Arial"/>
                  <a:cs typeface="Arial"/>
                  <a:sym typeface="Arial"/>
                </a:rPr>
                <a:t>NEW PICTURE:</a:t>
              </a:r>
              <a:endParaRPr sz="1800" dirty="0"/>
            </a:p>
            <a:p>
              <a:pPr marL="174621" marR="0" lvl="0" indent="-174621" algn="l" rtl="0">
                <a:lnSpc>
                  <a:spcPct val="100000"/>
                </a:lnSpc>
                <a:spcBef>
                  <a:spcPts val="1200"/>
                </a:spcBef>
                <a:spcAft>
                  <a:spcPts val="0"/>
                </a:spcAft>
                <a:buClr>
                  <a:srgbClr val="7D8183"/>
                </a:buClr>
                <a:buSzPts val="900"/>
                <a:buFont typeface="Arial"/>
                <a:buAutoNum type="arabicPeriod"/>
              </a:pPr>
              <a:r>
                <a:rPr lang="en-US" sz="900" b="1" i="0" dirty="0">
                  <a:solidFill>
                    <a:srgbClr val="7D8183"/>
                  </a:solidFill>
                  <a:latin typeface="Arial"/>
                  <a:ea typeface="Arial"/>
                  <a:cs typeface="Arial"/>
                  <a:sym typeface="Arial"/>
                </a:rPr>
                <a:t>Delete the current picture, if there </a:t>
              </a:r>
              <a:br>
                <a:rPr lang="en-US" sz="900" b="1" i="0" dirty="0">
                  <a:solidFill>
                    <a:srgbClr val="7D8183"/>
                  </a:solidFill>
                  <a:latin typeface="Arial"/>
                  <a:ea typeface="Arial"/>
                  <a:cs typeface="Arial"/>
                  <a:sym typeface="Arial"/>
                </a:rPr>
              </a:br>
              <a:r>
                <a:rPr lang="en-US" sz="900" b="1" i="0" dirty="0">
                  <a:solidFill>
                    <a:srgbClr val="7D8183"/>
                  </a:solidFill>
                  <a:latin typeface="Arial"/>
                  <a:ea typeface="Arial"/>
                  <a:cs typeface="Arial"/>
                  <a:sym typeface="Arial"/>
                </a:rPr>
                <a:t>is one.</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On the Insert tab, click the Pictures button OR you can click the picture icon      on the slide surface to start your search.</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Navigate to the image you want to use and select Insert. </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Under Home click the Reset button to reapply the Layout.</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Resize the picture to fit the slide, as needed, using the Crop tool. Hold the Shift key and click and drag a corner to scale equally.</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On the Home tab, click the Arrange button, then Send to Back so the photo is behind the logos, text, and the transparent overlay. </a:t>
              </a:r>
              <a:endParaRPr sz="1800" dirty="0"/>
            </a:p>
            <a:p>
              <a:pPr marL="174621" marR="0" lvl="0" indent="-174621" algn="l" rtl="0">
                <a:lnSpc>
                  <a:spcPct val="100000"/>
                </a:lnSpc>
                <a:spcBef>
                  <a:spcPts val="1200"/>
                </a:spcBef>
                <a:spcAft>
                  <a:spcPts val="0"/>
                </a:spcAft>
                <a:buClr>
                  <a:srgbClr val="7D8183"/>
                </a:buClr>
                <a:buSzPts val="900"/>
                <a:buFont typeface="Arial"/>
                <a:buAutoNum type="arabicPeriod" startAt="2"/>
              </a:pPr>
              <a:r>
                <a:rPr lang="en-US" sz="900" b="1" i="0" dirty="0">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a:t>
              </a:r>
              <a:r>
                <a:rPr lang="en-US" sz="900" b="1" i="0">
                  <a:solidFill>
                    <a:srgbClr val="7D8183"/>
                  </a:solidFill>
                  <a:latin typeface="Arial"/>
                  <a:ea typeface="Arial"/>
                  <a:cs typeface="Arial"/>
                  <a:sym typeface="Arial"/>
                </a:rPr>
                <a:t>if appropriate</a:t>
              </a:r>
              <a:r>
                <a:rPr lang="en-US" sz="900" b="1" i="0" dirty="0">
                  <a:solidFill>
                    <a:srgbClr val="7D8183"/>
                  </a:solidFill>
                  <a:latin typeface="Arial"/>
                  <a:ea typeface="Arial"/>
                  <a:cs typeface="Arial"/>
                  <a:sym typeface="Arial"/>
                </a:rPr>
                <a:t>).</a:t>
              </a:r>
              <a:endParaRPr sz="1800" dirty="0"/>
            </a:p>
          </p:txBody>
        </p:sp>
        <p:pic>
          <p:nvPicPr>
            <p:cNvPr id="213" name="Google Shape;213;p51"/>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214" name="Google Shape;214;p51"/>
          <p:cNvSpPr txBox="1">
            <a:spLocks noGrp="1"/>
          </p:cNvSpPr>
          <p:nvPr>
            <p:ph type="body" idx="7"/>
          </p:nvPr>
        </p:nvSpPr>
        <p:spPr>
          <a:xfrm>
            <a:off x="2191420" y="2514142"/>
            <a:ext cx="1015124" cy="822325"/>
          </a:xfrm>
          <a:prstGeom prst="rect">
            <a:avLst/>
          </a:prstGeom>
          <a:noFill/>
          <a:ln>
            <a:noFill/>
          </a:ln>
        </p:spPr>
        <p:txBody>
          <a:bodyPr spcFirstLastPara="1" wrap="square" lIns="0" tIns="0" rIns="0" bIns="0" anchor="t" anchorCtr="0">
            <a:noAutofit/>
          </a:bodyPr>
          <a:lstStyle>
            <a:lvl1pPr marL="457189" lvl="0" indent="-228594" algn="ctr">
              <a:lnSpc>
                <a:spcPct val="90000"/>
              </a:lnSpc>
              <a:spcBef>
                <a:spcPts val="600"/>
              </a:spcBef>
              <a:spcAft>
                <a:spcPts val="0"/>
              </a:spcAft>
              <a:buSzPts val="1050"/>
              <a:buNone/>
              <a:defRPr sz="1050">
                <a:solidFill>
                  <a:srgbClr val="003087"/>
                </a:solidFill>
                <a:latin typeface="+mn-lt"/>
                <a:ea typeface="Arial"/>
                <a:cs typeface="Arial"/>
                <a:sym typeface="Arial"/>
              </a:defRPr>
            </a:lvl1pPr>
            <a:lvl2pPr marL="914378" lvl="1"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566" lvl="2"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754" lvl="3"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5943" lvl="4"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215" name="Google Shape;215;p51"/>
          <p:cNvSpPr/>
          <p:nvPr/>
        </p:nvSpPr>
        <p:spPr>
          <a:xfrm>
            <a:off x="1670285" y="3566074"/>
            <a:ext cx="1451457" cy="315361"/>
          </a:xfrm>
          <a:prstGeom prst="parallelogram">
            <a:avLst>
              <a:gd name="adj" fmla="val 43503"/>
            </a:avLst>
          </a:prstGeom>
          <a:solidFill>
            <a:srgbClr val="8DC8E8"/>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mn-lt"/>
              <a:ea typeface="Arial"/>
              <a:cs typeface="Arial"/>
              <a:sym typeface="Arial"/>
            </a:endParaRPr>
          </a:p>
        </p:txBody>
      </p:sp>
      <p:sp>
        <p:nvSpPr>
          <p:cNvPr id="216" name="Google Shape;216;p51"/>
          <p:cNvSpPr txBox="1">
            <a:spLocks noGrp="1"/>
          </p:cNvSpPr>
          <p:nvPr>
            <p:ph type="body" idx="8"/>
          </p:nvPr>
        </p:nvSpPr>
        <p:spPr>
          <a:xfrm>
            <a:off x="1630746" y="3564417"/>
            <a:ext cx="1531555" cy="321637"/>
          </a:xfrm>
          <a:prstGeom prst="rect">
            <a:avLst/>
          </a:prstGeom>
          <a:noFill/>
          <a:ln>
            <a:noFill/>
          </a:ln>
        </p:spPr>
        <p:txBody>
          <a:bodyPr spcFirstLastPara="1" wrap="square" lIns="0" tIns="0" rIns="0" bIns="0" anchor="ctr" anchorCtr="0">
            <a:noAutofit/>
          </a:bodyPr>
          <a:lstStyle>
            <a:lvl1pPr marL="457189" lvl="0" indent="-228594" algn="ctr">
              <a:lnSpc>
                <a:spcPct val="90000"/>
              </a:lnSpc>
              <a:spcBef>
                <a:spcPts val="600"/>
              </a:spcBef>
              <a:spcAft>
                <a:spcPts val="0"/>
              </a:spcAft>
              <a:buSzPts val="1000"/>
              <a:buNone/>
              <a:defRPr sz="1000">
                <a:solidFill>
                  <a:srgbClr val="0066CC"/>
                </a:solidFill>
                <a:latin typeface="+mn-lt"/>
                <a:ea typeface="Arial"/>
                <a:cs typeface="Arial"/>
                <a:sym typeface="Arial"/>
              </a:defRPr>
            </a:lvl1pPr>
            <a:lvl2pPr marL="914378" lvl="1"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2pPr>
            <a:lvl3pPr marL="1371566" lvl="2"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3pPr>
            <a:lvl4pPr marL="1828754" lvl="3"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4pPr>
            <a:lvl5pPr marL="2285943" lvl="4" indent="-228594" algn="ctr">
              <a:lnSpc>
                <a:spcPct val="90000"/>
              </a:lnSpc>
              <a:spcBef>
                <a:spcPts val="600"/>
              </a:spcBef>
              <a:spcAft>
                <a:spcPts val="0"/>
              </a:spcAft>
              <a:buSzPts val="1050"/>
              <a:buNone/>
              <a:defRPr sz="1050">
                <a:solidFill>
                  <a:srgbClr val="003087"/>
                </a:solidFill>
                <a:latin typeface="Arial"/>
                <a:ea typeface="Arial"/>
                <a:cs typeface="Arial"/>
                <a:sym typeface="Arial"/>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sp>
        <p:nvSpPr>
          <p:cNvPr id="22" name="Google Shape;58;p36">
            <a:extLst>
              <a:ext uri="{FF2B5EF4-FFF2-40B4-BE49-F238E27FC236}">
                <a16:creationId xmlns:a16="http://schemas.microsoft.com/office/drawing/2014/main" id="{C12D01A3-1CE1-47E9-8A94-34BB43D77982}"/>
              </a:ext>
            </a:extLst>
          </p:cNvPr>
          <p:cNvSpPr txBox="1">
            <a:spLocks noGrp="1"/>
          </p:cNvSpPr>
          <p:nvPr>
            <p:ph type="body" idx="14"/>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378" lvl="1" indent="-228594" algn="l">
              <a:lnSpc>
                <a:spcPct val="90000"/>
              </a:lnSpc>
              <a:spcBef>
                <a:spcPts val="600"/>
              </a:spcBef>
              <a:spcAft>
                <a:spcPts val="0"/>
              </a:spcAft>
              <a:buSzPts val="1400"/>
              <a:buNone/>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dirty="0"/>
          </a:p>
        </p:txBody>
      </p:sp>
      <p:sp>
        <p:nvSpPr>
          <p:cNvPr id="24" name="Google Shape;60;p36">
            <a:extLst>
              <a:ext uri="{FF2B5EF4-FFF2-40B4-BE49-F238E27FC236}">
                <a16:creationId xmlns:a16="http://schemas.microsoft.com/office/drawing/2014/main" id="{83DA06AC-099A-4867-AC53-43F48CC00D1A}"/>
              </a:ext>
            </a:extLst>
          </p:cNvPr>
          <p:cNvSpPr txBox="1">
            <a:spLocks noGrp="1"/>
          </p:cNvSpPr>
          <p:nvPr>
            <p:ph type="body" idx="15" hasCustomPrompt="1"/>
          </p:nvPr>
        </p:nvSpPr>
        <p:spPr>
          <a:xfrm>
            <a:off x="381648" y="4745252"/>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378" lvl="1" indent="-342892" algn="l">
              <a:lnSpc>
                <a:spcPct val="90000"/>
              </a:lnSpc>
              <a:spcBef>
                <a:spcPts val="600"/>
              </a:spcBef>
              <a:spcAft>
                <a:spcPts val="0"/>
              </a:spcAft>
              <a:buSzPts val="1800"/>
              <a:buChar char="•"/>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r>
              <a:rPr lang="en-US" dirty="0"/>
              <a:t>Footnote placeholder</a:t>
            </a:r>
          </a:p>
        </p:txBody>
      </p:sp>
    </p:spTree>
    <p:extLst>
      <p:ext uri="{BB962C8B-B14F-4D97-AF65-F5344CB8AC3E}">
        <p14:creationId xmlns:p14="http://schemas.microsoft.com/office/powerpoint/2010/main" val="4285034377"/>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648" y="1283549"/>
            <a:ext cx="8384400" cy="3231301"/>
          </a:xfrm>
        </p:spPr>
        <p:txBody>
          <a:bodyPr lIns="0" numCol="1"/>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3409A855-E395-40FD-A774-AC1A70146560}"/>
              </a:ext>
            </a:extLst>
          </p:cNvPr>
          <p:cNvSpPr>
            <a:spLocks noGrp="1"/>
          </p:cNvSpPr>
          <p:nvPr>
            <p:ph type="body" sz="quarter" idx="10"/>
          </p:nvPr>
        </p:nvSpPr>
        <p:spPr>
          <a:xfrm>
            <a:off x="381648" y="292659"/>
            <a:ext cx="7749555" cy="124650"/>
          </a:xfrm>
        </p:spPr>
        <p:txBody>
          <a:bodyPr lIns="0" numCol="1" anchor="b" anchorCtr="0">
            <a:spAutoFit/>
          </a:bodyPr>
          <a:lstStyle>
            <a:lvl1pPr marL="0" indent="0">
              <a:buNone/>
              <a:defRPr sz="900">
                <a:solidFill>
                  <a:schemeClr val="tx1"/>
                </a:solidFill>
                <a:latin typeface="+mn-lt"/>
              </a:defRPr>
            </a:lvl1pPr>
            <a:lvl2pPr marL="174625" indent="0">
              <a:buNone/>
              <a:defRPr/>
            </a:lvl2pPr>
          </a:lstStyle>
          <a:p>
            <a:pPr lvl="0"/>
            <a:r>
              <a:rPr lang="en-US" dirty="0"/>
              <a:t>Click to edit Master text styles</a:t>
            </a:r>
          </a:p>
        </p:txBody>
      </p:sp>
      <p:sp>
        <p:nvSpPr>
          <p:cNvPr id="4" name="Title 3">
            <a:extLst>
              <a:ext uri="{FF2B5EF4-FFF2-40B4-BE49-F238E27FC236}">
                <a16:creationId xmlns:a16="http://schemas.microsoft.com/office/drawing/2014/main" id="{5496860C-8A01-47B7-8B2D-740FC185ED01}"/>
              </a:ext>
            </a:extLst>
          </p:cNvPr>
          <p:cNvSpPr>
            <a:spLocks noGrp="1"/>
          </p:cNvSpPr>
          <p:nvPr>
            <p:ph type="title"/>
          </p:nvPr>
        </p:nvSpPr>
        <p:spPr>
          <a:xfrm>
            <a:off x="381648" y="585795"/>
            <a:ext cx="8384400" cy="652455"/>
          </a:xfrm>
        </p:spPr>
        <p:txBody>
          <a:bodyPr lIns="0"/>
          <a:lstStyle/>
          <a:p>
            <a:r>
              <a:rPr lang="en-US" dirty="0"/>
              <a:t>Click to edit Master title style</a:t>
            </a:r>
          </a:p>
        </p:txBody>
      </p:sp>
      <p:sp>
        <p:nvSpPr>
          <p:cNvPr id="8" name="Text Placeholder 7">
            <a:extLst>
              <a:ext uri="{FF2B5EF4-FFF2-40B4-BE49-F238E27FC236}">
                <a16:creationId xmlns:a16="http://schemas.microsoft.com/office/drawing/2014/main" id="{5D112089-7B26-4E7E-8BCE-C5C6A176F267}"/>
              </a:ext>
            </a:extLst>
          </p:cNvPr>
          <p:cNvSpPr>
            <a:spLocks noGrp="1"/>
          </p:cNvSpPr>
          <p:nvPr>
            <p:ph type="body" sz="quarter" idx="11" hasCustomPrompt="1"/>
          </p:nvPr>
        </p:nvSpPr>
        <p:spPr>
          <a:xfrm>
            <a:off x="381648" y="4732940"/>
            <a:ext cx="841248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a:buFont typeface="Arial" panose="020B0604020202020204" pitchFamily="34" charset="0"/>
              <a:buNone/>
              <a:defRPr lang="en-US" sz="800" dirty="0">
                <a:latin typeface="+mn-lt"/>
                <a:ea typeface="Verdana" panose="020B0604030504040204" pitchFamily="34" charset="0"/>
                <a:cs typeface="Arial" panose="020B0604020202020204" pitchFamily="34" charset="0"/>
              </a:defRPr>
            </a:lvl1pPr>
          </a:lstStyle>
          <a:p>
            <a:pPr marL="174625" lvl="0" indent="-174625" eaLnBrk="0" fontAlgn="base" hangingPunct="0">
              <a:spcBef>
                <a:spcPct val="75000"/>
              </a:spcBef>
              <a:spcAft>
                <a:spcPct val="0"/>
              </a:spcAft>
              <a:buSzPct val="100000"/>
            </a:pPr>
            <a:r>
              <a:rPr lang="en-US" dirty="0"/>
              <a:t>Footnote placeholder</a:t>
            </a:r>
          </a:p>
        </p:txBody>
      </p:sp>
      <p:grpSp>
        <p:nvGrpSpPr>
          <p:cNvPr id="6" name="Group 5">
            <a:extLst>
              <a:ext uri="{FF2B5EF4-FFF2-40B4-BE49-F238E27FC236}">
                <a16:creationId xmlns:a16="http://schemas.microsoft.com/office/drawing/2014/main" id="{BE66E868-35BA-4702-AD39-9764065C6756}"/>
              </a:ext>
            </a:extLst>
          </p:cNvPr>
          <p:cNvGrpSpPr/>
          <p:nvPr userDrawn="1"/>
        </p:nvGrpSpPr>
        <p:grpSpPr>
          <a:xfrm>
            <a:off x="8800936" y="86323"/>
            <a:ext cx="238916" cy="228628"/>
            <a:chOff x="8835056" y="188681"/>
            <a:chExt cx="238916" cy="228628"/>
          </a:xfrm>
        </p:grpSpPr>
        <p:sp>
          <p:nvSpPr>
            <p:cNvPr id="7" name="Google Shape;234;p18">
              <a:hlinkClick r:id="rId2" action="ppaction://hlinksldjump"/>
              <a:extLst>
                <a:ext uri="{FF2B5EF4-FFF2-40B4-BE49-F238E27FC236}">
                  <a16:creationId xmlns:a16="http://schemas.microsoft.com/office/drawing/2014/main" id="{26ED6C40-23BC-40AE-964A-ED1017562135}"/>
                </a:ext>
              </a:extLst>
            </p:cNvPr>
            <p:cNvSpPr/>
            <p:nvPr/>
          </p:nvSpPr>
          <p:spPr>
            <a:xfrm>
              <a:off x="8835056" y="188681"/>
              <a:ext cx="238916" cy="228628"/>
            </a:xfrm>
            <a:prstGeom prst="roundRect">
              <a:avLst>
                <a:gd name="adj" fmla="val 16667"/>
              </a:avLst>
            </a:prstGeom>
            <a:solidFill>
              <a:schemeClr val="accent1"/>
            </a:solidFill>
            <a:ln>
              <a:noFill/>
            </a:ln>
          </p:spPr>
          <p:txBody>
            <a:bodyPr spcFirstLastPara="1" wrap="square" lIns="68569" tIns="34275" rIns="68569" bIns="34275" anchor="ctr" anchorCtr="0">
              <a:noAutofit/>
            </a:bodyPr>
            <a:lstStyle/>
            <a:p>
              <a:pPr algn="ctr"/>
              <a:endParaRPr sz="825" dirty="0">
                <a:solidFill>
                  <a:schemeClr val="lt1"/>
                </a:solidFill>
                <a:latin typeface="Gene Sans Light" panose="00000400000000000000" pitchFamily="50" charset="0"/>
                <a:ea typeface="Arial"/>
                <a:cs typeface="Arial"/>
                <a:sym typeface="Arial"/>
              </a:endParaRPr>
            </a:p>
          </p:txBody>
        </p:sp>
        <p:pic>
          <p:nvPicPr>
            <p:cNvPr id="9" name="Google Shape;235;p18">
              <a:hlinkClick r:id="rId2" action="ppaction://hlinksldjump"/>
              <a:extLst>
                <a:ext uri="{FF2B5EF4-FFF2-40B4-BE49-F238E27FC236}">
                  <a16:creationId xmlns:a16="http://schemas.microsoft.com/office/drawing/2014/main" id="{38B729EE-E4C2-4265-9AAA-DD3CE0163D2C}"/>
                </a:ext>
              </a:extLst>
            </p:cNvPr>
            <p:cNvPicPr preferRelativeResize="0"/>
            <p:nvPr/>
          </p:nvPicPr>
          <p:blipFill rotWithShape="1">
            <a:blip r:embed="rId3">
              <a:alphaModFix/>
            </a:blip>
            <a:srcRect/>
            <a:stretch/>
          </p:blipFill>
          <p:spPr>
            <a:xfrm>
              <a:off x="8869675" y="212866"/>
              <a:ext cx="169677" cy="169677"/>
            </a:xfrm>
            <a:prstGeom prst="rect">
              <a:avLst/>
            </a:prstGeom>
            <a:noFill/>
            <a:ln>
              <a:noFill/>
            </a:ln>
          </p:spPr>
        </p:pic>
      </p:grpSp>
    </p:spTree>
    <p:extLst>
      <p:ext uri="{BB962C8B-B14F-4D97-AF65-F5344CB8AC3E}">
        <p14:creationId xmlns:p14="http://schemas.microsoft.com/office/powerpoint/2010/main" val="26787177"/>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itle and Content">
  <p:cSld name="3_Title and Content">
    <p:spTree>
      <p:nvGrpSpPr>
        <p:cNvPr id="1" name="Shape 82"/>
        <p:cNvGrpSpPr/>
        <p:nvPr/>
      </p:nvGrpSpPr>
      <p:grpSpPr>
        <a:xfrm>
          <a:off x="0" y="0"/>
          <a:ext cx="0" cy="0"/>
          <a:chOff x="0" y="0"/>
          <a:chExt cx="0" cy="0"/>
        </a:xfrm>
      </p:grpSpPr>
      <p:sp>
        <p:nvSpPr>
          <p:cNvPr id="83" name="Google Shape;83;p16"/>
          <p:cNvSpPr txBox="1">
            <a:spLocks noGrp="1"/>
          </p:cNvSpPr>
          <p:nvPr>
            <p:ph type="body" idx="1"/>
          </p:nvPr>
        </p:nvSpPr>
        <p:spPr>
          <a:xfrm>
            <a:off x="381647" y="292659"/>
            <a:ext cx="8384400" cy="124500"/>
          </a:xfrm>
          <a:prstGeom prst="rect">
            <a:avLst/>
          </a:prstGeom>
          <a:noFill/>
          <a:ln>
            <a:noFill/>
          </a:ln>
        </p:spPr>
        <p:txBody>
          <a:bodyPr spcFirstLastPara="1" wrap="square" lIns="0" tIns="0" rIns="0" bIns="0" anchor="b" anchorCtr="0">
            <a:spAutoFit/>
          </a:bodyPr>
          <a:lstStyle>
            <a:lvl1pPr marL="457200" lvl="0" indent="-228600" algn="l" rtl="0">
              <a:lnSpc>
                <a:spcPct val="90000"/>
              </a:lnSpc>
              <a:spcBef>
                <a:spcPts val="0"/>
              </a:spcBef>
              <a:spcAft>
                <a:spcPts val="0"/>
              </a:spcAft>
              <a:buSzPts val="900"/>
              <a:buNone/>
              <a:defRPr sz="900">
                <a:solidFill>
                  <a:schemeClr val="dk1"/>
                </a:solidFill>
                <a:latin typeface="Arial"/>
                <a:ea typeface="Arial"/>
                <a:cs typeface="Arial"/>
                <a:sym typeface="Arial"/>
              </a:defRPr>
            </a:lvl1pPr>
            <a:lvl2pPr marL="914400" lvl="1" indent="-228600" algn="l" rtl="0">
              <a:lnSpc>
                <a:spcPct val="90000"/>
              </a:lnSpc>
              <a:spcBef>
                <a:spcPts val="600"/>
              </a:spcBef>
              <a:spcAft>
                <a:spcPts val="0"/>
              </a:spcAft>
              <a:buSzPts val="1400"/>
              <a:buNone/>
              <a:defRPr/>
            </a:lvl2pPr>
            <a:lvl3pPr marL="1371600" lvl="2" indent="-342900" algn="l" rtl="0">
              <a:lnSpc>
                <a:spcPct val="90000"/>
              </a:lnSpc>
              <a:spcBef>
                <a:spcPts val="600"/>
              </a:spcBef>
              <a:spcAft>
                <a:spcPts val="0"/>
              </a:spcAft>
              <a:buSzPts val="1800"/>
              <a:buChar char="•"/>
              <a:defRPr/>
            </a:lvl3pPr>
            <a:lvl4pPr marL="1828800" lvl="3" indent="-342900" algn="l" rtl="0">
              <a:lnSpc>
                <a:spcPct val="90000"/>
              </a:lnSpc>
              <a:spcBef>
                <a:spcPts val="600"/>
              </a:spcBef>
              <a:spcAft>
                <a:spcPts val="0"/>
              </a:spcAft>
              <a:buSzPts val="1800"/>
              <a:buChar char="•"/>
              <a:defRPr/>
            </a:lvl4pPr>
            <a:lvl5pPr marL="2286000" lvl="4" indent="-342900" algn="l" rtl="0">
              <a:lnSpc>
                <a:spcPct val="90000"/>
              </a:lnSpc>
              <a:spcBef>
                <a:spcPts val="600"/>
              </a:spcBef>
              <a:spcAft>
                <a:spcPts val="0"/>
              </a:spcAft>
              <a:buSzPts val="1800"/>
              <a:buChar char="•"/>
              <a:defRPr/>
            </a:lvl5pPr>
            <a:lvl6pPr marL="2743200" lvl="5" indent="-342900" algn="l" rtl="0">
              <a:lnSpc>
                <a:spcPct val="90000"/>
              </a:lnSpc>
              <a:spcBef>
                <a:spcPts val="375"/>
              </a:spcBef>
              <a:spcAft>
                <a:spcPts val="0"/>
              </a:spcAft>
              <a:buClr>
                <a:schemeClr val="dk1"/>
              </a:buClr>
              <a:buSzPts val="1800"/>
              <a:buChar char="•"/>
              <a:defRPr/>
            </a:lvl6pPr>
            <a:lvl7pPr marL="3200400" lvl="6" indent="-342900" algn="l" rtl="0">
              <a:lnSpc>
                <a:spcPct val="90000"/>
              </a:lnSpc>
              <a:spcBef>
                <a:spcPts val="375"/>
              </a:spcBef>
              <a:spcAft>
                <a:spcPts val="0"/>
              </a:spcAft>
              <a:buClr>
                <a:schemeClr val="dk1"/>
              </a:buClr>
              <a:buSzPts val="1800"/>
              <a:buChar char="•"/>
              <a:defRPr/>
            </a:lvl7pPr>
            <a:lvl8pPr marL="3657600" lvl="7" indent="-342900" algn="l" rtl="0">
              <a:lnSpc>
                <a:spcPct val="90000"/>
              </a:lnSpc>
              <a:spcBef>
                <a:spcPts val="375"/>
              </a:spcBef>
              <a:spcAft>
                <a:spcPts val="0"/>
              </a:spcAft>
              <a:buClr>
                <a:schemeClr val="dk1"/>
              </a:buClr>
              <a:buSzPts val="1800"/>
              <a:buChar char="•"/>
              <a:defRPr/>
            </a:lvl8pPr>
            <a:lvl9pPr marL="4114800" lvl="8" indent="-342900" algn="l" rtl="0">
              <a:lnSpc>
                <a:spcPct val="90000"/>
              </a:lnSpc>
              <a:spcBef>
                <a:spcPts val="375"/>
              </a:spcBef>
              <a:spcAft>
                <a:spcPts val="0"/>
              </a:spcAft>
              <a:buClr>
                <a:schemeClr val="dk1"/>
              </a:buClr>
              <a:buSzPts val="1800"/>
              <a:buChar char="•"/>
              <a:defRPr/>
            </a:lvl9pPr>
          </a:lstStyle>
          <a:p>
            <a:endParaRPr/>
          </a:p>
        </p:txBody>
      </p:sp>
      <p:sp>
        <p:nvSpPr>
          <p:cNvPr id="84" name="Google Shape;84;p16"/>
          <p:cNvSpPr txBox="1">
            <a:spLocks noGrp="1"/>
          </p:cNvSpPr>
          <p:nvPr>
            <p:ph type="body" idx="2"/>
          </p:nvPr>
        </p:nvSpPr>
        <p:spPr>
          <a:xfrm>
            <a:off x="381648" y="4745251"/>
            <a:ext cx="8385000" cy="110700"/>
          </a:xfrm>
          <a:prstGeom prst="rect">
            <a:avLst/>
          </a:prstGeom>
          <a:noFill/>
          <a:ln>
            <a:noFill/>
          </a:ln>
        </p:spPr>
        <p:txBody>
          <a:bodyPr spcFirstLastPara="1" wrap="square" lIns="0" tIns="0" rIns="0" bIns="0" anchor="b" anchorCtr="0">
            <a:noAutofit/>
          </a:bodyPr>
          <a:lstStyle>
            <a:lvl1pPr marL="457200" lvl="0" indent="-228600" algn="l" rtl="0">
              <a:lnSpc>
                <a:spcPct val="90000"/>
              </a:lnSpc>
              <a:spcBef>
                <a:spcPts val="720"/>
              </a:spcBef>
              <a:spcAft>
                <a:spcPts val="0"/>
              </a:spcAft>
              <a:buSzPts val="800"/>
              <a:buFont typeface="Arial"/>
              <a:buNone/>
              <a:defRPr sz="800">
                <a:latin typeface="Arial"/>
                <a:ea typeface="Arial"/>
                <a:cs typeface="Arial"/>
                <a:sym typeface="Arial"/>
              </a:defRPr>
            </a:lvl1pPr>
            <a:lvl2pPr marL="914400" lvl="1" indent="-342900" algn="l" rtl="0">
              <a:lnSpc>
                <a:spcPct val="90000"/>
              </a:lnSpc>
              <a:spcBef>
                <a:spcPts val="600"/>
              </a:spcBef>
              <a:spcAft>
                <a:spcPts val="0"/>
              </a:spcAft>
              <a:buSzPts val="1800"/>
              <a:buChar char="•"/>
              <a:defRPr/>
            </a:lvl2pPr>
            <a:lvl3pPr marL="1371600" lvl="2" indent="-342900" algn="l" rtl="0">
              <a:lnSpc>
                <a:spcPct val="90000"/>
              </a:lnSpc>
              <a:spcBef>
                <a:spcPts val="600"/>
              </a:spcBef>
              <a:spcAft>
                <a:spcPts val="0"/>
              </a:spcAft>
              <a:buSzPts val="1800"/>
              <a:buChar char="•"/>
              <a:defRPr/>
            </a:lvl3pPr>
            <a:lvl4pPr marL="1828800" lvl="3" indent="-342900" algn="l" rtl="0">
              <a:lnSpc>
                <a:spcPct val="90000"/>
              </a:lnSpc>
              <a:spcBef>
                <a:spcPts val="600"/>
              </a:spcBef>
              <a:spcAft>
                <a:spcPts val="0"/>
              </a:spcAft>
              <a:buSzPts val="1800"/>
              <a:buChar char="•"/>
              <a:defRPr/>
            </a:lvl4pPr>
            <a:lvl5pPr marL="2286000" lvl="4" indent="-342900" algn="l" rtl="0">
              <a:lnSpc>
                <a:spcPct val="90000"/>
              </a:lnSpc>
              <a:spcBef>
                <a:spcPts val="600"/>
              </a:spcBef>
              <a:spcAft>
                <a:spcPts val="0"/>
              </a:spcAft>
              <a:buSzPts val="1800"/>
              <a:buChar char="•"/>
              <a:defRPr/>
            </a:lvl5pPr>
            <a:lvl6pPr marL="2743200" lvl="5" indent="-342900" algn="l" rtl="0">
              <a:lnSpc>
                <a:spcPct val="90000"/>
              </a:lnSpc>
              <a:spcBef>
                <a:spcPts val="375"/>
              </a:spcBef>
              <a:spcAft>
                <a:spcPts val="0"/>
              </a:spcAft>
              <a:buClr>
                <a:schemeClr val="dk1"/>
              </a:buClr>
              <a:buSzPts val="1800"/>
              <a:buChar char="•"/>
              <a:defRPr/>
            </a:lvl6pPr>
            <a:lvl7pPr marL="3200400" lvl="6" indent="-342900" algn="l" rtl="0">
              <a:lnSpc>
                <a:spcPct val="90000"/>
              </a:lnSpc>
              <a:spcBef>
                <a:spcPts val="375"/>
              </a:spcBef>
              <a:spcAft>
                <a:spcPts val="0"/>
              </a:spcAft>
              <a:buClr>
                <a:schemeClr val="dk1"/>
              </a:buClr>
              <a:buSzPts val="1800"/>
              <a:buChar char="•"/>
              <a:defRPr/>
            </a:lvl7pPr>
            <a:lvl8pPr marL="3657600" lvl="7" indent="-342900" algn="l" rtl="0">
              <a:lnSpc>
                <a:spcPct val="90000"/>
              </a:lnSpc>
              <a:spcBef>
                <a:spcPts val="375"/>
              </a:spcBef>
              <a:spcAft>
                <a:spcPts val="0"/>
              </a:spcAft>
              <a:buClr>
                <a:schemeClr val="dk1"/>
              </a:buClr>
              <a:buSzPts val="1800"/>
              <a:buChar char="•"/>
              <a:defRPr/>
            </a:lvl8pPr>
            <a:lvl9pPr marL="4114800" lvl="8" indent="-342900" algn="l" rtl="0">
              <a:lnSpc>
                <a:spcPct val="90000"/>
              </a:lnSpc>
              <a:spcBef>
                <a:spcPts val="375"/>
              </a:spcBef>
              <a:spcAft>
                <a:spcPts val="0"/>
              </a:spcAft>
              <a:buClr>
                <a:schemeClr val="dk1"/>
              </a:buClr>
              <a:buSzPts val="1800"/>
              <a:buChar char="•"/>
              <a:defRPr/>
            </a:lvl9pPr>
          </a:lstStyle>
          <a:p>
            <a:endParaRPr/>
          </a:p>
        </p:txBody>
      </p:sp>
      <p:sp>
        <p:nvSpPr>
          <p:cNvPr id="85" name="Google Shape;85;p16"/>
          <p:cNvSpPr txBox="1">
            <a:spLocks noGrp="1"/>
          </p:cNvSpPr>
          <p:nvPr>
            <p:ph type="body" idx="3"/>
          </p:nvPr>
        </p:nvSpPr>
        <p:spPr>
          <a:xfrm>
            <a:off x="381648" y="1283549"/>
            <a:ext cx="8385000" cy="3227700"/>
          </a:xfrm>
          <a:prstGeom prst="rect">
            <a:avLst/>
          </a:prstGeom>
          <a:noFill/>
          <a:ln>
            <a:noFill/>
          </a:ln>
        </p:spPr>
        <p:txBody>
          <a:bodyPr spcFirstLastPara="1" wrap="square" lIns="0" tIns="0" rIns="0" bIns="0" anchor="t" anchorCtr="0">
            <a:noAutofit/>
          </a:bodyPr>
          <a:lstStyle>
            <a:lvl1pPr marL="457200" lvl="0" indent="-330200" algn="l" rtl="0">
              <a:lnSpc>
                <a:spcPct val="100000"/>
              </a:lnSpc>
              <a:spcBef>
                <a:spcPts val="0"/>
              </a:spcBef>
              <a:spcAft>
                <a:spcPts val="0"/>
              </a:spcAft>
              <a:buSzPts val="1600"/>
              <a:buChar char="•"/>
              <a:defRPr>
                <a:latin typeface="Arial"/>
                <a:ea typeface="Arial"/>
                <a:cs typeface="Arial"/>
                <a:sym typeface="Arial"/>
              </a:defRPr>
            </a:lvl1pPr>
            <a:lvl2pPr marL="914400" lvl="1" indent="-317500" algn="l" rtl="0">
              <a:lnSpc>
                <a:spcPct val="90000"/>
              </a:lnSpc>
              <a:spcBef>
                <a:spcPts val="600"/>
              </a:spcBef>
              <a:spcAft>
                <a:spcPts val="0"/>
              </a:spcAft>
              <a:buSzPts val="1400"/>
              <a:buChar char="–"/>
              <a:defRPr>
                <a:latin typeface="Arial"/>
                <a:ea typeface="Arial"/>
                <a:cs typeface="Arial"/>
                <a:sym typeface="Arial"/>
              </a:defRPr>
            </a:lvl2pPr>
            <a:lvl3pPr marL="1371600" lvl="2" indent="-298450" algn="l" rtl="0">
              <a:lnSpc>
                <a:spcPct val="90000"/>
              </a:lnSpc>
              <a:spcBef>
                <a:spcPts val="600"/>
              </a:spcBef>
              <a:spcAft>
                <a:spcPts val="0"/>
              </a:spcAft>
              <a:buSzPts val="1100"/>
              <a:buFont typeface="Noto Sans Symbols"/>
              <a:buChar char="▪"/>
              <a:defRPr>
                <a:latin typeface="Arial"/>
                <a:ea typeface="Arial"/>
                <a:cs typeface="Arial"/>
                <a:sym typeface="Arial"/>
              </a:defRPr>
            </a:lvl3pPr>
            <a:lvl4pPr marL="1828800" lvl="3" indent="-295275" algn="l" rtl="0">
              <a:lnSpc>
                <a:spcPct val="90000"/>
              </a:lnSpc>
              <a:spcBef>
                <a:spcPts val="600"/>
              </a:spcBef>
              <a:spcAft>
                <a:spcPts val="0"/>
              </a:spcAft>
              <a:buSzPts val="1050"/>
              <a:buChar char="•"/>
              <a:defRPr>
                <a:latin typeface="Arial"/>
                <a:ea typeface="Arial"/>
                <a:cs typeface="Arial"/>
                <a:sym typeface="Arial"/>
              </a:defRPr>
            </a:lvl4pPr>
            <a:lvl5pPr marL="2286000" lvl="4" indent="-295275" algn="l" rtl="0">
              <a:lnSpc>
                <a:spcPct val="90000"/>
              </a:lnSpc>
              <a:spcBef>
                <a:spcPts val="600"/>
              </a:spcBef>
              <a:spcAft>
                <a:spcPts val="0"/>
              </a:spcAft>
              <a:buSzPts val="1050"/>
              <a:buChar char="•"/>
              <a:defRPr>
                <a:latin typeface="Arial"/>
                <a:ea typeface="Arial"/>
                <a:cs typeface="Arial"/>
                <a:sym typeface="Arial"/>
              </a:defRPr>
            </a:lvl5pPr>
            <a:lvl6pPr marL="2743200" lvl="5" indent="-228600" algn="l" rtl="0">
              <a:lnSpc>
                <a:spcPct val="100000"/>
              </a:lnSpc>
              <a:spcBef>
                <a:spcPts val="0"/>
              </a:spcBef>
              <a:spcAft>
                <a:spcPts val="0"/>
              </a:spcAft>
              <a:buSzPts val="1400"/>
              <a:buNone/>
              <a:defRPr/>
            </a:lvl6pPr>
            <a:lvl7pPr marL="3200400" lvl="6" indent="-228600" algn="l" rtl="0">
              <a:lnSpc>
                <a:spcPct val="100000"/>
              </a:lnSpc>
              <a:spcBef>
                <a:spcPts val="0"/>
              </a:spcBef>
              <a:spcAft>
                <a:spcPts val="0"/>
              </a:spcAft>
              <a:buSzPts val="1400"/>
              <a:buNone/>
              <a:defRPr/>
            </a:lvl7pPr>
            <a:lvl8pPr marL="3657600" lvl="7" indent="-228600" algn="l" rtl="0">
              <a:lnSpc>
                <a:spcPct val="100000"/>
              </a:lnSpc>
              <a:spcBef>
                <a:spcPts val="0"/>
              </a:spcBef>
              <a:spcAft>
                <a:spcPts val="0"/>
              </a:spcAft>
              <a:buSzPts val="1400"/>
              <a:buNone/>
              <a:defRPr/>
            </a:lvl8pPr>
            <a:lvl9pPr marL="4114800" lvl="8" indent="-228600" algn="l" rtl="0">
              <a:lnSpc>
                <a:spcPct val="100000"/>
              </a:lnSpc>
              <a:spcBef>
                <a:spcPts val="0"/>
              </a:spcBef>
              <a:spcAft>
                <a:spcPts val="0"/>
              </a:spcAft>
              <a:buSzPts val="1400"/>
              <a:buNone/>
              <a:defRPr/>
            </a:lvl9pPr>
          </a:lstStyle>
          <a:p>
            <a:endParaRPr/>
          </a:p>
        </p:txBody>
      </p:sp>
      <p:sp>
        <p:nvSpPr>
          <p:cNvPr id="86" name="Google Shape;86;p16"/>
          <p:cNvSpPr txBox="1">
            <a:spLocks noGrp="1"/>
          </p:cNvSpPr>
          <p:nvPr>
            <p:ph type="title"/>
          </p:nvPr>
        </p:nvSpPr>
        <p:spPr>
          <a:xfrm>
            <a:off x="381648" y="585795"/>
            <a:ext cx="8384400" cy="6525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1400"/>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37994167"/>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60"/>
        <p:cNvGrpSpPr/>
        <p:nvPr/>
      </p:nvGrpSpPr>
      <p:grpSpPr>
        <a:xfrm>
          <a:off x="0" y="0"/>
          <a:ext cx="0" cy="0"/>
          <a:chOff x="0" y="0"/>
          <a:chExt cx="0" cy="0"/>
        </a:xfrm>
      </p:grpSpPr>
      <p:sp>
        <p:nvSpPr>
          <p:cNvPr id="161" name="Google Shape;161;p16"/>
          <p:cNvSpPr txBox="1">
            <a:spLocks noGrp="1"/>
          </p:cNvSpPr>
          <p:nvPr>
            <p:ph type="title"/>
          </p:nvPr>
        </p:nvSpPr>
        <p:spPr>
          <a:xfrm>
            <a:off x="465196" y="314978"/>
            <a:ext cx="8239200" cy="6525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accent1"/>
              </a:buClr>
              <a:buSzPts val="2000"/>
              <a:buFont typeface="Roboto"/>
              <a:buNone/>
              <a:defRPr>
                <a:latin typeface="Roboto"/>
                <a:ea typeface="Roboto"/>
                <a:cs typeface="Roboto"/>
                <a:sym typeface="Roboto"/>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079607115"/>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Four Photos Right+Content" userDrawn="1">
  <p:cSld name="Four Photos Right+Content">
    <p:spTree>
      <p:nvGrpSpPr>
        <p:cNvPr id="1" name="Shape 219"/>
        <p:cNvGrpSpPr/>
        <p:nvPr/>
      </p:nvGrpSpPr>
      <p:grpSpPr>
        <a:xfrm>
          <a:off x="0" y="0"/>
          <a:ext cx="0" cy="0"/>
          <a:chOff x="0" y="0"/>
          <a:chExt cx="0" cy="0"/>
        </a:xfrm>
      </p:grpSpPr>
      <p:sp>
        <p:nvSpPr>
          <p:cNvPr id="220" name="Google Shape;220;p52"/>
          <p:cNvSpPr>
            <a:spLocks noGrp="1"/>
          </p:cNvSpPr>
          <p:nvPr>
            <p:ph type="pic" idx="2"/>
          </p:nvPr>
        </p:nvSpPr>
        <p:spPr>
          <a:xfrm>
            <a:off x="3899561" y="770382"/>
            <a:ext cx="2082139" cy="1801368"/>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21" name="Google Shape;221;p52"/>
          <p:cNvSpPr>
            <a:spLocks noGrp="1"/>
          </p:cNvSpPr>
          <p:nvPr>
            <p:ph type="pic" idx="3"/>
          </p:nvPr>
        </p:nvSpPr>
        <p:spPr>
          <a:xfrm>
            <a:off x="6137276" y="770381"/>
            <a:ext cx="2625725" cy="1801368"/>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22" name="Google Shape;222;p52"/>
          <p:cNvSpPr>
            <a:spLocks noGrp="1"/>
          </p:cNvSpPr>
          <p:nvPr>
            <p:ph type="pic" idx="4"/>
          </p:nvPr>
        </p:nvSpPr>
        <p:spPr>
          <a:xfrm>
            <a:off x="3899562" y="2716575"/>
            <a:ext cx="2082139" cy="179827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23" name="Google Shape;223;p52"/>
          <p:cNvSpPr>
            <a:spLocks noGrp="1"/>
          </p:cNvSpPr>
          <p:nvPr>
            <p:ph type="pic" idx="5"/>
          </p:nvPr>
        </p:nvSpPr>
        <p:spPr>
          <a:xfrm>
            <a:off x="6137276" y="2716575"/>
            <a:ext cx="2625725" cy="179827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24" name="Google Shape;224;p52"/>
          <p:cNvSpPr txBox="1">
            <a:spLocks noGrp="1"/>
          </p:cNvSpPr>
          <p:nvPr>
            <p:ph type="title"/>
          </p:nvPr>
        </p:nvSpPr>
        <p:spPr>
          <a:xfrm>
            <a:off x="381648" y="585796"/>
            <a:ext cx="34488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5" name="Google Shape;225;p52"/>
          <p:cNvSpPr txBox="1">
            <a:spLocks noGrp="1"/>
          </p:cNvSpPr>
          <p:nvPr>
            <p:ph type="body" idx="1"/>
          </p:nvPr>
        </p:nvSpPr>
        <p:spPr>
          <a:xfrm>
            <a:off x="380999" y="1352550"/>
            <a:ext cx="3448800" cy="3162300"/>
          </a:xfrm>
          <a:prstGeom prst="rect">
            <a:avLst/>
          </a:prstGeom>
          <a:noFill/>
          <a:ln>
            <a:noFill/>
          </a:ln>
        </p:spPr>
        <p:txBody>
          <a:bodyPr spcFirstLastPara="1" wrap="square" lIns="0" tIns="0" rIns="0" bIns="0" anchor="t" anchorCtr="0">
            <a:noAutofit/>
          </a:bodyPr>
          <a:lstStyle>
            <a:lvl1pPr marL="173732" lvl="0" indent="-173732" algn="l">
              <a:lnSpc>
                <a:spcPct val="90000"/>
              </a:lnSpc>
              <a:spcBef>
                <a:spcPts val="600"/>
              </a:spcBef>
              <a:spcAft>
                <a:spcPts val="0"/>
              </a:spcAft>
              <a:buSzPts val="1400"/>
              <a:buChar char="•"/>
              <a:defRPr sz="1400">
                <a:solidFill>
                  <a:schemeClr val="dk1"/>
                </a:solidFill>
              </a:defRPr>
            </a:lvl1pPr>
            <a:lvl2pPr marL="347463" lvl="1" indent="-173732" algn="l">
              <a:lnSpc>
                <a:spcPct val="90000"/>
              </a:lnSpc>
              <a:spcBef>
                <a:spcPts val="600"/>
              </a:spcBef>
              <a:spcAft>
                <a:spcPts val="0"/>
              </a:spcAft>
              <a:buSzPts val="1200"/>
              <a:buFont typeface="Gene Sans Light" panose="00000400000000000000" pitchFamily="50" charset="0"/>
              <a:buChar char="–"/>
              <a:defRPr sz="1200">
                <a:solidFill>
                  <a:schemeClr val="dk1"/>
                </a:solidFill>
              </a:defRPr>
            </a:lvl2pPr>
            <a:lvl3pPr marL="1371566" lvl="2" indent="-295268" algn="l">
              <a:lnSpc>
                <a:spcPct val="90000"/>
              </a:lnSpc>
              <a:spcBef>
                <a:spcPts val="600"/>
              </a:spcBef>
              <a:spcAft>
                <a:spcPts val="0"/>
              </a:spcAft>
              <a:buSzPts val="1050"/>
              <a:buChar char="•"/>
              <a:defRPr sz="1050">
                <a:solidFill>
                  <a:schemeClr val="dk1"/>
                </a:solidFill>
              </a:defRPr>
            </a:lvl3pPr>
            <a:lvl4pPr marL="1828754" lvl="3" indent="-292093" algn="l">
              <a:lnSpc>
                <a:spcPct val="90000"/>
              </a:lnSpc>
              <a:spcBef>
                <a:spcPts val="600"/>
              </a:spcBef>
              <a:spcAft>
                <a:spcPts val="0"/>
              </a:spcAft>
              <a:buSzPts val="1000"/>
              <a:buChar char="•"/>
              <a:defRPr sz="1000">
                <a:solidFill>
                  <a:schemeClr val="dk1"/>
                </a:solidFill>
              </a:defRPr>
            </a:lvl4pPr>
            <a:lvl5pPr marL="2285943" lvl="4" indent="-292093" algn="l">
              <a:lnSpc>
                <a:spcPct val="90000"/>
              </a:lnSpc>
              <a:spcBef>
                <a:spcPts val="600"/>
              </a:spcBef>
              <a:spcAft>
                <a:spcPts val="0"/>
              </a:spcAft>
              <a:buSzPts val="1000"/>
              <a:buChar char="•"/>
              <a:defRPr sz="1000">
                <a:solidFill>
                  <a:schemeClr val="dk1"/>
                </a:solidFill>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dirty="0"/>
          </a:p>
          <a:p>
            <a:pPr lvl="1"/>
            <a:endParaRPr dirty="0"/>
          </a:p>
        </p:txBody>
      </p:sp>
      <p:grpSp>
        <p:nvGrpSpPr>
          <p:cNvPr id="226" name="Google Shape;226;p52"/>
          <p:cNvGrpSpPr/>
          <p:nvPr/>
        </p:nvGrpSpPr>
        <p:grpSpPr>
          <a:xfrm>
            <a:off x="9206186" y="51749"/>
            <a:ext cx="2202899" cy="4431983"/>
            <a:chOff x="9248019" y="51749"/>
            <a:chExt cx="2202899" cy="4431983"/>
          </a:xfrm>
        </p:grpSpPr>
        <p:sp>
          <p:nvSpPr>
            <p:cNvPr id="227" name="Google Shape;227;p52"/>
            <p:cNvSpPr txBox="1"/>
            <p:nvPr/>
          </p:nvSpPr>
          <p:spPr>
            <a:xfrm>
              <a:off x="9248019" y="51749"/>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THERE ARE TWO (2) OPTION TO CUSTOMIZE A LAYOUT WITH A </a:t>
              </a:r>
              <a:br>
                <a:rPr lang="en-US" sz="900" b="1" i="0" dirty="0">
                  <a:solidFill>
                    <a:srgbClr val="7D8183"/>
                  </a:solidFill>
                  <a:latin typeface="Arial"/>
                  <a:ea typeface="Arial"/>
                  <a:cs typeface="Arial"/>
                  <a:sym typeface="Arial"/>
                </a:rPr>
              </a:br>
              <a:r>
                <a:rPr lang="en-US" sz="900" b="1" i="0" dirty="0">
                  <a:solidFill>
                    <a:srgbClr val="7D8183"/>
                  </a:solidFill>
                  <a:latin typeface="Arial"/>
                  <a:ea typeface="Arial"/>
                  <a:cs typeface="Arial"/>
                  <a:sym typeface="Arial"/>
                </a:rPr>
                <a:t>NEW PICTURE:</a:t>
              </a:r>
              <a:endParaRPr sz="1800" dirty="0"/>
            </a:p>
            <a:p>
              <a:pPr marL="174621" marR="0" lvl="0" indent="-174621" algn="l" rtl="0">
                <a:lnSpc>
                  <a:spcPct val="100000"/>
                </a:lnSpc>
                <a:spcBef>
                  <a:spcPts val="1200"/>
                </a:spcBef>
                <a:spcAft>
                  <a:spcPts val="0"/>
                </a:spcAft>
                <a:buClr>
                  <a:srgbClr val="7D8183"/>
                </a:buClr>
                <a:buSzPts val="900"/>
                <a:buFont typeface="Arial"/>
                <a:buAutoNum type="arabicPeriod"/>
              </a:pPr>
              <a:r>
                <a:rPr lang="en-US" sz="900" b="1" i="0" dirty="0">
                  <a:solidFill>
                    <a:srgbClr val="7D8183"/>
                  </a:solidFill>
                  <a:latin typeface="Arial"/>
                  <a:ea typeface="Arial"/>
                  <a:cs typeface="Arial"/>
                  <a:sym typeface="Arial"/>
                </a:rPr>
                <a:t>Delete the current picture, if there </a:t>
              </a:r>
              <a:br>
                <a:rPr lang="en-US" sz="900" b="1" i="0" dirty="0">
                  <a:solidFill>
                    <a:srgbClr val="7D8183"/>
                  </a:solidFill>
                  <a:latin typeface="Arial"/>
                  <a:ea typeface="Arial"/>
                  <a:cs typeface="Arial"/>
                  <a:sym typeface="Arial"/>
                </a:rPr>
              </a:br>
              <a:r>
                <a:rPr lang="en-US" sz="900" b="1" i="0" dirty="0">
                  <a:solidFill>
                    <a:srgbClr val="7D8183"/>
                  </a:solidFill>
                  <a:latin typeface="Arial"/>
                  <a:ea typeface="Arial"/>
                  <a:cs typeface="Arial"/>
                  <a:sym typeface="Arial"/>
                </a:rPr>
                <a:t>is one.</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On the Insert tab, click the Pictures button OR you can click the picture icon      on the slide surface to start your search.</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Navigate to the image you want to use and select Insert. </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Under Home click the Reset button to reapply the Layout.</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Resize the picture to fit the slide, as needed, using the Crop tool. Hold the Shift key and click and drag a corner to scale equally.</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On the Home tab, click the Arrange button, then Send to Back so the photo is behind the logos, text, and the transparent overlay. </a:t>
              </a:r>
              <a:endParaRPr sz="1800" dirty="0"/>
            </a:p>
            <a:p>
              <a:pPr marL="174621" marR="0" lvl="0" indent="-174621" algn="l" rtl="0">
                <a:lnSpc>
                  <a:spcPct val="100000"/>
                </a:lnSpc>
                <a:spcBef>
                  <a:spcPts val="1200"/>
                </a:spcBef>
                <a:spcAft>
                  <a:spcPts val="0"/>
                </a:spcAft>
                <a:buClr>
                  <a:srgbClr val="7D8183"/>
                </a:buClr>
                <a:buSzPts val="900"/>
                <a:buFont typeface="Arial"/>
                <a:buAutoNum type="arabicPeriod" startAt="2"/>
              </a:pPr>
              <a:r>
                <a:rPr lang="en-US" sz="900" b="1" i="0" dirty="0">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a:t>
              </a:r>
              <a:r>
                <a:rPr lang="en-US" sz="900" b="1" i="0">
                  <a:solidFill>
                    <a:srgbClr val="7D8183"/>
                  </a:solidFill>
                  <a:latin typeface="Arial"/>
                  <a:ea typeface="Arial"/>
                  <a:cs typeface="Arial"/>
                  <a:sym typeface="Arial"/>
                </a:rPr>
                <a:t>if appropriate</a:t>
              </a:r>
              <a:r>
                <a:rPr lang="en-US" sz="900" b="1" i="0" dirty="0">
                  <a:solidFill>
                    <a:srgbClr val="7D8183"/>
                  </a:solidFill>
                  <a:latin typeface="Arial"/>
                  <a:ea typeface="Arial"/>
                  <a:cs typeface="Arial"/>
                  <a:sym typeface="Arial"/>
                </a:rPr>
                <a:t>).</a:t>
              </a:r>
              <a:endParaRPr sz="1800" dirty="0"/>
            </a:p>
          </p:txBody>
        </p:sp>
        <p:pic>
          <p:nvPicPr>
            <p:cNvPr id="228" name="Google Shape;228;p52"/>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13" name="Google Shape;58;p36">
            <a:extLst>
              <a:ext uri="{FF2B5EF4-FFF2-40B4-BE49-F238E27FC236}">
                <a16:creationId xmlns:a16="http://schemas.microsoft.com/office/drawing/2014/main" id="{E4CEAD88-5C59-4B37-B8AA-F209CD77F799}"/>
              </a:ext>
            </a:extLst>
          </p:cNvPr>
          <p:cNvSpPr txBox="1">
            <a:spLocks noGrp="1"/>
          </p:cNvSpPr>
          <p:nvPr>
            <p:ph type="body" idx="10"/>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378" lvl="1" indent="-228594" algn="l">
              <a:lnSpc>
                <a:spcPct val="90000"/>
              </a:lnSpc>
              <a:spcBef>
                <a:spcPts val="600"/>
              </a:spcBef>
              <a:spcAft>
                <a:spcPts val="0"/>
              </a:spcAft>
              <a:buSzPts val="1400"/>
              <a:buNone/>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dirty="0"/>
          </a:p>
        </p:txBody>
      </p:sp>
      <p:sp>
        <p:nvSpPr>
          <p:cNvPr id="15" name="Google Shape;60;p36">
            <a:extLst>
              <a:ext uri="{FF2B5EF4-FFF2-40B4-BE49-F238E27FC236}">
                <a16:creationId xmlns:a16="http://schemas.microsoft.com/office/drawing/2014/main" id="{27C44A00-7B4C-49EF-9E44-9C792355B0F8}"/>
              </a:ext>
            </a:extLst>
          </p:cNvPr>
          <p:cNvSpPr txBox="1">
            <a:spLocks noGrp="1"/>
          </p:cNvSpPr>
          <p:nvPr>
            <p:ph type="body" idx="11" hasCustomPrompt="1"/>
          </p:nvPr>
        </p:nvSpPr>
        <p:spPr>
          <a:xfrm>
            <a:off x="381648" y="4745252"/>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378" lvl="1" indent="-342892" algn="l">
              <a:lnSpc>
                <a:spcPct val="90000"/>
              </a:lnSpc>
              <a:spcBef>
                <a:spcPts val="600"/>
              </a:spcBef>
              <a:spcAft>
                <a:spcPts val="0"/>
              </a:spcAft>
              <a:buSzPts val="1800"/>
              <a:buChar char="•"/>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r>
              <a:rPr lang="en-US" dirty="0"/>
              <a:t>Footnote placeholder</a:t>
            </a:r>
          </a:p>
        </p:txBody>
      </p:sp>
    </p:spTree>
    <p:extLst>
      <p:ext uri="{BB962C8B-B14F-4D97-AF65-F5344CB8AC3E}">
        <p14:creationId xmlns:p14="http://schemas.microsoft.com/office/powerpoint/2010/main" val="213516215"/>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Four Photos Right+Content2" userDrawn="1">
  <p:cSld name="Four Photos Right+Content2">
    <p:spTree>
      <p:nvGrpSpPr>
        <p:cNvPr id="1" name="Shape 231"/>
        <p:cNvGrpSpPr/>
        <p:nvPr/>
      </p:nvGrpSpPr>
      <p:grpSpPr>
        <a:xfrm>
          <a:off x="0" y="0"/>
          <a:ext cx="0" cy="0"/>
          <a:chOff x="0" y="0"/>
          <a:chExt cx="0" cy="0"/>
        </a:xfrm>
      </p:grpSpPr>
      <p:sp>
        <p:nvSpPr>
          <p:cNvPr id="232" name="Google Shape;232;p53"/>
          <p:cNvSpPr>
            <a:spLocks noGrp="1"/>
          </p:cNvSpPr>
          <p:nvPr>
            <p:ph type="pic" idx="2"/>
          </p:nvPr>
        </p:nvSpPr>
        <p:spPr>
          <a:xfrm>
            <a:off x="4572746" y="770382"/>
            <a:ext cx="2011680" cy="1801368"/>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33" name="Google Shape;233;p53"/>
          <p:cNvSpPr>
            <a:spLocks noGrp="1"/>
          </p:cNvSpPr>
          <p:nvPr>
            <p:ph type="pic" idx="3"/>
          </p:nvPr>
        </p:nvSpPr>
        <p:spPr>
          <a:xfrm>
            <a:off x="6751320" y="770381"/>
            <a:ext cx="2011680" cy="1801368"/>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34" name="Google Shape;234;p53"/>
          <p:cNvSpPr>
            <a:spLocks noGrp="1"/>
          </p:cNvSpPr>
          <p:nvPr>
            <p:ph type="pic" idx="4"/>
          </p:nvPr>
        </p:nvSpPr>
        <p:spPr>
          <a:xfrm>
            <a:off x="4572746" y="2716575"/>
            <a:ext cx="2011680" cy="179827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35" name="Google Shape;235;p53"/>
          <p:cNvSpPr>
            <a:spLocks noGrp="1"/>
          </p:cNvSpPr>
          <p:nvPr>
            <p:ph type="pic" idx="5"/>
          </p:nvPr>
        </p:nvSpPr>
        <p:spPr>
          <a:xfrm>
            <a:off x="6751320" y="2716575"/>
            <a:ext cx="2011680" cy="1798276"/>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grpSp>
        <p:nvGrpSpPr>
          <p:cNvPr id="237" name="Google Shape;237;p53"/>
          <p:cNvGrpSpPr/>
          <p:nvPr/>
        </p:nvGrpSpPr>
        <p:grpSpPr>
          <a:xfrm>
            <a:off x="9206186" y="51749"/>
            <a:ext cx="2202899" cy="4431983"/>
            <a:chOff x="9248019" y="51749"/>
            <a:chExt cx="2202899" cy="4431983"/>
          </a:xfrm>
        </p:grpSpPr>
        <p:sp>
          <p:nvSpPr>
            <p:cNvPr id="238" name="Google Shape;238;p53"/>
            <p:cNvSpPr txBox="1"/>
            <p:nvPr/>
          </p:nvSpPr>
          <p:spPr>
            <a:xfrm>
              <a:off x="9248019" y="51749"/>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THERE ARE TWO (2) OPTION TO CUSTOMIZE A LAYOUT WITH A </a:t>
              </a:r>
              <a:br>
                <a:rPr lang="en-US" sz="900" b="1" i="0" dirty="0">
                  <a:solidFill>
                    <a:srgbClr val="7D8183"/>
                  </a:solidFill>
                  <a:latin typeface="Arial"/>
                  <a:ea typeface="Arial"/>
                  <a:cs typeface="Arial"/>
                  <a:sym typeface="Arial"/>
                </a:rPr>
              </a:br>
              <a:r>
                <a:rPr lang="en-US" sz="900" b="1" i="0" dirty="0">
                  <a:solidFill>
                    <a:srgbClr val="7D8183"/>
                  </a:solidFill>
                  <a:latin typeface="Arial"/>
                  <a:ea typeface="Arial"/>
                  <a:cs typeface="Arial"/>
                  <a:sym typeface="Arial"/>
                </a:rPr>
                <a:t>NEW PICTURE:</a:t>
              </a:r>
              <a:endParaRPr sz="1800" dirty="0"/>
            </a:p>
            <a:p>
              <a:pPr marL="174621" marR="0" lvl="0" indent="-174621" algn="l" rtl="0">
                <a:lnSpc>
                  <a:spcPct val="100000"/>
                </a:lnSpc>
                <a:spcBef>
                  <a:spcPts val="1200"/>
                </a:spcBef>
                <a:spcAft>
                  <a:spcPts val="0"/>
                </a:spcAft>
                <a:buClr>
                  <a:srgbClr val="7D8183"/>
                </a:buClr>
                <a:buSzPts val="900"/>
                <a:buFont typeface="Arial"/>
                <a:buAutoNum type="arabicPeriod"/>
              </a:pPr>
              <a:r>
                <a:rPr lang="en-US" sz="900" b="1" i="0" dirty="0">
                  <a:solidFill>
                    <a:srgbClr val="7D8183"/>
                  </a:solidFill>
                  <a:latin typeface="Arial"/>
                  <a:ea typeface="Arial"/>
                  <a:cs typeface="Arial"/>
                  <a:sym typeface="Arial"/>
                </a:rPr>
                <a:t>Delete the current picture, if there </a:t>
              </a:r>
              <a:br>
                <a:rPr lang="en-US" sz="900" b="1" i="0" dirty="0">
                  <a:solidFill>
                    <a:srgbClr val="7D8183"/>
                  </a:solidFill>
                  <a:latin typeface="Arial"/>
                  <a:ea typeface="Arial"/>
                  <a:cs typeface="Arial"/>
                  <a:sym typeface="Arial"/>
                </a:rPr>
              </a:br>
              <a:r>
                <a:rPr lang="en-US" sz="900" b="1" i="0" dirty="0">
                  <a:solidFill>
                    <a:srgbClr val="7D8183"/>
                  </a:solidFill>
                  <a:latin typeface="Arial"/>
                  <a:ea typeface="Arial"/>
                  <a:cs typeface="Arial"/>
                  <a:sym typeface="Arial"/>
                </a:rPr>
                <a:t>is one.</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On the Insert tab, click the Pictures button OR you can click the picture icon      on the slide surface to start your search.</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Navigate to the image you want to use and select Insert. </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Under Home click the Reset button to reapply the Layout.</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Resize the picture to fit the slide, as needed, using the Crop tool. Hold the Shift key and click and drag a corner to scale equally.</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On the Home tab, click the Arrange button, then Send to Back so the photo is behind the logos, text, and the transparent overlay. </a:t>
              </a:r>
              <a:endParaRPr sz="1800" dirty="0"/>
            </a:p>
            <a:p>
              <a:pPr marL="174621" marR="0" lvl="0" indent="-174621" algn="l" rtl="0">
                <a:lnSpc>
                  <a:spcPct val="100000"/>
                </a:lnSpc>
                <a:spcBef>
                  <a:spcPts val="1200"/>
                </a:spcBef>
                <a:spcAft>
                  <a:spcPts val="0"/>
                </a:spcAft>
                <a:buClr>
                  <a:srgbClr val="7D8183"/>
                </a:buClr>
                <a:buSzPts val="900"/>
                <a:buFont typeface="Arial"/>
                <a:buAutoNum type="arabicPeriod" startAt="2"/>
              </a:pPr>
              <a:r>
                <a:rPr lang="en-US" sz="900" b="1" i="0" dirty="0">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a:t>
              </a:r>
              <a:r>
                <a:rPr lang="en-US" sz="900" b="1" i="0">
                  <a:solidFill>
                    <a:srgbClr val="7D8183"/>
                  </a:solidFill>
                  <a:latin typeface="Arial"/>
                  <a:ea typeface="Arial"/>
                  <a:cs typeface="Arial"/>
                  <a:sym typeface="Arial"/>
                </a:rPr>
                <a:t>if appropriate</a:t>
              </a:r>
              <a:r>
                <a:rPr lang="en-US" sz="900" b="1" i="0" dirty="0">
                  <a:solidFill>
                    <a:srgbClr val="7D8183"/>
                  </a:solidFill>
                  <a:latin typeface="Arial"/>
                  <a:ea typeface="Arial"/>
                  <a:cs typeface="Arial"/>
                  <a:sym typeface="Arial"/>
                </a:rPr>
                <a:t>).</a:t>
              </a:r>
              <a:endParaRPr sz="1800" dirty="0"/>
            </a:p>
          </p:txBody>
        </p:sp>
        <p:pic>
          <p:nvPicPr>
            <p:cNvPr id="239" name="Google Shape;239;p53"/>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240" name="Google Shape;240;p53"/>
          <p:cNvSpPr txBox="1">
            <a:spLocks noGrp="1"/>
          </p:cNvSpPr>
          <p:nvPr>
            <p:ph type="title"/>
          </p:nvPr>
        </p:nvSpPr>
        <p:spPr>
          <a:xfrm>
            <a:off x="381648" y="585796"/>
            <a:ext cx="34488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58;p36">
            <a:extLst>
              <a:ext uri="{FF2B5EF4-FFF2-40B4-BE49-F238E27FC236}">
                <a16:creationId xmlns:a16="http://schemas.microsoft.com/office/drawing/2014/main" id="{D3046B04-7F3B-4C38-96F5-8F95BF50D41F}"/>
              </a:ext>
            </a:extLst>
          </p:cNvPr>
          <p:cNvSpPr txBox="1">
            <a:spLocks noGrp="1"/>
          </p:cNvSpPr>
          <p:nvPr>
            <p:ph type="body" idx="10"/>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378" lvl="1" indent="-228594" algn="l">
              <a:lnSpc>
                <a:spcPct val="90000"/>
              </a:lnSpc>
              <a:spcBef>
                <a:spcPts val="600"/>
              </a:spcBef>
              <a:spcAft>
                <a:spcPts val="0"/>
              </a:spcAft>
              <a:buSzPts val="1400"/>
              <a:buNone/>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dirty="0"/>
          </a:p>
        </p:txBody>
      </p:sp>
      <p:sp>
        <p:nvSpPr>
          <p:cNvPr id="15" name="Google Shape;60;p36">
            <a:extLst>
              <a:ext uri="{FF2B5EF4-FFF2-40B4-BE49-F238E27FC236}">
                <a16:creationId xmlns:a16="http://schemas.microsoft.com/office/drawing/2014/main" id="{D018E029-51AF-43D0-951B-C4A33D3F93AB}"/>
              </a:ext>
            </a:extLst>
          </p:cNvPr>
          <p:cNvSpPr txBox="1">
            <a:spLocks noGrp="1"/>
          </p:cNvSpPr>
          <p:nvPr>
            <p:ph type="body" idx="11" hasCustomPrompt="1"/>
          </p:nvPr>
        </p:nvSpPr>
        <p:spPr>
          <a:xfrm>
            <a:off x="381648" y="4745252"/>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378" lvl="1" indent="-342892" algn="l">
              <a:lnSpc>
                <a:spcPct val="90000"/>
              </a:lnSpc>
              <a:spcBef>
                <a:spcPts val="600"/>
              </a:spcBef>
              <a:spcAft>
                <a:spcPts val="0"/>
              </a:spcAft>
              <a:buSzPts val="1800"/>
              <a:buChar char="•"/>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r>
              <a:rPr lang="en-US" dirty="0"/>
              <a:t>Footnote placeholder</a:t>
            </a:r>
          </a:p>
        </p:txBody>
      </p:sp>
      <p:sp>
        <p:nvSpPr>
          <p:cNvPr id="14" name="Google Shape;225;p52">
            <a:extLst>
              <a:ext uri="{FF2B5EF4-FFF2-40B4-BE49-F238E27FC236}">
                <a16:creationId xmlns:a16="http://schemas.microsoft.com/office/drawing/2014/main" id="{A5E90432-4E1C-47B8-BD0C-A4FF9D3C83AC}"/>
              </a:ext>
            </a:extLst>
          </p:cNvPr>
          <p:cNvSpPr txBox="1">
            <a:spLocks noGrp="1"/>
          </p:cNvSpPr>
          <p:nvPr>
            <p:ph type="body" idx="1"/>
          </p:nvPr>
        </p:nvSpPr>
        <p:spPr>
          <a:xfrm>
            <a:off x="380999" y="1352550"/>
            <a:ext cx="3448800" cy="3162300"/>
          </a:xfrm>
          <a:prstGeom prst="rect">
            <a:avLst/>
          </a:prstGeom>
          <a:noFill/>
          <a:ln>
            <a:noFill/>
          </a:ln>
        </p:spPr>
        <p:txBody>
          <a:bodyPr spcFirstLastPara="1" wrap="square" lIns="0" tIns="0" rIns="0" bIns="0" anchor="t" anchorCtr="0">
            <a:noAutofit/>
          </a:bodyPr>
          <a:lstStyle>
            <a:lvl1pPr marL="173732" lvl="0" indent="-173732" algn="l">
              <a:lnSpc>
                <a:spcPct val="90000"/>
              </a:lnSpc>
              <a:spcBef>
                <a:spcPts val="600"/>
              </a:spcBef>
              <a:spcAft>
                <a:spcPts val="0"/>
              </a:spcAft>
              <a:buSzPts val="1400"/>
              <a:buChar char="•"/>
              <a:defRPr sz="1400">
                <a:solidFill>
                  <a:schemeClr val="dk1"/>
                </a:solidFill>
              </a:defRPr>
            </a:lvl1pPr>
            <a:lvl2pPr marL="347463" lvl="1" indent="-173732" algn="l">
              <a:lnSpc>
                <a:spcPct val="90000"/>
              </a:lnSpc>
              <a:spcBef>
                <a:spcPts val="600"/>
              </a:spcBef>
              <a:spcAft>
                <a:spcPts val="0"/>
              </a:spcAft>
              <a:buSzPts val="1200"/>
              <a:buFont typeface="Gene Sans Light" panose="00000400000000000000" pitchFamily="50" charset="0"/>
              <a:buChar char="–"/>
              <a:defRPr sz="1200">
                <a:solidFill>
                  <a:schemeClr val="dk1"/>
                </a:solidFill>
              </a:defRPr>
            </a:lvl2pPr>
            <a:lvl3pPr marL="1371566" lvl="2" indent="-295268" algn="l">
              <a:lnSpc>
                <a:spcPct val="90000"/>
              </a:lnSpc>
              <a:spcBef>
                <a:spcPts val="600"/>
              </a:spcBef>
              <a:spcAft>
                <a:spcPts val="0"/>
              </a:spcAft>
              <a:buSzPts val="1050"/>
              <a:buChar char="•"/>
              <a:defRPr sz="1050">
                <a:solidFill>
                  <a:schemeClr val="dk1"/>
                </a:solidFill>
              </a:defRPr>
            </a:lvl3pPr>
            <a:lvl4pPr marL="1828754" lvl="3" indent="-292093" algn="l">
              <a:lnSpc>
                <a:spcPct val="90000"/>
              </a:lnSpc>
              <a:spcBef>
                <a:spcPts val="600"/>
              </a:spcBef>
              <a:spcAft>
                <a:spcPts val="0"/>
              </a:spcAft>
              <a:buSzPts val="1000"/>
              <a:buChar char="•"/>
              <a:defRPr sz="1000">
                <a:solidFill>
                  <a:schemeClr val="dk1"/>
                </a:solidFill>
              </a:defRPr>
            </a:lvl4pPr>
            <a:lvl5pPr marL="2285943" lvl="4" indent="-292093" algn="l">
              <a:lnSpc>
                <a:spcPct val="90000"/>
              </a:lnSpc>
              <a:spcBef>
                <a:spcPts val="600"/>
              </a:spcBef>
              <a:spcAft>
                <a:spcPts val="0"/>
              </a:spcAft>
              <a:buSzPts val="1000"/>
              <a:buChar char="•"/>
              <a:defRPr sz="1000">
                <a:solidFill>
                  <a:schemeClr val="dk1"/>
                </a:solidFill>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dirty="0"/>
          </a:p>
          <a:p>
            <a:pPr lvl="1"/>
            <a:endParaRPr dirty="0"/>
          </a:p>
        </p:txBody>
      </p:sp>
    </p:spTree>
    <p:extLst>
      <p:ext uri="{BB962C8B-B14F-4D97-AF65-F5344CB8AC3E}">
        <p14:creationId xmlns:p14="http://schemas.microsoft.com/office/powerpoint/2010/main" val="2740151700"/>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mparison + Photos" userDrawn="1">
  <p:cSld name="Comparison + Photos">
    <p:spTree>
      <p:nvGrpSpPr>
        <p:cNvPr id="1" name="Shape 243"/>
        <p:cNvGrpSpPr/>
        <p:nvPr/>
      </p:nvGrpSpPr>
      <p:grpSpPr>
        <a:xfrm>
          <a:off x="0" y="0"/>
          <a:ext cx="0" cy="0"/>
          <a:chOff x="0" y="0"/>
          <a:chExt cx="0" cy="0"/>
        </a:xfrm>
      </p:grpSpPr>
      <p:sp>
        <p:nvSpPr>
          <p:cNvPr id="244" name="Google Shape;244;p54"/>
          <p:cNvSpPr>
            <a:spLocks noGrp="1"/>
          </p:cNvSpPr>
          <p:nvPr>
            <p:ph type="pic" idx="2"/>
          </p:nvPr>
        </p:nvSpPr>
        <p:spPr>
          <a:xfrm>
            <a:off x="381000" y="3181350"/>
            <a:ext cx="4133850" cy="1333500"/>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sp>
        <p:nvSpPr>
          <p:cNvPr id="245" name="Google Shape;245;p54"/>
          <p:cNvSpPr txBox="1">
            <a:spLocks noGrp="1"/>
          </p:cNvSpPr>
          <p:nvPr>
            <p:ph type="body" idx="1"/>
          </p:nvPr>
        </p:nvSpPr>
        <p:spPr>
          <a:xfrm>
            <a:off x="381000" y="1003997"/>
            <a:ext cx="4133088" cy="617934"/>
          </a:xfrm>
          <a:prstGeom prst="rect">
            <a:avLst/>
          </a:prstGeom>
          <a:noFill/>
          <a:ln>
            <a:noFill/>
          </a:ln>
        </p:spPr>
        <p:txBody>
          <a:bodyPr spcFirstLastPara="1" wrap="square" lIns="0" tIns="0" rIns="0" bIns="0" anchor="b" anchorCtr="0">
            <a:noAutofit/>
          </a:bodyPr>
          <a:lstStyle>
            <a:lvl1pPr marL="457189" lvl="0" indent="-228594" algn="l">
              <a:lnSpc>
                <a:spcPct val="90000"/>
              </a:lnSpc>
              <a:spcBef>
                <a:spcPts val="600"/>
              </a:spcBef>
              <a:spcAft>
                <a:spcPts val="0"/>
              </a:spcAft>
              <a:buSzPts val="1800"/>
              <a:buNone/>
              <a:defRPr sz="1800" b="0">
                <a:solidFill>
                  <a:schemeClr val="tx2"/>
                </a:solidFill>
                <a:latin typeface="+mn-lt"/>
                <a:ea typeface="Arial"/>
                <a:cs typeface="Arial"/>
                <a:sym typeface="Arial"/>
              </a:defRPr>
            </a:lvl1pPr>
            <a:lvl2pPr marL="914378" lvl="1" indent="-228594" algn="l">
              <a:lnSpc>
                <a:spcPct val="90000"/>
              </a:lnSpc>
              <a:spcBef>
                <a:spcPts val="600"/>
              </a:spcBef>
              <a:spcAft>
                <a:spcPts val="0"/>
              </a:spcAft>
              <a:buSzPts val="1500"/>
              <a:buNone/>
              <a:defRPr sz="1500" b="1"/>
            </a:lvl2pPr>
            <a:lvl3pPr marL="1371566" lvl="2" indent="-228594" algn="l">
              <a:lnSpc>
                <a:spcPct val="90000"/>
              </a:lnSpc>
              <a:spcBef>
                <a:spcPts val="600"/>
              </a:spcBef>
              <a:spcAft>
                <a:spcPts val="0"/>
              </a:spcAft>
              <a:buSzPts val="1350"/>
              <a:buNone/>
              <a:defRPr sz="1350" b="1"/>
            </a:lvl3pPr>
            <a:lvl4pPr marL="1828754" lvl="3" indent="-228594" algn="l">
              <a:lnSpc>
                <a:spcPct val="90000"/>
              </a:lnSpc>
              <a:spcBef>
                <a:spcPts val="600"/>
              </a:spcBef>
              <a:spcAft>
                <a:spcPts val="0"/>
              </a:spcAft>
              <a:buSzPts val="1200"/>
              <a:buNone/>
              <a:defRPr sz="1200" b="1"/>
            </a:lvl4pPr>
            <a:lvl5pPr marL="2285943" lvl="4" indent="-228594" algn="l">
              <a:lnSpc>
                <a:spcPct val="90000"/>
              </a:lnSpc>
              <a:spcBef>
                <a:spcPts val="600"/>
              </a:spcBef>
              <a:spcAft>
                <a:spcPts val="0"/>
              </a:spcAft>
              <a:buSzPts val="1200"/>
              <a:buNone/>
              <a:defRPr sz="1200" b="1"/>
            </a:lvl5pPr>
            <a:lvl6pPr marL="2743132" lvl="5" indent="-228594" algn="l">
              <a:lnSpc>
                <a:spcPct val="90000"/>
              </a:lnSpc>
              <a:spcBef>
                <a:spcPts val="375"/>
              </a:spcBef>
              <a:spcAft>
                <a:spcPts val="0"/>
              </a:spcAft>
              <a:buClr>
                <a:schemeClr val="dk1"/>
              </a:buClr>
              <a:buSzPts val="1200"/>
              <a:buNone/>
              <a:defRPr sz="1200" b="1"/>
            </a:lvl6pPr>
            <a:lvl7pPr marL="3200320" lvl="6" indent="-228594" algn="l">
              <a:lnSpc>
                <a:spcPct val="90000"/>
              </a:lnSpc>
              <a:spcBef>
                <a:spcPts val="375"/>
              </a:spcBef>
              <a:spcAft>
                <a:spcPts val="0"/>
              </a:spcAft>
              <a:buClr>
                <a:schemeClr val="dk1"/>
              </a:buClr>
              <a:buSzPts val="1200"/>
              <a:buNone/>
              <a:defRPr sz="1200" b="1"/>
            </a:lvl7pPr>
            <a:lvl8pPr marL="3657509" lvl="7" indent="-228594" algn="l">
              <a:lnSpc>
                <a:spcPct val="90000"/>
              </a:lnSpc>
              <a:spcBef>
                <a:spcPts val="375"/>
              </a:spcBef>
              <a:spcAft>
                <a:spcPts val="0"/>
              </a:spcAft>
              <a:buClr>
                <a:schemeClr val="dk1"/>
              </a:buClr>
              <a:buSzPts val="1200"/>
              <a:buNone/>
              <a:defRPr sz="1200" b="1"/>
            </a:lvl8pPr>
            <a:lvl9pPr marL="4114697" lvl="8" indent="-228594" algn="l">
              <a:lnSpc>
                <a:spcPct val="90000"/>
              </a:lnSpc>
              <a:spcBef>
                <a:spcPts val="375"/>
              </a:spcBef>
              <a:spcAft>
                <a:spcPts val="0"/>
              </a:spcAft>
              <a:buClr>
                <a:schemeClr val="dk1"/>
              </a:buClr>
              <a:buSzPts val="1200"/>
              <a:buNone/>
              <a:defRPr sz="1200" b="1"/>
            </a:lvl9pPr>
          </a:lstStyle>
          <a:p>
            <a:endParaRPr dirty="0"/>
          </a:p>
        </p:txBody>
      </p:sp>
      <p:sp>
        <p:nvSpPr>
          <p:cNvPr id="246" name="Google Shape;246;p54"/>
          <p:cNvSpPr txBox="1">
            <a:spLocks noGrp="1"/>
          </p:cNvSpPr>
          <p:nvPr>
            <p:ph type="body" idx="3"/>
          </p:nvPr>
        </p:nvSpPr>
        <p:spPr>
          <a:xfrm>
            <a:off x="381000" y="1796190"/>
            <a:ext cx="4133088" cy="1299592"/>
          </a:xfrm>
          <a:prstGeom prst="rect">
            <a:avLst/>
          </a:prstGeom>
          <a:noFill/>
          <a:ln>
            <a:noFill/>
          </a:ln>
        </p:spPr>
        <p:txBody>
          <a:bodyPr spcFirstLastPara="1" wrap="square" lIns="0" tIns="0" rIns="0" bIns="0" anchor="t" anchorCtr="0">
            <a:noAutofit/>
          </a:bodyPr>
          <a:lstStyle>
            <a:lvl1pPr marL="457189" lvl="0" indent="-317492" algn="l">
              <a:lnSpc>
                <a:spcPct val="90000"/>
              </a:lnSpc>
              <a:spcBef>
                <a:spcPts val="600"/>
              </a:spcBef>
              <a:spcAft>
                <a:spcPts val="0"/>
              </a:spcAft>
              <a:buSzPts val="1400"/>
              <a:buChar char="•"/>
              <a:defRPr sz="1400">
                <a:solidFill>
                  <a:schemeClr val="dk1"/>
                </a:solidFill>
                <a:latin typeface="+mn-lt"/>
              </a:defRPr>
            </a:lvl1pPr>
            <a:lvl2pPr marL="914378" lvl="1" indent="-304793" algn="l">
              <a:lnSpc>
                <a:spcPct val="90000"/>
              </a:lnSpc>
              <a:spcBef>
                <a:spcPts val="600"/>
              </a:spcBef>
              <a:spcAft>
                <a:spcPts val="0"/>
              </a:spcAft>
              <a:buSzPts val="1200"/>
              <a:buChar char="•"/>
              <a:defRPr sz="1200">
                <a:solidFill>
                  <a:schemeClr val="dk1"/>
                </a:solidFill>
              </a:defRPr>
            </a:lvl2pPr>
            <a:lvl3pPr marL="1371566" lvl="2" indent="-295268" algn="l">
              <a:lnSpc>
                <a:spcPct val="90000"/>
              </a:lnSpc>
              <a:spcBef>
                <a:spcPts val="600"/>
              </a:spcBef>
              <a:spcAft>
                <a:spcPts val="0"/>
              </a:spcAft>
              <a:buSzPts val="1050"/>
              <a:buChar char="•"/>
              <a:defRPr sz="1050">
                <a:solidFill>
                  <a:schemeClr val="dk1"/>
                </a:solidFill>
              </a:defRPr>
            </a:lvl3pPr>
            <a:lvl4pPr marL="1828754" lvl="3" indent="-292093" algn="l">
              <a:lnSpc>
                <a:spcPct val="90000"/>
              </a:lnSpc>
              <a:spcBef>
                <a:spcPts val="600"/>
              </a:spcBef>
              <a:spcAft>
                <a:spcPts val="0"/>
              </a:spcAft>
              <a:buSzPts val="1000"/>
              <a:buChar char="•"/>
              <a:defRPr sz="1000">
                <a:solidFill>
                  <a:schemeClr val="dk1"/>
                </a:solidFill>
              </a:defRPr>
            </a:lvl4pPr>
            <a:lvl5pPr marL="2285943" lvl="4" indent="-292093" algn="l">
              <a:lnSpc>
                <a:spcPct val="90000"/>
              </a:lnSpc>
              <a:spcBef>
                <a:spcPts val="600"/>
              </a:spcBef>
              <a:spcAft>
                <a:spcPts val="0"/>
              </a:spcAft>
              <a:buSzPts val="1000"/>
              <a:buChar char="•"/>
              <a:defRPr sz="1000">
                <a:solidFill>
                  <a:schemeClr val="dk1"/>
                </a:solidFill>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dirty="0"/>
          </a:p>
        </p:txBody>
      </p:sp>
      <p:sp>
        <p:nvSpPr>
          <p:cNvPr id="247" name="Google Shape;247;p54"/>
          <p:cNvSpPr txBox="1">
            <a:spLocks noGrp="1"/>
          </p:cNvSpPr>
          <p:nvPr>
            <p:ph type="body" idx="4"/>
          </p:nvPr>
        </p:nvSpPr>
        <p:spPr>
          <a:xfrm>
            <a:off x="4629149" y="1003997"/>
            <a:ext cx="4133088" cy="617934"/>
          </a:xfrm>
          <a:prstGeom prst="rect">
            <a:avLst/>
          </a:prstGeom>
          <a:noFill/>
          <a:ln>
            <a:noFill/>
          </a:ln>
        </p:spPr>
        <p:txBody>
          <a:bodyPr spcFirstLastPara="1" wrap="square" lIns="0" tIns="0" rIns="0" bIns="0" anchor="b" anchorCtr="0">
            <a:noAutofit/>
          </a:bodyPr>
          <a:lstStyle>
            <a:lvl1pPr marL="457189" lvl="0" indent="-228594" algn="l">
              <a:lnSpc>
                <a:spcPct val="90000"/>
              </a:lnSpc>
              <a:spcBef>
                <a:spcPts val="600"/>
              </a:spcBef>
              <a:spcAft>
                <a:spcPts val="0"/>
              </a:spcAft>
              <a:buSzPts val="1800"/>
              <a:buNone/>
              <a:defRPr sz="1800" b="0">
                <a:solidFill>
                  <a:schemeClr val="tx2"/>
                </a:solidFill>
                <a:latin typeface="+mn-lt"/>
                <a:ea typeface="Arial"/>
                <a:cs typeface="Arial"/>
                <a:sym typeface="Arial"/>
              </a:defRPr>
            </a:lvl1pPr>
            <a:lvl2pPr marL="914378" lvl="1" indent="-228594" algn="l">
              <a:lnSpc>
                <a:spcPct val="90000"/>
              </a:lnSpc>
              <a:spcBef>
                <a:spcPts val="600"/>
              </a:spcBef>
              <a:spcAft>
                <a:spcPts val="0"/>
              </a:spcAft>
              <a:buSzPts val="1500"/>
              <a:buNone/>
              <a:defRPr sz="1500" b="1"/>
            </a:lvl2pPr>
            <a:lvl3pPr marL="1371566" lvl="2" indent="-228594" algn="l">
              <a:lnSpc>
                <a:spcPct val="90000"/>
              </a:lnSpc>
              <a:spcBef>
                <a:spcPts val="600"/>
              </a:spcBef>
              <a:spcAft>
                <a:spcPts val="0"/>
              </a:spcAft>
              <a:buSzPts val="1350"/>
              <a:buNone/>
              <a:defRPr sz="1350" b="1"/>
            </a:lvl3pPr>
            <a:lvl4pPr marL="1828754" lvl="3" indent="-228594" algn="l">
              <a:lnSpc>
                <a:spcPct val="90000"/>
              </a:lnSpc>
              <a:spcBef>
                <a:spcPts val="600"/>
              </a:spcBef>
              <a:spcAft>
                <a:spcPts val="0"/>
              </a:spcAft>
              <a:buSzPts val="1200"/>
              <a:buNone/>
              <a:defRPr sz="1200" b="1"/>
            </a:lvl4pPr>
            <a:lvl5pPr marL="2285943" lvl="4" indent="-228594" algn="l">
              <a:lnSpc>
                <a:spcPct val="90000"/>
              </a:lnSpc>
              <a:spcBef>
                <a:spcPts val="600"/>
              </a:spcBef>
              <a:spcAft>
                <a:spcPts val="0"/>
              </a:spcAft>
              <a:buSzPts val="1200"/>
              <a:buNone/>
              <a:defRPr sz="1200" b="1"/>
            </a:lvl5pPr>
            <a:lvl6pPr marL="2743132" lvl="5" indent="-228594" algn="l">
              <a:lnSpc>
                <a:spcPct val="90000"/>
              </a:lnSpc>
              <a:spcBef>
                <a:spcPts val="375"/>
              </a:spcBef>
              <a:spcAft>
                <a:spcPts val="0"/>
              </a:spcAft>
              <a:buClr>
                <a:schemeClr val="dk1"/>
              </a:buClr>
              <a:buSzPts val="1200"/>
              <a:buNone/>
              <a:defRPr sz="1200" b="1"/>
            </a:lvl6pPr>
            <a:lvl7pPr marL="3200320" lvl="6" indent="-228594" algn="l">
              <a:lnSpc>
                <a:spcPct val="90000"/>
              </a:lnSpc>
              <a:spcBef>
                <a:spcPts val="375"/>
              </a:spcBef>
              <a:spcAft>
                <a:spcPts val="0"/>
              </a:spcAft>
              <a:buClr>
                <a:schemeClr val="dk1"/>
              </a:buClr>
              <a:buSzPts val="1200"/>
              <a:buNone/>
              <a:defRPr sz="1200" b="1"/>
            </a:lvl7pPr>
            <a:lvl8pPr marL="3657509" lvl="7" indent="-228594" algn="l">
              <a:lnSpc>
                <a:spcPct val="90000"/>
              </a:lnSpc>
              <a:spcBef>
                <a:spcPts val="375"/>
              </a:spcBef>
              <a:spcAft>
                <a:spcPts val="0"/>
              </a:spcAft>
              <a:buClr>
                <a:schemeClr val="dk1"/>
              </a:buClr>
              <a:buSzPts val="1200"/>
              <a:buNone/>
              <a:defRPr sz="1200" b="1"/>
            </a:lvl8pPr>
            <a:lvl9pPr marL="4114697" lvl="8" indent="-228594" algn="l">
              <a:lnSpc>
                <a:spcPct val="90000"/>
              </a:lnSpc>
              <a:spcBef>
                <a:spcPts val="375"/>
              </a:spcBef>
              <a:spcAft>
                <a:spcPts val="0"/>
              </a:spcAft>
              <a:buClr>
                <a:schemeClr val="dk1"/>
              </a:buClr>
              <a:buSzPts val="1200"/>
              <a:buNone/>
              <a:defRPr sz="1200" b="1"/>
            </a:lvl9pPr>
          </a:lstStyle>
          <a:p>
            <a:endParaRPr/>
          </a:p>
        </p:txBody>
      </p:sp>
      <p:sp>
        <p:nvSpPr>
          <p:cNvPr id="248" name="Google Shape;248;p54"/>
          <p:cNvSpPr txBox="1">
            <a:spLocks noGrp="1"/>
          </p:cNvSpPr>
          <p:nvPr>
            <p:ph type="body" idx="5"/>
          </p:nvPr>
        </p:nvSpPr>
        <p:spPr>
          <a:xfrm>
            <a:off x="4629149" y="1796190"/>
            <a:ext cx="4133088" cy="1299592"/>
          </a:xfrm>
          <a:prstGeom prst="rect">
            <a:avLst/>
          </a:prstGeom>
          <a:noFill/>
          <a:ln>
            <a:noFill/>
          </a:ln>
        </p:spPr>
        <p:txBody>
          <a:bodyPr spcFirstLastPara="1" wrap="square" lIns="0" tIns="0" rIns="0" bIns="0" anchor="t" anchorCtr="0">
            <a:noAutofit/>
          </a:bodyPr>
          <a:lstStyle>
            <a:lvl1pPr marL="457189" lvl="0" indent="-317492" algn="l">
              <a:lnSpc>
                <a:spcPct val="90000"/>
              </a:lnSpc>
              <a:spcBef>
                <a:spcPts val="600"/>
              </a:spcBef>
              <a:spcAft>
                <a:spcPts val="0"/>
              </a:spcAft>
              <a:buSzPts val="1400"/>
              <a:buChar char="•"/>
              <a:defRPr sz="1400">
                <a:solidFill>
                  <a:schemeClr val="dk1"/>
                </a:solidFill>
                <a:latin typeface="+mn-lt"/>
              </a:defRPr>
            </a:lvl1pPr>
            <a:lvl2pPr marL="914378" lvl="1" indent="-304793" algn="l">
              <a:lnSpc>
                <a:spcPct val="90000"/>
              </a:lnSpc>
              <a:spcBef>
                <a:spcPts val="600"/>
              </a:spcBef>
              <a:spcAft>
                <a:spcPts val="0"/>
              </a:spcAft>
              <a:buSzPts val="1200"/>
              <a:buChar char="•"/>
              <a:defRPr sz="1200">
                <a:solidFill>
                  <a:schemeClr val="dk1"/>
                </a:solidFill>
              </a:defRPr>
            </a:lvl2pPr>
            <a:lvl3pPr marL="1371566" lvl="2" indent="-295268" algn="l">
              <a:lnSpc>
                <a:spcPct val="90000"/>
              </a:lnSpc>
              <a:spcBef>
                <a:spcPts val="600"/>
              </a:spcBef>
              <a:spcAft>
                <a:spcPts val="0"/>
              </a:spcAft>
              <a:buSzPts val="1050"/>
              <a:buChar char="•"/>
              <a:defRPr sz="1050">
                <a:solidFill>
                  <a:schemeClr val="dk1"/>
                </a:solidFill>
              </a:defRPr>
            </a:lvl3pPr>
            <a:lvl4pPr marL="1828754" lvl="3" indent="-292093" algn="l">
              <a:lnSpc>
                <a:spcPct val="90000"/>
              </a:lnSpc>
              <a:spcBef>
                <a:spcPts val="600"/>
              </a:spcBef>
              <a:spcAft>
                <a:spcPts val="0"/>
              </a:spcAft>
              <a:buSzPts val="1000"/>
              <a:buChar char="•"/>
              <a:defRPr sz="1000">
                <a:solidFill>
                  <a:schemeClr val="dk1"/>
                </a:solidFill>
              </a:defRPr>
            </a:lvl4pPr>
            <a:lvl5pPr marL="2285943" lvl="4" indent="-292093" algn="l">
              <a:lnSpc>
                <a:spcPct val="90000"/>
              </a:lnSpc>
              <a:spcBef>
                <a:spcPts val="600"/>
              </a:spcBef>
              <a:spcAft>
                <a:spcPts val="0"/>
              </a:spcAft>
              <a:buSzPts val="1000"/>
              <a:buChar char="•"/>
              <a:defRPr sz="1000">
                <a:solidFill>
                  <a:schemeClr val="dk1"/>
                </a:solidFill>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a:p>
        </p:txBody>
      </p:sp>
      <p:cxnSp>
        <p:nvCxnSpPr>
          <p:cNvPr id="249" name="Google Shape;249;p54"/>
          <p:cNvCxnSpPr/>
          <p:nvPr/>
        </p:nvCxnSpPr>
        <p:spPr>
          <a:xfrm>
            <a:off x="381000" y="1663741"/>
            <a:ext cx="4023360" cy="0"/>
          </a:xfrm>
          <a:prstGeom prst="straightConnector1">
            <a:avLst/>
          </a:prstGeom>
          <a:noFill/>
          <a:ln w="12700" cap="flat" cmpd="sng">
            <a:solidFill>
              <a:schemeClr val="accent1">
                <a:lumMod val="40000"/>
                <a:lumOff val="60000"/>
              </a:schemeClr>
            </a:solidFill>
            <a:prstDash val="solid"/>
            <a:miter lim="800000"/>
            <a:headEnd type="none" w="sm" len="sm"/>
            <a:tailEnd type="none" w="sm" len="sm"/>
          </a:ln>
        </p:spPr>
      </p:cxnSp>
      <p:cxnSp>
        <p:nvCxnSpPr>
          <p:cNvPr id="250" name="Google Shape;250;p54"/>
          <p:cNvCxnSpPr/>
          <p:nvPr/>
        </p:nvCxnSpPr>
        <p:spPr>
          <a:xfrm>
            <a:off x="4647077" y="1663741"/>
            <a:ext cx="4023360" cy="0"/>
          </a:xfrm>
          <a:prstGeom prst="straightConnector1">
            <a:avLst/>
          </a:prstGeom>
          <a:noFill/>
          <a:ln w="12700" cap="flat" cmpd="sng">
            <a:solidFill>
              <a:schemeClr val="accent1">
                <a:lumMod val="40000"/>
                <a:lumOff val="60000"/>
              </a:schemeClr>
            </a:solidFill>
            <a:prstDash val="solid"/>
            <a:miter lim="800000"/>
            <a:headEnd type="none" w="sm" len="sm"/>
            <a:tailEnd type="none" w="sm" len="sm"/>
          </a:ln>
        </p:spPr>
      </p:cxnSp>
      <p:sp>
        <p:nvSpPr>
          <p:cNvPr id="251" name="Google Shape;251;p54"/>
          <p:cNvSpPr>
            <a:spLocks noGrp="1"/>
          </p:cNvSpPr>
          <p:nvPr>
            <p:ph type="pic" idx="6"/>
          </p:nvPr>
        </p:nvSpPr>
        <p:spPr>
          <a:xfrm>
            <a:off x="4629150" y="3181350"/>
            <a:ext cx="4133850" cy="1333500"/>
          </a:xfrm>
          <a:prstGeom prst="rect">
            <a:avLst/>
          </a:prstGeom>
          <a:solidFill>
            <a:srgbClr val="EDEDED"/>
          </a:solidFill>
          <a:ln>
            <a:noFill/>
          </a:ln>
        </p:spPr>
        <p:txBody>
          <a:bodyPr spcFirstLastPara="1" wrap="square" lIns="0" tIns="0" rIns="0" bIns="0" anchor="t" anchorCtr="0">
            <a:noAutofit/>
          </a:bodyPr>
          <a:lstStyle>
            <a:lvl1pPr marR="0" lvl="0" algn="l" rtl="0">
              <a:lnSpc>
                <a:spcPct val="90000"/>
              </a:lnSpc>
              <a:spcBef>
                <a:spcPts val="600"/>
              </a:spcBef>
              <a:spcAft>
                <a:spcPts val="0"/>
              </a:spcAft>
              <a:buClr>
                <a:schemeClr val="dk1"/>
              </a:buClr>
              <a:buSzPts val="1600"/>
              <a:buFont typeface="Arial"/>
              <a:buChar char="•"/>
              <a:defRPr sz="1600" b="0" i="0" u="none" strike="noStrike" cap="none">
                <a:solidFill>
                  <a:schemeClr val="dk1"/>
                </a:solidFill>
                <a:latin typeface="+mn-lt"/>
                <a:ea typeface="Arial"/>
                <a:cs typeface="Arial"/>
                <a:sym typeface="Arial"/>
              </a:defRPr>
            </a:lvl1pPr>
            <a:lvl2pPr marR="0" lvl="1" algn="l" rtl="0">
              <a:lnSpc>
                <a:spcPct val="90000"/>
              </a:lnSpc>
              <a:spcBef>
                <a:spcPts val="6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6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R="0" lvl="3"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R="0" lvl="4" algn="l" rtl="0">
              <a:lnSpc>
                <a:spcPct val="90000"/>
              </a:lnSpc>
              <a:spcBef>
                <a:spcPts val="60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R="0" lvl="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R="0" lvl="6"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R="0" lvl="7"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R="0" lvl="8"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dirty="0"/>
          </a:p>
        </p:txBody>
      </p:sp>
      <p:grpSp>
        <p:nvGrpSpPr>
          <p:cNvPr id="252" name="Google Shape;252;p54"/>
          <p:cNvGrpSpPr/>
          <p:nvPr/>
        </p:nvGrpSpPr>
        <p:grpSpPr>
          <a:xfrm>
            <a:off x="9206186" y="51749"/>
            <a:ext cx="2202899" cy="4431983"/>
            <a:chOff x="9248019" y="51749"/>
            <a:chExt cx="2202899" cy="4431983"/>
          </a:xfrm>
        </p:grpSpPr>
        <p:sp>
          <p:nvSpPr>
            <p:cNvPr id="253" name="Google Shape;253;p54"/>
            <p:cNvSpPr txBox="1"/>
            <p:nvPr/>
          </p:nvSpPr>
          <p:spPr>
            <a:xfrm>
              <a:off x="9248019" y="51749"/>
              <a:ext cx="2202899" cy="4431983"/>
            </a:xfrm>
            <a:prstGeom prst="rect">
              <a:avLst/>
            </a:prstGeom>
            <a:noFill/>
            <a:ln>
              <a:noFill/>
            </a:ln>
          </p:spPr>
          <p:txBody>
            <a:bodyPr spcFirstLastPara="1" wrap="square" lIns="0" tIns="0" rIns="0" bIns="0" anchor="ctr" anchorCtr="0">
              <a:spAutoFit/>
            </a:bodyPr>
            <a:lstStyle/>
            <a:p>
              <a:pPr marL="0" marR="0" lvl="0" indent="0" algn="l" rtl="0">
                <a:lnSpc>
                  <a:spcPct val="100000"/>
                </a:lnSpc>
                <a:spcBef>
                  <a:spcPts val="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THERE ARE TWO (2) OPTION TO CUSTOMIZE A LAYOUT WITH A </a:t>
              </a:r>
              <a:br>
                <a:rPr lang="en-US" sz="900" b="1" i="0" dirty="0">
                  <a:solidFill>
                    <a:srgbClr val="7D8183"/>
                  </a:solidFill>
                  <a:latin typeface="Arial"/>
                  <a:ea typeface="Arial"/>
                  <a:cs typeface="Arial"/>
                  <a:sym typeface="Arial"/>
                </a:rPr>
              </a:br>
              <a:r>
                <a:rPr lang="en-US" sz="900" b="1" i="0" dirty="0">
                  <a:solidFill>
                    <a:srgbClr val="7D8183"/>
                  </a:solidFill>
                  <a:latin typeface="Arial"/>
                  <a:ea typeface="Arial"/>
                  <a:cs typeface="Arial"/>
                  <a:sym typeface="Arial"/>
                </a:rPr>
                <a:t>NEW PICTURE:</a:t>
              </a:r>
              <a:endParaRPr sz="1800" dirty="0"/>
            </a:p>
            <a:p>
              <a:pPr marL="174621" marR="0" lvl="0" indent="-174621" algn="l" rtl="0">
                <a:lnSpc>
                  <a:spcPct val="100000"/>
                </a:lnSpc>
                <a:spcBef>
                  <a:spcPts val="1200"/>
                </a:spcBef>
                <a:spcAft>
                  <a:spcPts val="0"/>
                </a:spcAft>
                <a:buClr>
                  <a:srgbClr val="7D8183"/>
                </a:buClr>
                <a:buSzPts val="900"/>
                <a:buFont typeface="Arial"/>
                <a:buAutoNum type="arabicPeriod"/>
              </a:pPr>
              <a:r>
                <a:rPr lang="en-US" sz="900" b="1" i="0" dirty="0">
                  <a:solidFill>
                    <a:srgbClr val="7D8183"/>
                  </a:solidFill>
                  <a:latin typeface="Arial"/>
                  <a:ea typeface="Arial"/>
                  <a:cs typeface="Arial"/>
                  <a:sym typeface="Arial"/>
                </a:rPr>
                <a:t>Delete the current picture, if there </a:t>
              </a:r>
              <a:br>
                <a:rPr lang="en-US" sz="900" b="1" i="0" dirty="0">
                  <a:solidFill>
                    <a:srgbClr val="7D8183"/>
                  </a:solidFill>
                  <a:latin typeface="Arial"/>
                  <a:ea typeface="Arial"/>
                  <a:cs typeface="Arial"/>
                  <a:sym typeface="Arial"/>
                </a:rPr>
              </a:br>
              <a:r>
                <a:rPr lang="en-US" sz="900" b="1" i="0" dirty="0">
                  <a:solidFill>
                    <a:srgbClr val="7D8183"/>
                  </a:solidFill>
                  <a:latin typeface="Arial"/>
                  <a:ea typeface="Arial"/>
                  <a:cs typeface="Arial"/>
                  <a:sym typeface="Arial"/>
                </a:rPr>
                <a:t>is one.</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On the Insert tab, click the Pictures button OR you can click the picture icon      on the slide surface to start your search.</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Navigate to the image you want to use and select Insert. </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Under Home click the Reset button to reapply the Layout.</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Resize the picture to fit the slide, as needed, using the Crop tool. Hold the Shift key and click and drag a corner to scale equally.</a:t>
              </a:r>
              <a:endParaRPr sz="1800" dirty="0"/>
            </a:p>
            <a:p>
              <a:pPr marL="174621" marR="0" lvl="0" indent="0" algn="l" rtl="0">
                <a:lnSpc>
                  <a:spcPct val="100000"/>
                </a:lnSpc>
                <a:spcBef>
                  <a:spcPts val="600"/>
                </a:spcBef>
                <a:spcAft>
                  <a:spcPts val="0"/>
                </a:spcAft>
                <a:buClr>
                  <a:srgbClr val="7D8183"/>
                </a:buClr>
                <a:buSzPts val="900"/>
                <a:buFont typeface="Arial"/>
                <a:buNone/>
              </a:pPr>
              <a:r>
                <a:rPr lang="en-US" sz="900" b="1" i="0" dirty="0">
                  <a:solidFill>
                    <a:srgbClr val="7D8183"/>
                  </a:solidFill>
                  <a:latin typeface="Arial"/>
                  <a:ea typeface="Arial"/>
                  <a:cs typeface="Arial"/>
                  <a:sym typeface="Arial"/>
                </a:rPr>
                <a:t>On the Home tab, click the Arrange button, then Send to Back so the photo is behind the logos, text, and the transparent overlay. </a:t>
              </a:r>
              <a:endParaRPr sz="1800" dirty="0"/>
            </a:p>
            <a:p>
              <a:pPr marL="174621" marR="0" lvl="0" indent="-174621" algn="l" rtl="0">
                <a:lnSpc>
                  <a:spcPct val="100000"/>
                </a:lnSpc>
                <a:spcBef>
                  <a:spcPts val="1200"/>
                </a:spcBef>
                <a:spcAft>
                  <a:spcPts val="0"/>
                </a:spcAft>
                <a:buClr>
                  <a:srgbClr val="7D8183"/>
                </a:buClr>
                <a:buSzPts val="900"/>
                <a:buFont typeface="Arial"/>
                <a:buAutoNum type="arabicPeriod" startAt="2"/>
              </a:pPr>
              <a:r>
                <a:rPr lang="en-US" sz="900" b="1" i="0" dirty="0">
                  <a:solidFill>
                    <a:srgbClr val="7D8183"/>
                  </a:solidFill>
                  <a:latin typeface="Arial"/>
                  <a:ea typeface="Arial"/>
                  <a:cs typeface="Arial"/>
                  <a:sym typeface="Arial"/>
                </a:rPr>
                <a:t>If there is already a photo on the slide surface, you can simply right click on the photo, choose Change Picture and search for the new image. Resize image as needed (using the Crop tool </a:t>
              </a:r>
              <a:r>
                <a:rPr lang="en-US" sz="900" b="1" i="0">
                  <a:solidFill>
                    <a:srgbClr val="7D8183"/>
                  </a:solidFill>
                  <a:latin typeface="Arial"/>
                  <a:ea typeface="Arial"/>
                  <a:cs typeface="Arial"/>
                  <a:sym typeface="Arial"/>
                </a:rPr>
                <a:t>if appropriate</a:t>
              </a:r>
              <a:r>
                <a:rPr lang="en-US" sz="900" b="1" i="0" dirty="0">
                  <a:solidFill>
                    <a:srgbClr val="7D8183"/>
                  </a:solidFill>
                  <a:latin typeface="Arial"/>
                  <a:ea typeface="Arial"/>
                  <a:cs typeface="Arial"/>
                  <a:sym typeface="Arial"/>
                </a:rPr>
                <a:t>).</a:t>
              </a:r>
              <a:endParaRPr sz="1800" dirty="0"/>
            </a:p>
          </p:txBody>
        </p:sp>
        <p:pic>
          <p:nvPicPr>
            <p:cNvPr id="254" name="Google Shape;254;p54"/>
            <p:cNvPicPr preferRelativeResize="0"/>
            <p:nvPr/>
          </p:nvPicPr>
          <p:blipFill rotWithShape="1">
            <a:blip r:embed="rId2">
              <a:alphaModFix/>
            </a:blip>
            <a:srcRect/>
            <a:stretch/>
          </p:blipFill>
          <p:spPr>
            <a:xfrm>
              <a:off x="9679634" y="1280346"/>
              <a:ext cx="140548" cy="96627"/>
            </a:xfrm>
            <a:prstGeom prst="rect">
              <a:avLst/>
            </a:prstGeom>
            <a:noFill/>
            <a:ln>
              <a:noFill/>
            </a:ln>
          </p:spPr>
        </p:pic>
      </p:grpSp>
      <p:sp>
        <p:nvSpPr>
          <p:cNvPr id="256" name="Google Shape;256;p54"/>
          <p:cNvSpPr txBox="1">
            <a:spLocks noGrp="1"/>
          </p:cNvSpPr>
          <p:nvPr>
            <p:ph type="title"/>
          </p:nvPr>
        </p:nvSpPr>
        <p:spPr>
          <a:xfrm>
            <a:off x="381648" y="585796"/>
            <a:ext cx="8384400" cy="65245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3"/>
              </a:buClr>
              <a:buSzPts val="1800"/>
              <a:buNone/>
              <a:defRPr>
                <a:latin typeface="+mj-l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16" name="Google Shape;58;p36">
            <a:extLst>
              <a:ext uri="{FF2B5EF4-FFF2-40B4-BE49-F238E27FC236}">
                <a16:creationId xmlns:a16="http://schemas.microsoft.com/office/drawing/2014/main" id="{50E15069-8876-40FA-8BEB-37FFF6384C21}"/>
              </a:ext>
            </a:extLst>
          </p:cNvPr>
          <p:cNvSpPr txBox="1">
            <a:spLocks noGrp="1"/>
          </p:cNvSpPr>
          <p:nvPr>
            <p:ph type="body" idx="10"/>
          </p:nvPr>
        </p:nvSpPr>
        <p:spPr>
          <a:xfrm>
            <a:off x="381647" y="292659"/>
            <a:ext cx="8384400" cy="124650"/>
          </a:xfrm>
          <a:prstGeom prst="rect">
            <a:avLst/>
          </a:prstGeom>
          <a:noFill/>
          <a:ln>
            <a:noFill/>
          </a:ln>
        </p:spPr>
        <p:txBody>
          <a:bodyPr spcFirstLastPara="1" wrap="square" lIns="0" tIns="0" rIns="0" bIns="0" anchor="b" anchorCtr="0">
            <a:spAutoFit/>
          </a:bodyPr>
          <a:lstStyle>
            <a:lvl1pPr marL="0" lvl="0" indent="0" algn="l">
              <a:lnSpc>
                <a:spcPct val="90000"/>
              </a:lnSpc>
              <a:spcBef>
                <a:spcPts val="0"/>
              </a:spcBef>
              <a:spcAft>
                <a:spcPts val="0"/>
              </a:spcAft>
              <a:buSzPts val="900"/>
              <a:buNone/>
              <a:defRPr sz="900">
                <a:solidFill>
                  <a:schemeClr val="dk1"/>
                </a:solidFill>
                <a:latin typeface="+mn-lt"/>
                <a:ea typeface="Arial"/>
                <a:cs typeface="Arial"/>
                <a:sym typeface="Arial"/>
              </a:defRPr>
            </a:lvl1pPr>
            <a:lvl2pPr marL="914378" lvl="1" indent="-228594" algn="l">
              <a:lnSpc>
                <a:spcPct val="90000"/>
              </a:lnSpc>
              <a:spcBef>
                <a:spcPts val="600"/>
              </a:spcBef>
              <a:spcAft>
                <a:spcPts val="0"/>
              </a:spcAft>
              <a:buSzPts val="1400"/>
              <a:buNone/>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endParaRPr dirty="0"/>
          </a:p>
        </p:txBody>
      </p:sp>
      <p:sp>
        <p:nvSpPr>
          <p:cNvPr id="18" name="Google Shape;60;p36">
            <a:extLst>
              <a:ext uri="{FF2B5EF4-FFF2-40B4-BE49-F238E27FC236}">
                <a16:creationId xmlns:a16="http://schemas.microsoft.com/office/drawing/2014/main" id="{2C3A3D38-C89A-4674-AC85-8DD6BCDCB9CD}"/>
              </a:ext>
            </a:extLst>
          </p:cNvPr>
          <p:cNvSpPr txBox="1">
            <a:spLocks noGrp="1"/>
          </p:cNvSpPr>
          <p:nvPr>
            <p:ph type="body" idx="11" hasCustomPrompt="1"/>
          </p:nvPr>
        </p:nvSpPr>
        <p:spPr>
          <a:xfrm>
            <a:off x="381648" y="4745252"/>
            <a:ext cx="8385048" cy="110800"/>
          </a:xfrm>
          <a:prstGeom prst="rect">
            <a:avLst/>
          </a:prstGeom>
          <a:noFill/>
          <a:ln>
            <a:noFill/>
          </a:ln>
        </p:spPr>
        <p:txBody>
          <a:bodyPr spcFirstLastPara="1" wrap="square" lIns="0" tIns="0" rIns="0" bIns="0" anchor="b" anchorCtr="0">
            <a:noAutofit/>
          </a:bodyPr>
          <a:lstStyle>
            <a:lvl1pPr marL="0" lvl="0" indent="0" algn="l">
              <a:lnSpc>
                <a:spcPct val="90000"/>
              </a:lnSpc>
              <a:spcBef>
                <a:spcPts val="720"/>
              </a:spcBef>
              <a:spcAft>
                <a:spcPts val="0"/>
              </a:spcAft>
              <a:buSzPts val="800"/>
              <a:buFont typeface="Arial"/>
              <a:buNone/>
              <a:defRPr sz="800">
                <a:latin typeface="+mn-lt"/>
                <a:ea typeface="Arial"/>
                <a:cs typeface="Arial"/>
                <a:sym typeface="Arial"/>
              </a:defRPr>
            </a:lvl1pPr>
            <a:lvl2pPr marL="914378" lvl="1" indent="-342892" algn="l">
              <a:lnSpc>
                <a:spcPct val="90000"/>
              </a:lnSpc>
              <a:spcBef>
                <a:spcPts val="600"/>
              </a:spcBef>
              <a:spcAft>
                <a:spcPts val="0"/>
              </a:spcAft>
              <a:buSzPts val="1800"/>
              <a:buChar char="•"/>
              <a:defRPr/>
            </a:lvl2pPr>
            <a:lvl3pPr marL="1371566" lvl="2" indent="-342892" algn="l">
              <a:lnSpc>
                <a:spcPct val="90000"/>
              </a:lnSpc>
              <a:spcBef>
                <a:spcPts val="600"/>
              </a:spcBef>
              <a:spcAft>
                <a:spcPts val="0"/>
              </a:spcAft>
              <a:buSzPts val="1800"/>
              <a:buChar char="•"/>
              <a:defRPr/>
            </a:lvl3pPr>
            <a:lvl4pPr marL="1828754" lvl="3" indent="-342892" algn="l">
              <a:lnSpc>
                <a:spcPct val="90000"/>
              </a:lnSpc>
              <a:spcBef>
                <a:spcPts val="600"/>
              </a:spcBef>
              <a:spcAft>
                <a:spcPts val="0"/>
              </a:spcAft>
              <a:buSzPts val="1800"/>
              <a:buChar char="•"/>
              <a:defRPr/>
            </a:lvl4pPr>
            <a:lvl5pPr marL="2285943" lvl="4" indent="-342892" algn="l">
              <a:lnSpc>
                <a:spcPct val="90000"/>
              </a:lnSpc>
              <a:spcBef>
                <a:spcPts val="600"/>
              </a:spcBef>
              <a:spcAft>
                <a:spcPts val="0"/>
              </a:spcAft>
              <a:buSzPts val="1800"/>
              <a:buChar char="•"/>
              <a:defRPr/>
            </a:lvl5pPr>
            <a:lvl6pPr marL="2743132" lvl="5" indent="-342892" algn="l">
              <a:lnSpc>
                <a:spcPct val="90000"/>
              </a:lnSpc>
              <a:spcBef>
                <a:spcPts val="375"/>
              </a:spcBef>
              <a:spcAft>
                <a:spcPts val="0"/>
              </a:spcAft>
              <a:buClr>
                <a:schemeClr val="dk1"/>
              </a:buClr>
              <a:buSzPts val="1800"/>
              <a:buChar char="•"/>
              <a:defRPr/>
            </a:lvl6pPr>
            <a:lvl7pPr marL="3200320" lvl="6" indent="-342892" algn="l">
              <a:lnSpc>
                <a:spcPct val="90000"/>
              </a:lnSpc>
              <a:spcBef>
                <a:spcPts val="375"/>
              </a:spcBef>
              <a:spcAft>
                <a:spcPts val="0"/>
              </a:spcAft>
              <a:buClr>
                <a:schemeClr val="dk1"/>
              </a:buClr>
              <a:buSzPts val="1800"/>
              <a:buChar char="•"/>
              <a:defRPr/>
            </a:lvl7pPr>
            <a:lvl8pPr marL="3657509" lvl="7" indent="-342892" algn="l">
              <a:lnSpc>
                <a:spcPct val="90000"/>
              </a:lnSpc>
              <a:spcBef>
                <a:spcPts val="375"/>
              </a:spcBef>
              <a:spcAft>
                <a:spcPts val="0"/>
              </a:spcAft>
              <a:buClr>
                <a:schemeClr val="dk1"/>
              </a:buClr>
              <a:buSzPts val="1800"/>
              <a:buChar char="•"/>
              <a:defRPr/>
            </a:lvl8pPr>
            <a:lvl9pPr marL="4114697" lvl="8" indent="-342892" algn="l">
              <a:lnSpc>
                <a:spcPct val="90000"/>
              </a:lnSpc>
              <a:spcBef>
                <a:spcPts val="375"/>
              </a:spcBef>
              <a:spcAft>
                <a:spcPts val="0"/>
              </a:spcAft>
              <a:buClr>
                <a:schemeClr val="dk1"/>
              </a:buClr>
              <a:buSzPts val="1800"/>
              <a:buChar char="•"/>
              <a:defRPr/>
            </a:lvl9pPr>
          </a:lstStyle>
          <a:p>
            <a:r>
              <a:rPr lang="en-US" dirty="0"/>
              <a:t>Footnote placeholder</a:t>
            </a:r>
          </a:p>
        </p:txBody>
      </p:sp>
    </p:spTree>
    <p:extLst>
      <p:ext uri="{BB962C8B-B14F-4D97-AF65-F5344CB8AC3E}">
        <p14:creationId xmlns:p14="http://schemas.microsoft.com/office/powerpoint/2010/main" val="2524366055"/>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3.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12"/>
        <p:cNvGrpSpPr/>
        <p:nvPr/>
      </p:nvGrpSpPr>
      <p:grpSpPr>
        <a:xfrm>
          <a:off x="0" y="0"/>
          <a:ext cx="0" cy="0"/>
          <a:chOff x="0" y="0"/>
          <a:chExt cx="0" cy="0"/>
        </a:xfrm>
      </p:grpSpPr>
      <p:sp>
        <p:nvSpPr>
          <p:cNvPr id="15" name="Google Shape;15;p33"/>
          <p:cNvSpPr txBox="1"/>
          <p:nvPr/>
        </p:nvSpPr>
        <p:spPr>
          <a:xfrm>
            <a:off x="8770346" y="4980081"/>
            <a:ext cx="373655" cy="163420"/>
          </a:xfrm>
          <a:prstGeom prst="rect">
            <a:avLst/>
          </a:prstGeom>
          <a:noFill/>
          <a:ln>
            <a:noFill/>
          </a:ln>
        </p:spPr>
        <p:txBody>
          <a:bodyPr spcFirstLastPara="1" wrap="square" lIns="91425" tIns="45700" rIns="91425" bIns="45720" anchor="ctr" anchorCtr="0">
            <a:noAutofit/>
          </a:bodyPr>
          <a:lstStyle/>
          <a:p>
            <a:pPr marL="0" marR="0" lvl="0" indent="0" algn="r" rtl="0">
              <a:lnSpc>
                <a:spcPct val="100000"/>
              </a:lnSpc>
              <a:spcBef>
                <a:spcPts val="0"/>
              </a:spcBef>
              <a:spcAft>
                <a:spcPts val="0"/>
              </a:spcAft>
              <a:buClr>
                <a:schemeClr val="accent6"/>
              </a:buClr>
              <a:buSzPts val="300"/>
              <a:buFont typeface="Georgia"/>
              <a:buNone/>
            </a:pPr>
            <a:fld id="{00000000-1234-1234-1234-123412341234}" type="slidenum">
              <a:rPr lang="en-US" sz="700" b="0" i="0" u="none" strike="noStrike" cap="none">
                <a:solidFill>
                  <a:schemeClr val="dk1"/>
                </a:solidFill>
                <a:latin typeface="Gene Sans" panose="00000500000000000000" pitchFamily="50" charset="0"/>
                <a:ea typeface="Arial"/>
                <a:cs typeface="Arial"/>
                <a:sym typeface="Arial"/>
              </a:rPr>
              <a:pPr marL="0" marR="0" lvl="0" indent="0" algn="r" rtl="0">
                <a:lnSpc>
                  <a:spcPct val="100000"/>
                </a:lnSpc>
                <a:spcBef>
                  <a:spcPts val="0"/>
                </a:spcBef>
                <a:spcAft>
                  <a:spcPts val="0"/>
                </a:spcAft>
                <a:buClr>
                  <a:schemeClr val="accent6"/>
                </a:buClr>
                <a:buSzPts val="300"/>
                <a:buFont typeface="Georgia"/>
                <a:buNone/>
              </a:pPr>
              <a:t>‹#›</a:t>
            </a:fld>
            <a:endParaRPr sz="700" b="0" i="0" u="none" strike="noStrike" cap="none" dirty="0">
              <a:solidFill>
                <a:schemeClr val="dk1"/>
              </a:solidFill>
              <a:latin typeface="Gene Sans" panose="00000500000000000000" pitchFamily="50" charset="0"/>
              <a:ea typeface="Arial"/>
              <a:cs typeface="Arial"/>
              <a:sym typeface="Arial"/>
            </a:endParaRPr>
          </a:p>
        </p:txBody>
      </p:sp>
      <p:cxnSp>
        <p:nvCxnSpPr>
          <p:cNvPr id="17" name="Google Shape;17;p33"/>
          <p:cNvCxnSpPr/>
          <p:nvPr/>
        </p:nvCxnSpPr>
        <p:spPr>
          <a:xfrm>
            <a:off x="381000" y="443054"/>
            <a:ext cx="8385048" cy="0"/>
          </a:xfrm>
          <a:prstGeom prst="straightConnector1">
            <a:avLst/>
          </a:prstGeom>
          <a:noFill/>
          <a:ln w="12700" cap="flat" cmpd="sng">
            <a:solidFill>
              <a:srgbClr val="8DC8E8"/>
            </a:solidFill>
            <a:prstDash val="solid"/>
            <a:miter lim="800000"/>
            <a:headEnd type="none" w="sm" len="sm"/>
            <a:tailEnd type="none" w="sm" len="sm"/>
          </a:ln>
        </p:spPr>
      </p:cxnSp>
      <p:sp>
        <p:nvSpPr>
          <p:cNvPr id="18" name="Google Shape;18;p33"/>
          <p:cNvSpPr/>
          <p:nvPr/>
        </p:nvSpPr>
        <p:spPr>
          <a:xfrm>
            <a:off x="3788801" y="4913075"/>
            <a:ext cx="1461939" cy="9233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600" dirty="0">
                <a:solidFill>
                  <a:schemeClr val="dk1"/>
                </a:solidFill>
                <a:latin typeface="+mn-lt"/>
                <a:ea typeface="Arial"/>
                <a:cs typeface="Arial"/>
                <a:sym typeface="Arial"/>
              </a:rPr>
              <a:t>© 2021 Genentech, Inc. All rights reserved</a:t>
            </a:r>
            <a:endParaRPr sz="1800" dirty="0">
              <a:latin typeface="+mn-lt"/>
            </a:endParaRPr>
          </a:p>
        </p:txBody>
      </p:sp>
      <p:sp>
        <p:nvSpPr>
          <p:cNvPr id="10" name="Text Placeholder 2">
            <a:extLst>
              <a:ext uri="{FF2B5EF4-FFF2-40B4-BE49-F238E27FC236}">
                <a16:creationId xmlns:a16="http://schemas.microsoft.com/office/drawing/2014/main" id="{05C0C01D-4141-43AF-B9E1-F197ADF2BFB6}"/>
              </a:ext>
            </a:extLst>
          </p:cNvPr>
          <p:cNvSpPr>
            <a:spLocks noGrp="1"/>
          </p:cNvSpPr>
          <p:nvPr>
            <p:ph type="body" idx="1"/>
          </p:nvPr>
        </p:nvSpPr>
        <p:spPr>
          <a:xfrm>
            <a:off x="381648" y="1283550"/>
            <a:ext cx="8384400" cy="3231301"/>
          </a:xfrm>
          <a:prstGeom prst="rect">
            <a:avLst/>
          </a:prstGeom>
        </p:spPr>
        <p:txBody>
          <a:bodyPr vert="horz" lIns="0" tIns="0" rIns="0" bIns="0" numCol="1" rtlCol="0">
            <a:noAutofit/>
          </a:bodyPr>
          <a:lstStyle/>
          <a:p>
            <a:pPr marL="174621" lvl="0" indent="-174621" defTabSz="685783" eaLnBrk="1" latinLnBrk="0" hangingPunct="1">
              <a:lnSpc>
                <a:spcPct val="90000"/>
              </a:lnSpc>
              <a:spcBef>
                <a:spcPts val="600"/>
              </a:spcBef>
            </a:pPr>
            <a:r>
              <a:rPr lang="en-US" dirty="0"/>
              <a:t>Click to edit Master text styles</a:t>
            </a:r>
          </a:p>
          <a:p>
            <a:pPr marL="344480" lvl="1" indent="-169859" defTabSz="685783" eaLnBrk="1" latinLnBrk="0" hangingPunct="1">
              <a:lnSpc>
                <a:spcPct val="90000"/>
              </a:lnSpc>
              <a:spcBef>
                <a:spcPts val="600"/>
              </a:spcBef>
              <a:buChar char="•"/>
            </a:pPr>
            <a:r>
              <a:rPr lang="en-US" dirty="0"/>
              <a:t>Second level</a:t>
            </a:r>
          </a:p>
          <a:p>
            <a:pPr marL="460364" lvl="2" indent="-115885" defTabSz="685783" eaLnBrk="1" latinLnBrk="0" hangingPunct="1">
              <a:lnSpc>
                <a:spcPct val="90000"/>
              </a:lnSpc>
              <a:spcBef>
                <a:spcPts val="600"/>
              </a:spcBef>
            </a:pPr>
            <a:r>
              <a:rPr lang="en-US" dirty="0"/>
              <a:t>Third level</a:t>
            </a:r>
          </a:p>
          <a:p>
            <a:pPr marL="571486" lvl="3" indent="-111122" defTabSz="685783" eaLnBrk="1" latinLnBrk="0" hangingPunct="1">
              <a:lnSpc>
                <a:spcPct val="90000"/>
              </a:lnSpc>
              <a:spcBef>
                <a:spcPts val="600"/>
              </a:spcBef>
            </a:pPr>
            <a:r>
              <a:rPr lang="en-US" dirty="0"/>
              <a:t>Fourth level</a:t>
            </a:r>
          </a:p>
          <a:p>
            <a:pPr marL="684196" lvl="4" indent="-112710" defTabSz="685783" eaLnBrk="1" latinLnBrk="0" hangingPunct="1">
              <a:lnSpc>
                <a:spcPct val="90000"/>
              </a:lnSpc>
              <a:spcBef>
                <a:spcPts val="600"/>
              </a:spcBef>
            </a:pPr>
            <a:r>
              <a:rPr lang="en-US" dirty="0"/>
              <a:t>Fifth level</a:t>
            </a:r>
          </a:p>
        </p:txBody>
      </p:sp>
      <p:sp>
        <p:nvSpPr>
          <p:cNvPr id="11" name="Title Placeholder 1">
            <a:extLst>
              <a:ext uri="{FF2B5EF4-FFF2-40B4-BE49-F238E27FC236}">
                <a16:creationId xmlns:a16="http://schemas.microsoft.com/office/drawing/2014/main" id="{045F1438-F281-4414-B620-04D8B2182474}"/>
              </a:ext>
            </a:extLst>
          </p:cNvPr>
          <p:cNvSpPr>
            <a:spLocks noGrp="1"/>
          </p:cNvSpPr>
          <p:nvPr>
            <p:ph type="title"/>
          </p:nvPr>
        </p:nvSpPr>
        <p:spPr>
          <a:xfrm>
            <a:off x="381648" y="585796"/>
            <a:ext cx="8384400" cy="652455"/>
          </a:xfrm>
          <a:prstGeom prst="rect">
            <a:avLst/>
          </a:prstGeom>
        </p:spPr>
        <p:txBody>
          <a:bodyPr vert="horz" lIns="0" tIns="0" rIns="0" bIns="0" numCol="1" rtlCol="0" anchor="t" anchorCtr="0">
            <a:noAutofit/>
          </a:bodyPr>
          <a:lstStyle/>
          <a:p>
            <a:pPr lvl="0" algn="l" defTabSz="685783" eaLnBrk="1" latinLnBrk="0" hangingPunct="1">
              <a:lnSpc>
                <a:spcPct val="90000"/>
              </a:lnSpc>
              <a:spcBef>
                <a:spcPct val="0"/>
              </a:spcBef>
              <a:buNone/>
            </a:pPr>
            <a:r>
              <a:rPr lang="en-US" dirty="0"/>
              <a:t>Click to edit Master title style</a:t>
            </a:r>
          </a:p>
        </p:txBody>
      </p:sp>
    </p:spTree>
    <p:extLst>
      <p:ext uri="{BB962C8B-B14F-4D97-AF65-F5344CB8AC3E}">
        <p14:creationId xmlns:p14="http://schemas.microsoft.com/office/powerpoint/2010/main" val="3564838674"/>
      </p:ext>
    </p:extLst>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ransition spd="med">
    <p:fade/>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lang="en-US" sz="2100" b="1" i="0" u="none" strike="noStrike" kern="1200" cap="all" baseline="0" dirty="0">
          <a:solidFill>
            <a:srgbClr val="003087"/>
          </a:solidFill>
          <a:latin typeface="Gene Sans" panose="00000500000000000000" pitchFamily="50" charset="0"/>
          <a:ea typeface="+mj-ea"/>
          <a:cs typeface="+mj-cs"/>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173732" marR="0" lvl="0" indent="-173732" algn="l" rtl="0">
        <a:lnSpc>
          <a:spcPct val="100000"/>
        </a:lnSpc>
        <a:spcBef>
          <a:spcPts val="0"/>
        </a:spcBef>
        <a:spcAft>
          <a:spcPts val="0"/>
        </a:spcAft>
        <a:buClr>
          <a:schemeClr val="tx1"/>
        </a:buClr>
        <a:buFont typeface="Arial" panose="020B0604020202020204" pitchFamily="34" charset="0"/>
        <a:buChar char="•"/>
        <a:defRPr lang="en-US" sz="1600" b="0" i="0" u="none" strike="noStrike" kern="1200" cap="none" dirty="0">
          <a:solidFill>
            <a:schemeClr val="tx1"/>
          </a:solidFill>
          <a:latin typeface="+mn-lt"/>
          <a:ea typeface="+mn-ea"/>
          <a:cs typeface="+mn-cs"/>
          <a:sym typeface="Arial"/>
        </a:defRPr>
      </a:lvl1pPr>
      <a:lvl2pPr marL="460364" marR="0" lvl="1" indent="-285743" algn="l" rtl="0">
        <a:lnSpc>
          <a:spcPct val="100000"/>
        </a:lnSpc>
        <a:spcBef>
          <a:spcPts val="0"/>
        </a:spcBef>
        <a:spcAft>
          <a:spcPts val="0"/>
        </a:spcAft>
        <a:buClr>
          <a:schemeClr val="tx1"/>
        </a:buClr>
        <a:buFont typeface="Gene Sans Light" panose="00000400000000000000" pitchFamily="50" charset="0"/>
        <a:buChar char="–"/>
        <a:defRPr lang="en-US" sz="1400" b="0" i="0" u="none" strike="noStrike" kern="1200" cap="none" dirty="0">
          <a:solidFill>
            <a:schemeClr val="tx1"/>
          </a:solidFill>
          <a:latin typeface="+mn-lt"/>
          <a:ea typeface="+mn-ea"/>
          <a:cs typeface="+mn-cs"/>
          <a:sym typeface="Arial"/>
        </a:defRPr>
      </a:lvl2pPr>
      <a:lvl3pPr marL="515924" marR="0" lvl="2" indent="-171446" algn="l" rtl="0">
        <a:lnSpc>
          <a:spcPct val="100000"/>
        </a:lnSpc>
        <a:spcBef>
          <a:spcPts val="0"/>
        </a:spcBef>
        <a:spcAft>
          <a:spcPts val="0"/>
        </a:spcAft>
        <a:buClr>
          <a:schemeClr val="tx1"/>
        </a:buClr>
        <a:buFont typeface="Wingdings" panose="05000000000000000000" pitchFamily="2" charset="2"/>
        <a:buChar char="§"/>
        <a:defRPr lang="en-US" sz="1100" b="0" i="0" u="none" strike="noStrike" kern="1200" cap="none" dirty="0">
          <a:solidFill>
            <a:schemeClr val="tx1"/>
          </a:solidFill>
          <a:latin typeface="+mn-lt"/>
          <a:ea typeface="+mn-ea"/>
          <a:cs typeface="+mn-cs"/>
          <a:sym typeface="Arial"/>
        </a:defRPr>
      </a:lvl3pPr>
      <a:lvl4pPr marL="694927" marR="0" lvl="3" indent="-173732" algn="l" rtl="0">
        <a:lnSpc>
          <a:spcPct val="100000"/>
        </a:lnSpc>
        <a:spcBef>
          <a:spcPts val="0"/>
        </a:spcBef>
        <a:spcAft>
          <a:spcPts val="0"/>
        </a:spcAft>
        <a:buClr>
          <a:schemeClr val="tx1"/>
        </a:buClr>
        <a:buFont typeface="Arial" panose="020B0604020202020204" pitchFamily="34" charset="0"/>
        <a:buChar char="•"/>
        <a:defRPr lang="en-US" sz="1050" b="0" i="0" u="none" strike="noStrike" kern="1200" cap="none" dirty="0">
          <a:solidFill>
            <a:schemeClr val="tx1"/>
          </a:solidFill>
          <a:latin typeface="+mn-lt"/>
          <a:ea typeface="+mn-ea"/>
          <a:cs typeface="+mn-cs"/>
          <a:sym typeface="Arial"/>
        </a:defRPr>
      </a:lvl4pPr>
      <a:lvl5pPr marL="868658" marR="0" lvl="4" indent="-173732" algn="l" rtl="0">
        <a:lnSpc>
          <a:spcPct val="100000"/>
        </a:lnSpc>
        <a:spcBef>
          <a:spcPts val="0"/>
        </a:spcBef>
        <a:spcAft>
          <a:spcPts val="0"/>
        </a:spcAft>
        <a:buClr>
          <a:schemeClr val="tx1"/>
        </a:buClr>
        <a:buFont typeface="Arial" panose="020B0604020202020204" pitchFamily="34" charset="0"/>
        <a:buChar char="•"/>
        <a:defRPr lang="en-US" sz="1050" b="0" i="0" u="none" strike="noStrike" kern="1200" cap="none" dirty="0">
          <a:solidFill>
            <a:schemeClr val="tx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160" userDrawn="1">
          <p15:clr>
            <a:srgbClr val="F26B43"/>
          </p15:clr>
        </p15:guide>
        <p15:guide id="2" pos="180" userDrawn="1">
          <p15:clr>
            <a:srgbClr val="F26B43"/>
          </p15:clr>
        </p15:guide>
        <p15:guide id="3" pos="4140" userDrawn="1">
          <p15:clr>
            <a:srgbClr val="F26B43"/>
          </p15:clr>
        </p15:guide>
        <p15:guide id="4" orient="horz" pos="1215" userDrawn="1">
          <p15:clr>
            <a:srgbClr val="F26B43"/>
          </p15:clr>
        </p15:guide>
        <p15:guide id="5" orient="horz" pos="639" userDrawn="1">
          <p15:clr>
            <a:srgbClr val="F26B43"/>
          </p15:clr>
        </p15:guide>
        <p15:guide id="6" orient="horz" pos="2187" userDrawn="1">
          <p15:clr>
            <a:srgbClr val="F26B43"/>
          </p15:clr>
        </p15:guide>
        <p15:guide id="7" orient="horz" pos="585" userDrawn="1">
          <p15:clr>
            <a:srgbClr val="F26B43"/>
          </p15:clr>
        </p15:guide>
        <p15:guide id="8" orient="horz" pos="2133" userDrawn="1">
          <p15:clr>
            <a:srgbClr val="F26B43"/>
          </p15:clr>
        </p15:guide>
        <p15:guide id="9" pos="1494" userDrawn="1">
          <p15:clr>
            <a:srgbClr val="F26B43"/>
          </p15:clr>
        </p15:guide>
        <p15:guide id="10" pos="282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
        <p:cNvGrpSpPr/>
        <p:nvPr/>
      </p:nvGrpSpPr>
      <p:grpSpPr>
        <a:xfrm>
          <a:off x="0" y="0"/>
          <a:ext cx="0" cy="0"/>
          <a:chOff x="0" y="0"/>
          <a:chExt cx="0" cy="0"/>
        </a:xfrm>
      </p:grpSpPr>
      <p:sp>
        <p:nvSpPr>
          <p:cNvPr id="13" name="Google Shape;13;p33"/>
          <p:cNvSpPr txBox="1"/>
          <p:nvPr/>
        </p:nvSpPr>
        <p:spPr>
          <a:xfrm>
            <a:off x="8770345" y="4980080"/>
            <a:ext cx="373655" cy="163420"/>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chemeClr val="accent6"/>
              </a:buClr>
              <a:buSzPts val="300"/>
              <a:buFont typeface="Georgia"/>
              <a:buNone/>
            </a:pPr>
            <a:fld id="{00000000-1234-1234-1234-123412341234}" type="slidenum">
              <a:rPr lang="en-US" sz="700" b="0" i="0" u="none" strike="noStrike" cap="none">
                <a:solidFill>
                  <a:schemeClr val="dk1"/>
                </a:solidFill>
                <a:latin typeface="Gene Sans" panose="00000500000000000000" pitchFamily="50" charset="0"/>
                <a:ea typeface="Arial"/>
                <a:cs typeface="Arial"/>
                <a:sym typeface="Arial"/>
              </a:rPr>
              <a:t>‹#›</a:t>
            </a:fld>
            <a:endParaRPr sz="700" b="0" i="0" u="none" strike="noStrike" cap="none" dirty="0">
              <a:solidFill>
                <a:schemeClr val="dk1"/>
              </a:solidFill>
              <a:latin typeface="Gene Sans" panose="00000500000000000000" pitchFamily="50" charset="0"/>
              <a:ea typeface="Arial"/>
              <a:cs typeface="Arial"/>
              <a:sym typeface="Arial"/>
            </a:endParaRPr>
          </a:p>
        </p:txBody>
      </p:sp>
      <p:cxnSp>
        <p:nvCxnSpPr>
          <p:cNvPr id="14" name="Google Shape;14;p33"/>
          <p:cNvCxnSpPr/>
          <p:nvPr/>
        </p:nvCxnSpPr>
        <p:spPr>
          <a:xfrm>
            <a:off x="381000" y="443054"/>
            <a:ext cx="8385048" cy="0"/>
          </a:xfrm>
          <a:prstGeom prst="straightConnector1">
            <a:avLst/>
          </a:prstGeom>
          <a:noFill/>
          <a:ln w="12700" cap="flat" cmpd="sng">
            <a:solidFill>
              <a:srgbClr val="8DC8E8"/>
            </a:solidFill>
            <a:prstDash val="solid"/>
            <a:miter lim="800000"/>
            <a:headEnd type="none" w="sm" len="sm"/>
            <a:tailEnd type="none" w="sm" len="sm"/>
          </a:ln>
        </p:spPr>
      </p:cxnSp>
      <p:sp>
        <p:nvSpPr>
          <p:cNvPr id="15" name="Google Shape;15;p33"/>
          <p:cNvSpPr/>
          <p:nvPr/>
        </p:nvSpPr>
        <p:spPr>
          <a:xfrm>
            <a:off x="3788800" y="4913074"/>
            <a:ext cx="1461939" cy="9233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600"/>
              <a:buFont typeface="Arial"/>
              <a:buNone/>
            </a:pPr>
            <a:r>
              <a:rPr lang="en-US" sz="600" b="0" i="0" u="none" strike="noStrike" cap="none" dirty="0">
                <a:solidFill>
                  <a:schemeClr val="dk1"/>
                </a:solidFill>
                <a:latin typeface="Gene Sans" panose="00000500000000000000" pitchFamily="50" charset="0"/>
                <a:ea typeface="Arial"/>
                <a:cs typeface="Arial"/>
                <a:sym typeface="Arial"/>
              </a:rPr>
              <a:t>© 2021 Genentech, Inc. All rights reserved</a:t>
            </a:r>
            <a:endParaRPr sz="1400" b="0" i="0" u="none" strike="noStrike" cap="none" dirty="0">
              <a:solidFill>
                <a:srgbClr val="000000"/>
              </a:solidFill>
              <a:latin typeface="Gene Sans" panose="00000500000000000000" pitchFamily="50" charset="0"/>
              <a:ea typeface="Arial"/>
              <a:cs typeface="Arial"/>
              <a:sym typeface="Arial"/>
            </a:endParaRPr>
          </a:p>
        </p:txBody>
      </p:sp>
      <p:sp>
        <p:nvSpPr>
          <p:cNvPr id="16" name="Google Shape;16;p33"/>
          <p:cNvSpPr txBox="1">
            <a:spLocks noGrp="1"/>
          </p:cNvSpPr>
          <p:nvPr>
            <p:ph type="body" idx="1"/>
          </p:nvPr>
        </p:nvSpPr>
        <p:spPr>
          <a:xfrm>
            <a:off x="381648" y="1283549"/>
            <a:ext cx="8384400" cy="3231301"/>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100000"/>
              </a:lnSpc>
              <a:spcBef>
                <a:spcPts val="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298450" algn="l" rtl="0">
              <a:lnSpc>
                <a:spcPct val="100000"/>
              </a:lnSpc>
              <a:spcBef>
                <a:spcPts val="0"/>
              </a:spcBef>
              <a:spcAft>
                <a:spcPts val="0"/>
              </a:spcAft>
              <a:buClr>
                <a:schemeClr val="dk1"/>
              </a:buClr>
              <a:buSzPts val="1100"/>
              <a:buFont typeface="Noto Sans Symbols"/>
              <a:buChar char="▪"/>
              <a:defRPr sz="1100" b="0" i="0" u="none" strike="noStrike" cap="none">
                <a:solidFill>
                  <a:schemeClr val="dk1"/>
                </a:solidFill>
                <a:latin typeface="Arial"/>
                <a:ea typeface="Arial"/>
                <a:cs typeface="Arial"/>
                <a:sym typeface="Arial"/>
              </a:defRPr>
            </a:lvl3pPr>
            <a:lvl4pPr marL="1828800" marR="0" lvl="3" indent="-295275" algn="l" rtl="0">
              <a:lnSpc>
                <a:spcPct val="100000"/>
              </a:lnSpc>
              <a:spcBef>
                <a:spcPts val="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L="2286000" marR="0" lvl="4" indent="-295275" algn="l" rtl="0">
              <a:lnSpc>
                <a:spcPct val="100000"/>
              </a:lnSpc>
              <a:spcBef>
                <a:spcPts val="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dirty="0"/>
          </a:p>
        </p:txBody>
      </p:sp>
      <p:sp>
        <p:nvSpPr>
          <p:cNvPr id="17" name="Google Shape;17;p33"/>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SzPts val="1400"/>
              <a:buNone/>
              <a:defRPr sz="2100" b="1" i="0" u="none" strike="noStrike" cap="none">
                <a:solidFill>
                  <a:srgbClr val="003087"/>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dirty="0"/>
          </a:p>
        </p:txBody>
      </p:sp>
    </p:spTree>
    <p:extLst>
      <p:ext uri="{BB962C8B-B14F-4D97-AF65-F5344CB8AC3E}">
        <p14:creationId xmlns:p14="http://schemas.microsoft.com/office/powerpoint/2010/main" val="67179975"/>
      </p:ext>
    </p:extLst>
  </p:cSld>
  <p:clrMap bg1="lt1" tx1="dk1" bg2="dk2" tx2="lt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Lst>
  <p:transition spd="med">
    <p:fade/>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Gene Sans" panose="00000500000000000000" pitchFamily="50" charset="0"/>
          <a:ea typeface="Gene Sans" panose="00000500000000000000" pitchFamily="50" charset="0"/>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Gene Sans" panose="00000500000000000000" pitchFamily="50" charset="0"/>
          <a:ea typeface="Gene Sans" panose="00000500000000000000" pitchFamily="50" charset="0"/>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880">
          <p15:clr>
            <a:srgbClr val="F26B43"/>
          </p15:clr>
        </p15:guide>
        <p15:guide id="2" pos="240">
          <p15:clr>
            <a:srgbClr val="F26B43"/>
          </p15:clr>
        </p15:guide>
        <p15:guide id="3" pos="5520">
          <p15:clr>
            <a:srgbClr val="F26B43"/>
          </p15:clr>
        </p15:guide>
        <p15:guide id="4" orient="horz" pos="1620">
          <p15:clr>
            <a:srgbClr val="F26B43"/>
          </p15:clr>
        </p15:guide>
        <p15:guide id="5" orient="horz" pos="852">
          <p15:clr>
            <a:srgbClr val="F26B43"/>
          </p15:clr>
        </p15:guide>
        <p15:guide id="6" orient="horz" pos="2916">
          <p15:clr>
            <a:srgbClr val="F26B43"/>
          </p15:clr>
        </p15:guide>
        <p15:guide id="7" orient="horz" pos="780">
          <p15:clr>
            <a:srgbClr val="F26B43"/>
          </p15:clr>
        </p15:guide>
        <p15:guide id="8" orient="horz" pos="2844">
          <p15:clr>
            <a:srgbClr val="F26B43"/>
          </p15:clr>
        </p15:guide>
        <p15:guide id="9" pos="1992">
          <p15:clr>
            <a:srgbClr val="F26B43"/>
          </p15:clr>
        </p15:guide>
        <p15:guide id="10" pos="376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
        <p:cNvGrpSpPr/>
        <p:nvPr/>
      </p:nvGrpSpPr>
      <p:grpSpPr>
        <a:xfrm>
          <a:off x="0" y="0"/>
          <a:ext cx="0" cy="0"/>
          <a:chOff x="0" y="0"/>
          <a:chExt cx="0" cy="0"/>
        </a:xfrm>
      </p:grpSpPr>
      <p:sp>
        <p:nvSpPr>
          <p:cNvPr id="13" name="Google Shape;13;p33"/>
          <p:cNvSpPr txBox="1"/>
          <p:nvPr/>
        </p:nvSpPr>
        <p:spPr>
          <a:xfrm>
            <a:off x="8770345" y="4980080"/>
            <a:ext cx="373655" cy="163420"/>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chemeClr val="accent6"/>
              </a:buClr>
              <a:buSzPts val="300"/>
              <a:buFont typeface="Georgia"/>
              <a:buNone/>
            </a:pPr>
            <a:fld id="{00000000-1234-1234-1234-123412341234}" type="slidenum">
              <a:rPr lang="en-US" sz="700" b="0" i="0" u="none" strike="noStrike" cap="none">
                <a:solidFill>
                  <a:schemeClr val="dk1"/>
                </a:solidFill>
                <a:latin typeface="Arial"/>
                <a:ea typeface="Arial"/>
                <a:cs typeface="Arial"/>
                <a:sym typeface="Arial"/>
              </a:rPr>
              <a:t>‹#›</a:t>
            </a:fld>
            <a:endParaRPr sz="700" b="0" i="0" u="none" strike="noStrike" cap="none">
              <a:solidFill>
                <a:schemeClr val="dk1"/>
              </a:solidFill>
              <a:latin typeface="Arial"/>
              <a:ea typeface="Arial"/>
              <a:cs typeface="Arial"/>
              <a:sym typeface="Arial"/>
            </a:endParaRPr>
          </a:p>
        </p:txBody>
      </p:sp>
      <p:cxnSp>
        <p:nvCxnSpPr>
          <p:cNvPr id="14" name="Google Shape;14;p33"/>
          <p:cNvCxnSpPr/>
          <p:nvPr/>
        </p:nvCxnSpPr>
        <p:spPr>
          <a:xfrm>
            <a:off x="381000" y="443054"/>
            <a:ext cx="8385048" cy="0"/>
          </a:xfrm>
          <a:prstGeom prst="straightConnector1">
            <a:avLst/>
          </a:prstGeom>
          <a:noFill/>
          <a:ln w="12700" cap="flat" cmpd="sng">
            <a:solidFill>
              <a:srgbClr val="8DC8E8"/>
            </a:solidFill>
            <a:prstDash val="solid"/>
            <a:miter lim="800000"/>
            <a:headEnd type="none" w="sm" len="sm"/>
            <a:tailEnd type="none" w="sm" len="sm"/>
          </a:ln>
        </p:spPr>
      </p:cxnSp>
      <p:sp>
        <p:nvSpPr>
          <p:cNvPr id="15" name="Google Shape;15;p33"/>
          <p:cNvSpPr/>
          <p:nvPr/>
        </p:nvSpPr>
        <p:spPr>
          <a:xfrm>
            <a:off x="3788800" y="4913074"/>
            <a:ext cx="1461939" cy="92333"/>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600"/>
              <a:buFont typeface="Arial"/>
              <a:buNone/>
            </a:pPr>
            <a:r>
              <a:rPr lang="en-US" sz="600" b="0" i="0" u="none" strike="noStrike" cap="none" dirty="0">
                <a:solidFill>
                  <a:schemeClr val="dk1"/>
                </a:solidFill>
                <a:latin typeface="Arial"/>
                <a:ea typeface="Arial"/>
                <a:cs typeface="Arial"/>
                <a:sym typeface="Arial"/>
              </a:rPr>
              <a:t>© 2021 Genentech, Inc. All rights reserved</a:t>
            </a:r>
            <a:endParaRPr sz="1400" b="0" i="0" u="none" strike="noStrike" cap="none" dirty="0">
              <a:solidFill>
                <a:srgbClr val="000000"/>
              </a:solidFill>
              <a:latin typeface="Arial"/>
              <a:ea typeface="Arial"/>
              <a:cs typeface="Arial"/>
              <a:sym typeface="Arial"/>
            </a:endParaRPr>
          </a:p>
        </p:txBody>
      </p:sp>
      <p:sp>
        <p:nvSpPr>
          <p:cNvPr id="16" name="Google Shape;16;p33"/>
          <p:cNvSpPr txBox="1">
            <a:spLocks noGrp="1"/>
          </p:cNvSpPr>
          <p:nvPr>
            <p:ph type="body" idx="1"/>
          </p:nvPr>
        </p:nvSpPr>
        <p:spPr>
          <a:xfrm>
            <a:off x="381648" y="1283549"/>
            <a:ext cx="8384400" cy="3231301"/>
          </a:xfrm>
          <a:prstGeom prst="rect">
            <a:avLst/>
          </a:prstGeom>
          <a:noFill/>
          <a:ln>
            <a:noFill/>
          </a:ln>
        </p:spPr>
        <p:txBody>
          <a:bodyPr spcFirstLastPara="1" wrap="square" lIns="0" tIns="0" rIns="0" bIns="0" anchor="t" anchorCtr="0">
            <a:noAutofit/>
          </a:bodyPr>
          <a:lstStyle>
            <a:lvl1pPr marL="457200" marR="0" lvl="0" indent="-330200" algn="l" rtl="0">
              <a:lnSpc>
                <a:spcPct val="100000"/>
              </a:lnSpc>
              <a:spcBef>
                <a:spcPts val="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100000"/>
              </a:lnSpc>
              <a:spcBef>
                <a:spcPts val="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298450" algn="l" rtl="0">
              <a:lnSpc>
                <a:spcPct val="100000"/>
              </a:lnSpc>
              <a:spcBef>
                <a:spcPts val="0"/>
              </a:spcBef>
              <a:spcAft>
                <a:spcPts val="0"/>
              </a:spcAft>
              <a:buClr>
                <a:schemeClr val="dk1"/>
              </a:buClr>
              <a:buSzPts val="1100"/>
              <a:buFont typeface="Noto Sans Symbols"/>
              <a:buChar char="▪"/>
              <a:defRPr sz="1100" b="0" i="0" u="none" strike="noStrike" cap="none">
                <a:solidFill>
                  <a:schemeClr val="dk1"/>
                </a:solidFill>
                <a:latin typeface="Arial"/>
                <a:ea typeface="Arial"/>
                <a:cs typeface="Arial"/>
                <a:sym typeface="Arial"/>
              </a:defRPr>
            </a:lvl3pPr>
            <a:lvl4pPr marL="1828800" marR="0" lvl="3" indent="-295275" algn="l" rtl="0">
              <a:lnSpc>
                <a:spcPct val="100000"/>
              </a:lnSpc>
              <a:spcBef>
                <a:spcPts val="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4pPr>
            <a:lvl5pPr marL="2286000" marR="0" lvl="4" indent="-295275" algn="l" rtl="0">
              <a:lnSpc>
                <a:spcPct val="100000"/>
              </a:lnSpc>
              <a:spcBef>
                <a:spcPts val="0"/>
              </a:spcBef>
              <a:spcAft>
                <a:spcPts val="0"/>
              </a:spcAft>
              <a:buClr>
                <a:schemeClr val="dk1"/>
              </a:buClr>
              <a:buSzPts val="1050"/>
              <a:buFont typeface="Arial"/>
              <a:buChar char="•"/>
              <a:defRPr sz="105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7" name="Google Shape;17;p33"/>
          <p:cNvSpPr txBox="1">
            <a:spLocks noGrp="1"/>
          </p:cNvSpPr>
          <p:nvPr>
            <p:ph type="title"/>
          </p:nvPr>
        </p:nvSpPr>
        <p:spPr>
          <a:xfrm>
            <a:off x="381648" y="585795"/>
            <a:ext cx="8384400" cy="652455"/>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SzPts val="1400"/>
              <a:buNone/>
              <a:defRPr sz="2100" b="1" i="0" u="none" strike="noStrike" cap="none">
                <a:solidFill>
                  <a:srgbClr val="003087"/>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185405229"/>
      </p:ext>
    </p:extLst>
  </p:cSld>
  <p:clrMap bg1="lt1" tx1="dk1" bg2="dk2" tx2="lt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Lst>
  <p:transition spd="med">
    <p:fade/>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880">
          <p15:clr>
            <a:srgbClr val="F26B43"/>
          </p15:clr>
        </p15:guide>
        <p15:guide id="2" pos="240">
          <p15:clr>
            <a:srgbClr val="F26B43"/>
          </p15:clr>
        </p15:guide>
        <p15:guide id="3" pos="5520">
          <p15:clr>
            <a:srgbClr val="F26B43"/>
          </p15:clr>
        </p15:guide>
        <p15:guide id="4" orient="horz" pos="1620">
          <p15:clr>
            <a:srgbClr val="F26B43"/>
          </p15:clr>
        </p15:guide>
        <p15:guide id="5" orient="horz" pos="852">
          <p15:clr>
            <a:srgbClr val="F26B43"/>
          </p15:clr>
        </p15:guide>
        <p15:guide id="6" orient="horz" pos="2916">
          <p15:clr>
            <a:srgbClr val="F26B43"/>
          </p15:clr>
        </p15:guide>
        <p15:guide id="7" orient="horz" pos="780">
          <p15:clr>
            <a:srgbClr val="F26B43"/>
          </p15:clr>
        </p15:guide>
        <p15:guide id="8" orient="horz" pos="2844">
          <p15:clr>
            <a:srgbClr val="F26B43"/>
          </p15:clr>
        </p15:guide>
        <p15:guide id="9" pos="1992">
          <p15:clr>
            <a:srgbClr val="F26B43"/>
          </p15:clr>
        </p15:guide>
        <p15:guide id="10" pos="376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12"/>
        <p:cNvGrpSpPr/>
        <p:nvPr/>
      </p:nvGrpSpPr>
      <p:grpSpPr>
        <a:xfrm>
          <a:off x="0" y="0"/>
          <a:ext cx="0" cy="0"/>
          <a:chOff x="0" y="0"/>
          <a:chExt cx="0" cy="0"/>
        </a:xfrm>
      </p:grpSpPr>
      <p:sp>
        <p:nvSpPr>
          <p:cNvPr id="15" name="Google Shape;15;p33"/>
          <p:cNvSpPr txBox="1"/>
          <p:nvPr/>
        </p:nvSpPr>
        <p:spPr>
          <a:xfrm>
            <a:off x="8770345" y="4980080"/>
            <a:ext cx="373655" cy="163420"/>
          </a:xfrm>
          <a:prstGeom prst="rect">
            <a:avLst/>
          </a:prstGeom>
          <a:noFill/>
          <a:ln>
            <a:noFill/>
          </a:ln>
        </p:spPr>
        <p:txBody>
          <a:bodyPr spcFirstLastPara="1" wrap="square" lIns="91425" tIns="45700" rIns="91425" bIns="45720" anchor="ctr" anchorCtr="0">
            <a:noAutofit/>
          </a:bodyPr>
          <a:lstStyle/>
          <a:p>
            <a:pPr marL="0" marR="0" lvl="0" indent="0" algn="r" rtl="0">
              <a:lnSpc>
                <a:spcPct val="100000"/>
              </a:lnSpc>
              <a:spcBef>
                <a:spcPts val="0"/>
              </a:spcBef>
              <a:spcAft>
                <a:spcPts val="0"/>
              </a:spcAft>
              <a:buClr>
                <a:schemeClr val="accent6"/>
              </a:buClr>
              <a:buSzPts val="300"/>
              <a:buFont typeface="Georgia"/>
              <a:buNone/>
            </a:pPr>
            <a:fld id="{00000000-1234-1234-1234-123412341234}" type="slidenum">
              <a:rPr lang="en-US" sz="700" b="0" i="0" u="none" strike="noStrike" cap="none">
                <a:solidFill>
                  <a:schemeClr val="dk1"/>
                </a:solidFill>
                <a:latin typeface="Gene Sans" panose="00000500000000000000" pitchFamily="50" charset="0"/>
                <a:ea typeface="Arial"/>
                <a:cs typeface="Arial"/>
                <a:sym typeface="Arial"/>
              </a:rPr>
              <a:t>‹#›</a:t>
            </a:fld>
            <a:endParaRPr sz="700" b="0" i="0" u="none" strike="noStrike" cap="none" dirty="0">
              <a:solidFill>
                <a:schemeClr val="dk1"/>
              </a:solidFill>
              <a:latin typeface="Gene Sans" panose="00000500000000000000" pitchFamily="50" charset="0"/>
              <a:ea typeface="Arial"/>
              <a:cs typeface="Arial"/>
              <a:sym typeface="Arial"/>
            </a:endParaRPr>
          </a:p>
        </p:txBody>
      </p:sp>
      <p:cxnSp>
        <p:nvCxnSpPr>
          <p:cNvPr id="17" name="Google Shape;17;p33"/>
          <p:cNvCxnSpPr/>
          <p:nvPr/>
        </p:nvCxnSpPr>
        <p:spPr>
          <a:xfrm>
            <a:off x="381000" y="443054"/>
            <a:ext cx="8385048" cy="0"/>
          </a:xfrm>
          <a:prstGeom prst="straightConnector1">
            <a:avLst/>
          </a:prstGeom>
          <a:noFill/>
          <a:ln w="12700" cap="flat" cmpd="sng">
            <a:solidFill>
              <a:srgbClr val="8DC8E8"/>
            </a:solidFill>
            <a:prstDash val="solid"/>
            <a:miter lim="800000"/>
            <a:headEnd type="none" w="sm" len="sm"/>
            <a:tailEnd type="none" w="sm" len="sm"/>
          </a:ln>
        </p:spPr>
      </p:cxnSp>
      <p:sp>
        <p:nvSpPr>
          <p:cNvPr id="18" name="Google Shape;18;p33"/>
          <p:cNvSpPr/>
          <p:nvPr/>
        </p:nvSpPr>
        <p:spPr>
          <a:xfrm>
            <a:off x="3788800" y="4913074"/>
            <a:ext cx="1461939" cy="92333"/>
          </a:xfrm>
          <a:prstGeom prst="rect">
            <a:avLst/>
          </a:prstGeom>
          <a:noFill/>
          <a:ln>
            <a:noFill/>
          </a:ln>
        </p:spPr>
        <p:txBody>
          <a:bodyPr spcFirstLastPara="1" wrap="square" lIns="0" tIns="0" rIns="0" bIns="0" anchor="t" anchorCtr="0">
            <a:spAutoFit/>
          </a:bodyPr>
          <a:lstStyle/>
          <a:p>
            <a:pPr marL="0" marR="0" lvl="0" indent="0" algn="ctr" rtl="0">
              <a:spcBef>
                <a:spcPts val="0"/>
              </a:spcBef>
              <a:spcAft>
                <a:spcPts val="0"/>
              </a:spcAft>
              <a:buNone/>
            </a:pPr>
            <a:r>
              <a:rPr lang="en-US" sz="600" dirty="0">
                <a:solidFill>
                  <a:schemeClr val="dk1"/>
                </a:solidFill>
                <a:latin typeface="+mn-lt"/>
                <a:ea typeface="Arial"/>
                <a:cs typeface="Arial"/>
                <a:sym typeface="Arial"/>
              </a:rPr>
              <a:t>© 2021 Genentech, Inc. All rights reserved</a:t>
            </a:r>
            <a:endParaRPr dirty="0">
              <a:latin typeface="+mn-lt"/>
            </a:endParaRPr>
          </a:p>
        </p:txBody>
      </p:sp>
      <p:sp>
        <p:nvSpPr>
          <p:cNvPr id="10" name="Text Placeholder 2">
            <a:extLst>
              <a:ext uri="{FF2B5EF4-FFF2-40B4-BE49-F238E27FC236}">
                <a16:creationId xmlns:a16="http://schemas.microsoft.com/office/drawing/2014/main" id="{05C0C01D-4141-43AF-B9E1-F197ADF2BFB6}"/>
              </a:ext>
            </a:extLst>
          </p:cNvPr>
          <p:cNvSpPr>
            <a:spLocks noGrp="1"/>
          </p:cNvSpPr>
          <p:nvPr>
            <p:ph type="body" idx="1"/>
          </p:nvPr>
        </p:nvSpPr>
        <p:spPr>
          <a:xfrm>
            <a:off x="381648" y="1283549"/>
            <a:ext cx="8384400" cy="3231301"/>
          </a:xfrm>
          <a:prstGeom prst="rect">
            <a:avLst/>
          </a:prstGeom>
        </p:spPr>
        <p:txBody>
          <a:bodyPr vert="horz" lIns="0" tIns="0" rIns="0" bIns="0" numCol="1" rtlCol="0">
            <a:noAutofit/>
          </a:bodyPr>
          <a:lstStyle/>
          <a:p>
            <a:pPr marL="174625" lvl="0" indent="-174625" defTabSz="685800" eaLnBrk="1" latinLnBrk="0" hangingPunct="1">
              <a:lnSpc>
                <a:spcPct val="90000"/>
              </a:lnSpc>
              <a:spcBef>
                <a:spcPts val="600"/>
              </a:spcBef>
            </a:pPr>
            <a:r>
              <a:rPr lang="en-US" dirty="0"/>
              <a:t>Click to edit Master text styles</a:t>
            </a:r>
          </a:p>
          <a:p>
            <a:pPr marL="344488" lvl="1" indent="-169863" defTabSz="685800" eaLnBrk="1" latinLnBrk="0" hangingPunct="1">
              <a:lnSpc>
                <a:spcPct val="90000"/>
              </a:lnSpc>
              <a:spcBef>
                <a:spcPts val="600"/>
              </a:spcBef>
              <a:buChar char="•"/>
            </a:pPr>
            <a:r>
              <a:rPr lang="en-US" dirty="0"/>
              <a:t>Second level</a:t>
            </a:r>
          </a:p>
          <a:p>
            <a:pPr marL="460375" lvl="2" indent="-115888" defTabSz="685800" eaLnBrk="1" latinLnBrk="0" hangingPunct="1">
              <a:lnSpc>
                <a:spcPct val="90000"/>
              </a:lnSpc>
              <a:spcBef>
                <a:spcPts val="600"/>
              </a:spcBef>
            </a:pPr>
            <a:r>
              <a:rPr lang="en-US" dirty="0"/>
              <a:t>Third level</a:t>
            </a:r>
          </a:p>
          <a:p>
            <a:pPr marL="571500" lvl="3" indent="-111125" defTabSz="685800" eaLnBrk="1" latinLnBrk="0" hangingPunct="1">
              <a:lnSpc>
                <a:spcPct val="90000"/>
              </a:lnSpc>
              <a:spcBef>
                <a:spcPts val="600"/>
              </a:spcBef>
            </a:pPr>
            <a:r>
              <a:rPr lang="en-US" dirty="0"/>
              <a:t>Fourth level</a:t>
            </a:r>
          </a:p>
          <a:p>
            <a:pPr marL="684213" lvl="4" indent="-112713" defTabSz="685800" eaLnBrk="1" latinLnBrk="0" hangingPunct="1">
              <a:lnSpc>
                <a:spcPct val="90000"/>
              </a:lnSpc>
              <a:spcBef>
                <a:spcPts val="600"/>
              </a:spcBef>
            </a:pPr>
            <a:r>
              <a:rPr lang="en-US" dirty="0"/>
              <a:t>Fifth level</a:t>
            </a:r>
          </a:p>
        </p:txBody>
      </p:sp>
      <p:sp>
        <p:nvSpPr>
          <p:cNvPr id="11" name="Title Placeholder 1">
            <a:extLst>
              <a:ext uri="{FF2B5EF4-FFF2-40B4-BE49-F238E27FC236}">
                <a16:creationId xmlns:a16="http://schemas.microsoft.com/office/drawing/2014/main" id="{045F1438-F281-4414-B620-04D8B2182474}"/>
              </a:ext>
            </a:extLst>
          </p:cNvPr>
          <p:cNvSpPr>
            <a:spLocks noGrp="1"/>
          </p:cNvSpPr>
          <p:nvPr>
            <p:ph type="title"/>
          </p:nvPr>
        </p:nvSpPr>
        <p:spPr>
          <a:xfrm>
            <a:off x="381648" y="585795"/>
            <a:ext cx="8384400" cy="652455"/>
          </a:xfrm>
          <a:prstGeom prst="rect">
            <a:avLst/>
          </a:prstGeom>
        </p:spPr>
        <p:txBody>
          <a:bodyPr vert="horz" lIns="0" tIns="0" rIns="0" bIns="0" numCol="1" rtlCol="0" anchor="t" anchorCtr="0">
            <a:noAutofit/>
          </a:bodyPr>
          <a:lstStyle/>
          <a:p>
            <a:pPr lvl="0" algn="l" defTabSz="685800" eaLnBrk="1" latinLnBrk="0" hangingPunct="1">
              <a:lnSpc>
                <a:spcPct val="90000"/>
              </a:lnSpc>
              <a:spcBef>
                <a:spcPct val="0"/>
              </a:spcBef>
              <a:buNone/>
            </a:pPr>
            <a:r>
              <a:rPr lang="en-US" dirty="0"/>
              <a:t>Click to edit Master title style</a:t>
            </a:r>
          </a:p>
        </p:txBody>
      </p:sp>
    </p:spTree>
    <p:extLst>
      <p:ext uri="{BB962C8B-B14F-4D97-AF65-F5344CB8AC3E}">
        <p14:creationId xmlns:p14="http://schemas.microsoft.com/office/powerpoint/2010/main" val="121014164"/>
      </p:ext>
    </p:extLst>
  </p:cSld>
  <p:clrMap bg1="lt1" tx1="dk1" bg2="dk2" tx2="lt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Lst>
  <p:transition spd="med">
    <p:fade/>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lang="en-US" sz="2100" b="1" i="0" u="none" strike="noStrike" kern="1200" cap="all" baseline="0" dirty="0">
          <a:solidFill>
            <a:srgbClr val="003087"/>
          </a:solidFill>
          <a:latin typeface="Gene Sans" panose="00000500000000000000" pitchFamily="50" charset="0"/>
          <a:ea typeface="+mj-ea"/>
          <a:cs typeface="+mj-cs"/>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173736" marR="0" lvl="0" indent="-173736" algn="l" rtl="0">
        <a:lnSpc>
          <a:spcPct val="100000"/>
        </a:lnSpc>
        <a:spcBef>
          <a:spcPts val="0"/>
        </a:spcBef>
        <a:spcAft>
          <a:spcPts val="0"/>
        </a:spcAft>
        <a:buClr>
          <a:schemeClr val="tx1"/>
        </a:buClr>
        <a:buFont typeface="Arial" panose="020B0604020202020204" pitchFamily="34" charset="0"/>
        <a:buChar char="•"/>
        <a:defRPr lang="en-US" sz="1600" b="0" i="0" u="none" strike="noStrike" kern="1200" cap="none" dirty="0">
          <a:solidFill>
            <a:schemeClr val="tx1"/>
          </a:solidFill>
          <a:latin typeface="+mn-lt"/>
          <a:ea typeface="+mn-ea"/>
          <a:cs typeface="+mn-cs"/>
          <a:sym typeface="Arial"/>
        </a:defRPr>
      </a:lvl1pPr>
      <a:lvl2pPr marL="460375" marR="0" lvl="1" indent="-285750" algn="l" rtl="0">
        <a:lnSpc>
          <a:spcPct val="100000"/>
        </a:lnSpc>
        <a:spcBef>
          <a:spcPts val="0"/>
        </a:spcBef>
        <a:spcAft>
          <a:spcPts val="0"/>
        </a:spcAft>
        <a:buClr>
          <a:schemeClr val="tx1"/>
        </a:buClr>
        <a:buFont typeface="Gene Sans Light" panose="00000400000000000000" pitchFamily="50" charset="0"/>
        <a:buChar char="–"/>
        <a:defRPr lang="en-US" sz="1400" b="0" i="0" u="none" strike="noStrike" kern="1200" cap="none" dirty="0">
          <a:solidFill>
            <a:schemeClr val="tx1"/>
          </a:solidFill>
          <a:latin typeface="+mn-lt"/>
          <a:ea typeface="+mn-ea"/>
          <a:cs typeface="+mn-cs"/>
          <a:sym typeface="Arial"/>
        </a:defRPr>
      </a:lvl2pPr>
      <a:lvl3pPr marL="515937" marR="0" lvl="2" indent="-171450" algn="l" rtl="0">
        <a:lnSpc>
          <a:spcPct val="100000"/>
        </a:lnSpc>
        <a:spcBef>
          <a:spcPts val="0"/>
        </a:spcBef>
        <a:spcAft>
          <a:spcPts val="0"/>
        </a:spcAft>
        <a:buClr>
          <a:schemeClr val="tx1"/>
        </a:buClr>
        <a:buFont typeface="Wingdings" panose="05000000000000000000" pitchFamily="2" charset="2"/>
        <a:buChar char="§"/>
        <a:defRPr lang="en-US" sz="1100" b="0" i="0" u="none" strike="noStrike" kern="1200" cap="none" dirty="0">
          <a:solidFill>
            <a:schemeClr val="tx1"/>
          </a:solidFill>
          <a:latin typeface="+mn-lt"/>
          <a:ea typeface="+mn-ea"/>
          <a:cs typeface="+mn-cs"/>
          <a:sym typeface="Arial"/>
        </a:defRPr>
      </a:lvl3pPr>
      <a:lvl4pPr marL="694944" marR="0" lvl="3" indent="-173736" algn="l" rtl="0">
        <a:lnSpc>
          <a:spcPct val="100000"/>
        </a:lnSpc>
        <a:spcBef>
          <a:spcPts val="0"/>
        </a:spcBef>
        <a:spcAft>
          <a:spcPts val="0"/>
        </a:spcAft>
        <a:buClr>
          <a:schemeClr val="tx1"/>
        </a:buClr>
        <a:buFont typeface="Arial" panose="020B0604020202020204" pitchFamily="34" charset="0"/>
        <a:buChar char="•"/>
        <a:defRPr lang="en-US" sz="1050" b="0" i="0" u="none" strike="noStrike" kern="1200" cap="none" dirty="0">
          <a:solidFill>
            <a:schemeClr val="tx1"/>
          </a:solidFill>
          <a:latin typeface="+mn-lt"/>
          <a:ea typeface="+mn-ea"/>
          <a:cs typeface="+mn-cs"/>
          <a:sym typeface="Arial"/>
        </a:defRPr>
      </a:lvl4pPr>
      <a:lvl5pPr marL="868680" marR="0" lvl="4" indent="-173736" algn="l" rtl="0">
        <a:lnSpc>
          <a:spcPct val="100000"/>
        </a:lnSpc>
        <a:spcBef>
          <a:spcPts val="0"/>
        </a:spcBef>
        <a:spcAft>
          <a:spcPts val="0"/>
        </a:spcAft>
        <a:buClr>
          <a:schemeClr val="tx1"/>
        </a:buClr>
        <a:buFont typeface="Arial" panose="020B0604020202020204" pitchFamily="34" charset="0"/>
        <a:buChar char="•"/>
        <a:defRPr lang="en-US" sz="1050" b="0" i="0" u="none" strike="noStrike" kern="1200" cap="none" dirty="0">
          <a:solidFill>
            <a:schemeClr val="tx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880">
          <p15:clr>
            <a:srgbClr val="F26B43"/>
          </p15:clr>
        </p15:guide>
        <p15:guide id="2" pos="240">
          <p15:clr>
            <a:srgbClr val="F26B43"/>
          </p15:clr>
        </p15:guide>
        <p15:guide id="3" pos="5520">
          <p15:clr>
            <a:srgbClr val="F26B43"/>
          </p15:clr>
        </p15:guide>
        <p15:guide id="4" orient="horz" pos="1620">
          <p15:clr>
            <a:srgbClr val="F26B43"/>
          </p15:clr>
        </p15:guide>
        <p15:guide id="5" orient="horz" pos="852">
          <p15:clr>
            <a:srgbClr val="F26B43"/>
          </p15:clr>
        </p15:guide>
        <p15:guide id="6" orient="horz" pos="2916">
          <p15:clr>
            <a:srgbClr val="F26B43"/>
          </p15:clr>
        </p15:guide>
        <p15:guide id="7" orient="horz" pos="780">
          <p15:clr>
            <a:srgbClr val="F26B43"/>
          </p15:clr>
        </p15:guide>
        <p15:guide id="8" orient="horz" pos="2844">
          <p15:clr>
            <a:srgbClr val="F26B43"/>
          </p15:clr>
        </p15:guide>
        <p15:guide id="9" pos="1992">
          <p15:clr>
            <a:srgbClr val="F26B43"/>
          </p15:clr>
        </p15:guide>
        <p15:guide id="10" pos="376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slide" Target="slide3.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slide" Target="slide3.xml"/></Relationships>
</file>

<file path=ppt/slides/_rels/slide12.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6.png"/></Relationships>
</file>

<file path=ppt/slides/_rels/slide13.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slide" Target="slide3.xml"/><Relationship Id="rId5" Type="http://schemas.openxmlformats.org/officeDocument/2006/relationships/image" Target="../media/image23.png"/><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image" Target="../media/image22.png"/><Relationship Id="rId7" Type="http://schemas.openxmlformats.org/officeDocument/2006/relationships/image" Target="../media/image27.emf"/><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26.png"/><Relationship Id="rId11" Type="http://schemas.openxmlformats.org/officeDocument/2006/relationships/image" Target="../media/image6.png"/><Relationship Id="rId5" Type="http://schemas.openxmlformats.org/officeDocument/2006/relationships/image" Target="../media/image25.png"/><Relationship Id="rId10" Type="http://schemas.openxmlformats.org/officeDocument/2006/relationships/slide" Target="slide3.xml"/><Relationship Id="rId4" Type="http://schemas.openxmlformats.org/officeDocument/2006/relationships/image" Target="../media/image24.emf"/><Relationship Id="rId9" Type="http://schemas.openxmlformats.org/officeDocument/2006/relationships/image" Target="../media/image29.emf"/></Relationships>
</file>

<file path=ppt/slides/_rels/slide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30.png"/><Relationship Id="rId7" Type="http://schemas.openxmlformats.org/officeDocument/2006/relationships/slide" Target="slide3.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29.emf"/><Relationship Id="rId5" Type="http://schemas.openxmlformats.org/officeDocument/2006/relationships/image" Target="../media/image28.emf"/><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slide" Target="slide3.xml"/><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 Type="http://schemas.openxmlformats.org/officeDocument/2006/relationships/notesSlide" Target="../notesSlides/notesSlide19.xml"/><Relationship Id="rId16" Type="http://schemas.openxmlformats.org/officeDocument/2006/relationships/image" Target="../media/image52.png"/><Relationship Id="rId1" Type="http://schemas.openxmlformats.org/officeDocument/2006/relationships/slideLayout" Target="../slideLayouts/slideLayout18.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png"/><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8.xml"/><Relationship Id="rId1" Type="http://schemas.openxmlformats.org/officeDocument/2006/relationships/slideLayout" Target="../slideLayouts/slideLayout30.xml"/><Relationship Id="rId4" Type="http://schemas.openxmlformats.org/officeDocument/2006/relationships/chart" Target="../charts/chart5.xml"/></Relationships>
</file>

<file path=ppt/slides/_rels/slide3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9.xml"/><Relationship Id="rId1" Type="http://schemas.openxmlformats.org/officeDocument/2006/relationships/slideLayout" Target="../slideLayouts/slideLayout30.xml"/></Relationships>
</file>

<file path=ppt/slides/_rels/slide3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0.xml"/><Relationship Id="rId1" Type="http://schemas.openxmlformats.org/officeDocument/2006/relationships/slideLayout" Target="../slideLayouts/slideLayout18.xml"/><Relationship Id="rId4" Type="http://schemas.openxmlformats.org/officeDocument/2006/relationships/chart" Target="../charts/chart8.xml"/></Relationships>
</file>

<file path=ppt/slides/_rels/slide3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4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8" Type="http://schemas.openxmlformats.org/officeDocument/2006/relationships/slide" Target="slide3.xml"/><Relationship Id="rId3" Type="http://schemas.openxmlformats.org/officeDocument/2006/relationships/image" Target="../media/image7.emf"/><Relationship Id="rId7"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image" Target="../media/image8.png"/><Relationship Id="rId9" Type="http://schemas.openxmlformats.org/officeDocument/2006/relationships/image" Target="../media/image6.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1.xml"/><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emf"/><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5.emf"/><Relationship Id="rId5" Type="http://schemas.openxmlformats.org/officeDocument/2006/relationships/image" Target="../media/image14.emf"/><Relationship Id="rId10" Type="http://schemas.openxmlformats.org/officeDocument/2006/relationships/image" Target="../media/image6.png"/><Relationship Id="rId4" Type="http://schemas.openxmlformats.org/officeDocument/2006/relationships/image" Target="../media/image13.png"/><Relationship Id="rId9" Type="http://schemas.openxmlformats.org/officeDocument/2006/relationships/slide" Target="slide3.xml"/></Relationships>
</file>

<file path=ppt/slides/_rels/slide6.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slide" Target="slide3.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slide" Target="slide3.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slide" Target="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91D7CC-1DF3-4E48-8C71-8BA8A4A1B361}"/>
              </a:ext>
            </a:extLst>
          </p:cNvPr>
          <p:cNvSpPr>
            <a:spLocks noGrp="1"/>
          </p:cNvSpPr>
          <p:nvPr>
            <p:ph type="ctrTitle"/>
          </p:nvPr>
        </p:nvSpPr>
        <p:spPr>
          <a:xfrm>
            <a:off x="381000" y="1106681"/>
            <a:ext cx="6480000" cy="1846516"/>
          </a:xfrm>
        </p:spPr>
        <p:txBody>
          <a:bodyPr/>
          <a:lstStyle/>
          <a:p>
            <a:pPr>
              <a:lnSpc>
                <a:spcPct val="100000"/>
              </a:lnSpc>
            </a:pPr>
            <a:r>
              <a:rPr lang="en-US" dirty="0"/>
              <a:t>Immunotherapies and Immune-related Toxicities</a:t>
            </a:r>
          </a:p>
        </p:txBody>
      </p:sp>
      <p:sp>
        <p:nvSpPr>
          <p:cNvPr id="9" name="Subtitle 8">
            <a:extLst>
              <a:ext uri="{FF2B5EF4-FFF2-40B4-BE49-F238E27FC236}">
                <a16:creationId xmlns:a16="http://schemas.microsoft.com/office/drawing/2014/main" id="{48EE5D8D-F6A9-4CD3-A2DA-D7C6D3568899}"/>
              </a:ext>
            </a:extLst>
          </p:cNvPr>
          <p:cNvSpPr>
            <a:spLocks noGrp="1"/>
          </p:cNvSpPr>
          <p:nvPr>
            <p:ph type="subTitle" idx="1"/>
          </p:nvPr>
        </p:nvSpPr>
        <p:spPr/>
        <p:txBody>
          <a:bodyPr/>
          <a:lstStyle/>
          <a:p>
            <a:r>
              <a:rPr lang="en-US" sz="2000" dirty="0"/>
              <a:t>FLASCO Fellows Day, March 19, 2022</a:t>
            </a:r>
          </a:p>
          <a:p>
            <a:r>
              <a:rPr lang="en-US" sz="2000" dirty="0"/>
              <a:t>Orlando, FL</a:t>
            </a:r>
          </a:p>
          <a:p>
            <a:br>
              <a:rPr lang="en-US" sz="2000" dirty="0"/>
            </a:br>
            <a:r>
              <a:rPr lang="en-US" sz="2000" dirty="0"/>
              <a:t>Matthew A. Smith, PhD, MSPH</a:t>
            </a:r>
          </a:p>
        </p:txBody>
      </p:sp>
    </p:spTree>
    <p:extLst>
      <p:ext uri="{BB962C8B-B14F-4D97-AF65-F5344CB8AC3E}">
        <p14:creationId xmlns:p14="http://schemas.microsoft.com/office/powerpoint/2010/main" val="888310240"/>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2EDA7CCF-666A-48B5-BA72-E3BEA77DF826}"/>
              </a:ext>
            </a:extLst>
          </p:cNvPr>
          <p:cNvSpPr>
            <a:spLocks noGrp="1"/>
          </p:cNvSpPr>
          <p:nvPr>
            <p:ph type="body" idx="2"/>
          </p:nvPr>
        </p:nvSpPr>
        <p:spPr/>
        <p:txBody>
          <a:bodyPr/>
          <a:lstStyle/>
          <a:p>
            <a:r>
              <a:rPr lang="en-US" dirty="0"/>
              <a:t>Cancer Immunity Cycle</a:t>
            </a:r>
          </a:p>
        </p:txBody>
      </p:sp>
      <p:sp>
        <p:nvSpPr>
          <p:cNvPr id="15" name="Text Placeholder 14">
            <a:extLst>
              <a:ext uri="{FF2B5EF4-FFF2-40B4-BE49-F238E27FC236}">
                <a16:creationId xmlns:a16="http://schemas.microsoft.com/office/drawing/2014/main" id="{BF7BB896-3695-4E9A-A9DA-845E83FA518C}"/>
              </a:ext>
            </a:extLst>
          </p:cNvPr>
          <p:cNvSpPr>
            <a:spLocks noGrp="1"/>
          </p:cNvSpPr>
          <p:nvPr>
            <p:ph type="body" idx="3"/>
          </p:nvPr>
        </p:nvSpPr>
        <p:spPr/>
        <p:txBody>
          <a:bodyPr/>
          <a:lstStyle/>
          <a:p>
            <a:r>
              <a:rPr lang="en-US" altLang="zh-CN" dirty="0"/>
              <a:t>APC, antigen-presenting cell; CTL, cytotoxic T lymphocyte; GM-CSF, granulocyte macrophage colony stimulating factor; IDO, </a:t>
            </a:r>
            <a:r>
              <a:rPr lang="en-US" altLang="zh-CN" dirty="0" err="1"/>
              <a:t>indoleamine</a:t>
            </a:r>
            <a:r>
              <a:rPr lang="en-US" altLang="zh-CN" dirty="0"/>
              <a:t> 2,3-dioxygenase; MHC, </a:t>
            </a:r>
            <a:r>
              <a:rPr lang="en-US" altLang="zh-CN"/>
              <a:t>major histocompatibility </a:t>
            </a:r>
            <a:r>
              <a:rPr lang="en-US" altLang="zh-CN" dirty="0"/>
              <a:t>complex; </a:t>
            </a:r>
            <a:r>
              <a:rPr lang="en-US" altLang="zh-CN" dirty="0" err="1"/>
              <a:t>T</a:t>
            </a:r>
            <a:r>
              <a:rPr lang="en-US" altLang="zh-CN" baseline="-25000" dirty="0" err="1"/>
              <a:t>reg</a:t>
            </a:r>
            <a:r>
              <a:rPr lang="en-US" altLang="zh-CN" dirty="0"/>
              <a:t>, regulatory T cell. </a:t>
            </a:r>
            <a:r>
              <a:rPr lang="en-US" altLang="en-US" dirty="0"/>
              <a:t>1. Chen DS, </a:t>
            </a:r>
            <a:r>
              <a:rPr lang="en-US" altLang="en-US" dirty="0" err="1"/>
              <a:t>Mellman</a:t>
            </a:r>
            <a:r>
              <a:rPr lang="en-US" altLang="en-US" dirty="0"/>
              <a:t> I. </a:t>
            </a:r>
            <a:r>
              <a:rPr lang="en-US" altLang="en-US" i="1" dirty="0"/>
              <a:t>Immunity</a:t>
            </a:r>
            <a:r>
              <a:rPr lang="en-US" altLang="en-US" dirty="0"/>
              <a:t>. 2013;39:1-10. 2. </a:t>
            </a:r>
            <a:r>
              <a:rPr lang="en-US" altLang="en-US" dirty="0" err="1"/>
              <a:t>Mellman</a:t>
            </a:r>
            <a:r>
              <a:rPr lang="en-US" altLang="en-US" dirty="0"/>
              <a:t> I, et al. </a:t>
            </a:r>
            <a:r>
              <a:rPr lang="en-US" altLang="en-US" i="1" dirty="0"/>
              <a:t>Nature</a:t>
            </a:r>
            <a:r>
              <a:rPr lang="en-US" altLang="en-US" dirty="0"/>
              <a:t>. 2011;480:480-489. 3. Wang Y, et al. </a:t>
            </a:r>
            <a:r>
              <a:rPr lang="en-US" altLang="en-US" i="1" dirty="0"/>
              <a:t>Cancer Res</a:t>
            </a:r>
            <a:r>
              <a:rPr lang="en-US" altLang="en-US" dirty="0"/>
              <a:t>. 2014;74:716-726. 4. </a:t>
            </a:r>
            <a:r>
              <a:rPr lang="en-US" altLang="en-US" dirty="0" err="1"/>
              <a:t>Jales</a:t>
            </a:r>
            <a:r>
              <a:rPr lang="en-US" altLang="en-US" dirty="0"/>
              <a:t> A, et al. </a:t>
            </a:r>
            <a:r>
              <a:rPr lang="en-US" altLang="en-US" i="1" dirty="0"/>
              <a:t>Immunology</a:t>
            </a:r>
            <a:r>
              <a:rPr lang="en-US" altLang="en-US" dirty="0"/>
              <a:t>. 2011;132:134-143. 5. </a:t>
            </a:r>
            <a:r>
              <a:rPr lang="en-US" altLang="en-US" dirty="0" err="1"/>
              <a:t>Merelli</a:t>
            </a:r>
            <a:r>
              <a:rPr lang="en-US" altLang="en-US" dirty="0"/>
              <a:t> B, et al. </a:t>
            </a:r>
            <a:r>
              <a:rPr lang="en-US" altLang="en-US" i="1" dirty="0" err="1"/>
              <a:t>Crit</a:t>
            </a:r>
            <a:r>
              <a:rPr lang="en-US" altLang="en-US" i="1" dirty="0"/>
              <a:t> Rev </a:t>
            </a:r>
            <a:r>
              <a:rPr lang="en-US" altLang="en-US" i="1" dirty="0" err="1"/>
              <a:t>Oncol</a:t>
            </a:r>
            <a:r>
              <a:rPr lang="en-US" altLang="en-US" i="1" dirty="0"/>
              <a:t> </a:t>
            </a:r>
            <a:r>
              <a:rPr lang="en-US" altLang="en-US" i="1" dirty="0" err="1"/>
              <a:t>Hematol</a:t>
            </a:r>
            <a:r>
              <a:rPr lang="en-US" altLang="en-US" i="1" dirty="0"/>
              <a:t>.</a:t>
            </a:r>
            <a:r>
              <a:rPr lang="en-US" altLang="en-US" dirty="0"/>
              <a:t> 2014;89:140-165.</a:t>
            </a:r>
          </a:p>
        </p:txBody>
      </p:sp>
      <p:sp>
        <p:nvSpPr>
          <p:cNvPr id="5" name="Title 4"/>
          <p:cNvSpPr>
            <a:spLocks noGrp="1"/>
          </p:cNvSpPr>
          <p:nvPr>
            <p:ph type="title"/>
          </p:nvPr>
        </p:nvSpPr>
        <p:spPr/>
        <p:txBody>
          <a:bodyPr/>
          <a:lstStyle/>
          <a:p>
            <a:r>
              <a:rPr lang="en-US" dirty="0"/>
              <a:t>Mechanisms of Escape From Immune Control in Cancer – </a:t>
            </a:r>
            <a:br>
              <a:rPr lang="en-US" dirty="0"/>
            </a:br>
            <a:r>
              <a:rPr lang="en-US" dirty="0"/>
              <a:t>Indirect Mechanisms </a:t>
            </a:r>
          </a:p>
        </p:txBody>
      </p:sp>
      <p:pic>
        <p:nvPicPr>
          <p:cNvPr id="26" name="Picture 4">
            <a:extLst>
              <a:ext uri="{FF2B5EF4-FFF2-40B4-BE49-F238E27FC236}">
                <a16:creationId xmlns:a16="http://schemas.microsoft.com/office/drawing/2014/main" id="{394A6BA7-341B-4259-AD3B-7AEC1B819D4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467" r="-3664"/>
          <a:stretch/>
        </p:blipFill>
        <p:spPr bwMode="auto">
          <a:xfrm>
            <a:off x="377951" y="1503708"/>
            <a:ext cx="4923630" cy="2962526"/>
          </a:xfrm>
          <a:prstGeom prst="rect">
            <a:avLst/>
          </a:prstGeom>
          <a:ln w="3175">
            <a:noFill/>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Rectangle 29">
            <a:extLst>
              <a:ext uri="{FF2B5EF4-FFF2-40B4-BE49-F238E27FC236}">
                <a16:creationId xmlns:a16="http://schemas.microsoft.com/office/drawing/2014/main" id="{D1F256C0-B41A-4D37-B686-8A23CFE6ECE8}"/>
              </a:ext>
            </a:extLst>
          </p:cNvPr>
          <p:cNvSpPr>
            <a:spLocks/>
          </p:cNvSpPr>
          <p:nvPr/>
        </p:nvSpPr>
        <p:spPr>
          <a:xfrm>
            <a:off x="5479314" y="1114559"/>
            <a:ext cx="3286736" cy="226216"/>
          </a:xfrm>
          <a:prstGeom prst="rect">
            <a:avLst/>
          </a:prstGeom>
          <a:noFill/>
          <a:ln>
            <a:noFill/>
          </a:ln>
          <a:scene3d>
            <a:camera prst="orthographicFront"/>
            <a:lightRig rig="threePt" dir="t"/>
          </a:scene3d>
          <a:sp3d>
            <a:bevelT/>
          </a:sp3d>
        </p:spPr>
        <p:txBody>
          <a:bodyPr wrap="square" lIns="0" tIns="0" rIns="0" bIns="0">
            <a:noAutofit/>
          </a:bodyPr>
          <a:lstStyle/>
          <a:p>
            <a:pPr algn="ctr" defTabSz="685766">
              <a:spcBef>
                <a:spcPct val="0"/>
              </a:spcBef>
              <a:buClr>
                <a:srgbClr val="000000"/>
              </a:buClr>
              <a:defRPr/>
            </a:pPr>
            <a:r>
              <a:rPr lang="en-US" sz="1200" kern="0" dirty="0">
                <a:solidFill>
                  <a:srgbClr val="004677"/>
                </a:solidFill>
                <a:latin typeface="Gene Sans Light"/>
                <a:ea typeface="ＭＳ Ｐゴシック" pitchFamily="34" charset="-128"/>
                <a:cs typeface="Arial" charset="0"/>
                <a:sym typeface="Arial"/>
              </a:rPr>
              <a:t>Indirect Mechanisms of Escape</a:t>
            </a:r>
          </a:p>
        </p:txBody>
      </p:sp>
      <p:sp>
        <p:nvSpPr>
          <p:cNvPr id="31" name="Rounded Rectangle 26">
            <a:extLst>
              <a:ext uri="{FF2B5EF4-FFF2-40B4-BE49-F238E27FC236}">
                <a16:creationId xmlns:a16="http://schemas.microsoft.com/office/drawing/2014/main" id="{A938BD07-70EF-455F-B118-98E0A682A923}"/>
              </a:ext>
            </a:extLst>
          </p:cNvPr>
          <p:cNvSpPr>
            <a:spLocks/>
          </p:cNvSpPr>
          <p:nvPr/>
        </p:nvSpPr>
        <p:spPr bwMode="auto">
          <a:xfrm>
            <a:off x="5479314" y="1340775"/>
            <a:ext cx="3286736" cy="3124783"/>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68580" tIns="34290" rIns="9144" bIns="34290" numCol="1" rtlCol="0" anchor="t" anchorCtr="0" compatLnSpc="1">
            <a:prstTxWarp prst="textNoShape">
              <a:avLst/>
            </a:prstTxWarp>
            <a:noAutofit/>
          </a:bodyPr>
          <a:lstStyle/>
          <a:p>
            <a:pPr marL="170252" indent="-170252" defTabSz="914378">
              <a:spcBef>
                <a:spcPts val="600"/>
              </a:spcBef>
              <a:buClr>
                <a:srgbClr val="000000"/>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Step 3 </a:t>
            </a:r>
          </a:p>
          <a:p>
            <a:pPr marL="170252" indent="-170252" defTabSz="914378">
              <a:spcBef>
                <a:spcPts val="400"/>
              </a:spcBef>
              <a:buClr>
                <a:srgbClr val="545859"/>
              </a:buClr>
              <a:buSzPct val="100000"/>
              <a:buFont typeface="Arial" panose="020B0604020202020204" pitchFamily="34" charset="0"/>
              <a:buChar char="•"/>
              <a:defRPr/>
            </a:pPr>
            <a:r>
              <a:rPr lang="en-US" sz="950" kern="0" spc="-30" dirty="0">
                <a:solidFill>
                  <a:srgbClr val="545859"/>
                </a:solidFill>
                <a:latin typeface="Gene Sans Light"/>
                <a:cs typeface="Arial" charset="0"/>
                <a:sym typeface="Arial"/>
              </a:rPr>
              <a:t>T-cell </a:t>
            </a:r>
            <a:r>
              <a:rPr lang="en-US" sz="950" spc="-30" dirty="0">
                <a:solidFill>
                  <a:srgbClr val="545859"/>
                </a:solidFill>
                <a:latin typeface="Gene Sans Light"/>
                <a:cs typeface="Arial" charset="0"/>
                <a:sym typeface="Arial"/>
              </a:rPr>
              <a:t>activation suppressed by tumor-released IDO and IL-10</a:t>
            </a:r>
            <a:r>
              <a:rPr lang="en-US" sz="950" spc="-30" baseline="30000" dirty="0">
                <a:solidFill>
                  <a:srgbClr val="545859"/>
                </a:solidFill>
                <a:latin typeface="Gene Sans Light"/>
                <a:cs typeface="Arial" charset="0"/>
                <a:sym typeface="Arial"/>
              </a:rPr>
              <a:t>2</a:t>
            </a:r>
          </a:p>
          <a:p>
            <a:pPr marL="170252" indent="-170252" defTabSz="914378">
              <a:spcBef>
                <a:spcPts val="225"/>
              </a:spcBef>
              <a:buClr>
                <a:srgbClr val="545859"/>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Tumors produce VEGF, IL-6, GM-CSF, IL-10</a:t>
            </a:r>
            <a:r>
              <a:rPr lang="en-US" sz="950" kern="0" baseline="30000" dirty="0">
                <a:solidFill>
                  <a:srgbClr val="545859"/>
                </a:solidFill>
                <a:latin typeface="Gene Sans Light"/>
                <a:cs typeface="Arial" charset="0"/>
                <a:sym typeface="Arial"/>
              </a:rPr>
              <a:t>2,3</a:t>
            </a:r>
          </a:p>
          <a:p>
            <a:pPr marL="170252" indent="-170252" defTabSz="914378">
              <a:spcBef>
                <a:spcPts val="225"/>
              </a:spcBef>
              <a:buClr>
                <a:srgbClr val="545859"/>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Dendritic cell </a:t>
            </a:r>
            <a:r>
              <a:rPr lang="en-US" sz="950" kern="0">
                <a:solidFill>
                  <a:srgbClr val="545859"/>
                </a:solidFill>
                <a:latin typeface="Gene Sans Light"/>
                <a:cs typeface="Arial" charset="0"/>
                <a:sym typeface="Arial"/>
              </a:rPr>
              <a:t>development inhibited </a:t>
            </a:r>
            <a:r>
              <a:rPr lang="en-US" sz="950" kern="0" dirty="0">
                <a:solidFill>
                  <a:srgbClr val="545859"/>
                </a:solidFill>
                <a:latin typeface="Gene Sans Light"/>
                <a:cs typeface="Arial" charset="0"/>
                <a:sym typeface="Arial"/>
              </a:rPr>
              <a:t>by </a:t>
            </a:r>
            <a:br>
              <a:rPr lang="en-US" sz="950" kern="0" dirty="0">
                <a:solidFill>
                  <a:srgbClr val="545859"/>
                </a:solidFill>
                <a:latin typeface="Gene Sans Light"/>
                <a:cs typeface="Arial" charset="0"/>
                <a:sym typeface="Arial"/>
              </a:rPr>
            </a:br>
            <a:r>
              <a:rPr lang="en-US" sz="950" kern="0" dirty="0">
                <a:solidFill>
                  <a:srgbClr val="545859"/>
                </a:solidFill>
                <a:latin typeface="Gene Sans Light"/>
                <a:cs typeface="Arial" charset="0"/>
                <a:sym typeface="Arial"/>
              </a:rPr>
              <a:t>tumor-produced molecules (i.e., gangliosides)</a:t>
            </a:r>
            <a:r>
              <a:rPr lang="en-US" sz="950" kern="0" baseline="30000" dirty="0">
                <a:solidFill>
                  <a:srgbClr val="545859"/>
                </a:solidFill>
                <a:latin typeface="Gene Sans Light"/>
                <a:cs typeface="Arial" charset="0"/>
                <a:sym typeface="Arial"/>
              </a:rPr>
              <a:t>2,4</a:t>
            </a:r>
          </a:p>
          <a:p>
            <a:pPr marL="170252" indent="-170252" defTabSz="914378">
              <a:spcBef>
                <a:spcPts val="600"/>
              </a:spcBef>
              <a:buClr>
                <a:srgbClr val="000000"/>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Step 5</a:t>
            </a:r>
          </a:p>
          <a:p>
            <a:pPr marL="170252" indent="-170252" defTabSz="914378">
              <a:spcBef>
                <a:spcPts val="225"/>
              </a:spcBef>
              <a:buClr>
                <a:srgbClr val="545859"/>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Proliferation of immunosuppressive myeloid cells by tumor-released cytokines (VEGF, IL-1B, GM-CSF)</a:t>
            </a:r>
            <a:r>
              <a:rPr lang="en-US" sz="950" kern="0" baseline="30000" dirty="0">
                <a:solidFill>
                  <a:srgbClr val="545859"/>
                </a:solidFill>
                <a:latin typeface="Gene Sans Light"/>
                <a:cs typeface="Arial" charset="0"/>
                <a:sym typeface="Arial"/>
              </a:rPr>
              <a:t>2,3,5</a:t>
            </a:r>
          </a:p>
          <a:p>
            <a:pPr marL="170252" indent="-170252" defTabSz="914378">
              <a:spcBef>
                <a:spcPts val="225"/>
              </a:spcBef>
              <a:buClr>
                <a:srgbClr val="545859"/>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Vascular changes in the tumor environment </a:t>
            </a:r>
            <a:br>
              <a:rPr lang="en-US" sz="950" kern="0" dirty="0">
                <a:solidFill>
                  <a:srgbClr val="545859"/>
                </a:solidFill>
                <a:latin typeface="Gene Sans Light"/>
                <a:cs typeface="Arial" charset="0"/>
                <a:sym typeface="Arial"/>
              </a:rPr>
            </a:br>
            <a:r>
              <a:rPr lang="en-US" sz="950" kern="0" dirty="0">
                <a:solidFill>
                  <a:srgbClr val="545859"/>
                </a:solidFill>
                <a:latin typeface="Gene Sans Light"/>
                <a:cs typeface="Arial" charset="0"/>
                <a:sym typeface="Arial"/>
              </a:rPr>
              <a:t>(i.e., VEGF reduces T-cell infiltration)</a:t>
            </a:r>
            <a:r>
              <a:rPr lang="en-US" sz="950" kern="0" baseline="30000" dirty="0">
                <a:solidFill>
                  <a:srgbClr val="545859"/>
                </a:solidFill>
                <a:latin typeface="Gene Sans Light"/>
                <a:cs typeface="Arial" charset="0"/>
                <a:sym typeface="Arial"/>
              </a:rPr>
              <a:t>2</a:t>
            </a:r>
          </a:p>
          <a:p>
            <a:pPr marL="170252" indent="-170252" defTabSz="914378">
              <a:spcBef>
                <a:spcPts val="600"/>
              </a:spcBef>
              <a:buClr>
                <a:srgbClr val="000000"/>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Step 6 </a:t>
            </a:r>
          </a:p>
          <a:p>
            <a:pPr marL="170252" indent="-170252" defTabSz="914378">
              <a:spcBef>
                <a:spcPts val="225"/>
              </a:spcBef>
              <a:buClr>
                <a:srgbClr val="545859"/>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Conversion of naïve CD4+ T cells into T</a:t>
            </a:r>
            <a:r>
              <a:rPr lang="en-US" sz="950" kern="0" baseline="-25000" dirty="0">
                <a:solidFill>
                  <a:srgbClr val="545859"/>
                </a:solidFill>
                <a:latin typeface="Gene Sans Light"/>
                <a:cs typeface="Arial" charset="0"/>
                <a:sym typeface="Arial"/>
              </a:rPr>
              <a:t>reg</a:t>
            </a:r>
            <a:r>
              <a:rPr lang="en-US" sz="950" kern="0" dirty="0">
                <a:solidFill>
                  <a:srgbClr val="545859"/>
                </a:solidFill>
                <a:latin typeface="Gene Sans Light"/>
                <a:cs typeface="Arial" charset="0"/>
                <a:sym typeface="Arial"/>
              </a:rPr>
              <a:t> cells by tumor-released TGF-b suppresses T cells and APCs in the tumor bed</a:t>
            </a:r>
            <a:r>
              <a:rPr lang="en-US" sz="950" kern="0" baseline="30000" dirty="0">
                <a:solidFill>
                  <a:srgbClr val="545859"/>
                </a:solidFill>
                <a:latin typeface="Gene Sans Light"/>
                <a:cs typeface="Arial" charset="0"/>
                <a:sym typeface="Arial"/>
              </a:rPr>
              <a:t>2</a:t>
            </a:r>
          </a:p>
          <a:p>
            <a:pPr marL="170252" indent="-170252" defTabSz="914378">
              <a:spcBef>
                <a:spcPts val="400"/>
              </a:spcBef>
              <a:buClr>
                <a:srgbClr val="000000"/>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Step 7</a:t>
            </a:r>
          </a:p>
          <a:p>
            <a:pPr marL="170252" indent="-170252" defTabSz="914378">
              <a:spcBef>
                <a:spcPts val="225"/>
              </a:spcBef>
              <a:buClr>
                <a:srgbClr val="545859"/>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T-cell activation in the absence of appropriate costimulation leads to anergy</a:t>
            </a:r>
            <a:r>
              <a:rPr lang="en-US" sz="950" kern="0" baseline="30000" dirty="0">
                <a:solidFill>
                  <a:srgbClr val="545859"/>
                </a:solidFill>
                <a:latin typeface="Gene Sans Light"/>
                <a:cs typeface="Arial" charset="0"/>
                <a:sym typeface="Arial"/>
              </a:rPr>
              <a:t>1,5</a:t>
            </a:r>
          </a:p>
          <a:p>
            <a:pPr marL="170252" indent="-170252" defTabSz="914378">
              <a:spcBef>
                <a:spcPts val="225"/>
              </a:spcBef>
              <a:buClr>
                <a:srgbClr val="545859"/>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Lowered expression of MHC class I molecules</a:t>
            </a:r>
            <a:r>
              <a:rPr lang="en-US" sz="950" kern="0" baseline="30000" dirty="0">
                <a:solidFill>
                  <a:srgbClr val="545859"/>
                </a:solidFill>
                <a:latin typeface="Gene Sans Light"/>
                <a:cs typeface="Arial" charset="0"/>
                <a:sym typeface="Arial"/>
              </a:rPr>
              <a:t>2</a:t>
            </a:r>
          </a:p>
        </p:txBody>
      </p:sp>
      <p:sp>
        <p:nvSpPr>
          <p:cNvPr id="32" name="TextBox 31">
            <a:extLst>
              <a:ext uri="{FF2B5EF4-FFF2-40B4-BE49-F238E27FC236}">
                <a16:creationId xmlns:a16="http://schemas.microsoft.com/office/drawing/2014/main" id="{233A12A9-7F53-4BEB-8633-A2F12C010C63}"/>
              </a:ext>
            </a:extLst>
          </p:cNvPr>
          <p:cNvSpPr txBox="1">
            <a:spLocks/>
          </p:cNvSpPr>
          <p:nvPr/>
        </p:nvSpPr>
        <p:spPr>
          <a:xfrm>
            <a:off x="5479314" y="1340774"/>
            <a:ext cx="1643368" cy="201168"/>
          </a:xfrm>
          <a:prstGeom prst="rect">
            <a:avLst/>
          </a:prstGeom>
          <a:solidFill>
            <a:schemeClr val="tx2"/>
          </a:solidFill>
          <a:ln>
            <a:noFill/>
          </a:ln>
        </p:spPr>
        <p:txBody>
          <a:bodyPr wrap="square" tIns="20574" bIns="20574" anchor="ctr">
            <a:noAutofit/>
          </a:bodyPr>
          <a:lstStyle>
            <a:defPPr>
              <a:defRPr lang="en-US"/>
            </a:defPPr>
            <a:lvl1pPr defTabSz="914400">
              <a:spcBef>
                <a:spcPct val="0"/>
              </a:spcBef>
              <a:defRPr sz="1450" b="1">
                <a:solidFill>
                  <a:schemeClr val="bg1"/>
                </a:solidFill>
                <a:latin typeface="Arial" charset="0"/>
                <a:ea typeface="ＭＳ Ｐゴシック" pitchFamily="34" charset="-128"/>
                <a:cs typeface="Arial" charset="0"/>
              </a:defRPr>
            </a:lvl1pPr>
          </a:lstStyle>
          <a:p>
            <a:pPr defTabSz="685766">
              <a:buClr>
                <a:srgbClr val="000000"/>
              </a:buClr>
              <a:defRPr/>
            </a:pPr>
            <a:r>
              <a:rPr lang="en-US" sz="1000" b="0" kern="0" dirty="0">
                <a:solidFill>
                  <a:prstClr val="white"/>
                </a:solidFill>
                <a:latin typeface="Gene Sans Light"/>
                <a:sym typeface="Arial"/>
              </a:rPr>
              <a:t>Step 3</a:t>
            </a:r>
          </a:p>
        </p:txBody>
      </p:sp>
      <p:sp>
        <p:nvSpPr>
          <p:cNvPr id="33" name="TextBox 32">
            <a:extLst>
              <a:ext uri="{FF2B5EF4-FFF2-40B4-BE49-F238E27FC236}">
                <a16:creationId xmlns:a16="http://schemas.microsoft.com/office/drawing/2014/main" id="{5E84B3D9-B366-4E86-8AD3-263E65A29ABF}"/>
              </a:ext>
            </a:extLst>
          </p:cNvPr>
          <p:cNvSpPr txBox="1"/>
          <p:nvPr/>
        </p:nvSpPr>
        <p:spPr>
          <a:xfrm>
            <a:off x="5479314" y="3091729"/>
            <a:ext cx="1643368" cy="201168"/>
          </a:xfrm>
          <a:prstGeom prst="rect">
            <a:avLst/>
          </a:prstGeom>
          <a:solidFill>
            <a:schemeClr val="tx2"/>
          </a:solidFill>
          <a:ln>
            <a:noFill/>
          </a:ln>
        </p:spPr>
        <p:txBody>
          <a:bodyPr wrap="square" tIns="20574" bIns="20574" anchor="ctr">
            <a:noAutofit/>
          </a:bodyPr>
          <a:lstStyle>
            <a:defPPr>
              <a:defRPr lang="en-US"/>
            </a:defPPr>
            <a:lvl1pPr defTabSz="914400">
              <a:spcBef>
                <a:spcPct val="0"/>
              </a:spcBef>
              <a:defRPr sz="1450" b="1">
                <a:solidFill>
                  <a:schemeClr val="bg1"/>
                </a:solidFill>
                <a:latin typeface="Arial" charset="0"/>
                <a:ea typeface="ＭＳ Ｐゴシック" pitchFamily="34" charset="-128"/>
                <a:cs typeface="Arial" charset="0"/>
              </a:defRPr>
            </a:lvl1pPr>
          </a:lstStyle>
          <a:p>
            <a:pPr defTabSz="685766">
              <a:buClr>
                <a:srgbClr val="000000"/>
              </a:buClr>
              <a:defRPr/>
            </a:pPr>
            <a:r>
              <a:rPr lang="en-US" sz="1000" b="0" kern="0" dirty="0">
                <a:solidFill>
                  <a:prstClr val="white"/>
                </a:solidFill>
                <a:latin typeface="Gene Sans Light"/>
                <a:sym typeface="Arial"/>
              </a:rPr>
              <a:t>Step 6</a:t>
            </a:r>
          </a:p>
        </p:txBody>
      </p:sp>
      <p:sp>
        <p:nvSpPr>
          <p:cNvPr id="34" name="TextBox 33">
            <a:extLst>
              <a:ext uri="{FF2B5EF4-FFF2-40B4-BE49-F238E27FC236}">
                <a16:creationId xmlns:a16="http://schemas.microsoft.com/office/drawing/2014/main" id="{6505225D-76FA-4B24-8F28-47461E115B01}"/>
              </a:ext>
            </a:extLst>
          </p:cNvPr>
          <p:cNvSpPr txBox="1"/>
          <p:nvPr/>
        </p:nvSpPr>
        <p:spPr>
          <a:xfrm>
            <a:off x="5479314" y="3753671"/>
            <a:ext cx="1643368" cy="201168"/>
          </a:xfrm>
          <a:prstGeom prst="rect">
            <a:avLst/>
          </a:prstGeom>
          <a:solidFill>
            <a:schemeClr val="tx2"/>
          </a:solidFill>
          <a:ln>
            <a:noFill/>
          </a:ln>
        </p:spPr>
        <p:txBody>
          <a:bodyPr wrap="square" tIns="20574" bIns="20574" anchor="ctr">
            <a:noAutofit/>
          </a:bodyPr>
          <a:lstStyle>
            <a:defPPr>
              <a:defRPr lang="en-US"/>
            </a:defPPr>
            <a:lvl1pPr defTabSz="914400">
              <a:spcBef>
                <a:spcPct val="0"/>
              </a:spcBef>
              <a:defRPr sz="1450" b="1">
                <a:solidFill>
                  <a:schemeClr val="bg1"/>
                </a:solidFill>
                <a:latin typeface="Arial" charset="0"/>
                <a:ea typeface="ＭＳ Ｐゴシック" pitchFamily="34" charset="-128"/>
                <a:cs typeface="Arial" charset="0"/>
              </a:defRPr>
            </a:lvl1pPr>
          </a:lstStyle>
          <a:p>
            <a:pPr defTabSz="685766">
              <a:buClr>
                <a:srgbClr val="000000"/>
              </a:buClr>
              <a:defRPr/>
            </a:pPr>
            <a:r>
              <a:rPr lang="en-US" sz="1000" b="0" kern="0" dirty="0">
                <a:solidFill>
                  <a:prstClr val="white"/>
                </a:solidFill>
                <a:latin typeface="Gene Sans Light"/>
                <a:sym typeface="Arial"/>
              </a:rPr>
              <a:t>Step 7</a:t>
            </a:r>
          </a:p>
        </p:txBody>
      </p:sp>
      <p:sp>
        <p:nvSpPr>
          <p:cNvPr id="35" name="TextBox 34">
            <a:extLst>
              <a:ext uri="{FF2B5EF4-FFF2-40B4-BE49-F238E27FC236}">
                <a16:creationId xmlns:a16="http://schemas.microsoft.com/office/drawing/2014/main" id="{33BF7D4F-5B14-44E9-AF64-07084CFCEC8F}"/>
              </a:ext>
            </a:extLst>
          </p:cNvPr>
          <p:cNvSpPr txBox="1"/>
          <p:nvPr/>
        </p:nvSpPr>
        <p:spPr>
          <a:xfrm>
            <a:off x="5479314" y="2233330"/>
            <a:ext cx="1643368" cy="201168"/>
          </a:xfrm>
          <a:prstGeom prst="rect">
            <a:avLst/>
          </a:prstGeom>
          <a:solidFill>
            <a:schemeClr val="tx2"/>
          </a:solidFill>
          <a:ln>
            <a:noFill/>
          </a:ln>
        </p:spPr>
        <p:txBody>
          <a:bodyPr wrap="square" tIns="20574" bIns="20574" anchor="ctr">
            <a:noAutofit/>
          </a:bodyPr>
          <a:lstStyle>
            <a:defPPr>
              <a:defRPr lang="en-US"/>
            </a:defPPr>
            <a:lvl1pPr defTabSz="914400">
              <a:spcBef>
                <a:spcPct val="0"/>
              </a:spcBef>
              <a:defRPr sz="1450" b="1">
                <a:solidFill>
                  <a:schemeClr val="bg1"/>
                </a:solidFill>
                <a:latin typeface="Arial" charset="0"/>
                <a:ea typeface="ＭＳ Ｐゴシック" pitchFamily="34" charset="-128"/>
                <a:cs typeface="Arial" charset="0"/>
              </a:defRPr>
            </a:lvl1pPr>
          </a:lstStyle>
          <a:p>
            <a:pPr defTabSz="685766">
              <a:buClr>
                <a:srgbClr val="000000"/>
              </a:buClr>
              <a:defRPr/>
            </a:pPr>
            <a:r>
              <a:rPr lang="en-US" sz="1000" b="0" kern="0" dirty="0">
                <a:solidFill>
                  <a:prstClr val="white"/>
                </a:solidFill>
                <a:latin typeface="Gene Sans Light"/>
                <a:sym typeface="Arial"/>
              </a:rPr>
              <a:t>Step 5</a:t>
            </a:r>
          </a:p>
        </p:txBody>
      </p:sp>
      <p:sp>
        <p:nvSpPr>
          <p:cNvPr id="39" name="Rectangle 38">
            <a:extLst>
              <a:ext uri="{FF2B5EF4-FFF2-40B4-BE49-F238E27FC236}">
                <a16:creationId xmlns:a16="http://schemas.microsoft.com/office/drawing/2014/main" id="{BF0C23FC-43F8-46CF-AC45-FF94398B0412}"/>
              </a:ext>
            </a:extLst>
          </p:cNvPr>
          <p:cNvSpPr>
            <a:spLocks/>
          </p:cNvSpPr>
          <p:nvPr/>
        </p:nvSpPr>
        <p:spPr>
          <a:xfrm>
            <a:off x="377952" y="1264140"/>
            <a:ext cx="4927327" cy="226216"/>
          </a:xfrm>
          <a:prstGeom prst="rect">
            <a:avLst/>
          </a:prstGeom>
          <a:noFill/>
          <a:ln>
            <a:noFill/>
          </a:ln>
          <a:scene3d>
            <a:camera prst="orthographicFront"/>
            <a:lightRig rig="threePt" dir="t"/>
          </a:scene3d>
          <a:sp3d>
            <a:bevelT/>
          </a:sp3d>
        </p:spPr>
        <p:txBody>
          <a:bodyPr wrap="square" lIns="0" tIns="0" rIns="0" bIns="0">
            <a:noAutofit/>
          </a:bodyPr>
          <a:lstStyle/>
          <a:p>
            <a:pPr algn="ctr" defTabSz="685766">
              <a:spcBef>
                <a:spcPct val="0"/>
              </a:spcBef>
              <a:buClr>
                <a:srgbClr val="000000"/>
              </a:buClr>
              <a:defRPr/>
            </a:pPr>
            <a:r>
              <a:rPr lang="en-US" sz="1200" kern="0" dirty="0">
                <a:solidFill>
                  <a:srgbClr val="004677"/>
                </a:solidFill>
                <a:latin typeface="Gene Sans Light"/>
                <a:ea typeface="ＭＳ Ｐゴシック" pitchFamily="34" charset="-128"/>
                <a:cs typeface="Arial" charset="0"/>
                <a:sym typeface="Arial"/>
              </a:rPr>
              <a:t>The Cancer Immunity Cycle</a:t>
            </a:r>
            <a:r>
              <a:rPr lang="en-US" sz="1200" kern="0" baseline="30000" dirty="0">
                <a:solidFill>
                  <a:srgbClr val="004677"/>
                </a:solidFill>
                <a:latin typeface="Gene Sans Light"/>
                <a:ea typeface="ＭＳ Ｐゴシック" pitchFamily="34" charset="-128"/>
                <a:cs typeface="Arial" charset="0"/>
                <a:sym typeface="Arial"/>
              </a:rPr>
              <a:t>1</a:t>
            </a:r>
          </a:p>
        </p:txBody>
      </p:sp>
      <p:grpSp>
        <p:nvGrpSpPr>
          <p:cNvPr id="13" name="Google Shape;342;p4">
            <a:extLst>
              <a:ext uri="{FF2B5EF4-FFF2-40B4-BE49-F238E27FC236}">
                <a16:creationId xmlns:a16="http://schemas.microsoft.com/office/drawing/2014/main" id="{B1DFC615-6A31-4CF2-99D8-62B8CBFAB0E8}"/>
              </a:ext>
            </a:extLst>
          </p:cNvPr>
          <p:cNvGrpSpPr/>
          <p:nvPr/>
        </p:nvGrpSpPr>
        <p:grpSpPr>
          <a:xfrm>
            <a:off x="8849668" y="55416"/>
            <a:ext cx="238916" cy="228628"/>
            <a:chOff x="11619274" y="118751"/>
            <a:chExt cx="432689" cy="414056"/>
          </a:xfrm>
        </p:grpSpPr>
        <p:sp>
          <p:nvSpPr>
            <p:cNvPr id="14" name="Google Shape;343;p4">
              <a:hlinkClick r:id="rId4" action="ppaction://hlinksldjump"/>
              <a:extLst>
                <a:ext uri="{FF2B5EF4-FFF2-40B4-BE49-F238E27FC236}">
                  <a16:creationId xmlns:a16="http://schemas.microsoft.com/office/drawing/2014/main" id="{0B6DA041-C570-4AE4-8F09-FDB1681E6566}"/>
                </a:ext>
              </a:extLst>
            </p:cNvPr>
            <p:cNvSpPr/>
            <p:nvPr/>
          </p:nvSpPr>
          <p:spPr>
            <a:xfrm>
              <a:off x="11619274" y="118751"/>
              <a:ext cx="432689" cy="414056"/>
            </a:xfrm>
            <a:prstGeom prst="roundRect">
              <a:avLst>
                <a:gd name="adj" fmla="val 16667"/>
              </a:avLst>
            </a:prstGeom>
            <a:solidFill>
              <a:schemeClr val="accent2"/>
            </a:solidFill>
            <a:ln>
              <a:noFill/>
            </a:ln>
          </p:spPr>
          <p:txBody>
            <a:bodyPr spcFirstLastPara="1" wrap="square" lIns="68550" tIns="34275" rIns="68550" bIns="34275" anchor="ctr" anchorCtr="0">
              <a:noAutofit/>
            </a:bodyPr>
            <a:lstStyle/>
            <a:p>
              <a:pPr algn="ctr" defTabSz="914378">
                <a:buClr>
                  <a:srgbClr val="000000"/>
                </a:buClr>
              </a:pPr>
              <a:endParaRPr lang="en-US" sz="825" kern="0" dirty="0">
                <a:solidFill>
                  <a:srgbClr val="FFFFFF"/>
                </a:solidFill>
                <a:latin typeface="Arial"/>
                <a:ea typeface="Arial"/>
                <a:cs typeface="Arial"/>
                <a:sym typeface="Arial"/>
              </a:endParaRPr>
            </a:p>
          </p:txBody>
        </p:sp>
        <p:pic>
          <p:nvPicPr>
            <p:cNvPr id="16" name="Google Shape;344;p4">
              <a:hlinkClick r:id="rId4" action="ppaction://hlinksldjump"/>
              <a:extLst>
                <a:ext uri="{FF2B5EF4-FFF2-40B4-BE49-F238E27FC236}">
                  <a16:creationId xmlns:a16="http://schemas.microsoft.com/office/drawing/2014/main" id="{E753C220-5F2D-4451-828E-E190E67E0238}"/>
                </a:ext>
              </a:extLst>
            </p:cNvPr>
            <p:cNvPicPr preferRelativeResize="0"/>
            <p:nvPr/>
          </p:nvPicPr>
          <p:blipFill rotWithShape="1">
            <a:blip r:embed="rId5">
              <a:alphaModFix/>
            </a:blip>
            <a:srcRect/>
            <a:stretch/>
          </p:blipFill>
          <p:spPr>
            <a:xfrm>
              <a:off x="11681971" y="162551"/>
              <a:ext cx="307293" cy="307293"/>
            </a:xfrm>
            <a:prstGeom prst="rect">
              <a:avLst/>
            </a:prstGeom>
            <a:noFill/>
            <a:ln>
              <a:noFill/>
            </a:ln>
          </p:spPr>
        </p:pic>
      </p:grpSp>
    </p:spTree>
    <p:extLst>
      <p:ext uri="{BB962C8B-B14F-4D97-AF65-F5344CB8AC3E}">
        <p14:creationId xmlns:p14="http://schemas.microsoft.com/office/powerpoint/2010/main" val="1411856810"/>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1831" y="1505516"/>
            <a:ext cx="3067520" cy="29589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 Placeholder 8">
            <a:extLst>
              <a:ext uri="{FF2B5EF4-FFF2-40B4-BE49-F238E27FC236}">
                <a16:creationId xmlns:a16="http://schemas.microsoft.com/office/drawing/2014/main" id="{D3FB05DF-6E93-430B-8FF2-E90AF56FFA91}"/>
              </a:ext>
            </a:extLst>
          </p:cNvPr>
          <p:cNvSpPr>
            <a:spLocks noGrp="1"/>
          </p:cNvSpPr>
          <p:nvPr>
            <p:ph type="body" idx="2"/>
          </p:nvPr>
        </p:nvSpPr>
        <p:spPr/>
        <p:txBody>
          <a:bodyPr/>
          <a:lstStyle/>
          <a:p>
            <a:r>
              <a:rPr lang="en-US" dirty="0"/>
              <a:t>Cancer Immunity Cycle</a:t>
            </a:r>
          </a:p>
        </p:txBody>
      </p:sp>
      <p:sp>
        <p:nvSpPr>
          <p:cNvPr id="15" name="Text Placeholder 14">
            <a:extLst>
              <a:ext uri="{FF2B5EF4-FFF2-40B4-BE49-F238E27FC236}">
                <a16:creationId xmlns:a16="http://schemas.microsoft.com/office/drawing/2014/main" id="{D967DD7B-5660-4A7C-A7CB-E4804206110D}"/>
              </a:ext>
            </a:extLst>
          </p:cNvPr>
          <p:cNvSpPr>
            <a:spLocks noGrp="1"/>
          </p:cNvSpPr>
          <p:nvPr>
            <p:ph type="body" idx="3"/>
          </p:nvPr>
        </p:nvSpPr>
        <p:spPr/>
        <p:txBody>
          <a:bodyPr/>
          <a:lstStyle/>
          <a:p>
            <a:r>
              <a:rPr lang="en-US" altLang="zh-CN" dirty="0"/>
              <a:t>CAR, chimeric antigen receptor; CTL, cytotoxic T lymphocyte; CTLA4, cytotoxic T lymphocyte–associated protein 4; GM-CSF, granulocyte-macrophage colony-stimulating factor; IDO, </a:t>
            </a:r>
            <a:r>
              <a:rPr lang="en-US" altLang="zh-CN" dirty="0" err="1"/>
              <a:t>indoleamine</a:t>
            </a:r>
            <a:r>
              <a:rPr lang="en-US" altLang="zh-CN" dirty="0"/>
              <a:t> 2,3-dioxygenase; TLR, toll-like receptor. </a:t>
            </a:r>
            <a:r>
              <a:rPr lang="en-US" altLang="en-US" dirty="0"/>
              <a:t>Chen DS, </a:t>
            </a:r>
            <a:r>
              <a:rPr lang="en-US" altLang="en-US" dirty="0" err="1"/>
              <a:t>Mellman</a:t>
            </a:r>
            <a:r>
              <a:rPr lang="en-US" altLang="en-US" dirty="0"/>
              <a:t> I. </a:t>
            </a:r>
            <a:r>
              <a:rPr lang="en-US" altLang="en-US" i="1" dirty="0"/>
              <a:t>Immunity.</a:t>
            </a:r>
            <a:r>
              <a:rPr lang="en-US" altLang="en-US" dirty="0"/>
              <a:t> 2013;39:1-10.</a:t>
            </a:r>
          </a:p>
        </p:txBody>
      </p:sp>
      <p:sp>
        <p:nvSpPr>
          <p:cNvPr id="5" name="Title 4"/>
          <p:cNvSpPr>
            <a:spLocks noGrp="1"/>
          </p:cNvSpPr>
          <p:nvPr>
            <p:ph type="title"/>
          </p:nvPr>
        </p:nvSpPr>
        <p:spPr>
          <a:xfrm>
            <a:off x="381648" y="585796"/>
            <a:ext cx="8384400" cy="652455"/>
          </a:xfrm>
        </p:spPr>
        <p:txBody>
          <a:bodyPr/>
          <a:lstStyle/>
          <a:p>
            <a:r>
              <a:rPr lang="en-US" dirty="0"/>
              <a:t>Several Targets in the Cancer Immune Cycle Are Currently </a:t>
            </a:r>
            <a:br>
              <a:rPr lang="en-US" dirty="0"/>
            </a:br>
            <a:r>
              <a:rPr lang="en-US" dirty="0"/>
              <a:t>Under Evaluation</a:t>
            </a:r>
          </a:p>
        </p:txBody>
      </p:sp>
      <p:sp>
        <p:nvSpPr>
          <p:cNvPr id="145" name="TextBox 144"/>
          <p:cNvSpPr txBox="1"/>
          <p:nvPr/>
        </p:nvSpPr>
        <p:spPr>
          <a:xfrm>
            <a:off x="1020726" y="3819669"/>
            <a:ext cx="1000594" cy="615553"/>
          </a:xfrm>
          <a:prstGeom prst="rect">
            <a:avLst/>
          </a:prstGeom>
          <a:noFill/>
        </p:spPr>
        <p:txBody>
          <a:bodyPr wrap="square" lIns="0" tIns="0" rIns="0" bIns="0" rtlCol="0">
            <a:spAutoFit/>
          </a:bodyPr>
          <a:lstStyle/>
          <a:p>
            <a:pPr algn="ctr" defTabSz="685766">
              <a:buClr>
                <a:srgbClr val="000000"/>
              </a:buClr>
              <a:defRPr/>
            </a:pPr>
            <a:r>
              <a:rPr lang="en-US" sz="800" b="1" kern="0" dirty="0">
                <a:solidFill>
                  <a:srgbClr val="004677"/>
                </a:solidFill>
                <a:latin typeface="Gene Sans Light"/>
                <a:cs typeface="Arial" pitchFamily="34" charset="0"/>
                <a:sym typeface="Arial"/>
              </a:rPr>
              <a:t>Release of </a:t>
            </a:r>
          </a:p>
          <a:p>
            <a:pPr algn="ctr" defTabSz="685766">
              <a:buClr>
                <a:srgbClr val="000000"/>
              </a:buClr>
              <a:defRPr/>
            </a:pPr>
            <a:r>
              <a:rPr lang="en-US" sz="800" b="1" kern="0" dirty="0">
                <a:solidFill>
                  <a:srgbClr val="004677"/>
                </a:solidFill>
                <a:latin typeface="Gene Sans Light"/>
                <a:cs typeface="Arial" pitchFamily="34" charset="0"/>
                <a:sym typeface="Arial"/>
              </a:rPr>
              <a:t>cancer cell antigens</a:t>
            </a:r>
          </a:p>
          <a:p>
            <a:pPr algn="ctr" defTabSz="914378">
              <a:buClr>
                <a:srgbClr val="000000"/>
              </a:buClr>
              <a:defRPr/>
            </a:pPr>
            <a:r>
              <a:rPr lang="en-US" sz="800" kern="0" dirty="0">
                <a:solidFill>
                  <a:srgbClr val="545859"/>
                </a:solidFill>
                <a:latin typeface="Gene Sans Light"/>
                <a:cs typeface="Arial" pitchFamily="34" charset="0"/>
                <a:sym typeface="Arial"/>
              </a:rPr>
              <a:t>Chemotherapy</a:t>
            </a:r>
          </a:p>
          <a:p>
            <a:pPr algn="ctr" defTabSz="914378">
              <a:buClr>
                <a:srgbClr val="000000"/>
              </a:buClr>
              <a:defRPr/>
            </a:pPr>
            <a:r>
              <a:rPr lang="en-US" sz="800" kern="0" dirty="0">
                <a:solidFill>
                  <a:srgbClr val="545859"/>
                </a:solidFill>
                <a:latin typeface="Gene Sans Light"/>
                <a:cs typeface="Arial" pitchFamily="34" charset="0"/>
                <a:sym typeface="Arial"/>
              </a:rPr>
              <a:t>Radiation therapy</a:t>
            </a:r>
          </a:p>
          <a:p>
            <a:pPr algn="ctr" defTabSz="914378">
              <a:buClr>
                <a:srgbClr val="000000"/>
              </a:buClr>
              <a:defRPr/>
            </a:pPr>
            <a:r>
              <a:rPr lang="en-US" sz="800" kern="0" dirty="0">
                <a:solidFill>
                  <a:srgbClr val="545859"/>
                </a:solidFill>
                <a:latin typeface="Gene Sans Light"/>
                <a:cs typeface="Arial" pitchFamily="34" charset="0"/>
                <a:sym typeface="Arial"/>
              </a:rPr>
              <a:t>Targeted therapy</a:t>
            </a:r>
          </a:p>
        </p:txBody>
      </p:sp>
      <p:sp>
        <p:nvSpPr>
          <p:cNvPr id="146" name="Rectangle 145"/>
          <p:cNvSpPr/>
          <p:nvPr/>
        </p:nvSpPr>
        <p:spPr>
          <a:xfrm>
            <a:off x="381649" y="2757584"/>
            <a:ext cx="1092733" cy="861774"/>
          </a:xfrm>
          <a:prstGeom prst="rect">
            <a:avLst/>
          </a:prstGeom>
        </p:spPr>
        <p:txBody>
          <a:bodyPr wrap="square" lIns="0" tIns="0" rIns="0" bIns="0">
            <a:spAutoFit/>
          </a:bodyPr>
          <a:lstStyle/>
          <a:p>
            <a:pPr algn="ctr" defTabSz="685766">
              <a:buClr>
                <a:srgbClr val="000000"/>
              </a:buClr>
              <a:defRPr/>
            </a:pPr>
            <a:r>
              <a:rPr lang="en-US" sz="800" b="1" kern="0" dirty="0">
                <a:solidFill>
                  <a:srgbClr val="004677"/>
                </a:solidFill>
                <a:latin typeface="Gene Sans Light"/>
                <a:cs typeface="Arial" pitchFamily="34" charset="0"/>
                <a:sym typeface="Arial"/>
              </a:rPr>
              <a:t>Cancer antigen presentation</a:t>
            </a:r>
          </a:p>
          <a:p>
            <a:pPr algn="ctr" defTabSz="914378">
              <a:buClr>
                <a:srgbClr val="000000"/>
              </a:buClr>
              <a:defRPr/>
            </a:pPr>
            <a:r>
              <a:rPr lang="en-US" sz="800" kern="0" dirty="0">
                <a:solidFill>
                  <a:srgbClr val="545859"/>
                </a:solidFill>
                <a:latin typeface="Gene Sans Light"/>
                <a:cs typeface="Arial" pitchFamily="34" charset="0"/>
                <a:sym typeface="Arial"/>
              </a:rPr>
              <a:t>Vaccines</a:t>
            </a:r>
          </a:p>
          <a:p>
            <a:pPr algn="ctr" defTabSz="914378">
              <a:buClr>
                <a:srgbClr val="000000"/>
              </a:buClr>
              <a:defRPr/>
            </a:pPr>
            <a:r>
              <a:rPr lang="en-US" sz="800" kern="0" dirty="0">
                <a:solidFill>
                  <a:srgbClr val="545859"/>
                </a:solidFill>
                <a:latin typeface="Gene Sans Light"/>
                <a:cs typeface="Arial" pitchFamily="34" charset="0"/>
                <a:sym typeface="Arial"/>
              </a:rPr>
              <a:t>IFN-α</a:t>
            </a:r>
          </a:p>
          <a:p>
            <a:pPr algn="ctr" defTabSz="914378">
              <a:buClr>
                <a:srgbClr val="000000"/>
              </a:buClr>
              <a:defRPr/>
            </a:pPr>
            <a:r>
              <a:rPr lang="en-US" sz="800" kern="0" dirty="0">
                <a:solidFill>
                  <a:srgbClr val="545859"/>
                </a:solidFill>
                <a:latin typeface="Gene Sans Light"/>
                <a:cs typeface="Arial" pitchFamily="34" charset="0"/>
                <a:sym typeface="Arial"/>
              </a:rPr>
              <a:t>GM-CSF</a:t>
            </a:r>
          </a:p>
          <a:p>
            <a:pPr algn="ctr" defTabSz="914378">
              <a:buClr>
                <a:srgbClr val="000000"/>
              </a:buClr>
              <a:defRPr/>
            </a:pPr>
            <a:r>
              <a:rPr lang="en-US" sz="800" kern="0" dirty="0">
                <a:solidFill>
                  <a:srgbClr val="545859"/>
                </a:solidFill>
                <a:latin typeface="Gene Sans Light"/>
                <a:cs typeface="Arial" pitchFamily="34" charset="0"/>
                <a:sym typeface="Arial"/>
              </a:rPr>
              <a:t>Anti-CD40 (agonist)</a:t>
            </a:r>
          </a:p>
          <a:p>
            <a:pPr algn="ctr" defTabSz="914378">
              <a:buClr>
                <a:srgbClr val="000000"/>
              </a:buClr>
              <a:defRPr/>
            </a:pPr>
            <a:r>
              <a:rPr lang="en-US" sz="800" kern="0" dirty="0">
                <a:solidFill>
                  <a:srgbClr val="545859"/>
                </a:solidFill>
                <a:latin typeface="Gene Sans Light"/>
                <a:cs typeface="Arial" pitchFamily="34" charset="0"/>
                <a:sym typeface="Arial"/>
              </a:rPr>
              <a:t>TLR agonist</a:t>
            </a:r>
          </a:p>
        </p:txBody>
      </p:sp>
      <p:sp>
        <p:nvSpPr>
          <p:cNvPr id="148" name="Rectangle 147"/>
          <p:cNvSpPr/>
          <p:nvPr/>
        </p:nvSpPr>
        <p:spPr>
          <a:xfrm>
            <a:off x="3821129" y="1881502"/>
            <a:ext cx="1136957" cy="369332"/>
          </a:xfrm>
          <a:prstGeom prst="rect">
            <a:avLst/>
          </a:prstGeom>
        </p:spPr>
        <p:txBody>
          <a:bodyPr wrap="square" lIns="0" tIns="0" rIns="0" bIns="0">
            <a:spAutoFit/>
          </a:bodyPr>
          <a:lstStyle/>
          <a:p>
            <a:pPr algn="ctr" defTabSz="685766">
              <a:buClr>
                <a:srgbClr val="000000"/>
              </a:buClr>
              <a:defRPr/>
            </a:pPr>
            <a:r>
              <a:rPr lang="en-US" sz="800" b="1" kern="0" dirty="0">
                <a:solidFill>
                  <a:srgbClr val="004677"/>
                </a:solidFill>
                <a:latin typeface="Gene Sans Light"/>
                <a:cs typeface="Arial" pitchFamily="34" charset="0"/>
                <a:sym typeface="Arial"/>
              </a:rPr>
              <a:t>Infiltration of T cells</a:t>
            </a:r>
            <a:br>
              <a:rPr lang="en-US" sz="800" b="1" kern="0" dirty="0">
                <a:solidFill>
                  <a:srgbClr val="004677"/>
                </a:solidFill>
                <a:latin typeface="Gene Sans Light"/>
                <a:cs typeface="Arial" pitchFamily="34" charset="0"/>
                <a:sym typeface="Arial"/>
              </a:rPr>
            </a:br>
            <a:r>
              <a:rPr lang="en-US" sz="800" b="1" kern="0" dirty="0">
                <a:solidFill>
                  <a:srgbClr val="004677"/>
                </a:solidFill>
                <a:latin typeface="Gene Sans Light"/>
                <a:cs typeface="Arial" pitchFamily="34" charset="0"/>
                <a:sym typeface="Arial"/>
              </a:rPr>
              <a:t>into tumors</a:t>
            </a:r>
          </a:p>
          <a:p>
            <a:pPr algn="ctr" defTabSz="914378">
              <a:buClr>
                <a:srgbClr val="000000"/>
              </a:buClr>
              <a:defRPr/>
            </a:pPr>
            <a:r>
              <a:rPr lang="en-US" sz="800" kern="0" dirty="0">
                <a:solidFill>
                  <a:srgbClr val="545859"/>
                </a:solidFill>
                <a:latin typeface="Gene Sans Light"/>
                <a:cs typeface="Arial" pitchFamily="34" charset="0"/>
                <a:sym typeface="Arial"/>
              </a:rPr>
              <a:t>Anti-VEGF</a:t>
            </a:r>
          </a:p>
        </p:txBody>
      </p:sp>
      <p:sp>
        <p:nvSpPr>
          <p:cNvPr id="149" name="Rectangle 148"/>
          <p:cNvSpPr/>
          <p:nvPr/>
        </p:nvSpPr>
        <p:spPr>
          <a:xfrm>
            <a:off x="4306579" y="2950464"/>
            <a:ext cx="1036632" cy="369332"/>
          </a:xfrm>
          <a:prstGeom prst="rect">
            <a:avLst/>
          </a:prstGeom>
        </p:spPr>
        <p:txBody>
          <a:bodyPr wrap="square" lIns="0" tIns="0" rIns="0" bIns="0">
            <a:spAutoFit/>
          </a:bodyPr>
          <a:lstStyle/>
          <a:p>
            <a:pPr algn="ctr" defTabSz="685766">
              <a:buClr>
                <a:srgbClr val="000000"/>
              </a:buClr>
              <a:defRPr/>
            </a:pPr>
            <a:r>
              <a:rPr lang="en-US" sz="800" kern="0" dirty="0">
                <a:solidFill>
                  <a:srgbClr val="004677"/>
                </a:solidFill>
                <a:latin typeface="Gene Sans Light"/>
                <a:cs typeface="Arial" pitchFamily="34" charset="0"/>
                <a:sym typeface="Arial"/>
              </a:rPr>
              <a:t> </a:t>
            </a:r>
            <a:r>
              <a:rPr lang="en-US" sz="800" b="1" kern="0" dirty="0">
                <a:solidFill>
                  <a:srgbClr val="004677"/>
                </a:solidFill>
                <a:latin typeface="Gene Sans Light"/>
                <a:cs typeface="Arial" pitchFamily="34" charset="0"/>
                <a:sym typeface="Arial"/>
              </a:rPr>
              <a:t>Recognition of cancer cells by T </a:t>
            </a:r>
            <a:r>
              <a:rPr lang="en-US" sz="800" b="1" kern="0" dirty="0">
                <a:solidFill>
                  <a:srgbClr val="005581"/>
                </a:solidFill>
                <a:latin typeface="Gene Sans Light"/>
                <a:cs typeface="Arial" pitchFamily="34" charset="0"/>
                <a:sym typeface="Arial"/>
              </a:rPr>
              <a:t>cells</a:t>
            </a:r>
            <a:br>
              <a:rPr lang="en-US" sz="800" kern="0" dirty="0">
                <a:solidFill>
                  <a:srgbClr val="3F4041"/>
                </a:solidFill>
                <a:latin typeface="Gene Sans Light"/>
                <a:cs typeface="Arial" pitchFamily="34" charset="0"/>
                <a:sym typeface="Arial"/>
              </a:rPr>
            </a:br>
            <a:r>
              <a:rPr lang="en-US" sz="800" kern="0" dirty="0">
                <a:solidFill>
                  <a:srgbClr val="545859"/>
                </a:solidFill>
                <a:latin typeface="Gene Sans Light"/>
                <a:cs typeface="Arial" pitchFamily="34" charset="0"/>
                <a:sym typeface="Arial"/>
              </a:rPr>
              <a:t>CARs</a:t>
            </a:r>
          </a:p>
        </p:txBody>
      </p:sp>
      <p:sp>
        <p:nvSpPr>
          <p:cNvPr id="150" name="Rectangle 149"/>
          <p:cNvSpPr/>
          <p:nvPr/>
        </p:nvSpPr>
        <p:spPr>
          <a:xfrm>
            <a:off x="3835944" y="3834761"/>
            <a:ext cx="948709" cy="615553"/>
          </a:xfrm>
          <a:prstGeom prst="rect">
            <a:avLst/>
          </a:prstGeom>
        </p:spPr>
        <p:txBody>
          <a:bodyPr wrap="square" lIns="0" tIns="0" rIns="0" bIns="0">
            <a:spAutoFit/>
          </a:bodyPr>
          <a:lstStyle/>
          <a:p>
            <a:pPr algn="ctr" defTabSz="685766">
              <a:buClr>
                <a:srgbClr val="000000"/>
              </a:buClr>
              <a:defRPr/>
            </a:pPr>
            <a:r>
              <a:rPr lang="en-US" sz="800" b="1" kern="0" dirty="0">
                <a:solidFill>
                  <a:srgbClr val="004677"/>
                </a:solidFill>
                <a:latin typeface="Gene Sans Light"/>
                <a:cs typeface="Arial" pitchFamily="34" charset="0"/>
                <a:sym typeface="Arial"/>
              </a:rPr>
              <a:t>Killing of </a:t>
            </a:r>
          </a:p>
          <a:p>
            <a:pPr algn="ctr" defTabSz="685766">
              <a:buClr>
                <a:srgbClr val="000000"/>
              </a:buClr>
              <a:defRPr/>
            </a:pPr>
            <a:r>
              <a:rPr lang="en-US" sz="800" b="1" kern="0" dirty="0">
                <a:solidFill>
                  <a:srgbClr val="004677"/>
                </a:solidFill>
                <a:latin typeface="Gene Sans Light"/>
                <a:cs typeface="Arial" pitchFamily="34" charset="0"/>
                <a:sym typeface="Arial"/>
              </a:rPr>
              <a:t>cancer cells</a:t>
            </a:r>
          </a:p>
          <a:p>
            <a:pPr algn="ctr" defTabSz="914378">
              <a:buClr>
                <a:srgbClr val="000000"/>
              </a:buClr>
              <a:defRPr/>
            </a:pPr>
            <a:r>
              <a:rPr lang="en-US" sz="800" kern="0" dirty="0">
                <a:solidFill>
                  <a:srgbClr val="545859"/>
                </a:solidFill>
                <a:latin typeface="Gene Sans Light"/>
                <a:cs typeface="Arial" pitchFamily="34" charset="0"/>
                <a:sym typeface="Arial"/>
              </a:rPr>
              <a:t>Anti–PD-L1</a:t>
            </a:r>
          </a:p>
          <a:p>
            <a:pPr algn="ctr" defTabSz="914378">
              <a:buClr>
                <a:srgbClr val="000000"/>
              </a:buClr>
              <a:defRPr/>
            </a:pPr>
            <a:r>
              <a:rPr lang="en-US" sz="800" kern="0" dirty="0">
                <a:solidFill>
                  <a:srgbClr val="545859"/>
                </a:solidFill>
                <a:latin typeface="Gene Sans Light"/>
                <a:cs typeface="Arial" pitchFamily="34" charset="0"/>
                <a:sym typeface="Arial"/>
              </a:rPr>
              <a:t>Anti–PD-1</a:t>
            </a:r>
          </a:p>
          <a:p>
            <a:pPr algn="ctr" defTabSz="914378">
              <a:buClr>
                <a:srgbClr val="000000"/>
              </a:buClr>
              <a:defRPr/>
            </a:pPr>
            <a:r>
              <a:rPr lang="en-US" sz="800" kern="0" dirty="0">
                <a:solidFill>
                  <a:srgbClr val="545859"/>
                </a:solidFill>
                <a:latin typeface="Gene Sans Light"/>
                <a:cs typeface="Arial" pitchFamily="34" charset="0"/>
                <a:sym typeface="Arial"/>
              </a:rPr>
              <a:t>IDO inhibitors</a:t>
            </a:r>
          </a:p>
        </p:txBody>
      </p:sp>
      <p:sp>
        <p:nvSpPr>
          <p:cNvPr id="151" name="Rectangle 150"/>
          <p:cNvSpPr/>
          <p:nvPr/>
        </p:nvSpPr>
        <p:spPr>
          <a:xfrm>
            <a:off x="2721936" y="1271724"/>
            <a:ext cx="1304435" cy="246221"/>
          </a:xfrm>
          <a:prstGeom prst="rect">
            <a:avLst/>
          </a:prstGeom>
        </p:spPr>
        <p:txBody>
          <a:bodyPr wrap="square" lIns="0" tIns="0" rIns="0" bIns="0">
            <a:spAutoFit/>
          </a:bodyPr>
          <a:lstStyle/>
          <a:p>
            <a:pPr algn="ctr" defTabSz="685766">
              <a:buClr>
                <a:srgbClr val="000000"/>
              </a:buClr>
              <a:defRPr/>
            </a:pPr>
            <a:r>
              <a:rPr lang="en-US" sz="800" b="1" kern="0" dirty="0">
                <a:solidFill>
                  <a:srgbClr val="004677"/>
                </a:solidFill>
                <a:latin typeface="Gene Sans Light"/>
                <a:cs typeface="Arial" pitchFamily="34" charset="0"/>
                <a:sym typeface="Arial"/>
              </a:rPr>
              <a:t>Trafficking of T cells</a:t>
            </a:r>
            <a:br>
              <a:rPr lang="en-US" sz="800" b="1" kern="0" dirty="0">
                <a:solidFill>
                  <a:srgbClr val="004677"/>
                </a:solidFill>
                <a:latin typeface="Gene Sans Light"/>
                <a:cs typeface="Arial" pitchFamily="34" charset="0"/>
                <a:sym typeface="Arial"/>
              </a:rPr>
            </a:br>
            <a:r>
              <a:rPr lang="en-US" sz="800" b="1" kern="0" dirty="0">
                <a:solidFill>
                  <a:srgbClr val="004677"/>
                </a:solidFill>
                <a:latin typeface="Gene Sans Light"/>
                <a:cs typeface="Arial" pitchFamily="34" charset="0"/>
                <a:sym typeface="Arial"/>
              </a:rPr>
              <a:t>to tumors (CTLs)</a:t>
            </a:r>
          </a:p>
        </p:txBody>
      </p:sp>
      <p:sp>
        <p:nvSpPr>
          <p:cNvPr id="147" name="Rectangle 146"/>
          <p:cNvSpPr/>
          <p:nvPr/>
        </p:nvSpPr>
        <p:spPr>
          <a:xfrm>
            <a:off x="381649" y="1371224"/>
            <a:ext cx="1220324" cy="1107996"/>
          </a:xfrm>
          <a:prstGeom prst="rect">
            <a:avLst/>
          </a:prstGeom>
        </p:spPr>
        <p:txBody>
          <a:bodyPr wrap="square" lIns="0" tIns="0" rIns="0" bIns="0">
            <a:spAutoFit/>
          </a:bodyPr>
          <a:lstStyle/>
          <a:p>
            <a:pPr algn="ctr" defTabSz="685766">
              <a:buClr>
                <a:srgbClr val="000000"/>
              </a:buClr>
              <a:defRPr/>
            </a:pPr>
            <a:r>
              <a:rPr lang="en-US" sz="800" b="1" kern="0" dirty="0">
                <a:solidFill>
                  <a:srgbClr val="004677"/>
                </a:solidFill>
                <a:latin typeface="Gene Sans Light"/>
                <a:cs typeface="Arial" pitchFamily="34" charset="0"/>
                <a:sym typeface="Arial"/>
              </a:rPr>
              <a:t>Priming and activation</a:t>
            </a:r>
          </a:p>
          <a:p>
            <a:pPr algn="ctr" defTabSz="914378">
              <a:buClr>
                <a:srgbClr val="000000"/>
              </a:buClr>
              <a:defRPr/>
            </a:pPr>
            <a:r>
              <a:rPr lang="en-US" sz="800" kern="0" dirty="0">
                <a:solidFill>
                  <a:srgbClr val="545859"/>
                </a:solidFill>
                <a:latin typeface="Gene Sans Light"/>
                <a:cs typeface="Arial" pitchFamily="34" charset="0"/>
                <a:sym typeface="Arial"/>
              </a:rPr>
              <a:t>Anti-PD-1</a:t>
            </a:r>
          </a:p>
          <a:p>
            <a:pPr algn="ctr" defTabSz="914378">
              <a:buClr>
                <a:srgbClr val="000000"/>
              </a:buClr>
              <a:defRPr/>
            </a:pPr>
            <a:r>
              <a:rPr lang="en-US" sz="800" kern="0" dirty="0">
                <a:solidFill>
                  <a:srgbClr val="545859"/>
                </a:solidFill>
                <a:latin typeface="Gene Sans Light"/>
                <a:cs typeface="Arial" pitchFamily="34" charset="0"/>
                <a:sym typeface="Arial"/>
              </a:rPr>
              <a:t>Anti–PD-L1</a:t>
            </a:r>
          </a:p>
          <a:p>
            <a:pPr algn="ctr" defTabSz="914378">
              <a:buClr>
                <a:srgbClr val="000000"/>
              </a:buClr>
              <a:defRPr/>
            </a:pPr>
            <a:r>
              <a:rPr lang="en-US" sz="800" kern="0" dirty="0">
                <a:solidFill>
                  <a:srgbClr val="545859"/>
                </a:solidFill>
                <a:latin typeface="Gene Sans Light"/>
                <a:cs typeface="Arial" pitchFamily="34" charset="0"/>
                <a:sym typeface="Arial"/>
              </a:rPr>
              <a:t>Anti-CTLA4</a:t>
            </a:r>
          </a:p>
          <a:p>
            <a:pPr algn="ctr" defTabSz="914378">
              <a:buClr>
                <a:srgbClr val="000000"/>
              </a:buClr>
              <a:defRPr/>
            </a:pPr>
            <a:r>
              <a:rPr lang="en-US" sz="800" kern="0" dirty="0">
                <a:solidFill>
                  <a:srgbClr val="545859"/>
                </a:solidFill>
                <a:latin typeface="Gene Sans Light"/>
                <a:cs typeface="Arial" pitchFamily="34" charset="0"/>
                <a:sym typeface="Arial"/>
              </a:rPr>
              <a:t>Anti-CD137 (agonist)</a:t>
            </a:r>
          </a:p>
          <a:p>
            <a:pPr algn="ctr" defTabSz="914378">
              <a:buClr>
                <a:srgbClr val="000000"/>
              </a:buClr>
              <a:defRPr/>
            </a:pPr>
            <a:r>
              <a:rPr lang="en-US" sz="800" kern="0" dirty="0">
                <a:solidFill>
                  <a:srgbClr val="545859"/>
                </a:solidFill>
                <a:latin typeface="Gene Sans Light"/>
                <a:cs typeface="Arial" pitchFamily="34" charset="0"/>
                <a:sym typeface="Arial"/>
              </a:rPr>
              <a:t>Anti-OX40 (agonist)</a:t>
            </a:r>
          </a:p>
          <a:p>
            <a:pPr algn="ctr" defTabSz="914378">
              <a:buClr>
                <a:srgbClr val="000000"/>
              </a:buClr>
              <a:defRPr/>
            </a:pPr>
            <a:r>
              <a:rPr lang="en-US" sz="800" kern="0" dirty="0">
                <a:solidFill>
                  <a:srgbClr val="545859"/>
                </a:solidFill>
                <a:latin typeface="Gene Sans Light"/>
                <a:cs typeface="Arial" pitchFamily="34" charset="0"/>
                <a:sym typeface="Arial"/>
              </a:rPr>
              <a:t>Anti-CD27 (agonist)</a:t>
            </a:r>
          </a:p>
          <a:p>
            <a:pPr algn="ctr" defTabSz="914378">
              <a:buClr>
                <a:srgbClr val="000000"/>
              </a:buClr>
              <a:defRPr/>
            </a:pPr>
            <a:r>
              <a:rPr lang="en-US" sz="800" kern="0" dirty="0">
                <a:solidFill>
                  <a:srgbClr val="545859"/>
                </a:solidFill>
                <a:latin typeface="Gene Sans Light"/>
                <a:cs typeface="Arial" pitchFamily="34" charset="0"/>
                <a:sym typeface="Arial"/>
              </a:rPr>
              <a:t>IL-2</a:t>
            </a:r>
          </a:p>
          <a:p>
            <a:pPr algn="ctr" defTabSz="914378">
              <a:buClr>
                <a:srgbClr val="000000"/>
              </a:buClr>
              <a:defRPr/>
            </a:pPr>
            <a:r>
              <a:rPr lang="en-US" sz="800" kern="0" dirty="0">
                <a:solidFill>
                  <a:srgbClr val="545859"/>
                </a:solidFill>
                <a:latin typeface="Gene Sans Light"/>
                <a:cs typeface="Arial" pitchFamily="34" charset="0"/>
                <a:sym typeface="Arial"/>
              </a:rPr>
              <a:t>IL-12</a:t>
            </a:r>
          </a:p>
        </p:txBody>
      </p:sp>
      <p:sp>
        <p:nvSpPr>
          <p:cNvPr id="32" name="Rounded Rectangle 26">
            <a:extLst>
              <a:ext uri="{FF2B5EF4-FFF2-40B4-BE49-F238E27FC236}">
                <a16:creationId xmlns:a16="http://schemas.microsoft.com/office/drawing/2014/main" id="{4F8279D7-FD29-4639-9737-AAE9D1E74477}"/>
              </a:ext>
            </a:extLst>
          </p:cNvPr>
          <p:cNvSpPr>
            <a:spLocks/>
          </p:cNvSpPr>
          <p:nvPr/>
        </p:nvSpPr>
        <p:spPr bwMode="auto">
          <a:xfrm>
            <a:off x="5479314" y="1340775"/>
            <a:ext cx="3286736" cy="3124783"/>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68580" tIns="34290" rIns="9144" bIns="34290" numCol="1" rtlCol="0" anchor="t" anchorCtr="0" compatLnSpc="1">
            <a:prstTxWarp prst="textNoShape">
              <a:avLst/>
            </a:prstTxWarp>
            <a:noAutofit/>
          </a:bodyPr>
          <a:lstStyle/>
          <a:p>
            <a:pPr marL="170252" indent="-170252" defTabSz="914378">
              <a:spcBef>
                <a:spcPts val="225"/>
              </a:spcBef>
              <a:buClr>
                <a:srgbClr val="000000"/>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Step 1</a:t>
            </a:r>
          </a:p>
          <a:p>
            <a:pPr marL="170252" indent="-170252" defTabSz="914378">
              <a:spcBef>
                <a:spcPts val="225"/>
              </a:spcBef>
              <a:buClr>
                <a:srgbClr val="545859"/>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Although not developed as immunotherapies, chemotherapy, radiation therapy, and targeted therapies can primarily promote the release of cancer cell antigens into the circulation</a:t>
            </a:r>
          </a:p>
          <a:p>
            <a:pPr marL="170252" indent="-170252" defTabSz="914378">
              <a:spcBef>
                <a:spcPts val="600"/>
              </a:spcBef>
              <a:buClr>
                <a:srgbClr val="000000"/>
              </a:buClr>
              <a:buSzPct val="100000"/>
              <a:buFont typeface="Arial" panose="020B0604020202020204" pitchFamily="34" charset="0"/>
              <a:buChar char="•"/>
              <a:defRPr/>
            </a:pPr>
            <a:endParaRPr lang="en-US" sz="950" kern="0" dirty="0">
              <a:solidFill>
                <a:srgbClr val="545859"/>
              </a:solidFill>
              <a:latin typeface="Gene Sans Light"/>
              <a:cs typeface="Arial" charset="0"/>
              <a:sym typeface="Arial"/>
            </a:endParaRPr>
          </a:p>
          <a:p>
            <a:pPr marL="170252" indent="-170252" defTabSz="914378">
              <a:spcBef>
                <a:spcPts val="225"/>
              </a:spcBef>
              <a:buClr>
                <a:srgbClr val="545859"/>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Vaccines can primarily promote cancer antigen presentation</a:t>
            </a:r>
          </a:p>
          <a:p>
            <a:pPr marL="170252" indent="-170252" defTabSz="914378">
              <a:spcBef>
                <a:spcPts val="225"/>
              </a:spcBef>
              <a:buClr>
                <a:srgbClr val="000000"/>
              </a:buClr>
              <a:buSzPct val="100000"/>
              <a:buFont typeface="Arial" panose="020B0604020202020204" pitchFamily="34" charset="0"/>
              <a:buChar char="•"/>
              <a:defRPr/>
            </a:pPr>
            <a:endParaRPr lang="en-US" sz="950" kern="0" dirty="0">
              <a:solidFill>
                <a:srgbClr val="545859"/>
              </a:solidFill>
              <a:latin typeface="Gene Sans Light"/>
              <a:cs typeface="Arial" charset="0"/>
              <a:sym typeface="Arial"/>
            </a:endParaRPr>
          </a:p>
          <a:p>
            <a:pPr marL="170252" indent="-170252" defTabSz="914378">
              <a:spcBef>
                <a:spcPts val="600"/>
              </a:spcBef>
              <a:buClr>
                <a:srgbClr val="545859"/>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Anti-CTLA4 and </a:t>
            </a:r>
            <a:r>
              <a:rPr lang="en-US" sz="950" kern="0">
                <a:solidFill>
                  <a:srgbClr val="545859"/>
                </a:solidFill>
                <a:latin typeface="Gene Sans Light"/>
                <a:cs typeface="Arial" charset="0"/>
                <a:sym typeface="Arial"/>
              </a:rPr>
              <a:t>anti–PD-L1 antibodies </a:t>
            </a:r>
            <a:r>
              <a:rPr lang="en-US" sz="950" kern="0" dirty="0">
                <a:solidFill>
                  <a:srgbClr val="545859"/>
                </a:solidFill>
                <a:latin typeface="Gene Sans Light"/>
                <a:cs typeface="Arial" charset="0"/>
                <a:sym typeface="Arial"/>
              </a:rPr>
              <a:t>can primarily promote priming and activation of T cells</a:t>
            </a:r>
          </a:p>
          <a:p>
            <a:pPr marL="170252" indent="-170252" defTabSz="914378">
              <a:spcBef>
                <a:spcPts val="225"/>
              </a:spcBef>
              <a:buClr>
                <a:srgbClr val="545859"/>
              </a:buClr>
              <a:buSzPct val="100000"/>
              <a:buFont typeface="Arial" panose="020B0604020202020204" pitchFamily="34" charset="0"/>
              <a:buChar char="•"/>
              <a:defRPr/>
            </a:pPr>
            <a:endParaRPr lang="en-US" sz="950" kern="0" dirty="0">
              <a:solidFill>
                <a:srgbClr val="545859"/>
              </a:solidFill>
              <a:latin typeface="Gene Sans Light"/>
              <a:cs typeface="Arial" charset="0"/>
              <a:sym typeface="Arial"/>
            </a:endParaRPr>
          </a:p>
          <a:p>
            <a:pPr marL="170252" indent="-170252" defTabSz="914378">
              <a:spcBef>
                <a:spcPts val="600"/>
              </a:spcBef>
              <a:buClr>
                <a:srgbClr val="545859"/>
              </a:buClr>
              <a:buSzPct val="100000"/>
              <a:buFont typeface="Arial" panose="020B0604020202020204" pitchFamily="34" charset="0"/>
              <a:buChar char="•"/>
              <a:defRPr/>
            </a:pPr>
            <a:r>
              <a:rPr lang="en-US" sz="950" kern="0">
                <a:solidFill>
                  <a:srgbClr val="545859"/>
                </a:solidFill>
                <a:latin typeface="Gene Sans Light"/>
                <a:cs typeface="Arial" charset="0"/>
                <a:sym typeface="Arial"/>
              </a:rPr>
              <a:t>VEGF inhibitors </a:t>
            </a:r>
            <a:r>
              <a:rPr lang="en-US" sz="950" kern="0" dirty="0">
                <a:solidFill>
                  <a:srgbClr val="545859"/>
                </a:solidFill>
                <a:latin typeface="Gene Sans Light"/>
                <a:cs typeface="Arial" charset="0"/>
                <a:sym typeface="Arial"/>
              </a:rPr>
              <a:t>can potentially promote T cell infiltration into tumors </a:t>
            </a:r>
          </a:p>
          <a:p>
            <a:pPr marL="170252" indent="-170252" defTabSz="914378">
              <a:spcBef>
                <a:spcPts val="400"/>
              </a:spcBef>
              <a:buClr>
                <a:srgbClr val="000000"/>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Step 7</a:t>
            </a:r>
          </a:p>
          <a:p>
            <a:pPr marL="170252" indent="-170252" defTabSz="914378">
              <a:spcBef>
                <a:spcPts val="225"/>
              </a:spcBef>
              <a:buClr>
                <a:srgbClr val="545859"/>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Anti–PD-L1 or </a:t>
            </a:r>
            <a:r>
              <a:rPr lang="en-US" sz="950" kern="0">
                <a:solidFill>
                  <a:srgbClr val="545859"/>
                </a:solidFill>
                <a:latin typeface="Gene Sans Light"/>
                <a:cs typeface="Arial" charset="0"/>
                <a:sym typeface="Arial"/>
              </a:rPr>
              <a:t>anti-PD-1 antibodies </a:t>
            </a:r>
            <a:r>
              <a:rPr lang="en-US" sz="950" kern="0" dirty="0">
                <a:solidFill>
                  <a:srgbClr val="545859"/>
                </a:solidFill>
                <a:latin typeface="Gene Sans Light"/>
                <a:cs typeface="Arial" charset="0"/>
                <a:sym typeface="Arial"/>
              </a:rPr>
              <a:t>can primarily promote killing of cancer cells </a:t>
            </a:r>
          </a:p>
        </p:txBody>
      </p:sp>
      <p:sp>
        <p:nvSpPr>
          <p:cNvPr id="33" name="TextBox 32">
            <a:extLst>
              <a:ext uri="{FF2B5EF4-FFF2-40B4-BE49-F238E27FC236}">
                <a16:creationId xmlns:a16="http://schemas.microsoft.com/office/drawing/2014/main" id="{9CD9B212-1D53-4980-AE67-403035D33D89}"/>
              </a:ext>
            </a:extLst>
          </p:cNvPr>
          <p:cNvSpPr txBox="1">
            <a:spLocks/>
          </p:cNvSpPr>
          <p:nvPr/>
        </p:nvSpPr>
        <p:spPr>
          <a:xfrm>
            <a:off x="5479313" y="1340774"/>
            <a:ext cx="1643369" cy="201168"/>
          </a:xfrm>
          <a:prstGeom prst="rect">
            <a:avLst/>
          </a:prstGeom>
          <a:solidFill>
            <a:schemeClr val="tx2"/>
          </a:solidFill>
          <a:ln>
            <a:noFill/>
          </a:ln>
        </p:spPr>
        <p:txBody>
          <a:bodyPr wrap="square" tIns="20574" bIns="20574" anchor="ctr">
            <a:noAutofit/>
          </a:bodyPr>
          <a:lstStyle>
            <a:defPPr>
              <a:defRPr lang="en-US"/>
            </a:defPPr>
            <a:lvl1pPr defTabSz="914400">
              <a:spcBef>
                <a:spcPct val="0"/>
              </a:spcBef>
              <a:defRPr sz="1450" b="1">
                <a:solidFill>
                  <a:schemeClr val="bg1"/>
                </a:solidFill>
                <a:latin typeface="Arial" charset="0"/>
                <a:ea typeface="ＭＳ Ｐゴシック" pitchFamily="34" charset="-128"/>
                <a:cs typeface="Arial" charset="0"/>
              </a:defRPr>
            </a:lvl1pPr>
          </a:lstStyle>
          <a:p>
            <a:pPr defTabSz="685766">
              <a:buClr>
                <a:srgbClr val="000000"/>
              </a:buClr>
              <a:defRPr/>
            </a:pPr>
            <a:r>
              <a:rPr lang="en-US" sz="1000" b="0" kern="0" dirty="0">
                <a:solidFill>
                  <a:prstClr val="white"/>
                </a:solidFill>
                <a:latin typeface="Gene Sans Light"/>
                <a:sym typeface="Arial"/>
              </a:rPr>
              <a:t>Step 1</a:t>
            </a:r>
          </a:p>
        </p:txBody>
      </p:sp>
      <p:sp>
        <p:nvSpPr>
          <p:cNvPr id="34" name="TextBox 33">
            <a:extLst>
              <a:ext uri="{FF2B5EF4-FFF2-40B4-BE49-F238E27FC236}">
                <a16:creationId xmlns:a16="http://schemas.microsoft.com/office/drawing/2014/main" id="{0D110DE6-F444-4A7C-88F6-302FBF92B474}"/>
              </a:ext>
            </a:extLst>
          </p:cNvPr>
          <p:cNvSpPr txBox="1"/>
          <p:nvPr/>
        </p:nvSpPr>
        <p:spPr>
          <a:xfrm>
            <a:off x="5479313" y="2691902"/>
            <a:ext cx="1643369" cy="201168"/>
          </a:xfrm>
          <a:prstGeom prst="rect">
            <a:avLst/>
          </a:prstGeom>
          <a:solidFill>
            <a:schemeClr val="tx2"/>
          </a:solidFill>
          <a:ln>
            <a:noFill/>
          </a:ln>
        </p:spPr>
        <p:txBody>
          <a:bodyPr wrap="square" tIns="20574" bIns="20574" anchor="ctr">
            <a:noAutofit/>
          </a:bodyPr>
          <a:lstStyle>
            <a:defPPr>
              <a:defRPr lang="en-US"/>
            </a:defPPr>
            <a:lvl1pPr defTabSz="914400">
              <a:spcBef>
                <a:spcPct val="0"/>
              </a:spcBef>
              <a:defRPr sz="1450" b="1">
                <a:solidFill>
                  <a:schemeClr val="bg1"/>
                </a:solidFill>
                <a:latin typeface="Arial" charset="0"/>
                <a:ea typeface="ＭＳ Ｐゴシック" pitchFamily="34" charset="-128"/>
                <a:cs typeface="Arial" charset="0"/>
              </a:defRPr>
            </a:lvl1pPr>
          </a:lstStyle>
          <a:p>
            <a:pPr defTabSz="685766">
              <a:buClr>
                <a:srgbClr val="000000"/>
              </a:buClr>
              <a:defRPr/>
            </a:pPr>
            <a:r>
              <a:rPr lang="en-US" sz="1000" b="0" kern="0" dirty="0">
                <a:solidFill>
                  <a:prstClr val="white"/>
                </a:solidFill>
                <a:latin typeface="Gene Sans Light"/>
                <a:sym typeface="Arial"/>
              </a:rPr>
              <a:t>Step 3</a:t>
            </a:r>
          </a:p>
        </p:txBody>
      </p:sp>
      <p:sp>
        <p:nvSpPr>
          <p:cNvPr id="36" name="TextBox 35">
            <a:extLst>
              <a:ext uri="{FF2B5EF4-FFF2-40B4-BE49-F238E27FC236}">
                <a16:creationId xmlns:a16="http://schemas.microsoft.com/office/drawing/2014/main" id="{221D9719-CCD4-4440-B12B-AE6ED1055B6A}"/>
              </a:ext>
            </a:extLst>
          </p:cNvPr>
          <p:cNvSpPr txBox="1"/>
          <p:nvPr/>
        </p:nvSpPr>
        <p:spPr>
          <a:xfrm>
            <a:off x="5479313" y="2161715"/>
            <a:ext cx="1643369" cy="201168"/>
          </a:xfrm>
          <a:prstGeom prst="rect">
            <a:avLst/>
          </a:prstGeom>
          <a:solidFill>
            <a:schemeClr val="tx2"/>
          </a:solidFill>
          <a:ln>
            <a:noFill/>
          </a:ln>
        </p:spPr>
        <p:txBody>
          <a:bodyPr wrap="square" tIns="20574" bIns="20574" anchor="ctr">
            <a:noAutofit/>
          </a:bodyPr>
          <a:lstStyle>
            <a:defPPr>
              <a:defRPr lang="en-US"/>
            </a:defPPr>
            <a:lvl1pPr defTabSz="914400">
              <a:spcBef>
                <a:spcPct val="0"/>
              </a:spcBef>
              <a:defRPr sz="1450" b="1">
                <a:solidFill>
                  <a:schemeClr val="bg1"/>
                </a:solidFill>
                <a:latin typeface="Arial" charset="0"/>
                <a:ea typeface="ＭＳ Ｐゴシック" pitchFamily="34" charset="-128"/>
                <a:cs typeface="Arial" charset="0"/>
              </a:defRPr>
            </a:lvl1pPr>
          </a:lstStyle>
          <a:p>
            <a:pPr defTabSz="685766">
              <a:buClr>
                <a:srgbClr val="000000"/>
              </a:buClr>
              <a:defRPr/>
            </a:pPr>
            <a:r>
              <a:rPr lang="en-US" sz="1000" b="0" kern="0" dirty="0">
                <a:solidFill>
                  <a:prstClr val="white"/>
                </a:solidFill>
                <a:latin typeface="Gene Sans Light"/>
                <a:sym typeface="Arial"/>
              </a:rPr>
              <a:t>Step 2</a:t>
            </a:r>
          </a:p>
        </p:txBody>
      </p:sp>
      <p:sp>
        <p:nvSpPr>
          <p:cNvPr id="37" name="TextBox 36">
            <a:extLst>
              <a:ext uri="{FF2B5EF4-FFF2-40B4-BE49-F238E27FC236}">
                <a16:creationId xmlns:a16="http://schemas.microsoft.com/office/drawing/2014/main" id="{201B9D24-EE7E-45B2-9C25-A0F791A6E57C}"/>
              </a:ext>
            </a:extLst>
          </p:cNvPr>
          <p:cNvSpPr txBox="1"/>
          <p:nvPr/>
        </p:nvSpPr>
        <p:spPr>
          <a:xfrm>
            <a:off x="5479313" y="3225293"/>
            <a:ext cx="1643369" cy="201168"/>
          </a:xfrm>
          <a:prstGeom prst="rect">
            <a:avLst/>
          </a:prstGeom>
          <a:solidFill>
            <a:schemeClr val="tx2"/>
          </a:solidFill>
          <a:ln>
            <a:noFill/>
          </a:ln>
        </p:spPr>
        <p:txBody>
          <a:bodyPr wrap="square" tIns="20574" bIns="20574" anchor="ctr">
            <a:noAutofit/>
          </a:bodyPr>
          <a:lstStyle>
            <a:defPPr>
              <a:defRPr lang="en-US"/>
            </a:defPPr>
            <a:lvl1pPr defTabSz="914400">
              <a:spcBef>
                <a:spcPct val="0"/>
              </a:spcBef>
              <a:defRPr sz="1450" b="1">
                <a:solidFill>
                  <a:schemeClr val="bg1"/>
                </a:solidFill>
                <a:latin typeface="Arial" charset="0"/>
                <a:ea typeface="ＭＳ Ｐゴシック" pitchFamily="34" charset="-128"/>
                <a:cs typeface="Arial" charset="0"/>
              </a:defRPr>
            </a:lvl1pPr>
          </a:lstStyle>
          <a:p>
            <a:pPr defTabSz="685766">
              <a:buClr>
                <a:srgbClr val="000000"/>
              </a:buClr>
              <a:defRPr/>
            </a:pPr>
            <a:r>
              <a:rPr lang="en-US" sz="1000" b="0" kern="0" dirty="0">
                <a:solidFill>
                  <a:prstClr val="white"/>
                </a:solidFill>
                <a:latin typeface="Gene Sans Light"/>
                <a:sym typeface="Arial"/>
              </a:rPr>
              <a:t>Step 5</a:t>
            </a:r>
          </a:p>
        </p:txBody>
      </p:sp>
      <p:sp>
        <p:nvSpPr>
          <p:cNvPr id="40" name="TextBox 39">
            <a:extLst>
              <a:ext uri="{FF2B5EF4-FFF2-40B4-BE49-F238E27FC236}">
                <a16:creationId xmlns:a16="http://schemas.microsoft.com/office/drawing/2014/main" id="{A385DB0B-2467-4D66-90AA-D823439B401B}"/>
              </a:ext>
            </a:extLst>
          </p:cNvPr>
          <p:cNvSpPr txBox="1"/>
          <p:nvPr/>
        </p:nvSpPr>
        <p:spPr>
          <a:xfrm>
            <a:off x="5479314" y="3753671"/>
            <a:ext cx="1643368" cy="201168"/>
          </a:xfrm>
          <a:prstGeom prst="rect">
            <a:avLst/>
          </a:prstGeom>
          <a:solidFill>
            <a:schemeClr val="tx2"/>
          </a:solidFill>
          <a:ln>
            <a:noFill/>
          </a:ln>
        </p:spPr>
        <p:txBody>
          <a:bodyPr wrap="square" tIns="20574" bIns="20574" anchor="ctr">
            <a:noAutofit/>
          </a:bodyPr>
          <a:lstStyle>
            <a:defPPr>
              <a:defRPr lang="en-US"/>
            </a:defPPr>
            <a:lvl1pPr defTabSz="914400">
              <a:spcBef>
                <a:spcPct val="0"/>
              </a:spcBef>
              <a:defRPr sz="1450" b="1">
                <a:solidFill>
                  <a:schemeClr val="bg1"/>
                </a:solidFill>
                <a:latin typeface="Arial" charset="0"/>
                <a:ea typeface="ＭＳ Ｐゴシック" pitchFamily="34" charset="-128"/>
                <a:cs typeface="Arial" charset="0"/>
              </a:defRPr>
            </a:lvl1pPr>
          </a:lstStyle>
          <a:p>
            <a:pPr defTabSz="685766">
              <a:buClr>
                <a:srgbClr val="000000"/>
              </a:buClr>
              <a:defRPr/>
            </a:pPr>
            <a:r>
              <a:rPr lang="en-US" sz="1000" b="0" kern="0" dirty="0">
                <a:solidFill>
                  <a:prstClr val="white"/>
                </a:solidFill>
                <a:latin typeface="Gene Sans Light"/>
                <a:sym typeface="Arial"/>
              </a:rPr>
              <a:t>Step 7</a:t>
            </a:r>
          </a:p>
        </p:txBody>
      </p:sp>
      <p:grpSp>
        <p:nvGrpSpPr>
          <p:cNvPr id="19" name="Google Shape;342;p4">
            <a:extLst>
              <a:ext uri="{FF2B5EF4-FFF2-40B4-BE49-F238E27FC236}">
                <a16:creationId xmlns:a16="http://schemas.microsoft.com/office/drawing/2014/main" id="{FCE0E3B3-ACDE-411A-AEA1-E65E32A948E4}"/>
              </a:ext>
            </a:extLst>
          </p:cNvPr>
          <p:cNvGrpSpPr/>
          <p:nvPr/>
        </p:nvGrpSpPr>
        <p:grpSpPr>
          <a:xfrm>
            <a:off x="8849668" y="55416"/>
            <a:ext cx="238916" cy="228628"/>
            <a:chOff x="11619274" y="118751"/>
            <a:chExt cx="432689" cy="414056"/>
          </a:xfrm>
        </p:grpSpPr>
        <p:sp>
          <p:nvSpPr>
            <p:cNvPr id="20" name="Google Shape;343;p4">
              <a:hlinkClick r:id="rId4" action="ppaction://hlinksldjump"/>
              <a:extLst>
                <a:ext uri="{FF2B5EF4-FFF2-40B4-BE49-F238E27FC236}">
                  <a16:creationId xmlns:a16="http://schemas.microsoft.com/office/drawing/2014/main" id="{9003C85A-0E4A-4D66-B889-6571EC7EEE88}"/>
                </a:ext>
              </a:extLst>
            </p:cNvPr>
            <p:cNvSpPr/>
            <p:nvPr/>
          </p:nvSpPr>
          <p:spPr>
            <a:xfrm>
              <a:off x="11619274" y="118751"/>
              <a:ext cx="432689" cy="414056"/>
            </a:xfrm>
            <a:prstGeom prst="roundRect">
              <a:avLst>
                <a:gd name="adj" fmla="val 16667"/>
              </a:avLst>
            </a:prstGeom>
            <a:solidFill>
              <a:schemeClr val="accent2"/>
            </a:solidFill>
            <a:ln>
              <a:noFill/>
            </a:ln>
          </p:spPr>
          <p:txBody>
            <a:bodyPr spcFirstLastPara="1" wrap="square" lIns="68550" tIns="34275" rIns="68550" bIns="34275" anchor="ctr" anchorCtr="0">
              <a:noAutofit/>
            </a:bodyPr>
            <a:lstStyle/>
            <a:p>
              <a:pPr algn="ctr" defTabSz="914378">
                <a:buClr>
                  <a:srgbClr val="000000"/>
                </a:buClr>
              </a:pPr>
              <a:endParaRPr lang="en-US" sz="825" kern="0" dirty="0">
                <a:solidFill>
                  <a:srgbClr val="FFFFFF"/>
                </a:solidFill>
                <a:latin typeface="Arial"/>
                <a:ea typeface="Arial"/>
                <a:cs typeface="Arial"/>
                <a:sym typeface="Arial"/>
              </a:endParaRPr>
            </a:p>
          </p:txBody>
        </p:sp>
        <p:pic>
          <p:nvPicPr>
            <p:cNvPr id="21" name="Google Shape;344;p4">
              <a:hlinkClick r:id="rId4" action="ppaction://hlinksldjump"/>
              <a:extLst>
                <a:ext uri="{FF2B5EF4-FFF2-40B4-BE49-F238E27FC236}">
                  <a16:creationId xmlns:a16="http://schemas.microsoft.com/office/drawing/2014/main" id="{9DE691C1-6ADB-4F31-873D-32DA702B98D6}"/>
                </a:ext>
              </a:extLst>
            </p:cNvPr>
            <p:cNvPicPr preferRelativeResize="0"/>
            <p:nvPr/>
          </p:nvPicPr>
          <p:blipFill rotWithShape="1">
            <a:blip r:embed="rId5">
              <a:alphaModFix/>
            </a:blip>
            <a:srcRect/>
            <a:stretch/>
          </p:blipFill>
          <p:spPr>
            <a:xfrm>
              <a:off x="11681971" y="162551"/>
              <a:ext cx="307293" cy="307293"/>
            </a:xfrm>
            <a:prstGeom prst="rect">
              <a:avLst/>
            </a:prstGeom>
            <a:noFill/>
            <a:ln>
              <a:noFill/>
            </a:ln>
          </p:spPr>
        </p:pic>
      </p:grpSp>
    </p:spTree>
    <p:extLst>
      <p:ext uri="{BB962C8B-B14F-4D97-AF65-F5344CB8AC3E}">
        <p14:creationId xmlns:p14="http://schemas.microsoft.com/office/powerpoint/2010/main" val="2685957823"/>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Targeting the PD-L1/PD-1 Axis</a:t>
            </a:r>
          </a:p>
        </p:txBody>
      </p:sp>
      <p:sp>
        <p:nvSpPr>
          <p:cNvPr id="3" name="Text Placeholder 2">
            <a:extLst>
              <a:ext uri="{FF2B5EF4-FFF2-40B4-BE49-F238E27FC236}">
                <a16:creationId xmlns:a16="http://schemas.microsoft.com/office/drawing/2014/main" id="{4A63E03C-4BBB-472A-8F21-01FBFB1CB6E4}"/>
              </a:ext>
            </a:extLst>
          </p:cNvPr>
          <p:cNvSpPr>
            <a:spLocks noGrp="1"/>
          </p:cNvSpPr>
          <p:nvPr>
            <p:ph type="body" idx="1"/>
          </p:nvPr>
        </p:nvSpPr>
        <p:spPr/>
        <p:txBody>
          <a:bodyPr/>
          <a:lstStyle/>
          <a:p>
            <a:endParaRPr lang="en-IN"/>
          </a:p>
        </p:txBody>
      </p:sp>
      <p:grpSp>
        <p:nvGrpSpPr>
          <p:cNvPr id="4" name="Google Shape;342;p4">
            <a:extLst>
              <a:ext uri="{FF2B5EF4-FFF2-40B4-BE49-F238E27FC236}">
                <a16:creationId xmlns:a16="http://schemas.microsoft.com/office/drawing/2014/main" id="{AC235488-AEB2-47FA-BCC3-011A0395319B}"/>
              </a:ext>
            </a:extLst>
          </p:cNvPr>
          <p:cNvGrpSpPr/>
          <p:nvPr/>
        </p:nvGrpSpPr>
        <p:grpSpPr>
          <a:xfrm>
            <a:off x="8849668" y="55416"/>
            <a:ext cx="238916" cy="228628"/>
            <a:chOff x="11619274" y="118751"/>
            <a:chExt cx="432689" cy="414056"/>
          </a:xfrm>
        </p:grpSpPr>
        <p:sp>
          <p:nvSpPr>
            <p:cNvPr id="5" name="Google Shape;343;p4">
              <a:hlinkClick r:id="rId3" action="ppaction://hlinksldjump"/>
              <a:extLst>
                <a:ext uri="{FF2B5EF4-FFF2-40B4-BE49-F238E27FC236}">
                  <a16:creationId xmlns:a16="http://schemas.microsoft.com/office/drawing/2014/main" id="{15625F80-7AA8-492B-A75E-CF372E7CFC3F}"/>
                </a:ext>
              </a:extLst>
            </p:cNvPr>
            <p:cNvSpPr/>
            <p:nvPr/>
          </p:nvSpPr>
          <p:spPr>
            <a:xfrm>
              <a:off x="11619274" y="118751"/>
              <a:ext cx="432689" cy="414056"/>
            </a:xfrm>
            <a:prstGeom prst="roundRect">
              <a:avLst>
                <a:gd name="adj" fmla="val 16667"/>
              </a:avLst>
            </a:prstGeom>
            <a:solidFill>
              <a:schemeClr val="accent2"/>
            </a:solidFill>
            <a:ln>
              <a:noFill/>
            </a:ln>
          </p:spPr>
          <p:txBody>
            <a:bodyPr spcFirstLastPara="1" wrap="square" lIns="68550" tIns="34275" rIns="68550" bIns="34275" anchor="ctr" anchorCtr="0">
              <a:noAutofit/>
            </a:bodyPr>
            <a:lstStyle/>
            <a:p>
              <a:pPr algn="ctr" defTabSz="914378">
                <a:buClr>
                  <a:srgbClr val="000000"/>
                </a:buClr>
              </a:pPr>
              <a:endParaRPr lang="en-US" sz="825" kern="0" dirty="0">
                <a:solidFill>
                  <a:srgbClr val="FFFFFF"/>
                </a:solidFill>
                <a:latin typeface="Arial"/>
                <a:ea typeface="Arial"/>
                <a:cs typeface="Arial"/>
                <a:sym typeface="Arial"/>
              </a:endParaRPr>
            </a:p>
          </p:txBody>
        </p:sp>
        <p:pic>
          <p:nvPicPr>
            <p:cNvPr id="6" name="Google Shape;344;p4">
              <a:hlinkClick r:id="rId3" action="ppaction://hlinksldjump"/>
              <a:extLst>
                <a:ext uri="{FF2B5EF4-FFF2-40B4-BE49-F238E27FC236}">
                  <a16:creationId xmlns:a16="http://schemas.microsoft.com/office/drawing/2014/main" id="{CD2AF5AB-9C5A-468E-9F32-F309750DFA2D}"/>
                </a:ext>
              </a:extLst>
            </p:cNvPr>
            <p:cNvPicPr preferRelativeResize="0"/>
            <p:nvPr/>
          </p:nvPicPr>
          <p:blipFill rotWithShape="1">
            <a:blip r:embed="rId4">
              <a:alphaModFix/>
            </a:blip>
            <a:srcRect/>
            <a:stretch/>
          </p:blipFill>
          <p:spPr>
            <a:xfrm>
              <a:off x="11681971" y="162551"/>
              <a:ext cx="307293" cy="307293"/>
            </a:xfrm>
            <a:prstGeom prst="rect">
              <a:avLst/>
            </a:prstGeom>
            <a:noFill/>
            <a:ln>
              <a:noFill/>
            </a:ln>
          </p:spPr>
        </p:pic>
      </p:grpSp>
    </p:spTree>
    <p:extLst>
      <p:ext uri="{BB962C8B-B14F-4D97-AF65-F5344CB8AC3E}">
        <p14:creationId xmlns:p14="http://schemas.microsoft.com/office/powerpoint/2010/main" val="2314782501"/>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7C53D2FB-6050-4933-8F54-C4919797AEFD}"/>
              </a:ext>
            </a:extLst>
          </p:cNvPr>
          <p:cNvSpPr>
            <a:spLocks noGrp="1"/>
          </p:cNvSpPr>
          <p:nvPr>
            <p:ph type="body" idx="2"/>
          </p:nvPr>
        </p:nvSpPr>
        <p:spPr/>
        <p:txBody>
          <a:bodyPr/>
          <a:lstStyle/>
          <a:p>
            <a:r>
              <a:rPr lang="en-US" dirty="0"/>
              <a:t>Targeting the PD-L1/PD-1 Axis</a:t>
            </a:r>
          </a:p>
        </p:txBody>
      </p:sp>
      <p:sp>
        <p:nvSpPr>
          <p:cNvPr id="38" name="Text Placeholder 37">
            <a:extLst>
              <a:ext uri="{FF2B5EF4-FFF2-40B4-BE49-F238E27FC236}">
                <a16:creationId xmlns:a16="http://schemas.microsoft.com/office/drawing/2014/main" id="{C6D9A6DE-0CD2-4DFC-97C1-376DAF784299}"/>
              </a:ext>
            </a:extLst>
          </p:cNvPr>
          <p:cNvSpPr>
            <a:spLocks noGrp="1"/>
          </p:cNvSpPr>
          <p:nvPr>
            <p:ph type="body" idx="3"/>
          </p:nvPr>
        </p:nvSpPr>
        <p:spPr/>
        <p:txBody>
          <a:bodyPr/>
          <a:lstStyle/>
          <a:p>
            <a:r>
              <a:rPr lang="en-US" altLang="zh-CN" dirty="0"/>
              <a:t>MHC I, </a:t>
            </a:r>
            <a:r>
              <a:rPr lang="en-US" altLang="zh-CN"/>
              <a:t>major histocompatibility </a:t>
            </a:r>
            <a:r>
              <a:rPr lang="en-US" altLang="zh-CN" dirty="0"/>
              <a:t>complex class I. </a:t>
            </a:r>
            <a:r>
              <a:rPr lang="en-US" altLang="en-US" dirty="0"/>
              <a:t>1. Chen DS, et al. </a:t>
            </a:r>
            <a:r>
              <a:rPr lang="en-US" altLang="en-US" i="1" dirty="0"/>
              <a:t>Clin Cancer Res. </a:t>
            </a:r>
            <a:r>
              <a:rPr lang="en-US" altLang="en-US" dirty="0"/>
              <a:t>2012;18:6580-6587. 2. Herbst RS, et al. ASCO 2013. (abs 3000).</a:t>
            </a:r>
            <a:endParaRPr lang="en-US" dirty="0"/>
          </a:p>
        </p:txBody>
      </p:sp>
      <p:sp>
        <p:nvSpPr>
          <p:cNvPr id="3" name="Title 2"/>
          <p:cNvSpPr>
            <a:spLocks noGrp="1"/>
          </p:cNvSpPr>
          <p:nvPr>
            <p:ph type="title"/>
          </p:nvPr>
        </p:nvSpPr>
        <p:spPr>
          <a:xfrm>
            <a:off x="381648" y="585796"/>
            <a:ext cx="8384400" cy="652455"/>
          </a:xfrm>
        </p:spPr>
        <p:txBody>
          <a:bodyPr/>
          <a:lstStyle/>
          <a:p>
            <a:r>
              <a:rPr lang="en-US" dirty="0"/>
              <a:t>Adaptive PD-L1 Expression by Tumors </a:t>
            </a:r>
          </a:p>
        </p:txBody>
      </p:sp>
      <p:sp>
        <p:nvSpPr>
          <p:cNvPr id="23" name="Content Placeholder 14">
            <a:extLst>
              <a:ext uri="{FF2B5EF4-FFF2-40B4-BE49-F238E27FC236}">
                <a16:creationId xmlns:a16="http://schemas.microsoft.com/office/drawing/2014/main" id="{7F805320-E74D-452C-B883-892EC19AA537}"/>
              </a:ext>
            </a:extLst>
          </p:cNvPr>
          <p:cNvSpPr txBox="1">
            <a:spLocks/>
          </p:cNvSpPr>
          <p:nvPr/>
        </p:nvSpPr>
        <p:spPr>
          <a:xfrm>
            <a:off x="5755112" y="1283549"/>
            <a:ext cx="3010937" cy="3227832"/>
          </a:xfrm>
          <a:prstGeom prst="rect">
            <a:avLst/>
          </a:prstGeom>
        </p:spPr>
        <p:txBody>
          <a:bodyPr vert="horz" lIns="0" tIns="0" rIns="0" bIns="0" numCol="1" rtlCol="0">
            <a:noAutofit/>
          </a:bodyPr>
          <a:lstStyle>
            <a:defPPr marR="0" lvl="0" algn="l" rtl="0">
              <a:lnSpc>
                <a:spcPct val="100000"/>
              </a:lnSpc>
              <a:spcBef>
                <a:spcPts val="0"/>
              </a:spcBef>
              <a:spcAft>
                <a:spcPts val="0"/>
              </a:spcAft>
            </a:defPPr>
            <a:lvl1pPr marL="173736" marR="0" lvl="0" indent="-173736" algn="l" rtl="0">
              <a:lnSpc>
                <a:spcPct val="100000"/>
              </a:lnSpc>
              <a:spcBef>
                <a:spcPts val="0"/>
              </a:spcBef>
              <a:spcAft>
                <a:spcPts val="0"/>
              </a:spcAft>
              <a:buClr>
                <a:schemeClr val="tx1"/>
              </a:buClr>
              <a:buFont typeface="Arial" panose="020B0604020202020204" pitchFamily="34" charset="0"/>
              <a:buChar char="•"/>
              <a:defRPr lang="en-US" sz="1600" b="0" i="0" u="none" strike="noStrike" kern="1200" cap="none">
                <a:solidFill>
                  <a:schemeClr val="tx1"/>
                </a:solidFill>
                <a:latin typeface="+mn-lt"/>
                <a:ea typeface="+mn-ea"/>
                <a:cs typeface="+mn-cs"/>
                <a:sym typeface="Arial"/>
              </a:defRPr>
            </a:lvl1pPr>
            <a:lvl2pPr marL="347472" marR="0" lvl="1" indent="-173736" algn="l" rtl="0">
              <a:lnSpc>
                <a:spcPct val="90000"/>
              </a:lnSpc>
              <a:spcBef>
                <a:spcPts val="600"/>
              </a:spcBef>
              <a:spcAft>
                <a:spcPts val="0"/>
              </a:spcAft>
              <a:buClr>
                <a:schemeClr val="tx1"/>
              </a:buClr>
              <a:buFont typeface="Gene Sans Light" panose="00000400000000000000" pitchFamily="50" charset="0"/>
              <a:buChar char="–"/>
              <a:defRPr lang="en-US" sz="1400" b="0" i="0" u="none" strike="noStrike" kern="1200" cap="none">
                <a:solidFill>
                  <a:schemeClr val="tx1"/>
                </a:solidFill>
                <a:latin typeface="+mn-lt"/>
                <a:ea typeface="+mn-ea"/>
                <a:cs typeface="+mn-cs"/>
                <a:sym typeface="Arial"/>
              </a:defRPr>
            </a:lvl2pPr>
            <a:lvl3pPr marL="521208" marR="0" lvl="2" indent="-173736" algn="l" rtl="0">
              <a:lnSpc>
                <a:spcPct val="90000"/>
              </a:lnSpc>
              <a:spcBef>
                <a:spcPts val="600"/>
              </a:spcBef>
              <a:spcAft>
                <a:spcPts val="0"/>
              </a:spcAft>
              <a:buClr>
                <a:schemeClr val="tx1"/>
              </a:buClr>
              <a:buFont typeface="Wingdings" panose="05000000000000000000" pitchFamily="2" charset="2"/>
              <a:buChar char="§"/>
              <a:defRPr lang="en-US" sz="1100" b="0" i="0" u="none" strike="noStrike" kern="1200" cap="none">
                <a:solidFill>
                  <a:schemeClr val="tx1"/>
                </a:solidFill>
                <a:latin typeface="+mn-lt"/>
                <a:ea typeface="+mn-ea"/>
                <a:cs typeface="+mn-cs"/>
                <a:sym typeface="Arial"/>
              </a:defRPr>
            </a:lvl3pPr>
            <a:lvl4pPr marL="694944" marR="0" lvl="3" indent="-173736" algn="l" rtl="0">
              <a:lnSpc>
                <a:spcPct val="90000"/>
              </a:lnSpc>
              <a:spcBef>
                <a:spcPts val="600"/>
              </a:spcBef>
              <a:spcAft>
                <a:spcPts val="0"/>
              </a:spcAft>
              <a:buClr>
                <a:schemeClr val="tx1"/>
              </a:buClr>
              <a:buFont typeface="Arial" panose="020B0604020202020204" pitchFamily="34" charset="0"/>
              <a:buChar char="•"/>
              <a:defRPr lang="en-US" sz="1050" b="0" i="0" u="none" strike="noStrike" kern="1200" cap="none">
                <a:solidFill>
                  <a:schemeClr val="tx1"/>
                </a:solidFill>
                <a:latin typeface="+mn-lt"/>
                <a:ea typeface="+mn-ea"/>
                <a:cs typeface="+mn-cs"/>
                <a:sym typeface="Arial"/>
              </a:defRPr>
            </a:lvl4pPr>
            <a:lvl5pPr marL="868680" marR="0" lvl="4" indent="-173736" algn="l" rtl="0">
              <a:lnSpc>
                <a:spcPct val="90000"/>
              </a:lnSpc>
              <a:spcBef>
                <a:spcPts val="600"/>
              </a:spcBef>
              <a:spcAft>
                <a:spcPts val="0"/>
              </a:spcAft>
              <a:buClr>
                <a:schemeClr val="tx1"/>
              </a:buClr>
              <a:buFont typeface="Arial" panose="020B0604020202020204" pitchFamily="34" charset="0"/>
              <a:buChar char="•"/>
              <a:defRPr lang="en-US" sz="1050" b="0" i="0" u="none" strike="noStrike" kern="1200" cap="none">
                <a:solidFill>
                  <a:schemeClr val="tx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73732" indent="-173732" defTabSz="914378">
              <a:spcBef>
                <a:spcPts val="400"/>
              </a:spcBef>
              <a:spcAft>
                <a:spcPts val="400"/>
              </a:spcAft>
              <a:buClr>
                <a:srgbClr val="545859"/>
              </a:buClr>
            </a:pPr>
            <a:r>
              <a:rPr lang="en-US" altLang="en-US" dirty="0">
                <a:solidFill>
                  <a:srgbClr val="545859"/>
                </a:solidFill>
                <a:latin typeface="Gene Sans Light"/>
              </a:rPr>
              <a:t>Cancer cells develop many mutations that create proteins that can make them appear foreign to the immune system</a:t>
            </a:r>
            <a:r>
              <a:rPr lang="en-US" altLang="en-US" baseline="30000" dirty="0">
                <a:solidFill>
                  <a:srgbClr val="545859"/>
                </a:solidFill>
                <a:latin typeface="Gene Sans Light"/>
              </a:rPr>
              <a:t>1,2</a:t>
            </a:r>
          </a:p>
          <a:p>
            <a:pPr marL="173732" indent="-173732" defTabSz="914378">
              <a:spcBef>
                <a:spcPts val="400"/>
              </a:spcBef>
              <a:spcAft>
                <a:spcPts val="400"/>
              </a:spcAft>
              <a:buClr>
                <a:srgbClr val="545859"/>
              </a:buClr>
            </a:pPr>
            <a:r>
              <a:rPr lang="en-US" altLang="en-US" dirty="0">
                <a:solidFill>
                  <a:srgbClr val="545859"/>
                </a:solidFill>
                <a:latin typeface="Gene Sans Light"/>
              </a:rPr>
              <a:t>These foreign protein fragments can be presented to T cells by tumor cells via MHC I</a:t>
            </a:r>
            <a:r>
              <a:rPr lang="en-US" altLang="en-US" baseline="30000" dirty="0">
                <a:solidFill>
                  <a:srgbClr val="545859"/>
                </a:solidFill>
                <a:latin typeface="Gene Sans Light"/>
              </a:rPr>
              <a:t>1</a:t>
            </a:r>
          </a:p>
        </p:txBody>
      </p:sp>
      <p:grpSp>
        <p:nvGrpSpPr>
          <p:cNvPr id="55" name="Group 54">
            <a:extLst>
              <a:ext uri="{FF2B5EF4-FFF2-40B4-BE49-F238E27FC236}">
                <a16:creationId xmlns:a16="http://schemas.microsoft.com/office/drawing/2014/main" id="{C6E1466D-00CD-47C8-98F0-F809AEE3624B}"/>
              </a:ext>
            </a:extLst>
          </p:cNvPr>
          <p:cNvGrpSpPr/>
          <p:nvPr/>
        </p:nvGrpSpPr>
        <p:grpSpPr>
          <a:xfrm>
            <a:off x="3351907" y="1033042"/>
            <a:ext cx="1253635" cy="1047750"/>
            <a:chOff x="3198020" y="850530"/>
            <a:chExt cx="1471613" cy="1229928"/>
          </a:xfrm>
        </p:grpSpPr>
        <p:grpSp>
          <p:nvGrpSpPr>
            <p:cNvPr id="56" name="Group 6">
              <a:extLst>
                <a:ext uri="{FF2B5EF4-FFF2-40B4-BE49-F238E27FC236}">
                  <a16:creationId xmlns:a16="http://schemas.microsoft.com/office/drawing/2014/main" id="{689B9DBC-1274-42F2-88CB-6E3A831CA6BB}"/>
                </a:ext>
              </a:extLst>
            </p:cNvPr>
            <p:cNvGrpSpPr>
              <a:grpSpLocks/>
            </p:cNvGrpSpPr>
            <p:nvPr/>
          </p:nvGrpSpPr>
          <p:grpSpPr bwMode="auto">
            <a:xfrm>
              <a:off x="3198020" y="850530"/>
              <a:ext cx="1471613" cy="1210865"/>
              <a:chOff x="2739508" y="103188"/>
              <a:chExt cx="1962667" cy="1614487"/>
            </a:xfrm>
          </p:grpSpPr>
          <p:pic>
            <p:nvPicPr>
              <p:cNvPr id="62" name="Picture 3" descr="TumorCell.jpg">
                <a:extLst>
                  <a:ext uri="{FF2B5EF4-FFF2-40B4-BE49-F238E27FC236}">
                    <a16:creationId xmlns:a16="http://schemas.microsoft.com/office/drawing/2014/main" id="{64125160-0F40-44D2-828D-F3BFD3DED8F6}"/>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832100" y="103188"/>
                <a:ext cx="1698625"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27">
                <a:extLst>
                  <a:ext uri="{FF2B5EF4-FFF2-40B4-BE49-F238E27FC236}">
                    <a16:creationId xmlns:a16="http://schemas.microsoft.com/office/drawing/2014/main" id="{B04E1E72-ACD6-4BBA-80A9-E674ABF8BCBC}"/>
                  </a:ext>
                </a:extLst>
              </p:cNvPr>
              <p:cNvPicPr>
                <a:picLocks noChangeAspect="1"/>
              </p:cNvPicPr>
              <p:nvPr/>
            </p:nvPicPr>
            <p:blipFill>
              <a:blip r:embed="rId4" cstate="print">
                <a:extLst>
                  <a:ext uri="{28A0092B-C50C-407E-A947-70E740481C1C}">
                    <a14:useLocalDpi xmlns:a14="http://schemas.microsoft.com/office/drawing/2010/main" val="0"/>
                  </a:ext>
                </a:extLst>
              </a:blip>
              <a:srcRect b="63815"/>
              <a:stretch>
                <a:fillRect/>
              </a:stretch>
            </p:blipFill>
            <p:spPr bwMode="auto">
              <a:xfrm>
                <a:off x="2832100" y="103188"/>
                <a:ext cx="1870075" cy="1359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Oval 63">
                <a:extLst>
                  <a:ext uri="{FF2B5EF4-FFF2-40B4-BE49-F238E27FC236}">
                    <a16:creationId xmlns:a16="http://schemas.microsoft.com/office/drawing/2014/main" id="{840D0E88-5EE3-4E6A-84C9-68AE93DB3CFE}"/>
                  </a:ext>
                </a:extLst>
              </p:cNvPr>
              <p:cNvSpPr/>
              <p:nvPr/>
            </p:nvSpPr>
            <p:spPr>
              <a:xfrm>
                <a:off x="2739508" y="884238"/>
                <a:ext cx="487491" cy="42227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378">
                  <a:buClr>
                    <a:srgbClr val="000000"/>
                  </a:buClr>
                  <a:defRPr/>
                </a:pPr>
                <a:endParaRPr lang="en-US" sz="1050" kern="0" dirty="0">
                  <a:solidFill>
                    <a:prstClr val="white"/>
                  </a:solidFill>
                  <a:latin typeface="Gene Sans Light"/>
                  <a:sym typeface="Arial"/>
                </a:endParaRPr>
              </a:p>
            </p:txBody>
          </p:sp>
        </p:grpSp>
        <p:grpSp>
          <p:nvGrpSpPr>
            <p:cNvPr id="57" name="Group 28">
              <a:extLst>
                <a:ext uri="{FF2B5EF4-FFF2-40B4-BE49-F238E27FC236}">
                  <a16:creationId xmlns:a16="http://schemas.microsoft.com/office/drawing/2014/main" id="{6C92D40E-ACDD-4779-A03C-A746C402168A}"/>
                </a:ext>
              </a:extLst>
            </p:cNvPr>
            <p:cNvGrpSpPr>
              <a:grpSpLocks/>
            </p:cNvGrpSpPr>
            <p:nvPr/>
          </p:nvGrpSpPr>
          <p:grpSpPr bwMode="auto">
            <a:xfrm>
              <a:off x="4086230" y="1519661"/>
              <a:ext cx="160735" cy="192881"/>
              <a:chOff x="3709621" y="1251926"/>
              <a:chExt cx="213885" cy="256910"/>
            </a:xfrm>
          </p:grpSpPr>
          <p:sp>
            <p:nvSpPr>
              <p:cNvPr id="60" name="Freeform 29">
                <a:extLst>
                  <a:ext uri="{FF2B5EF4-FFF2-40B4-BE49-F238E27FC236}">
                    <a16:creationId xmlns:a16="http://schemas.microsoft.com/office/drawing/2014/main" id="{7D065CA9-A9DB-4421-921D-0D6B2F47065F}"/>
                  </a:ext>
                </a:extLst>
              </p:cNvPr>
              <p:cNvSpPr/>
              <p:nvPr/>
            </p:nvSpPr>
            <p:spPr>
              <a:xfrm>
                <a:off x="3709621" y="1251926"/>
                <a:ext cx="213885" cy="256910"/>
              </a:xfrm>
              <a:custGeom>
                <a:avLst/>
                <a:gdLst>
                  <a:gd name="connsiteX0" fmla="*/ 92351 w 273790"/>
                  <a:gd name="connsiteY0" fmla="*/ 0 h 328867"/>
                  <a:gd name="connsiteX1" fmla="*/ 1633 w 273790"/>
                  <a:gd name="connsiteY1" fmla="*/ 90722 h 328867"/>
                  <a:gd name="connsiteX2" fmla="*/ 24313 w 273790"/>
                  <a:gd name="connsiteY2" fmla="*/ 158764 h 328867"/>
                  <a:gd name="connsiteX3" fmla="*/ 194407 w 273790"/>
                  <a:gd name="connsiteY3" fmla="*/ 170104 h 328867"/>
                  <a:gd name="connsiteX4" fmla="*/ 205747 w 273790"/>
                  <a:gd name="connsiteY4" fmla="*/ 204124 h 328867"/>
                  <a:gd name="connsiteX5" fmla="*/ 194407 w 273790"/>
                  <a:gd name="connsiteY5" fmla="*/ 249485 h 328867"/>
                  <a:gd name="connsiteX6" fmla="*/ 137709 w 273790"/>
                  <a:gd name="connsiteY6" fmla="*/ 294846 h 328867"/>
                  <a:gd name="connsiteX7" fmla="*/ 81011 w 273790"/>
                  <a:gd name="connsiteY7" fmla="*/ 328867 h 328867"/>
                  <a:gd name="connsiteX8" fmla="*/ 12973 w 273790"/>
                  <a:gd name="connsiteY8" fmla="*/ 317527 h 328867"/>
                  <a:gd name="connsiteX9" fmla="*/ 35652 w 273790"/>
                  <a:gd name="connsiteY9" fmla="*/ 238145 h 328867"/>
                  <a:gd name="connsiteX10" fmla="*/ 69671 w 273790"/>
                  <a:gd name="connsiteY10" fmla="*/ 226805 h 328867"/>
                  <a:gd name="connsiteX11" fmla="*/ 115030 w 273790"/>
                  <a:gd name="connsiteY11" fmla="*/ 215465 h 328867"/>
                  <a:gd name="connsiteX12" fmla="*/ 262445 w 273790"/>
                  <a:gd name="connsiteY12" fmla="*/ 226805 h 328867"/>
                  <a:gd name="connsiteX13" fmla="*/ 273785 w 273790"/>
                  <a:gd name="connsiteY13" fmla="*/ 192784 h 328867"/>
                  <a:gd name="connsiteX14" fmla="*/ 262445 w 273790"/>
                  <a:gd name="connsiteY14" fmla="*/ 113403 h 328867"/>
                  <a:gd name="connsiteX15" fmla="*/ 228426 w 273790"/>
                  <a:gd name="connsiteY15" fmla="*/ 102062 h 328867"/>
                  <a:gd name="connsiteX16" fmla="*/ 126369 w 273790"/>
                  <a:gd name="connsiteY16" fmla="*/ 102062 h 32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3790" h="328867">
                    <a:moveTo>
                      <a:pt x="92351" y="0"/>
                    </a:moveTo>
                    <a:cubicBezTo>
                      <a:pt x="62112" y="30241"/>
                      <a:pt x="-11890" y="50151"/>
                      <a:pt x="1633" y="90722"/>
                    </a:cubicBezTo>
                    <a:cubicBezTo>
                      <a:pt x="9193" y="113403"/>
                      <a:pt x="2206" y="149661"/>
                      <a:pt x="24313" y="158764"/>
                    </a:cubicBezTo>
                    <a:cubicBezTo>
                      <a:pt x="76856" y="180401"/>
                      <a:pt x="137709" y="166324"/>
                      <a:pt x="194407" y="170104"/>
                    </a:cubicBezTo>
                    <a:cubicBezTo>
                      <a:pt x="198187" y="181444"/>
                      <a:pt x="205747" y="192171"/>
                      <a:pt x="205747" y="204124"/>
                    </a:cubicBezTo>
                    <a:cubicBezTo>
                      <a:pt x="205747" y="219710"/>
                      <a:pt x="201377" y="235545"/>
                      <a:pt x="194407" y="249485"/>
                    </a:cubicBezTo>
                    <a:cubicBezTo>
                      <a:pt x="185279" y="267742"/>
                      <a:pt x="151066" y="284160"/>
                      <a:pt x="137709" y="294846"/>
                    </a:cubicBezTo>
                    <a:cubicBezTo>
                      <a:pt x="93235" y="330427"/>
                      <a:pt x="140091" y="309173"/>
                      <a:pt x="81011" y="328867"/>
                    </a:cubicBezTo>
                    <a:lnTo>
                      <a:pt x="12973" y="317527"/>
                    </a:lnTo>
                    <a:cubicBezTo>
                      <a:pt x="666" y="292913"/>
                      <a:pt x="21067" y="261482"/>
                      <a:pt x="35652" y="238145"/>
                    </a:cubicBezTo>
                    <a:cubicBezTo>
                      <a:pt x="41987" y="228009"/>
                      <a:pt x="58178" y="230089"/>
                      <a:pt x="69671" y="226805"/>
                    </a:cubicBezTo>
                    <a:cubicBezTo>
                      <a:pt x="84656" y="222523"/>
                      <a:pt x="99910" y="219245"/>
                      <a:pt x="115030" y="215465"/>
                    </a:cubicBezTo>
                    <a:cubicBezTo>
                      <a:pt x="208424" y="246597"/>
                      <a:pt x="159402" y="241526"/>
                      <a:pt x="262445" y="226805"/>
                    </a:cubicBezTo>
                    <a:cubicBezTo>
                      <a:pt x="266225" y="215465"/>
                      <a:pt x="273785" y="204738"/>
                      <a:pt x="273785" y="192784"/>
                    </a:cubicBezTo>
                    <a:cubicBezTo>
                      <a:pt x="273785" y="166055"/>
                      <a:pt x="274398" y="137310"/>
                      <a:pt x="262445" y="113403"/>
                    </a:cubicBezTo>
                    <a:cubicBezTo>
                      <a:pt x="257100" y="102712"/>
                      <a:pt x="240338" y="103055"/>
                      <a:pt x="228426" y="102062"/>
                    </a:cubicBezTo>
                    <a:cubicBezTo>
                      <a:pt x="194525" y="99237"/>
                      <a:pt x="160388" y="102062"/>
                      <a:pt x="126369" y="102062"/>
                    </a:cubicBezTo>
                  </a:path>
                </a:pathLst>
              </a:custGeom>
              <a:ln>
                <a:solidFill>
                  <a:schemeClr val="tx2"/>
                </a:solidFill>
              </a:ln>
            </p:spPr>
            <p:style>
              <a:lnRef idx="2">
                <a:schemeClr val="accent1"/>
              </a:lnRef>
              <a:fillRef idx="0">
                <a:schemeClr val="accent1"/>
              </a:fillRef>
              <a:effectRef idx="1">
                <a:schemeClr val="accent1"/>
              </a:effectRef>
              <a:fontRef idx="minor">
                <a:schemeClr val="tx1"/>
              </a:fontRef>
            </p:style>
            <p:txBody>
              <a:bodyPr anchor="ctr"/>
              <a:lstStyle/>
              <a:p>
                <a:pPr algn="ctr" defTabSz="914378">
                  <a:buClr>
                    <a:srgbClr val="000000"/>
                  </a:buClr>
                  <a:defRPr/>
                </a:pPr>
                <a:endParaRPr lang="en-US" sz="1050" kern="0" dirty="0">
                  <a:solidFill>
                    <a:prstClr val="black"/>
                  </a:solidFill>
                  <a:latin typeface="Gene Sans Light"/>
                  <a:sym typeface="Arial"/>
                </a:endParaRPr>
              </a:p>
            </p:txBody>
          </p:sp>
          <p:cxnSp>
            <p:nvCxnSpPr>
              <p:cNvPr id="61" name="Straight Connector 60">
                <a:extLst>
                  <a:ext uri="{FF2B5EF4-FFF2-40B4-BE49-F238E27FC236}">
                    <a16:creationId xmlns:a16="http://schemas.microsoft.com/office/drawing/2014/main" id="{9CC66D79-7B93-4823-8A92-CEA398D1FC82}"/>
                  </a:ext>
                </a:extLst>
              </p:cNvPr>
              <p:cNvCxnSpPr/>
              <p:nvPr/>
            </p:nvCxnSpPr>
            <p:spPr>
              <a:xfrm flipH="1">
                <a:off x="3766657" y="1383552"/>
                <a:ext cx="90307" cy="0"/>
              </a:xfrm>
              <a:prstGeom prst="line">
                <a:avLst/>
              </a:prstGeom>
              <a:ln w="22860">
                <a:solidFill>
                  <a:srgbClr val="FF0000"/>
                </a:solidFill>
              </a:ln>
            </p:spPr>
            <p:style>
              <a:lnRef idx="2">
                <a:schemeClr val="accent1"/>
              </a:lnRef>
              <a:fillRef idx="0">
                <a:schemeClr val="accent1"/>
              </a:fillRef>
              <a:effectRef idx="1">
                <a:schemeClr val="accent1"/>
              </a:effectRef>
              <a:fontRef idx="minor">
                <a:schemeClr val="tx1"/>
              </a:fontRef>
            </p:style>
          </p:cxnSp>
        </p:grpSp>
        <p:pic>
          <p:nvPicPr>
            <p:cNvPr id="58" name="Picture 8" descr="Untitled-1.psd">
              <a:extLst>
                <a:ext uri="{FF2B5EF4-FFF2-40B4-BE49-F238E27FC236}">
                  <a16:creationId xmlns:a16="http://schemas.microsoft.com/office/drawing/2014/main" id="{6995C1DB-8DAE-4108-8418-9DEBDFFF8864}"/>
                </a:ext>
              </a:extLst>
            </p:cNvPr>
            <p:cNvPicPr>
              <a:picLocks noChangeAspect="1"/>
            </p:cNvPicPr>
            <p:nvPr/>
          </p:nvPicPr>
          <p:blipFill>
            <a:blip r:embed="rId5" cstate="print">
              <a:extLst>
                <a:ext uri="{28A0092B-C50C-407E-A947-70E740481C1C}">
                  <a14:useLocalDpi xmlns:a14="http://schemas.microsoft.com/office/drawing/2010/main" val="0"/>
                </a:ext>
              </a:extLst>
            </a:blip>
            <a:srcRect l="15283" r="56201" b="88768"/>
            <a:stretch>
              <a:fillRect/>
            </a:stretch>
          </p:blipFill>
          <p:spPr bwMode="auto">
            <a:xfrm flipH="1">
              <a:off x="3756422" y="1561331"/>
              <a:ext cx="408384" cy="248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Oval 58">
              <a:extLst>
                <a:ext uri="{FF2B5EF4-FFF2-40B4-BE49-F238E27FC236}">
                  <a16:creationId xmlns:a16="http://schemas.microsoft.com/office/drawing/2014/main" id="{5E7CBE3F-E453-4B4F-AE81-84B340E85F54}"/>
                </a:ext>
              </a:extLst>
            </p:cNvPr>
            <p:cNvSpPr/>
            <p:nvPr/>
          </p:nvSpPr>
          <p:spPr>
            <a:xfrm>
              <a:off x="3776663" y="2026880"/>
              <a:ext cx="53579" cy="53578"/>
            </a:xfrm>
            <a:prstGeom prst="ellipse">
              <a:avLst/>
            </a:prstGeom>
            <a:solidFill>
              <a:srgbClr val="FF0000"/>
            </a:solidFill>
            <a:ln w="6350">
              <a:solidFill>
                <a:srgbClr val="000000"/>
              </a:solidFill>
            </a:ln>
          </p:spPr>
          <p:style>
            <a:lnRef idx="2">
              <a:schemeClr val="accent2">
                <a:shade val="50000"/>
              </a:schemeClr>
            </a:lnRef>
            <a:fillRef idx="1">
              <a:schemeClr val="accent2"/>
            </a:fillRef>
            <a:effectRef idx="0">
              <a:schemeClr val="accent2"/>
            </a:effectRef>
            <a:fontRef idx="minor">
              <a:schemeClr val="lt1"/>
            </a:fontRef>
          </p:style>
          <p:txBody>
            <a:bodyPr lIns="68579" tIns="34289" rIns="68579" bIns="34289" anchor="ctr"/>
            <a:lstStyle/>
            <a:p>
              <a:pPr algn="ctr" defTabSz="914378">
                <a:buClr>
                  <a:srgbClr val="000000"/>
                </a:buClr>
                <a:defRPr/>
              </a:pPr>
              <a:endParaRPr lang="en-US" sz="1050" kern="0" dirty="0">
                <a:solidFill>
                  <a:prstClr val="white"/>
                </a:solidFill>
                <a:latin typeface="Gene Sans Light"/>
                <a:sym typeface="Arial"/>
              </a:endParaRPr>
            </a:p>
          </p:txBody>
        </p:sp>
      </p:grpSp>
      <p:grpSp>
        <p:nvGrpSpPr>
          <p:cNvPr id="16" name="Google Shape;342;p4">
            <a:extLst>
              <a:ext uri="{FF2B5EF4-FFF2-40B4-BE49-F238E27FC236}">
                <a16:creationId xmlns:a16="http://schemas.microsoft.com/office/drawing/2014/main" id="{64C4B526-4C1F-421B-970F-634DDB2E4E9D}"/>
              </a:ext>
            </a:extLst>
          </p:cNvPr>
          <p:cNvGrpSpPr/>
          <p:nvPr/>
        </p:nvGrpSpPr>
        <p:grpSpPr>
          <a:xfrm>
            <a:off x="8849668" y="55416"/>
            <a:ext cx="238916" cy="228628"/>
            <a:chOff x="11619274" y="118751"/>
            <a:chExt cx="432689" cy="414056"/>
          </a:xfrm>
        </p:grpSpPr>
        <p:sp>
          <p:nvSpPr>
            <p:cNvPr id="17" name="Google Shape;343;p4">
              <a:hlinkClick r:id="rId6" action="ppaction://hlinksldjump"/>
              <a:extLst>
                <a:ext uri="{FF2B5EF4-FFF2-40B4-BE49-F238E27FC236}">
                  <a16:creationId xmlns:a16="http://schemas.microsoft.com/office/drawing/2014/main" id="{DB3CC9DF-98D0-4EBB-98F5-352B4636E759}"/>
                </a:ext>
              </a:extLst>
            </p:cNvPr>
            <p:cNvSpPr/>
            <p:nvPr/>
          </p:nvSpPr>
          <p:spPr>
            <a:xfrm>
              <a:off x="11619274" y="118751"/>
              <a:ext cx="432689" cy="414056"/>
            </a:xfrm>
            <a:prstGeom prst="roundRect">
              <a:avLst>
                <a:gd name="adj" fmla="val 16667"/>
              </a:avLst>
            </a:prstGeom>
            <a:solidFill>
              <a:schemeClr val="accent2"/>
            </a:solidFill>
            <a:ln>
              <a:noFill/>
            </a:ln>
          </p:spPr>
          <p:txBody>
            <a:bodyPr spcFirstLastPara="1" wrap="square" lIns="68550" tIns="34275" rIns="68550" bIns="34275" anchor="ctr" anchorCtr="0">
              <a:noAutofit/>
            </a:bodyPr>
            <a:lstStyle/>
            <a:p>
              <a:pPr algn="ctr" defTabSz="914378">
                <a:buClr>
                  <a:srgbClr val="000000"/>
                </a:buClr>
              </a:pPr>
              <a:endParaRPr lang="en-US" sz="825" kern="0" dirty="0">
                <a:solidFill>
                  <a:srgbClr val="FFFFFF"/>
                </a:solidFill>
                <a:latin typeface="Arial"/>
                <a:ea typeface="Arial"/>
                <a:cs typeface="Arial"/>
                <a:sym typeface="Arial"/>
              </a:endParaRPr>
            </a:p>
          </p:txBody>
        </p:sp>
        <p:pic>
          <p:nvPicPr>
            <p:cNvPr id="18" name="Google Shape;344;p4">
              <a:hlinkClick r:id="rId6" action="ppaction://hlinksldjump"/>
              <a:extLst>
                <a:ext uri="{FF2B5EF4-FFF2-40B4-BE49-F238E27FC236}">
                  <a16:creationId xmlns:a16="http://schemas.microsoft.com/office/drawing/2014/main" id="{27245FD7-97C9-4AD2-BD8F-1123F49D4FC9}"/>
                </a:ext>
              </a:extLst>
            </p:cNvPr>
            <p:cNvPicPr preferRelativeResize="0"/>
            <p:nvPr/>
          </p:nvPicPr>
          <p:blipFill rotWithShape="1">
            <a:blip r:embed="rId7">
              <a:alphaModFix/>
            </a:blip>
            <a:srcRect/>
            <a:stretch/>
          </p:blipFill>
          <p:spPr>
            <a:xfrm>
              <a:off x="11681971" y="162551"/>
              <a:ext cx="307293" cy="307293"/>
            </a:xfrm>
            <a:prstGeom prst="rect">
              <a:avLst/>
            </a:prstGeom>
            <a:noFill/>
            <a:ln>
              <a:noFill/>
            </a:ln>
          </p:spPr>
        </p:pic>
      </p:grpSp>
    </p:spTree>
    <p:extLst>
      <p:ext uri="{BB962C8B-B14F-4D97-AF65-F5344CB8AC3E}">
        <p14:creationId xmlns:p14="http://schemas.microsoft.com/office/powerpoint/2010/main" val="3860883479"/>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6" name="Picture 5"/>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11577" y="1035204"/>
            <a:ext cx="1199274" cy="2409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67" name="Picture 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9255" y="2282325"/>
            <a:ext cx="610836" cy="611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
          <p:cNvGrpSpPr>
            <a:grpSpLocks/>
          </p:cNvGrpSpPr>
          <p:nvPr/>
        </p:nvGrpSpPr>
        <p:grpSpPr bwMode="auto">
          <a:xfrm>
            <a:off x="2194560" y="1458716"/>
            <a:ext cx="1477632" cy="1012970"/>
            <a:chOff x="934371" y="868363"/>
            <a:chExt cx="2304129" cy="1579195"/>
          </a:xfrm>
        </p:grpSpPr>
        <p:pic>
          <p:nvPicPr>
            <p:cNvPr id="62481" name="Picture 8" descr="Untitled-1.psd"/>
            <p:cNvPicPr>
              <a:picLocks noChangeAspect="1"/>
            </p:cNvPicPr>
            <p:nvPr/>
          </p:nvPicPr>
          <p:blipFill>
            <a:blip r:embed="rId5" cstate="print">
              <a:extLst>
                <a:ext uri="{28A0092B-C50C-407E-A947-70E740481C1C}">
                  <a14:useLocalDpi xmlns:a14="http://schemas.microsoft.com/office/drawing/2010/main" val="0"/>
                </a:ext>
              </a:extLst>
            </a:blip>
            <a:srcRect l="2" r="82959" b="66721"/>
            <a:stretch>
              <a:fillRect/>
            </a:stretch>
          </p:blipFill>
          <p:spPr bwMode="auto">
            <a:xfrm>
              <a:off x="2684463" y="900113"/>
              <a:ext cx="554037" cy="1547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482" name="Rectangle 6"/>
            <p:cNvSpPr>
              <a:spLocks noChangeArrowheads="1"/>
            </p:cNvSpPr>
            <p:nvPr/>
          </p:nvSpPr>
          <p:spPr bwMode="auto">
            <a:xfrm>
              <a:off x="934371" y="868363"/>
              <a:ext cx="1733450" cy="863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914378" fontAlgn="base">
                <a:spcBef>
                  <a:spcPct val="0"/>
                </a:spcBef>
                <a:spcAft>
                  <a:spcPct val="0"/>
                </a:spcAft>
                <a:buClr>
                  <a:srgbClr val="000000"/>
                </a:buClr>
                <a:defRPr/>
              </a:pPr>
              <a:r>
                <a:rPr lang="en-US" sz="1200" i="1" kern="0" dirty="0">
                  <a:solidFill>
                    <a:srgbClr val="545859"/>
                  </a:solidFill>
                  <a:latin typeface="Gene Sans Light"/>
                  <a:cs typeface="Arial"/>
                  <a:sym typeface="Arial"/>
                </a:rPr>
                <a:t>IFN-γ–mediated</a:t>
              </a:r>
              <a:br>
                <a:rPr lang="en-US" sz="1200" i="1" kern="0" dirty="0">
                  <a:solidFill>
                    <a:srgbClr val="545859"/>
                  </a:solidFill>
                  <a:latin typeface="Gene Sans Light"/>
                  <a:cs typeface="Arial"/>
                  <a:sym typeface="Arial"/>
                </a:rPr>
              </a:br>
              <a:r>
                <a:rPr lang="en-US" sz="1200" i="1" kern="0" dirty="0">
                  <a:solidFill>
                    <a:srgbClr val="545859"/>
                  </a:solidFill>
                  <a:latin typeface="Gene Sans Light"/>
                  <a:cs typeface="Arial"/>
                  <a:sym typeface="Arial"/>
                </a:rPr>
                <a:t>upregulation of tumor PD-L1</a:t>
              </a:r>
            </a:p>
          </p:txBody>
        </p:sp>
      </p:grpSp>
      <p:pic>
        <p:nvPicPr>
          <p:cNvPr id="7" name="Picture 6"/>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t="13336"/>
          <a:stretch>
            <a:fillRect/>
          </a:stretch>
        </p:blipFill>
        <p:spPr bwMode="auto">
          <a:xfrm>
            <a:off x="4114031" y="1776843"/>
            <a:ext cx="252479" cy="322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5"/>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06348" y="2276229"/>
            <a:ext cx="248407" cy="161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79" name="Picture 8" descr="Untitled-1.psd"/>
          <p:cNvPicPr>
            <a:picLocks noChangeAspect="1"/>
          </p:cNvPicPr>
          <p:nvPr/>
        </p:nvPicPr>
        <p:blipFill>
          <a:blip r:embed="rId5" cstate="print">
            <a:extLst>
              <a:ext uri="{28A0092B-C50C-407E-A947-70E740481C1C}">
                <a14:useLocalDpi xmlns:a14="http://schemas.microsoft.com/office/drawing/2010/main" val="0"/>
              </a:ext>
            </a:extLst>
          </a:blip>
          <a:srcRect l="15283" r="56201" b="88768"/>
          <a:stretch>
            <a:fillRect/>
          </a:stretch>
        </p:blipFill>
        <p:spPr bwMode="auto">
          <a:xfrm>
            <a:off x="3635544" y="1498129"/>
            <a:ext cx="594547" cy="334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43"/>
          <p:cNvPicPr>
            <a:picLocks noChangeAspect="1"/>
          </p:cNvPicPr>
          <p:nvPr/>
        </p:nvPicPr>
        <p:blipFill>
          <a:blip r:embed="rId8" cstate="print">
            <a:extLst>
              <a:ext uri="{28A0092B-C50C-407E-A947-70E740481C1C}">
                <a14:useLocalDpi xmlns:a14="http://schemas.microsoft.com/office/drawing/2010/main" val="0"/>
              </a:ext>
            </a:extLst>
          </a:blip>
          <a:srcRect b="21053"/>
          <a:stretch>
            <a:fillRect/>
          </a:stretch>
        </p:blipFill>
        <p:spPr bwMode="auto">
          <a:xfrm rot="10800000">
            <a:off x="4042768" y="1805349"/>
            <a:ext cx="62102" cy="297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42"/>
          <p:cNvPicPr>
            <a:picLocks noChangeAspect="1"/>
          </p:cNvPicPr>
          <p:nvPr/>
        </p:nvPicPr>
        <p:blipFill rotWithShape="1">
          <a:blip r:embed="rId9" cstate="print">
            <a:duotone>
              <a:prstClr val="black"/>
              <a:srgbClr val="FF940C">
                <a:tint val="45000"/>
                <a:satMod val="400000"/>
              </a:srgbClr>
            </a:duotone>
            <a:lum contrast="40000"/>
          </a:blip>
          <a:srcRect t="16643"/>
          <a:stretch/>
        </p:blipFill>
        <p:spPr bwMode="auto">
          <a:xfrm rot="10800000">
            <a:off x="4042768" y="2072326"/>
            <a:ext cx="62066" cy="163170"/>
          </a:xfrm>
          <a:prstGeom prst="rect">
            <a:avLst/>
          </a:prstGeom>
          <a:noFill/>
          <a:ln>
            <a:noFill/>
          </a:ln>
        </p:spPr>
      </p:pic>
      <p:sp>
        <p:nvSpPr>
          <p:cNvPr id="62476" name="Rectangle 45"/>
          <p:cNvSpPr>
            <a:spLocks noChangeArrowheads="1"/>
          </p:cNvSpPr>
          <p:nvPr/>
        </p:nvSpPr>
        <p:spPr bwMode="auto">
          <a:xfrm>
            <a:off x="3924119" y="2196480"/>
            <a:ext cx="145158" cy="80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914378" eaLnBrk="0" fontAlgn="base" hangingPunct="0">
              <a:spcBef>
                <a:spcPct val="0"/>
              </a:spcBef>
              <a:spcAft>
                <a:spcPct val="0"/>
              </a:spcAft>
              <a:buClr>
                <a:srgbClr val="000000"/>
              </a:buClr>
              <a:defRPr/>
            </a:pPr>
            <a:r>
              <a:rPr lang="en-US" sz="525" kern="0" dirty="0">
                <a:solidFill>
                  <a:srgbClr val="545859"/>
                </a:solidFill>
                <a:latin typeface="Gene Sans Light"/>
                <a:cs typeface="Arial"/>
                <a:sym typeface="Arial"/>
              </a:rPr>
              <a:t>B7.1</a:t>
            </a:r>
          </a:p>
        </p:txBody>
      </p:sp>
      <p:sp>
        <p:nvSpPr>
          <p:cNvPr id="14" name="Text Placeholder 13">
            <a:extLst>
              <a:ext uri="{FF2B5EF4-FFF2-40B4-BE49-F238E27FC236}">
                <a16:creationId xmlns:a16="http://schemas.microsoft.com/office/drawing/2014/main" id="{12E86447-6CFD-4667-8820-12E56BB7D688}"/>
              </a:ext>
            </a:extLst>
          </p:cNvPr>
          <p:cNvSpPr>
            <a:spLocks noGrp="1"/>
          </p:cNvSpPr>
          <p:nvPr>
            <p:ph type="body" idx="2"/>
          </p:nvPr>
        </p:nvSpPr>
        <p:spPr/>
        <p:txBody>
          <a:bodyPr/>
          <a:lstStyle/>
          <a:p>
            <a:r>
              <a:rPr lang="en-US" dirty="0"/>
              <a:t>Targeting the PD-L1/PD-1 Axis</a:t>
            </a:r>
          </a:p>
        </p:txBody>
      </p:sp>
      <p:sp>
        <p:nvSpPr>
          <p:cNvPr id="27" name="Text Placeholder 26">
            <a:extLst>
              <a:ext uri="{FF2B5EF4-FFF2-40B4-BE49-F238E27FC236}">
                <a16:creationId xmlns:a16="http://schemas.microsoft.com/office/drawing/2014/main" id="{9BF84708-567E-4CFD-9355-37B4F9AD3D8C}"/>
              </a:ext>
            </a:extLst>
          </p:cNvPr>
          <p:cNvSpPr>
            <a:spLocks noGrp="1"/>
          </p:cNvSpPr>
          <p:nvPr>
            <p:ph type="body" idx="3"/>
          </p:nvPr>
        </p:nvSpPr>
        <p:spPr/>
        <p:txBody>
          <a:bodyPr/>
          <a:lstStyle/>
          <a:p>
            <a:r>
              <a:rPr lang="en-US" altLang="zh-CN" dirty="0"/>
              <a:t>MHC I, </a:t>
            </a:r>
            <a:r>
              <a:rPr lang="en-US" altLang="zh-CN"/>
              <a:t>major histocompatibility </a:t>
            </a:r>
            <a:r>
              <a:rPr lang="en-US" altLang="zh-CN" dirty="0"/>
              <a:t>complex class I. </a:t>
            </a:r>
            <a:r>
              <a:rPr lang="en-US" altLang="en-US" dirty="0"/>
              <a:t>1. Chen DS, et al. </a:t>
            </a:r>
            <a:r>
              <a:rPr lang="en-US" altLang="en-US" i="1" dirty="0"/>
              <a:t>Clin Cancer Res. </a:t>
            </a:r>
            <a:r>
              <a:rPr lang="en-US" altLang="en-US" dirty="0"/>
              <a:t>2012;18:6580-6587. 2. Herbst RS, et al. ASCO 2013. (abs 3000). </a:t>
            </a:r>
          </a:p>
        </p:txBody>
      </p:sp>
      <p:sp>
        <p:nvSpPr>
          <p:cNvPr id="3" name="Title 2"/>
          <p:cNvSpPr>
            <a:spLocks noGrp="1"/>
          </p:cNvSpPr>
          <p:nvPr>
            <p:ph type="title"/>
          </p:nvPr>
        </p:nvSpPr>
        <p:spPr/>
        <p:txBody>
          <a:bodyPr/>
          <a:lstStyle/>
          <a:p>
            <a:r>
              <a:rPr lang="en-US" dirty="0"/>
              <a:t>Adaptive PD-L1 Expression by Tumors (cont.)</a:t>
            </a:r>
          </a:p>
        </p:txBody>
      </p:sp>
      <p:sp>
        <p:nvSpPr>
          <p:cNvPr id="94" name="Content Placeholder 14">
            <a:extLst>
              <a:ext uri="{FF2B5EF4-FFF2-40B4-BE49-F238E27FC236}">
                <a16:creationId xmlns:a16="http://schemas.microsoft.com/office/drawing/2014/main" id="{DF99D5C0-EDFE-475A-9AD2-F65CFE28E14C}"/>
              </a:ext>
            </a:extLst>
          </p:cNvPr>
          <p:cNvSpPr txBox="1">
            <a:spLocks/>
          </p:cNvSpPr>
          <p:nvPr/>
        </p:nvSpPr>
        <p:spPr>
          <a:xfrm>
            <a:off x="5755112" y="1283549"/>
            <a:ext cx="3010937" cy="3227832"/>
          </a:xfrm>
          <a:prstGeom prst="rect">
            <a:avLst/>
          </a:prstGeom>
        </p:spPr>
        <p:txBody>
          <a:bodyPr vert="horz" lIns="0" tIns="0" rIns="0" bIns="0" numCol="1" rtlCol="0">
            <a:noAutofit/>
          </a:bodyPr>
          <a:lstStyle>
            <a:defPPr marR="0" lvl="0" algn="l" rtl="0">
              <a:lnSpc>
                <a:spcPct val="100000"/>
              </a:lnSpc>
              <a:spcBef>
                <a:spcPts val="0"/>
              </a:spcBef>
              <a:spcAft>
                <a:spcPts val="0"/>
              </a:spcAft>
            </a:defPPr>
            <a:lvl1pPr marL="173736" marR="0" lvl="0" indent="-173736" algn="l" rtl="0">
              <a:lnSpc>
                <a:spcPct val="100000"/>
              </a:lnSpc>
              <a:spcBef>
                <a:spcPts val="0"/>
              </a:spcBef>
              <a:spcAft>
                <a:spcPts val="0"/>
              </a:spcAft>
              <a:buClr>
                <a:schemeClr val="tx1"/>
              </a:buClr>
              <a:buFont typeface="Arial" panose="020B0604020202020204" pitchFamily="34" charset="0"/>
              <a:buChar char="•"/>
              <a:defRPr lang="en-US" sz="1600" b="0" i="0" u="none" strike="noStrike" kern="1200" cap="none">
                <a:solidFill>
                  <a:schemeClr val="tx1"/>
                </a:solidFill>
                <a:latin typeface="+mn-lt"/>
                <a:ea typeface="+mn-ea"/>
                <a:cs typeface="+mn-cs"/>
                <a:sym typeface="Arial"/>
              </a:defRPr>
            </a:lvl1pPr>
            <a:lvl2pPr marL="347472" marR="0" lvl="1" indent="-173736" algn="l" rtl="0">
              <a:lnSpc>
                <a:spcPct val="90000"/>
              </a:lnSpc>
              <a:spcBef>
                <a:spcPts val="600"/>
              </a:spcBef>
              <a:spcAft>
                <a:spcPts val="0"/>
              </a:spcAft>
              <a:buClr>
                <a:schemeClr val="tx1"/>
              </a:buClr>
              <a:buFont typeface="Gene Sans Light" panose="00000400000000000000" pitchFamily="50" charset="0"/>
              <a:buChar char="–"/>
              <a:defRPr lang="en-US" sz="1400" b="0" i="0" u="none" strike="noStrike" kern="1200" cap="none">
                <a:solidFill>
                  <a:schemeClr val="tx1"/>
                </a:solidFill>
                <a:latin typeface="+mn-lt"/>
                <a:ea typeface="+mn-ea"/>
                <a:cs typeface="+mn-cs"/>
                <a:sym typeface="Arial"/>
              </a:defRPr>
            </a:lvl2pPr>
            <a:lvl3pPr marL="521208" marR="0" lvl="2" indent="-173736" algn="l" rtl="0">
              <a:lnSpc>
                <a:spcPct val="90000"/>
              </a:lnSpc>
              <a:spcBef>
                <a:spcPts val="600"/>
              </a:spcBef>
              <a:spcAft>
                <a:spcPts val="0"/>
              </a:spcAft>
              <a:buClr>
                <a:schemeClr val="tx1"/>
              </a:buClr>
              <a:buFont typeface="Wingdings" panose="05000000000000000000" pitchFamily="2" charset="2"/>
              <a:buChar char="§"/>
              <a:defRPr lang="en-US" sz="1100" b="0" i="0" u="none" strike="noStrike" kern="1200" cap="none">
                <a:solidFill>
                  <a:schemeClr val="tx1"/>
                </a:solidFill>
                <a:latin typeface="+mn-lt"/>
                <a:ea typeface="+mn-ea"/>
                <a:cs typeface="+mn-cs"/>
                <a:sym typeface="Arial"/>
              </a:defRPr>
            </a:lvl3pPr>
            <a:lvl4pPr marL="694944" marR="0" lvl="3" indent="-173736" algn="l" rtl="0">
              <a:lnSpc>
                <a:spcPct val="90000"/>
              </a:lnSpc>
              <a:spcBef>
                <a:spcPts val="600"/>
              </a:spcBef>
              <a:spcAft>
                <a:spcPts val="0"/>
              </a:spcAft>
              <a:buClr>
                <a:schemeClr val="tx1"/>
              </a:buClr>
              <a:buFont typeface="Arial" panose="020B0604020202020204" pitchFamily="34" charset="0"/>
              <a:buChar char="•"/>
              <a:defRPr lang="en-US" sz="1050" b="0" i="0" u="none" strike="noStrike" kern="1200" cap="none">
                <a:solidFill>
                  <a:schemeClr val="tx1"/>
                </a:solidFill>
                <a:latin typeface="+mn-lt"/>
                <a:ea typeface="+mn-ea"/>
                <a:cs typeface="+mn-cs"/>
                <a:sym typeface="Arial"/>
              </a:defRPr>
            </a:lvl4pPr>
            <a:lvl5pPr marL="868680" marR="0" lvl="4" indent="-173736" algn="l" rtl="0">
              <a:lnSpc>
                <a:spcPct val="90000"/>
              </a:lnSpc>
              <a:spcBef>
                <a:spcPts val="600"/>
              </a:spcBef>
              <a:spcAft>
                <a:spcPts val="0"/>
              </a:spcAft>
              <a:buClr>
                <a:schemeClr val="tx1"/>
              </a:buClr>
              <a:buFont typeface="Arial" panose="020B0604020202020204" pitchFamily="34" charset="0"/>
              <a:buChar char="•"/>
              <a:defRPr lang="en-US" sz="1050" b="0" i="0" u="none" strike="noStrike" kern="1200" cap="none">
                <a:solidFill>
                  <a:schemeClr val="tx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73732" indent="-173732" defTabSz="914378">
              <a:spcBef>
                <a:spcPts val="400"/>
              </a:spcBef>
              <a:spcAft>
                <a:spcPts val="400"/>
              </a:spcAft>
              <a:buClr>
                <a:srgbClr val="545859"/>
              </a:buClr>
            </a:pPr>
            <a:r>
              <a:rPr lang="en-US" altLang="en-US" dirty="0">
                <a:solidFill>
                  <a:srgbClr val="545859"/>
                </a:solidFill>
                <a:latin typeface="Gene Sans Light"/>
              </a:rPr>
              <a:t>During the immune attack, T cells secrete immune-enhancing cytokines (i.e., IFN-γ)</a:t>
            </a:r>
            <a:r>
              <a:rPr lang="en-US" altLang="en-US" baseline="30000" dirty="0">
                <a:solidFill>
                  <a:srgbClr val="545859"/>
                </a:solidFill>
                <a:latin typeface="Gene Sans Light"/>
              </a:rPr>
              <a:t>1</a:t>
            </a:r>
            <a:endParaRPr lang="en-US" altLang="en-US" dirty="0">
              <a:solidFill>
                <a:srgbClr val="545859"/>
              </a:solidFill>
              <a:latin typeface="Gene Sans Light"/>
            </a:endParaRPr>
          </a:p>
          <a:p>
            <a:pPr marL="173732" indent="-173732" defTabSz="914378">
              <a:spcBef>
                <a:spcPts val="400"/>
              </a:spcBef>
              <a:spcAft>
                <a:spcPts val="400"/>
              </a:spcAft>
              <a:buClr>
                <a:srgbClr val="545859"/>
              </a:buClr>
            </a:pPr>
            <a:r>
              <a:rPr lang="en-US" altLang="en-US" dirty="0">
                <a:solidFill>
                  <a:srgbClr val="545859"/>
                </a:solidFill>
                <a:latin typeface="Gene Sans Light"/>
              </a:rPr>
              <a:t>Cancer cells can evade immune attack by expressing PD-L1 as a response to enhancing cytokines</a:t>
            </a:r>
            <a:r>
              <a:rPr lang="en-US" altLang="en-US" baseline="30000" dirty="0">
                <a:solidFill>
                  <a:srgbClr val="545859"/>
                </a:solidFill>
                <a:latin typeface="Gene Sans Light"/>
              </a:rPr>
              <a:t>1,2</a:t>
            </a:r>
          </a:p>
        </p:txBody>
      </p:sp>
      <p:grpSp>
        <p:nvGrpSpPr>
          <p:cNvPr id="17" name="Google Shape;342;p4">
            <a:extLst>
              <a:ext uri="{FF2B5EF4-FFF2-40B4-BE49-F238E27FC236}">
                <a16:creationId xmlns:a16="http://schemas.microsoft.com/office/drawing/2014/main" id="{AD0861F9-78C7-4389-A85C-8E61F0241317}"/>
              </a:ext>
            </a:extLst>
          </p:cNvPr>
          <p:cNvGrpSpPr/>
          <p:nvPr/>
        </p:nvGrpSpPr>
        <p:grpSpPr>
          <a:xfrm>
            <a:off x="8849668" y="55416"/>
            <a:ext cx="238916" cy="228628"/>
            <a:chOff x="11619274" y="118751"/>
            <a:chExt cx="432689" cy="414056"/>
          </a:xfrm>
        </p:grpSpPr>
        <p:sp>
          <p:nvSpPr>
            <p:cNvPr id="18" name="Google Shape;343;p4">
              <a:hlinkClick r:id="rId10" action="ppaction://hlinksldjump"/>
              <a:extLst>
                <a:ext uri="{FF2B5EF4-FFF2-40B4-BE49-F238E27FC236}">
                  <a16:creationId xmlns:a16="http://schemas.microsoft.com/office/drawing/2014/main" id="{1D56EEC6-F6CF-4EA7-9A9A-60B38621AA66}"/>
                </a:ext>
              </a:extLst>
            </p:cNvPr>
            <p:cNvSpPr/>
            <p:nvPr/>
          </p:nvSpPr>
          <p:spPr>
            <a:xfrm>
              <a:off x="11619274" y="118751"/>
              <a:ext cx="432689" cy="414056"/>
            </a:xfrm>
            <a:prstGeom prst="roundRect">
              <a:avLst>
                <a:gd name="adj" fmla="val 16667"/>
              </a:avLst>
            </a:prstGeom>
            <a:solidFill>
              <a:schemeClr val="accent2"/>
            </a:solidFill>
            <a:ln>
              <a:noFill/>
            </a:ln>
          </p:spPr>
          <p:txBody>
            <a:bodyPr spcFirstLastPara="1" wrap="square" lIns="68550" tIns="34275" rIns="68550" bIns="34275" anchor="ctr" anchorCtr="0">
              <a:noAutofit/>
            </a:bodyPr>
            <a:lstStyle/>
            <a:p>
              <a:pPr algn="ctr" defTabSz="914378">
                <a:buClr>
                  <a:srgbClr val="000000"/>
                </a:buClr>
              </a:pPr>
              <a:endParaRPr lang="en-US" sz="825" kern="0" dirty="0">
                <a:solidFill>
                  <a:srgbClr val="FFFFFF"/>
                </a:solidFill>
                <a:latin typeface="Arial"/>
                <a:ea typeface="Arial"/>
                <a:cs typeface="Arial"/>
                <a:sym typeface="Arial"/>
              </a:endParaRPr>
            </a:p>
          </p:txBody>
        </p:sp>
        <p:pic>
          <p:nvPicPr>
            <p:cNvPr id="19" name="Google Shape;344;p4">
              <a:hlinkClick r:id="rId10" action="ppaction://hlinksldjump"/>
              <a:extLst>
                <a:ext uri="{FF2B5EF4-FFF2-40B4-BE49-F238E27FC236}">
                  <a16:creationId xmlns:a16="http://schemas.microsoft.com/office/drawing/2014/main" id="{6D8716DC-8B18-4EF1-9129-4003FC657E58}"/>
                </a:ext>
              </a:extLst>
            </p:cNvPr>
            <p:cNvPicPr preferRelativeResize="0"/>
            <p:nvPr/>
          </p:nvPicPr>
          <p:blipFill rotWithShape="1">
            <a:blip r:embed="rId11">
              <a:alphaModFix/>
            </a:blip>
            <a:srcRect/>
            <a:stretch/>
          </p:blipFill>
          <p:spPr>
            <a:xfrm>
              <a:off x="11681971" y="162551"/>
              <a:ext cx="307293" cy="307293"/>
            </a:xfrm>
            <a:prstGeom prst="rect">
              <a:avLst/>
            </a:prstGeom>
            <a:noFill/>
            <a:ln>
              <a:noFill/>
            </a:ln>
          </p:spPr>
        </p:pic>
      </p:grpSp>
    </p:spTree>
    <p:extLst>
      <p:ext uri="{BB962C8B-B14F-4D97-AF65-F5344CB8AC3E}">
        <p14:creationId xmlns:p14="http://schemas.microsoft.com/office/powerpoint/2010/main" val="3065150172"/>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9">
            <a:extLst>
              <a:ext uri="{FF2B5EF4-FFF2-40B4-BE49-F238E27FC236}">
                <a16:creationId xmlns:a16="http://schemas.microsoft.com/office/drawing/2014/main" id="{14D8AA36-0712-4DDC-BA03-9A9A8077C8DA}"/>
              </a:ext>
            </a:extLst>
          </p:cNvPr>
          <p:cNvSpPr>
            <a:spLocks noGrp="1"/>
          </p:cNvSpPr>
          <p:nvPr>
            <p:ph type="body" idx="2"/>
          </p:nvPr>
        </p:nvSpPr>
        <p:spPr/>
        <p:txBody>
          <a:bodyPr/>
          <a:lstStyle/>
          <a:p>
            <a:r>
              <a:rPr lang="en-US" dirty="0"/>
              <a:t>Targeting the PD-L1/PD-1 Axis</a:t>
            </a:r>
          </a:p>
        </p:txBody>
      </p:sp>
      <p:sp>
        <p:nvSpPr>
          <p:cNvPr id="31" name="Text Placeholder 30">
            <a:extLst>
              <a:ext uri="{FF2B5EF4-FFF2-40B4-BE49-F238E27FC236}">
                <a16:creationId xmlns:a16="http://schemas.microsoft.com/office/drawing/2014/main" id="{90B415E8-74D2-4F8B-A3B2-91006EEE8AD0}"/>
              </a:ext>
            </a:extLst>
          </p:cNvPr>
          <p:cNvSpPr>
            <a:spLocks noGrp="1"/>
          </p:cNvSpPr>
          <p:nvPr>
            <p:ph type="body" idx="3"/>
          </p:nvPr>
        </p:nvSpPr>
        <p:spPr/>
        <p:txBody>
          <a:bodyPr/>
          <a:lstStyle/>
          <a:p>
            <a:r>
              <a:rPr lang="en-US" altLang="zh-CN" dirty="0"/>
              <a:t>MHC I, </a:t>
            </a:r>
            <a:r>
              <a:rPr lang="en-US" altLang="zh-CN"/>
              <a:t>major histocompatibility </a:t>
            </a:r>
            <a:r>
              <a:rPr lang="en-US" altLang="zh-CN" dirty="0"/>
              <a:t>complex class I; Th2, helper T cell. </a:t>
            </a:r>
            <a:r>
              <a:rPr lang="en-US" altLang="en-US" dirty="0"/>
              <a:t>Chen DS, et al. </a:t>
            </a:r>
            <a:r>
              <a:rPr lang="en-US" altLang="en-US" i="1" dirty="0"/>
              <a:t>Clin Cancer Res. </a:t>
            </a:r>
            <a:r>
              <a:rPr lang="en-US" altLang="en-US" dirty="0"/>
              <a:t>2012;18:6580-6587.</a:t>
            </a:r>
          </a:p>
        </p:txBody>
      </p:sp>
      <p:sp>
        <p:nvSpPr>
          <p:cNvPr id="2" name="Title 1"/>
          <p:cNvSpPr>
            <a:spLocks noGrp="1"/>
          </p:cNvSpPr>
          <p:nvPr>
            <p:ph type="title"/>
          </p:nvPr>
        </p:nvSpPr>
        <p:spPr>
          <a:xfrm>
            <a:off x="381648" y="585796"/>
            <a:ext cx="8384400" cy="652455"/>
          </a:xfrm>
        </p:spPr>
        <p:txBody>
          <a:bodyPr/>
          <a:lstStyle/>
          <a:p>
            <a:r>
              <a:rPr lang="en-US" dirty="0"/>
              <a:t>Adaptive PD-L1 Expression by Tumors (cont.)</a:t>
            </a:r>
          </a:p>
        </p:txBody>
      </p:sp>
      <p:grpSp>
        <p:nvGrpSpPr>
          <p:cNvPr id="8" name="Group 7"/>
          <p:cNvGrpSpPr>
            <a:grpSpLocks noChangeAspect="1"/>
          </p:cNvGrpSpPr>
          <p:nvPr/>
        </p:nvGrpSpPr>
        <p:grpSpPr>
          <a:xfrm>
            <a:off x="2109907" y="1035204"/>
            <a:ext cx="4093945" cy="3692198"/>
            <a:chOff x="751739" y="1128242"/>
            <a:chExt cx="6339117" cy="5717047"/>
          </a:xfrm>
        </p:grpSpPr>
        <p:grpSp>
          <p:nvGrpSpPr>
            <p:cNvPr id="4" name="Group 3"/>
            <p:cNvGrpSpPr>
              <a:grpSpLocks noChangeAspect="1"/>
            </p:cNvGrpSpPr>
            <p:nvPr/>
          </p:nvGrpSpPr>
          <p:grpSpPr>
            <a:xfrm>
              <a:off x="751739" y="1128242"/>
              <a:ext cx="6339117" cy="5717047"/>
              <a:chOff x="741371" y="963616"/>
              <a:chExt cx="6503117" cy="5864953"/>
            </a:xfrm>
          </p:grpSpPr>
          <p:grpSp>
            <p:nvGrpSpPr>
              <p:cNvPr id="63490" name="Group 21"/>
              <p:cNvGrpSpPr>
                <a:grpSpLocks/>
              </p:cNvGrpSpPr>
              <p:nvPr/>
            </p:nvGrpSpPr>
            <p:grpSpPr bwMode="auto">
              <a:xfrm>
                <a:off x="4611697" y="4514854"/>
                <a:ext cx="674687" cy="944563"/>
                <a:chOff x="4620978" y="3647693"/>
                <a:chExt cx="675015" cy="945698"/>
              </a:xfrm>
            </p:grpSpPr>
            <p:sp>
              <p:nvSpPr>
                <p:cNvPr id="12" name="Freeform 11"/>
                <p:cNvSpPr/>
                <p:nvPr/>
              </p:nvSpPr>
              <p:spPr>
                <a:xfrm>
                  <a:off x="4620978" y="3716038"/>
                  <a:ext cx="675015" cy="877353"/>
                </a:xfrm>
                <a:custGeom>
                  <a:avLst/>
                  <a:gdLst>
                    <a:gd name="connsiteX0" fmla="*/ 635047 w 650028"/>
                    <a:gd name="connsiteY0" fmla="*/ 1134838 h 1134838"/>
                    <a:gd name="connsiteX1" fmla="*/ 567488 w 650028"/>
                    <a:gd name="connsiteY1" fmla="*/ 405299 h 1134838"/>
                    <a:gd name="connsiteX2" fmla="*/ 0 w 650028"/>
                    <a:gd name="connsiteY2" fmla="*/ 0 h 1134838"/>
                    <a:gd name="connsiteX0" fmla="*/ 635047 w 637261"/>
                    <a:gd name="connsiteY0" fmla="*/ 1134838 h 1134838"/>
                    <a:gd name="connsiteX1" fmla="*/ 440032 w 637261"/>
                    <a:gd name="connsiteY1" fmla="*/ 405299 h 1134838"/>
                    <a:gd name="connsiteX2" fmla="*/ 0 w 637261"/>
                    <a:gd name="connsiteY2" fmla="*/ 0 h 1134838"/>
                    <a:gd name="connsiteX0" fmla="*/ 635047 w 636747"/>
                    <a:gd name="connsiteY0" fmla="*/ 1134838 h 1134838"/>
                    <a:gd name="connsiteX1" fmla="*/ 401795 w 636747"/>
                    <a:gd name="connsiteY1" fmla="*/ 422758 h 1134838"/>
                    <a:gd name="connsiteX2" fmla="*/ 0 w 636747"/>
                    <a:gd name="connsiteY2" fmla="*/ 0 h 1134838"/>
                  </a:gdLst>
                  <a:ahLst/>
                  <a:cxnLst>
                    <a:cxn ang="0">
                      <a:pos x="connsiteX0" y="connsiteY0"/>
                    </a:cxn>
                    <a:cxn ang="0">
                      <a:pos x="connsiteX1" y="connsiteY1"/>
                    </a:cxn>
                    <a:cxn ang="0">
                      <a:pos x="connsiteX2" y="connsiteY2"/>
                    </a:cxn>
                  </a:cxnLst>
                  <a:rect l="l" t="t" r="r" b="b"/>
                  <a:pathLst>
                    <a:path w="636747" h="1134838">
                      <a:moveTo>
                        <a:pt x="635047" y="1134838"/>
                      </a:moveTo>
                      <a:cubicBezTo>
                        <a:pt x="654188" y="864638"/>
                        <a:pt x="507636" y="611898"/>
                        <a:pt x="401795" y="422758"/>
                      </a:cubicBezTo>
                      <a:cubicBezTo>
                        <a:pt x="295954" y="233618"/>
                        <a:pt x="0" y="0"/>
                        <a:pt x="0" y="0"/>
                      </a:cubicBezTo>
                    </a:path>
                  </a:pathLst>
                </a:custGeom>
                <a:ln>
                  <a:solidFill>
                    <a:srgbClr val="FF0000"/>
                  </a:solidFill>
                </a:ln>
                <a:effectLst/>
              </p:spPr>
              <p:style>
                <a:lnRef idx="2">
                  <a:schemeClr val="accent1"/>
                </a:lnRef>
                <a:fillRef idx="0">
                  <a:schemeClr val="accent1"/>
                </a:fillRef>
                <a:effectRef idx="1">
                  <a:schemeClr val="accent1"/>
                </a:effectRef>
                <a:fontRef idx="minor">
                  <a:schemeClr val="tx1"/>
                </a:fontRef>
              </p:style>
              <p:txBody>
                <a:bodyPr anchor="ctr"/>
                <a:lstStyle/>
                <a:p>
                  <a:pPr algn="ctr" defTabSz="685766">
                    <a:buClr>
                      <a:srgbClr val="000000"/>
                    </a:buClr>
                    <a:defRPr/>
                  </a:pPr>
                  <a:endParaRPr lang="en-US" sz="1050" kern="0" dirty="0">
                    <a:solidFill>
                      <a:srgbClr val="545859"/>
                    </a:solidFill>
                    <a:latin typeface="Gene Sans Light"/>
                    <a:sym typeface="Arial"/>
                  </a:endParaRPr>
                </a:p>
              </p:txBody>
            </p:sp>
            <p:cxnSp>
              <p:nvCxnSpPr>
                <p:cNvPr id="18" name="Straight Connector 17"/>
                <p:cNvCxnSpPr/>
                <p:nvPr/>
              </p:nvCxnSpPr>
              <p:spPr>
                <a:xfrm rot="1680000" flipV="1">
                  <a:off x="4635272" y="3647693"/>
                  <a:ext cx="0" cy="136689"/>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grpSp>
          <p:pic>
            <p:nvPicPr>
              <p:cNvPr id="63491" name="Picture 6"/>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97079" y="963616"/>
                <a:ext cx="5132388" cy="551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492" name="Picture 8" descr="Untitled-1.psd"/>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74938" y="1766891"/>
                <a:ext cx="3251200" cy="4649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493" name="Rectangle 3"/>
              <p:cNvSpPr>
                <a:spLocks noChangeArrowheads="1"/>
              </p:cNvSpPr>
              <p:nvPr/>
            </p:nvSpPr>
            <p:spPr bwMode="auto">
              <a:xfrm>
                <a:off x="741371" y="5327644"/>
                <a:ext cx="1522412" cy="751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685766">
                  <a:buClr>
                    <a:srgbClr val="000000"/>
                  </a:buClr>
                  <a:defRPr/>
                </a:pPr>
                <a:r>
                  <a:rPr lang="en-US" sz="825" i="1" kern="0" dirty="0">
                    <a:solidFill>
                      <a:srgbClr val="545859"/>
                    </a:solidFill>
                    <a:latin typeface="Gene Sans Light"/>
                    <a:cs typeface="Arial" panose="020B0604020202020204" pitchFamily="34" charset="0"/>
                    <a:sym typeface="Arial"/>
                  </a:rPr>
                  <a:t>Stromal PD-L1 modulation </a:t>
                </a:r>
                <a:br>
                  <a:rPr lang="en-US" sz="825" i="1" kern="0" dirty="0">
                    <a:solidFill>
                      <a:srgbClr val="545859"/>
                    </a:solidFill>
                    <a:latin typeface="Gene Sans Light"/>
                    <a:cs typeface="Arial" panose="020B0604020202020204" pitchFamily="34" charset="0"/>
                    <a:sym typeface="Arial"/>
                  </a:rPr>
                </a:br>
                <a:r>
                  <a:rPr lang="en-US" sz="825" i="1" kern="0" dirty="0">
                    <a:solidFill>
                      <a:srgbClr val="545859"/>
                    </a:solidFill>
                    <a:latin typeface="Gene Sans Light"/>
                    <a:cs typeface="Arial" panose="020B0604020202020204" pitchFamily="34" charset="0"/>
                    <a:sym typeface="Arial"/>
                  </a:rPr>
                  <a:t>of T cells</a:t>
                </a:r>
              </a:p>
            </p:txBody>
          </p:sp>
          <p:sp>
            <p:nvSpPr>
              <p:cNvPr id="63494" name="Rectangle 4"/>
              <p:cNvSpPr>
                <a:spLocks noChangeArrowheads="1"/>
              </p:cNvSpPr>
              <p:nvPr/>
            </p:nvSpPr>
            <p:spPr bwMode="auto">
              <a:xfrm>
                <a:off x="5489573" y="5180014"/>
                <a:ext cx="1754915" cy="751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685766">
                  <a:buClr>
                    <a:srgbClr val="000000"/>
                  </a:buClr>
                  <a:defRPr/>
                </a:pPr>
                <a:r>
                  <a:rPr lang="en-US" sz="825" i="1" kern="0" dirty="0">
                    <a:solidFill>
                      <a:srgbClr val="545859"/>
                    </a:solidFill>
                    <a:latin typeface="Gene Sans Light"/>
                    <a:cs typeface="Arial" panose="020B0604020202020204" pitchFamily="34" charset="0"/>
                    <a:sym typeface="Arial"/>
                  </a:rPr>
                  <a:t>Immune cell modulation of T cells</a:t>
                </a:r>
              </a:p>
            </p:txBody>
          </p:sp>
          <p:sp>
            <p:nvSpPr>
              <p:cNvPr id="63495" name="Rectangle 5"/>
              <p:cNvSpPr>
                <a:spLocks noChangeArrowheads="1"/>
              </p:cNvSpPr>
              <p:nvPr/>
            </p:nvSpPr>
            <p:spPr bwMode="auto">
              <a:xfrm>
                <a:off x="4186308" y="1933091"/>
                <a:ext cx="1885010" cy="751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685766">
                  <a:buClr>
                    <a:srgbClr val="000000"/>
                  </a:buClr>
                  <a:defRPr/>
                </a:pPr>
                <a:r>
                  <a:rPr lang="en-US" sz="825" i="1" kern="0">
                    <a:solidFill>
                      <a:srgbClr val="545859"/>
                    </a:solidFill>
                    <a:latin typeface="Gene Sans Light"/>
                    <a:cs typeface="Arial" panose="020B0604020202020204" pitchFamily="34" charset="0"/>
                    <a:sym typeface="Arial"/>
                  </a:rPr>
                  <a:t>PD-L1/PD-1–mediated inhibition </a:t>
                </a:r>
                <a:r>
                  <a:rPr lang="en-US" sz="825" i="1" kern="0" dirty="0">
                    <a:solidFill>
                      <a:srgbClr val="545859"/>
                    </a:solidFill>
                    <a:latin typeface="Gene Sans Light"/>
                    <a:cs typeface="Arial" panose="020B0604020202020204" pitchFamily="34" charset="0"/>
                    <a:sym typeface="Arial"/>
                  </a:rPr>
                  <a:t>of tumor cell killing</a:t>
                </a:r>
              </a:p>
            </p:txBody>
          </p:sp>
          <p:sp>
            <p:nvSpPr>
              <p:cNvPr id="63496" name="Rectangle 6"/>
              <p:cNvSpPr>
                <a:spLocks noChangeArrowheads="1"/>
              </p:cNvSpPr>
              <p:nvPr/>
            </p:nvSpPr>
            <p:spPr bwMode="auto">
              <a:xfrm>
                <a:off x="1266899" y="1735138"/>
                <a:ext cx="1424778" cy="953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914378" fontAlgn="base">
                  <a:spcBef>
                    <a:spcPct val="0"/>
                  </a:spcBef>
                  <a:spcAft>
                    <a:spcPct val="0"/>
                  </a:spcAft>
                  <a:buClr>
                    <a:srgbClr val="000000"/>
                  </a:buClr>
                  <a:defRPr/>
                </a:pPr>
                <a:r>
                  <a:rPr lang="en-US" sz="825" i="1" kern="0" dirty="0">
                    <a:solidFill>
                      <a:srgbClr val="545859"/>
                    </a:solidFill>
                    <a:latin typeface="Gene Sans Light"/>
                    <a:cs typeface="Arial"/>
                    <a:sym typeface="Arial"/>
                  </a:rPr>
                  <a:t>IFN-γ–mediated</a:t>
                </a:r>
                <a:br>
                  <a:rPr lang="en-US" sz="825" i="1" kern="0" dirty="0">
                    <a:solidFill>
                      <a:srgbClr val="545859"/>
                    </a:solidFill>
                    <a:latin typeface="Gene Sans Light"/>
                    <a:cs typeface="Arial"/>
                    <a:sym typeface="Arial"/>
                  </a:rPr>
                </a:br>
                <a:r>
                  <a:rPr lang="en-US" sz="825" i="1" kern="0" dirty="0">
                    <a:solidFill>
                      <a:srgbClr val="545859"/>
                    </a:solidFill>
                    <a:latin typeface="Gene Sans Light"/>
                    <a:cs typeface="Arial"/>
                    <a:sym typeface="Arial"/>
                  </a:rPr>
                  <a:t>upregulation of tumor PD-L1</a:t>
                </a:r>
              </a:p>
            </p:txBody>
          </p:sp>
          <p:sp>
            <p:nvSpPr>
              <p:cNvPr id="63497" name="Rectangle 4"/>
              <p:cNvSpPr>
                <a:spLocks noChangeArrowheads="1"/>
              </p:cNvSpPr>
              <p:nvPr/>
            </p:nvSpPr>
            <p:spPr bwMode="auto">
              <a:xfrm>
                <a:off x="5039840" y="2646365"/>
                <a:ext cx="1746557" cy="550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685766">
                  <a:buClr>
                    <a:srgbClr val="000000"/>
                  </a:buClr>
                  <a:defRPr/>
                </a:pPr>
                <a:r>
                  <a:rPr lang="en-US" sz="825" i="1" kern="0" dirty="0">
                    <a:solidFill>
                      <a:srgbClr val="545859"/>
                    </a:solidFill>
                    <a:latin typeface="Gene Sans Light"/>
                    <a:cs typeface="Arial" panose="020B0604020202020204" pitchFamily="34" charset="0"/>
                    <a:sym typeface="Arial"/>
                  </a:rPr>
                  <a:t>Priming and activation of T cells</a:t>
                </a:r>
              </a:p>
            </p:txBody>
          </p:sp>
          <p:sp>
            <p:nvSpPr>
              <p:cNvPr id="63498" name="Rectangle 3"/>
              <p:cNvSpPr>
                <a:spLocks noChangeArrowheads="1"/>
              </p:cNvSpPr>
              <p:nvPr/>
            </p:nvSpPr>
            <p:spPr bwMode="auto">
              <a:xfrm>
                <a:off x="4814896" y="6278562"/>
                <a:ext cx="2078117" cy="550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defTabSz="685766">
                  <a:buClr>
                    <a:srgbClr val="000000"/>
                  </a:buClr>
                  <a:defRPr/>
                </a:pPr>
                <a:r>
                  <a:rPr lang="en-US" sz="825" i="1" kern="0">
                    <a:solidFill>
                      <a:srgbClr val="545859"/>
                    </a:solidFill>
                    <a:latin typeface="Gene Sans Light"/>
                    <a:cs typeface="Arial" panose="020B0604020202020204" pitchFamily="34" charset="0"/>
                    <a:sym typeface="Arial"/>
                  </a:rPr>
                  <a:t>PD-L2–mediated inhibition </a:t>
                </a:r>
                <a:r>
                  <a:rPr lang="en-US" sz="825" i="1" kern="0" dirty="0">
                    <a:solidFill>
                      <a:srgbClr val="545859"/>
                    </a:solidFill>
                    <a:latin typeface="Gene Sans Light"/>
                    <a:cs typeface="Arial" panose="020B0604020202020204" pitchFamily="34" charset="0"/>
                    <a:sym typeface="Arial"/>
                  </a:rPr>
                  <a:t>of T</a:t>
                </a:r>
                <a:r>
                  <a:rPr lang="en-US" sz="825" i="1" kern="0" baseline="-25000" dirty="0">
                    <a:solidFill>
                      <a:srgbClr val="545859"/>
                    </a:solidFill>
                    <a:latin typeface="Gene Sans Light"/>
                    <a:cs typeface="Arial" panose="020B0604020202020204" pitchFamily="34" charset="0"/>
                    <a:sym typeface="Arial"/>
                  </a:rPr>
                  <a:t>h</a:t>
                </a:r>
                <a:r>
                  <a:rPr lang="en-US" sz="825" i="1" kern="0" dirty="0">
                    <a:solidFill>
                      <a:srgbClr val="545859"/>
                    </a:solidFill>
                    <a:latin typeface="Gene Sans Light"/>
                    <a:cs typeface="Arial" panose="020B0604020202020204" pitchFamily="34" charset="0"/>
                    <a:sym typeface="Arial"/>
                  </a:rPr>
                  <a:t>2 cells</a:t>
                </a:r>
              </a:p>
            </p:txBody>
          </p:sp>
          <p:sp>
            <p:nvSpPr>
              <p:cNvPr id="25" name="Rectangle 24"/>
              <p:cNvSpPr/>
              <p:nvPr/>
            </p:nvSpPr>
            <p:spPr>
              <a:xfrm>
                <a:off x="3025775" y="2735264"/>
                <a:ext cx="401638" cy="1111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85766">
                  <a:buClr>
                    <a:srgbClr val="000000"/>
                  </a:buClr>
                  <a:defRPr/>
                </a:pPr>
                <a:endParaRPr lang="en-US" sz="1050" kern="0" dirty="0">
                  <a:solidFill>
                    <a:srgbClr val="545859"/>
                  </a:solidFill>
                  <a:latin typeface="Gene Sans Light"/>
                  <a:sym typeface="Arial"/>
                </a:endParaRPr>
              </a:p>
            </p:txBody>
          </p:sp>
          <p:sp>
            <p:nvSpPr>
              <p:cNvPr id="63500" name="TextBox 18"/>
              <p:cNvSpPr txBox="1">
                <a:spLocks noChangeArrowheads="1"/>
              </p:cNvSpPr>
              <p:nvPr/>
            </p:nvSpPr>
            <p:spPr bwMode="auto">
              <a:xfrm>
                <a:off x="2946408" y="2671763"/>
                <a:ext cx="682925" cy="27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685766" eaLnBrk="1" hangingPunct="1">
                  <a:buClr>
                    <a:srgbClr val="000000"/>
                  </a:buClr>
                  <a:defRPr/>
                </a:pPr>
                <a:r>
                  <a:rPr lang="en-US" sz="525" kern="0" dirty="0">
                    <a:solidFill>
                      <a:srgbClr val="545859"/>
                    </a:solidFill>
                    <a:latin typeface="Gene Sans Light"/>
                    <a:sym typeface="Arial"/>
                  </a:rPr>
                  <a:t>receptor</a:t>
                </a:r>
              </a:p>
            </p:txBody>
          </p:sp>
          <p:grpSp>
            <p:nvGrpSpPr>
              <p:cNvPr id="63502" name="Group 1"/>
              <p:cNvGrpSpPr>
                <a:grpSpLocks/>
              </p:cNvGrpSpPr>
              <p:nvPr/>
            </p:nvGrpSpPr>
            <p:grpSpPr bwMode="auto">
              <a:xfrm>
                <a:off x="3806825" y="2270127"/>
                <a:ext cx="96838" cy="682625"/>
                <a:chOff x="3816351" y="1396999"/>
                <a:chExt cx="96782" cy="682626"/>
              </a:xfrm>
            </p:grpSpPr>
            <p:pic>
              <p:nvPicPr>
                <p:cNvPr id="63505" name="Picture 43"/>
                <p:cNvPicPr>
                  <a:picLocks noChangeAspect="1"/>
                </p:cNvPicPr>
                <p:nvPr/>
              </p:nvPicPr>
              <p:blipFill>
                <a:blip r:embed="rId5" cstate="print">
                  <a:extLst>
                    <a:ext uri="{28A0092B-C50C-407E-A947-70E740481C1C}">
                      <a14:useLocalDpi xmlns:a14="http://schemas.microsoft.com/office/drawing/2010/main" val="0"/>
                    </a:ext>
                  </a:extLst>
                </a:blip>
                <a:srcRect b="21053"/>
                <a:stretch>
                  <a:fillRect/>
                </a:stretch>
              </p:blipFill>
              <p:spPr bwMode="auto">
                <a:xfrm rot="10800000">
                  <a:off x="3816351" y="1396999"/>
                  <a:ext cx="96782" cy="464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42"/>
                <p:cNvPicPr>
                  <a:picLocks noChangeAspect="1"/>
                </p:cNvPicPr>
                <p:nvPr/>
              </p:nvPicPr>
              <p:blipFill rotWithShape="1">
                <a:blip r:embed="rId6" cstate="print">
                  <a:duotone>
                    <a:prstClr val="black"/>
                    <a:srgbClr val="FF940C">
                      <a:tint val="45000"/>
                      <a:satMod val="400000"/>
                    </a:srgbClr>
                  </a:duotone>
                  <a:lum contrast="40000"/>
                </a:blip>
                <a:srcRect t="16643"/>
                <a:stretch/>
              </p:blipFill>
              <p:spPr bwMode="auto">
                <a:xfrm rot="10800000">
                  <a:off x="3816351" y="1825188"/>
                  <a:ext cx="96782" cy="254437"/>
                </a:xfrm>
                <a:prstGeom prst="rect">
                  <a:avLst/>
                </a:prstGeom>
                <a:noFill/>
                <a:ln>
                  <a:noFill/>
                </a:ln>
              </p:spPr>
            </p:pic>
          </p:grpSp>
          <p:sp>
            <p:nvSpPr>
              <p:cNvPr id="63503" name="Rectangle 45"/>
              <p:cNvSpPr>
                <a:spLocks noChangeArrowheads="1"/>
              </p:cNvSpPr>
              <p:nvPr/>
            </p:nvSpPr>
            <p:spPr bwMode="auto">
              <a:xfrm>
                <a:off x="3525839" y="2781303"/>
                <a:ext cx="507228" cy="27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685766" eaLnBrk="0" hangingPunct="0">
                  <a:buClr>
                    <a:srgbClr val="000000"/>
                  </a:buClr>
                  <a:defRPr/>
                </a:pPr>
                <a:r>
                  <a:rPr lang="en-US" sz="525" kern="0" dirty="0">
                    <a:solidFill>
                      <a:srgbClr val="545859"/>
                    </a:solidFill>
                    <a:latin typeface="Gene Sans Light"/>
                    <a:cs typeface="Arial" panose="020B0604020202020204" pitchFamily="34" charset="0"/>
                    <a:sym typeface="Arial"/>
                  </a:rPr>
                  <a:t>B7.1</a:t>
                </a:r>
              </a:p>
            </p:txBody>
          </p:sp>
        </p:grpSp>
        <p:sp>
          <p:nvSpPr>
            <p:cNvPr id="29" name="Oval 28"/>
            <p:cNvSpPr/>
            <p:nvPr/>
          </p:nvSpPr>
          <p:spPr>
            <a:xfrm>
              <a:off x="5042526" y="5690241"/>
              <a:ext cx="393192" cy="274320"/>
            </a:xfrm>
            <a:prstGeom prst="ellipse">
              <a:avLst/>
            </a:prstGeom>
            <a:solidFill>
              <a:srgbClr val="DBDBDD"/>
            </a:solidFill>
            <a:effectLst>
              <a:softEdge rad="31750"/>
            </a:effectLst>
          </p:spPr>
          <p:txBody>
            <a:bodyPr wrap="none" lIns="13716" tIns="0" rIns="13716" bIns="0" anchor="b">
              <a:noAutofit/>
            </a:bodyPr>
            <a:lstStyle/>
            <a:p>
              <a:pPr algn="ctr" defTabSz="914378">
                <a:buClr>
                  <a:srgbClr val="000000"/>
                </a:buClr>
                <a:defRPr/>
              </a:pPr>
              <a:r>
                <a:rPr lang="en-US" sz="900" kern="0" dirty="0">
                  <a:solidFill>
                    <a:srgbClr val="545859"/>
                  </a:solidFill>
                  <a:latin typeface="Gene Sans Light"/>
                  <a:cs typeface="Arial" panose="020B0604020202020204" pitchFamily="34" charset="0"/>
                  <a:sym typeface="Arial"/>
                </a:rPr>
                <a:t>T</a:t>
              </a:r>
              <a:r>
                <a:rPr lang="en-US" sz="900" kern="0" baseline="-25000" dirty="0">
                  <a:solidFill>
                    <a:srgbClr val="545859"/>
                  </a:solidFill>
                  <a:latin typeface="Gene Sans Light"/>
                  <a:cs typeface="Arial" panose="020B0604020202020204" pitchFamily="34" charset="0"/>
                  <a:sym typeface="Arial"/>
                </a:rPr>
                <a:t>h</a:t>
              </a:r>
              <a:r>
                <a:rPr lang="en-US" sz="900" kern="0" dirty="0">
                  <a:solidFill>
                    <a:srgbClr val="545859"/>
                  </a:solidFill>
                  <a:latin typeface="Gene Sans Light"/>
                  <a:cs typeface="Arial" panose="020B0604020202020204" pitchFamily="34" charset="0"/>
                  <a:sym typeface="Arial"/>
                </a:rPr>
                <a:t>2</a:t>
              </a:r>
              <a:endParaRPr lang="en-US" sz="900" kern="0" dirty="0">
                <a:solidFill>
                  <a:srgbClr val="545859"/>
                </a:solidFill>
                <a:latin typeface="Gene Sans Light"/>
                <a:cs typeface="Arial"/>
                <a:sym typeface="Arial"/>
              </a:endParaRPr>
            </a:p>
          </p:txBody>
        </p:sp>
        <p:cxnSp>
          <p:nvCxnSpPr>
            <p:cNvPr id="5" name="Straight Arrow Connector 4"/>
            <p:cNvCxnSpPr/>
            <p:nvPr/>
          </p:nvCxnSpPr>
          <p:spPr bwMode="auto">
            <a:xfrm flipV="1">
              <a:off x="3825694" y="4854944"/>
              <a:ext cx="8589" cy="693045"/>
            </a:xfrm>
            <a:prstGeom prst="straightConnector1">
              <a:avLst/>
            </a:prstGeom>
            <a:ln w="19050" cap="rnd">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bwMode="auto">
            <a:xfrm>
              <a:off x="3786541" y="4854944"/>
              <a:ext cx="91440" cy="0"/>
            </a:xfrm>
            <a:prstGeom prst="line">
              <a:avLst/>
            </a:prstGeom>
            <a:ln w="19050" cap="rnd">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8" name="Content Placeholder 14">
            <a:extLst>
              <a:ext uri="{FF2B5EF4-FFF2-40B4-BE49-F238E27FC236}">
                <a16:creationId xmlns:a16="http://schemas.microsoft.com/office/drawing/2014/main" id="{3FB0FE5A-FDB4-4BBD-AF10-98D7C10AFF47}"/>
              </a:ext>
            </a:extLst>
          </p:cNvPr>
          <p:cNvSpPr txBox="1">
            <a:spLocks/>
          </p:cNvSpPr>
          <p:nvPr/>
        </p:nvSpPr>
        <p:spPr>
          <a:xfrm>
            <a:off x="6302343" y="1283549"/>
            <a:ext cx="2463706" cy="3227832"/>
          </a:xfrm>
          <a:prstGeom prst="rect">
            <a:avLst/>
          </a:prstGeom>
        </p:spPr>
        <p:txBody>
          <a:bodyPr vert="horz" lIns="0" tIns="0" rIns="0" bIns="0" numCol="1" rtlCol="0">
            <a:noAutofit/>
          </a:bodyPr>
          <a:lstStyle>
            <a:defPPr marR="0" lvl="0" algn="l" rtl="0">
              <a:lnSpc>
                <a:spcPct val="100000"/>
              </a:lnSpc>
              <a:spcBef>
                <a:spcPts val="0"/>
              </a:spcBef>
              <a:spcAft>
                <a:spcPts val="0"/>
              </a:spcAft>
            </a:defPPr>
            <a:lvl1pPr marL="173736" marR="0" lvl="0" indent="-173736" algn="l" rtl="0">
              <a:lnSpc>
                <a:spcPct val="100000"/>
              </a:lnSpc>
              <a:spcBef>
                <a:spcPts val="0"/>
              </a:spcBef>
              <a:spcAft>
                <a:spcPts val="0"/>
              </a:spcAft>
              <a:buClr>
                <a:schemeClr val="tx1"/>
              </a:buClr>
              <a:buFont typeface="Arial" panose="020B0604020202020204" pitchFamily="34" charset="0"/>
              <a:buChar char="•"/>
              <a:defRPr lang="en-US" sz="1600" b="0" i="0" u="none" strike="noStrike" kern="1200" cap="none">
                <a:solidFill>
                  <a:schemeClr val="tx1"/>
                </a:solidFill>
                <a:latin typeface="+mn-lt"/>
                <a:ea typeface="+mn-ea"/>
                <a:cs typeface="+mn-cs"/>
                <a:sym typeface="Arial"/>
              </a:defRPr>
            </a:lvl1pPr>
            <a:lvl2pPr marL="347472" marR="0" lvl="1" indent="-173736" algn="l" rtl="0">
              <a:lnSpc>
                <a:spcPct val="90000"/>
              </a:lnSpc>
              <a:spcBef>
                <a:spcPts val="600"/>
              </a:spcBef>
              <a:spcAft>
                <a:spcPts val="0"/>
              </a:spcAft>
              <a:buClr>
                <a:schemeClr val="tx1"/>
              </a:buClr>
              <a:buFont typeface="Gene Sans Light" panose="00000400000000000000" pitchFamily="50" charset="0"/>
              <a:buChar char="–"/>
              <a:defRPr lang="en-US" sz="1400" b="0" i="0" u="none" strike="noStrike" kern="1200" cap="none">
                <a:solidFill>
                  <a:schemeClr val="tx1"/>
                </a:solidFill>
                <a:latin typeface="+mn-lt"/>
                <a:ea typeface="+mn-ea"/>
                <a:cs typeface="+mn-cs"/>
                <a:sym typeface="Arial"/>
              </a:defRPr>
            </a:lvl2pPr>
            <a:lvl3pPr marL="521208" marR="0" lvl="2" indent="-173736" algn="l" rtl="0">
              <a:lnSpc>
                <a:spcPct val="90000"/>
              </a:lnSpc>
              <a:spcBef>
                <a:spcPts val="600"/>
              </a:spcBef>
              <a:spcAft>
                <a:spcPts val="0"/>
              </a:spcAft>
              <a:buClr>
                <a:schemeClr val="tx1"/>
              </a:buClr>
              <a:buFont typeface="Wingdings" panose="05000000000000000000" pitchFamily="2" charset="2"/>
              <a:buChar char="§"/>
              <a:defRPr lang="en-US" sz="1100" b="0" i="0" u="none" strike="noStrike" kern="1200" cap="none">
                <a:solidFill>
                  <a:schemeClr val="tx1"/>
                </a:solidFill>
                <a:latin typeface="+mn-lt"/>
                <a:ea typeface="+mn-ea"/>
                <a:cs typeface="+mn-cs"/>
                <a:sym typeface="Arial"/>
              </a:defRPr>
            </a:lvl3pPr>
            <a:lvl4pPr marL="694944" marR="0" lvl="3" indent="-173736" algn="l" rtl="0">
              <a:lnSpc>
                <a:spcPct val="90000"/>
              </a:lnSpc>
              <a:spcBef>
                <a:spcPts val="600"/>
              </a:spcBef>
              <a:spcAft>
                <a:spcPts val="0"/>
              </a:spcAft>
              <a:buClr>
                <a:schemeClr val="tx1"/>
              </a:buClr>
              <a:buFont typeface="Arial" panose="020B0604020202020204" pitchFamily="34" charset="0"/>
              <a:buChar char="•"/>
              <a:defRPr lang="en-US" sz="1050" b="0" i="0" u="none" strike="noStrike" kern="1200" cap="none">
                <a:solidFill>
                  <a:schemeClr val="tx1"/>
                </a:solidFill>
                <a:latin typeface="+mn-lt"/>
                <a:ea typeface="+mn-ea"/>
                <a:cs typeface="+mn-cs"/>
                <a:sym typeface="Arial"/>
              </a:defRPr>
            </a:lvl4pPr>
            <a:lvl5pPr marL="868680" marR="0" lvl="4" indent="-173736" algn="l" rtl="0">
              <a:lnSpc>
                <a:spcPct val="90000"/>
              </a:lnSpc>
              <a:spcBef>
                <a:spcPts val="600"/>
              </a:spcBef>
              <a:spcAft>
                <a:spcPts val="0"/>
              </a:spcAft>
              <a:buClr>
                <a:schemeClr val="tx1"/>
              </a:buClr>
              <a:buFont typeface="Arial" panose="020B0604020202020204" pitchFamily="34" charset="0"/>
              <a:buChar char="•"/>
              <a:defRPr lang="en-US" sz="1050" b="0" i="0" u="none" strike="noStrike" kern="1200" cap="none">
                <a:solidFill>
                  <a:schemeClr val="tx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73732" indent="-173732" defTabSz="914378">
              <a:spcBef>
                <a:spcPts val="400"/>
              </a:spcBef>
              <a:spcAft>
                <a:spcPts val="400"/>
              </a:spcAft>
              <a:buClr>
                <a:srgbClr val="545859"/>
              </a:buClr>
            </a:pPr>
            <a:r>
              <a:rPr lang="en-US" altLang="en-US" dirty="0">
                <a:solidFill>
                  <a:srgbClr val="545859"/>
                </a:solidFill>
                <a:latin typeface="Gene Sans Light"/>
              </a:rPr>
              <a:t>As tumor cells sense an immune attack, PD-L1 is turned on (expressed)</a:t>
            </a:r>
          </a:p>
          <a:p>
            <a:pPr marL="173732" indent="-173732" defTabSz="914378">
              <a:spcBef>
                <a:spcPts val="400"/>
              </a:spcBef>
              <a:spcAft>
                <a:spcPts val="400"/>
              </a:spcAft>
              <a:buClr>
                <a:srgbClr val="545859"/>
              </a:buClr>
            </a:pPr>
            <a:r>
              <a:rPr lang="en-US" altLang="en-US" dirty="0">
                <a:solidFill>
                  <a:srgbClr val="545859"/>
                </a:solidFill>
                <a:latin typeface="Gene Sans Light"/>
              </a:rPr>
              <a:t>PD-L1 normally binds to PD-1 and B7.1 (costimulator) to dampen or shut down immune response to prevent excessive inflammation by regulating T-cell responses to antigens</a:t>
            </a:r>
          </a:p>
        </p:txBody>
      </p:sp>
      <p:sp>
        <p:nvSpPr>
          <p:cNvPr id="42" name="Content Placeholder 14">
            <a:extLst>
              <a:ext uri="{FF2B5EF4-FFF2-40B4-BE49-F238E27FC236}">
                <a16:creationId xmlns:a16="http://schemas.microsoft.com/office/drawing/2014/main" id="{289C64F0-3C0E-4FC8-B6A4-8D4AEC85EB4F}"/>
              </a:ext>
            </a:extLst>
          </p:cNvPr>
          <p:cNvSpPr txBox="1">
            <a:spLocks/>
          </p:cNvSpPr>
          <p:nvPr/>
        </p:nvSpPr>
        <p:spPr>
          <a:xfrm>
            <a:off x="381648" y="1283549"/>
            <a:ext cx="2082616" cy="3227832"/>
          </a:xfrm>
          <a:prstGeom prst="rect">
            <a:avLst/>
          </a:prstGeom>
        </p:spPr>
        <p:txBody>
          <a:bodyPr vert="horz" lIns="0" tIns="0" rIns="0" bIns="0" numCol="1" rtlCol="0">
            <a:noAutofit/>
          </a:bodyPr>
          <a:lstStyle>
            <a:defPPr marR="0" lvl="0" algn="l" rtl="0">
              <a:lnSpc>
                <a:spcPct val="100000"/>
              </a:lnSpc>
              <a:spcBef>
                <a:spcPts val="0"/>
              </a:spcBef>
              <a:spcAft>
                <a:spcPts val="0"/>
              </a:spcAft>
            </a:defPPr>
            <a:lvl1pPr marL="173736" marR="0" lvl="0" indent="-173736" algn="l" rtl="0">
              <a:lnSpc>
                <a:spcPct val="100000"/>
              </a:lnSpc>
              <a:spcBef>
                <a:spcPts val="0"/>
              </a:spcBef>
              <a:spcAft>
                <a:spcPts val="0"/>
              </a:spcAft>
              <a:buClr>
                <a:schemeClr val="tx1"/>
              </a:buClr>
              <a:buFont typeface="Arial" panose="020B0604020202020204" pitchFamily="34" charset="0"/>
              <a:buChar char="•"/>
              <a:defRPr lang="en-US" sz="1600" b="0" i="0" u="none" strike="noStrike" kern="1200" cap="none">
                <a:solidFill>
                  <a:schemeClr val="tx1"/>
                </a:solidFill>
                <a:latin typeface="+mn-lt"/>
                <a:ea typeface="+mn-ea"/>
                <a:cs typeface="+mn-cs"/>
                <a:sym typeface="Arial"/>
              </a:defRPr>
            </a:lvl1pPr>
            <a:lvl2pPr marL="347472" marR="0" lvl="1" indent="-173736" algn="l" rtl="0">
              <a:lnSpc>
                <a:spcPct val="90000"/>
              </a:lnSpc>
              <a:spcBef>
                <a:spcPts val="600"/>
              </a:spcBef>
              <a:spcAft>
                <a:spcPts val="0"/>
              </a:spcAft>
              <a:buClr>
                <a:schemeClr val="tx1"/>
              </a:buClr>
              <a:buFont typeface="Gene Sans Light" panose="00000400000000000000" pitchFamily="50" charset="0"/>
              <a:buChar char="–"/>
              <a:defRPr lang="en-US" sz="1400" b="0" i="0" u="none" strike="noStrike" kern="1200" cap="none">
                <a:solidFill>
                  <a:schemeClr val="tx1"/>
                </a:solidFill>
                <a:latin typeface="+mn-lt"/>
                <a:ea typeface="+mn-ea"/>
                <a:cs typeface="+mn-cs"/>
                <a:sym typeface="Arial"/>
              </a:defRPr>
            </a:lvl2pPr>
            <a:lvl3pPr marL="521208" marR="0" lvl="2" indent="-173736" algn="l" rtl="0">
              <a:lnSpc>
                <a:spcPct val="90000"/>
              </a:lnSpc>
              <a:spcBef>
                <a:spcPts val="600"/>
              </a:spcBef>
              <a:spcAft>
                <a:spcPts val="0"/>
              </a:spcAft>
              <a:buClr>
                <a:schemeClr val="tx1"/>
              </a:buClr>
              <a:buFont typeface="Wingdings" panose="05000000000000000000" pitchFamily="2" charset="2"/>
              <a:buChar char="§"/>
              <a:defRPr lang="en-US" sz="1100" b="0" i="0" u="none" strike="noStrike" kern="1200" cap="none">
                <a:solidFill>
                  <a:schemeClr val="tx1"/>
                </a:solidFill>
                <a:latin typeface="+mn-lt"/>
                <a:ea typeface="+mn-ea"/>
                <a:cs typeface="+mn-cs"/>
                <a:sym typeface="Arial"/>
              </a:defRPr>
            </a:lvl3pPr>
            <a:lvl4pPr marL="694944" marR="0" lvl="3" indent="-173736" algn="l" rtl="0">
              <a:lnSpc>
                <a:spcPct val="90000"/>
              </a:lnSpc>
              <a:spcBef>
                <a:spcPts val="600"/>
              </a:spcBef>
              <a:spcAft>
                <a:spcPts val="0"/>
              </a:spcAft>
              <a:buClr>
                <a:schemeClr val="tx1"/>
              </a:buClr>
              <a:buFont typeface="Arial" panose="020B0604020202020204" pitchFamily="34" charset="0"/>
              <a:buChar char="•"/>
              <a:defRPr lang="en-US" sz="1050" b="0" i="0" u="none" strike="noStrike" kern="1200" cap="none">
                <a:solidFill>
                  <a:schemeClr val="tx1"/>
                </a:solidFill>
                <a:latin typeface="+mn-lt"/>
                <a:ea typeface="+mn-ea"/>
                <a:cs typeface="+mn-cs"/>
                <a:sym typeface="Arial"/>
              </a:defRPr>
            </a:lvl4pPr>
            <a:lvl5pPr marL="868680" marR="0" lvl="4" indent="-173736" algn="l" rtl="0">
              <a:lnSpc>
                <a:spcPct val="90000"/>
              </a:lnSpc>
              <a:spcBef>
                <a:spcPts val="600"/>
              </a:spcBef>
              <a:spcAft>
                <a:spcPts val="0"/>
              </a:spcAft>
              <a:buClr>
                <a:schemeClr val="tx1"/>
              </a:buClr>
              <a:buFont typeface="Arial" panose="020B0604020202020204" pitchFamily="34" charset="0"/>
              <a:buChar char="•"/>
              <a:defRPr lang="en-US" sz="1050" b="0" i="0" u="none" strike="noStrike" kern="1200" cap="none">
                <a:solidFill>
                  <a:schemeClr val="tx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73732" indent="-173732" defTabSz="914378">
              <a:buClr>
                <a:srgbClr val="545859"/>
              </a:buClr>
            </a:pPr>
            <a:r>
              <a:rPr lang="en-US" dirty="0">
                <a:solidFill>
                  <a:srgbClr val="545859"/>
                </a:solidFill>
                <a:latin typeface="Gene Sans Light"/>
              </a:rPr>
              <a:t>In the tumor microenvironment, both tumor cells and key immune cells (macrophages, dendritic cells) express PD-L1</a:t>
            </a:r>
          </a:p>
        </p:txBody>
      </p:sp>
      <p:grpSp>
        <p:nvGrpSpPr>
          <p:cNvPr id="32" name="Google Shape;342;p4">
            <a:extLst>
              <a:ext uri="{FF2B5EF4-FFF2-40B4-BE49-F238E27FC236}">
                <a16:creationId xmlns:a16="http://schemas.microsoft.com/office/drawing/2014/main" id="{E657EC34-CBCD-46D3-B6F2-10B4891EE013}"/>
              </a:ext>
            </a:extLst>
          </p:cNvPr>
          <p:cNvGrpSpPr/>
          <p:nvPr/>
        </p:nvGrpSpPr>
        <p:grpSpPr>
          <a:xfrm>
            <a:off x="8849668" y="55416"/>
            <a:ext cx="238916" cy="228628"/>
            <a:chOff x="11619274" y="118751"/>
            <a:chExt cx="432689" cy="414056"/>
          </a:xfrm>
        </p:grpSpPr>
        <p:sp>
          <p:nvSpPr>
            <p:cNvPr id="33" name="Google Shape;343;p4">
              <a:hlinkClick r:id="rId7" action="ppaction://hlinksldjump"/>
              <a:extLst>
                <a:ext uri="{FF2B5EF4-FFF2-40B4-BE49-F238E27FC236}">
                  <a16:creationId xmlns:a16="http://schemas.microsoft.com/office/drawing/2014/main" id="{53593531-F941-4A2D-BDBF-4C8ABD90A419}"/>
                </a:ext>
              </a:extLst>
            </p:cNvPr>
            <p:cNvSpPr/>
            <p:nvPr/>
          </p:nvSpPr>
          <p:spPr>
            <a:xfrm>
              <a:off x="11619274" y="118751"/>
              <a:ext cx="432689" cy="414056"/>
            </a:xfrm>
            <a:prstGeom prst="roundRect">
              <a:avLst>
                <a:gd name="adj" fmla="val 16667"/>
              </a:avLst>
            </a:prstGeom>
            <a:solidFill>
              <a:schemeClr val="accent2"/>
            </a:solidFill>
            <a:ln>
              <a:noFill/>
            </a:ln>
          </p:spPr>
          <p:txBody>
            <a:bodyPr spcFirstLastPara="1" wrap="square" lIns="68550" tIns="34275" rIns="68550" bIns="34275" anchor="ctr" anchorCtr="0">
              <a:noAutofit/>
            </a:bodyPr>
            <a:lstStyle/>
            <a:p>
              <a:pPr algn="ctr" defTabSz="914378">
                <a:buClr>
                  <a:srgbClr val="000000"/>
                </a:buClr>
              </a:pPr>
              <a:endParaRPr lang="en-US" sz="825" kern="0" dirty="0">
                <a:solidFill>
                  <a:srgbClr val="FFFFFF"/>
                </a:solidFill>
                <a:latin typeface="Arial"/>
                <a:ea typeface="Arial"/>
                <a:cs typeface="Arial"/>
                <a:sym typeface="Arial"/>
              </a:endParaRPr>
            </a:p>
          </p:txBody>
        </p:sp>
        <p:pic>
          <p:nvPicPr>
            <p:cNvPr id="34" name="Google Shape;344;p4">
              <a:hlinkClick r:id="rId7" action="ppaction://hlinksldjump"/>
              <a:extLst>
                <a:ext uri="{FF2B5EF4-FFF2-40B4-BE49-F238E27FC236}">
                  <a16:creationId xmlns:a16="http://schemas.microsoft.com/office/drawing/2014/main" id="{B3B4222D-5C0A-42CB-B4AB-0B58ED00A786}"/>
                </a:ext>
              </a:extLst>
            </p:cNvPr>
            <p:cNvPicPr preferRelativeResize="0"/>
            <p:nvPr/>
          </p:nvPicPr>
          <p:blipFill rotWithShape="1">
            <a:blip r:embed="rId8">
              <a:alphaModFix/>
            </a:blip>
            <a:srcRect/>
            <a:stretch/>
          </p:blipFill>
          <p:spPr>
            <a:xfrm>
              <a:off x="11681971" y="162551"/>
              <a:ext cx="307293" cy="307293"/>
            </a:xfrm>
            <a:prstGeom prst="rect">
              <a:avLst/>
            </a:prstGeom>
            <a:noFill/>
            <a:ln>
              <a:noFill/>
            </a:ln>
          </p:spPr>
        </p:pic>
      </p:grpSp>
    </p:spTree>
    <p:extLst>
      <p:ext uri="{BB962C8B-B14F-4D97-AF65-F5344CB8AC3E}">
        <p14:creationId xmlns:p14="http://schemas.microsoft.com/office/powerpoint/2010/main" val="2818566900"/>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D112F35E-208D-44C0-82B9-7B13558A5CD6}"/>
              </a:ext>
            </a:extLst>
          </p:cNvPr>
          <p:cNvSpPr>
            <a:spLocks noGrp="1"/>
          </p:cNvSpPr>
          <p:nvPr>
            <p:ph type="body" idx="2"/>
          </p:nvPr>
        </p:nvSpPr>
        <p:spPr/>
        <p:txBody>
          <a:bodyPr/>
          <a:lstStyle/>
          <a:p>
            <a:r>
              <a:rPr lang="en-US" dirty="0"/>
              <a:t>Targeting the PD-L1/PD-1 Axis</a:t>
            </a:r>
          </a:p>
        </p:txBody>
      </p:sp>
      <p:sp>
        <p:nvSpPr>
          <p:cNvPr id="20" name="Text Placeholder 19">
            <a:extLst>
              <a:ext uri="{FF2B5EF4-FFF2-40B4-BE49-F238E27FC236}">
                <a16:creationId xmlns:a16="http://schemas.microsoft.com/office/drawing/2014/main" id="{85F0C300-2C1B-4F19-A73C-7C9EDE87BD73}"/>
              </a:ext>
            </a:extLst>
          </p:cNvPr>
          <p:cNvSpPr>
            <a:spLocks noGrp="1"/>
          </p:cNvSpPr>
          <p:nvPr>
            <p:ph type="body" idx="3"/>
          </p:nvPr>
        </p:nvSpPr>
        <p:spPr/>
        <p:txBody>
          <a:bodyPr/>
          <a:lstStyle/>
          <a:p>
            <a:r>
              <a:rPr lang="en-US" altLang="zh-CN" dirty="0"/>
              <a:t>APC, antigen-presenting cell; MHC I, </a:t>
            </a:r>
            <a:r>
              <a:rPr lang="en-US" altLang="zh-CN"/>
              <a:t>major histocompatibility </a:t>
            </a:r>
            <a:r>
              <a:rPr lang="en-US" altLang="zh-CN" dirty="0"/>
              <a:t>complex class I; TCR, T-cell receptor; Th2, helper T cell; Treg, regulatory T cell. </a:t>
            </a:r>
            <a:r>
              <a:rPr lang="en-US" altLang="en-US" dirty="0"/>
              <a:t>Chen DS, et al. Clin Cancer Res. 2012;18:6580-6587.</a:t>
            </a:r>
          </a:p>
        </p:txBody>
      </p:sp>
      <p:sp>
        <p:nvSpPr>
          <p:cNvPr id="2" name="Title 1"/>
          <p:cNvSpPr>
            <a:spLocks noGrp="1"/>
          </p:cNvSpPr>
          <p:nvPr>
            <p:ph type="title"/>
          </p:nvPr>
        </p:nvSpPr>
        <p:spPr/>
        <p:txBody>
          <a:bodyPr/>
          <a:lstStyle/>
          <a:p>
            <a:r>
              <a:rPr lang="en-US" dirty="0"/>
              <a:t>PD-L1/PD-1 Are Involved in a Range of Complex Immune Interactions</a:t>
            </a:r>
          </a:p>
        </p:txBody>
      </p:sp>
      <p:sp>
        <p:nvSpPr>
          <p:cNvPr id="145" name="TextBox 144">
            <a:extLst>
              <a:ext uri="{FF2B5EF4-FFF2-40B4-BE49-F238E27FC236}">
                <a16:creationId xmlns:a16="http://schemas.microsoft.com/office/drawing/2014/main" id="{AA506EEE-3335-4ADD-997A-40D4EFE7C9F3}"/>
              </a:ext>
            </a:extLst>
          </p:cNvPr>
          <p:cNvSpPr txBox="1"/>
          <p:nvPr/>
        </p:nvSpPr>
        <p:spPr>
          <a:xfrm>
            <a:off x="1567797" y="4315174"/>
            <a:ext cx="381836" cy="196208"/>
          </a:xfrm>
          <a:prstGeom prst="rect">
            <a:avLst/>
          </a:prstGeom>
          <a:noFill/>
        </p:spPr>
        <p:txBody>
          <a:bodyPr wrap="none" lIns="0" tIns="0" rIns="0" bIns="0" rtlCol="0" anchor="ctr">
            <a:noAutofit/>
          </a:bodyPr>
          <a:lstStyle/>
          <a:p>
            <a:pPr defTabSz="685766">
              <a:buClr>
                <a:srgbClr val="000000"/>
              </a:buClr>
              <a:defRPr/>
            </a:pPr>
            <a:r>
              <a:rPr lang="en-US" sz="900" kern="0" dirty="0">
                <a:solidFill>
                  <a:srgbClr val="404040"/>
                </a:solidFill>
                <a:latin typeface="Gene Sans Light"/>
                <a:cs typeface="Arial" pitchFamily="34" charset="0"/>
                <a:sym typeface="Arial"/>
              </a:rPr>
              <a:t>PD-1</a:t>
            </a:r>
          </a:p>
        </p:txBody>
      </p:sp>
      <p:sp>
        <p:nvSpPr>
          <p:cNvPr id="146" name="TextBox 145">
            <a:extLst>
              <a:ext uri="{FF2B5EF4-FFF2-40B4-BE49-F238E27FC236}">
                <a16:creationId xmlns:a16="http://schemas.microsoft.com/office/drawing/2014/main" id="{154AC213-A265-454A-B32D-BC11D870193D}"/>
              </a:ext>
            </a:extLst>
          </p:cNvPr>
          <p:cNvSpPr txBox="1"/>
          <p:nvPr/>
        </p:nvSpPr>
        <p:spPr>
          <a:xfrm>
            <a:off x="381649" y="4315174"/>
            <a:ext cx="381836" cy="196208"/>
          </a:xfrm>
          <a:prstGeom prst="rect">
            <a:avLst/>
          </a:prstGeom>
          <a:noFill/>
        </p:spPr>
        <p:txBody>
          <a:bodyPr wrap="none" lIns="0" tIns="0" rIns="0" bIns="0" rtlCol="0" anchor="ctr">
            <a:noAutofit/>
          </a:bodyPr>
          <a:lstStyle/>
          <a:p>
            <a:pPr defTabSz="685766">
              <a:buClr>
                <a:srgbClr val="000000"/>
              </a:buClr>
              <a:defRPr/>
            </a:pPr>
            <a:r>
              <a:rPr lang="en-US" sz="900" kern="0" dirty="0">
                <a:solidFill>
                  <a:srgbClr val="404040"/>
                </a:solidFill>
                <a:latin typeface="Gene Sans Light"/>
                <a:cs typeface="Arial" pitchFamily="34" charset="0"/>
                <a:sym typeface="Arial"/>
              </a:rPr>
              <a:t>PD-L1</a:t>
            </a:r>
          </a:p>
        </p:txBody>
      </p:sp>
      <p:sp>
        <p:nvSpPr>
          <p:cNvPr id="147" name="TextBox 146">
            <a:extLst>
              <a:ext uri="{FF2B5EF4-FFF2-40B4-BE49-F238E27FC236}">
                <a16:creationId xmlns:a16="http://schemas.microsoft.com/office/drawing/2014/main" id="{9484E725-5CFB-45F8-8860-4E8A9EAAEE9E}"/>
              </a:ext>
            </a:extLst>
          </p:cNvPr>
          <p:cNvSpPr txBox="1"/>
          <p:nvPr/>
        </p:nvSpPr>
        <p:spPr>
          <a:xfrm>
            <a:off x="1567797" y="3744892"/>
            <a:ext cx="381836" cy="196208"/>
          </a:xfrm>
          <a:prstGeom prst="rect">
            <a:avLst/>
          </a:prstGeom>
          <a:noFill/>
        </p:spPr>
        <p:txBody>
          <a:bodyPr wrap="none" lIns="0" tIns="0" rIns="0" bIns="0" rtlCol="0" anchor="ctr">
            <a:noAutofit/>
          </a:bodyPr>
          <a:lstStyle/>
          <a:p>
            <a:pPr defTabSz="685766">
              <a:buClr>
                <a:srgbClr val="000000"/>
              </a:buClr>
              <a:defRPr/>
            </a:pPr>
            <a:r>
              <a:rPr lang="en-US" sz="900" kern="0" dirty="0">
                <a:solidFill>
                  <a:srgbClr val="404040"/>
                </a:solidFill>
                <a:latin typeface="Gene Sans Light"/>
                <a:cs typeface="Arial" pitchFamily="34" charset="0"/>
                <a:sym typeface="Arial"/>
              </a:rPr>
              <a:t>B7.1</a:t>
            </a:r>
          </a:p>
        </p:txBody>
      </p:sp>
      <p:sp>
        <p:nvSpPr>
          <p:cNvPr id="148" name="TextBox 147">
            <a:extLst>
              <a:ext uri="{FF2B5EF4-FFF2-40B4-BE49-F238E27FC236}">
                <a16:creationId xmlns:a16="http://schemas.microsoft.com/office/drawing/2014/main" id="{4560C4A0-50BE-4C56-821B-50700D48036C}"/>
              </a:ext>
            </a:extLst>
          </p:cNvPr>
          <p:cNvSpPr txBox="1"/>
          <p:nvPr/>
        </p:nvSpPr>
        <p:spPr>
          <a:xfrm>
            <a:off x="381649" y="3744892"/>
            <a:ext cx="381836" cy="196208"/>
          </a:xfrm>
          <a:prstGeom prst="rect">
            <a:avLst/>
          </a:prstGeom>
          <a:noFill/>
        </p:spPr>
        <p:txBody>
          <a:bodyPr wrap="none" lIns="0" tIns="0" rIns="0" bIns="0" rtlCol="0" anchor="ctr">
            <a:noAutofit/>
          </a:bodyPr>
          <a:lstStyle/>
          <a:p>
            <a:pPr defTabSz="685766">
              <a:buClr>
                <a:srgbClr val="000000"/>
              </a:buClr>
              <a:defRPr/>
            </a:pPr>
            <a:r>
              <a:rPr lang="en-US" sz="900" kern="0" dirty="0">
                <a:solidFill>
                  <a:srgbClr val="404040"/>
                </a:solidFill>
                <a:latin typeface="Gene Sans Light"/>
                <a:cs typeface="Arial" pitchFamily="34" charset="0"/>
                <a:sym typeface="Arial"/>
              </a:rPr>
              <a:t>CD28</a:t>
            </a:r>
          </a:p>
        </p:txBody>
      </p:sp>
      <p:sp>
        <p:nvSpPr>
          <p:cNvPr id="149" name="TextBox 148">
            <a:extLst>
              <a:ext uri="{FF2B5EF4-FFF2-40B4-BE49-F238E27FC236}">
                <a16:creationId xmlns:a16="http://schemas.microsoft.com/office/drawing/2014/main" id="{F3DCEFE9-935B-4CAD-8A71-DAC85B4E797B}"/>
              </a:ext>
            </a:extLst>
          </p:cNvPr>
          <p:cNvSpPr txBox="1"/>
          <p:nvPr/>
        </p:nvSpPr>
        <p:spPr>
          <a:xfrm>
            <a:off x="1567797" y="3568954"/>
            <a:ext cx="381836" cy="196208"/>
          </a:xfrm>
          <a:prstGeom prst="rect">
            <a:avLst/>
          </a:prstGeom>
          <a:noFill/>
        </p:spPr>
        <p:txBody>
          <a:bodyPr wrap="none" lIns="0" tIns="0" rIns="0" bIns="0" rtlCol="0" anchor="ctr">
            <a:noAutofit/>
          </a:bodyPr>
          <a:lstStyle/>
          <a:p>
            <a:pPr defTabSz="685766">
              <a:buClr>
                <a:srgbClr val="000000"/>
              </a:buClr>
              <a:defRPr/>
            </a:pPr>
            <a:r>
              <a:rPr lang="en-US" sz="900" kern="0" dirty="0">
                <a:solidFill>
                  <a:srgbClr val="404040"/>
                </a:solidFill>
                <a:latin typeface="Gene Sans Light"/>
                <a:cs typeface="Arial" pitchFamily="34" charset="0"/>
                <a:sym typeface="Arial"/>
              </a:rPr>
              <a:t>PD-1</a:t>
            </a:r>
          </a:p>
        </p:txBody>
      </p:sp>
      <p:sp>
        <p:nvSpPr>
          <p:cNvPr id="150" name="TextBox 149">
            <a:extLst>
              <a:ext uri="{FF2B5EF4-FFF2-40B4-BE49-F238E27FC236}">
                <a16:creationId xmlns:a16="http://schemas.microsoft.com/office/drawing/2014/main" id="{B9933C21-FA94-4C69-B9CF-7497A3774F98}"/>
              </a:ext>
            </a:extLst>
          </p:cNvPr>
          <p:cNvSpPr txBox="1"/>
          <p:nvPr/>
        </p:nvSpPr>
        <p:spPr>
          <a:xfrm>
            <a:off x="381649" y="3568954"/>
            <a:ext cx="381836" cy="196208"/>
          </a:xfrm>
          <a:prstGeom prst="rect">
            <a:avLst/>
          </a:prstGeom>
          <a:noFill/>
        </p:spPr>
        <p:txBody>
          <a:bodyPr wrap="none" lIns="0" tIns="0" rIns="0" bIns="0" rtlCol="0" anchor="ctr">
            <a:noAutofit/>
          </a:bodyPr>
          <a:lstStyle/>
          <a:p>
            <a:pPr defTabSz="685766">
              <a:buClr>
                <a:srgbClr val="000000"/>
              </a:buClr>
              <a:defRPr/>
            </a:pPr>
            <a:r>
              <a:rPr lang="en-US" sz="900" kern="0" dirty="0">
                <a:solidFill>
                  <a:srgbClr val="404040"/>
                </a:solidFill>
                <a:latin typeface="Gene Sans Light"/>
                <a:cs typeface="Arial" pitchFamily="34" charset="0"/>
                <a:sym typeface="Arial"/>
              </a:rPr>
              <a:t>PD-L2</a:t>
            </a:r>
          </a:p>
        </p:txBody>
      </p:sp>
      <p:sp>
        <p:nvSpPr>
          <p:cNvPr id="151" name="TextBox 150">
            <a:extLst>
              <a:ext uri="{FF2B5EF4-FFF2-40B4-BE49-F238E27FC236}">
                <a16:creationId xmlns:a16="http://schemas.microsoft.com/office/drawing/2014/main" id="{409CB15B-F03B-43E8-9192-EDB0C19D0159}"/>
              </a:ext>
            </a:extLst>
          </p:cNvPr>
          <p:cNvSpPr txBox="1"/>
          <p:nvPr/>
        </p:nvSpPr>
        <p:spPr>
          <a:xfrm>
            <a:off x="1567797" y="4118001"/>
            <a:ext cx="381836" cy="196208"/>
          </a:xfrm>
          <a:prstGeom prst="rect">
            <a:avLst/>
          </a:prstGeom>
          <a:noFill/>
        </p:spPr>
        <p:txBody>
          <a:bodyPr wrap="square" lIns="0" tIns="0" rIns="0" bIns="0" rtlCol="0" anchor="ctr">
            <a:noAutofit/>
          </a:bodyPr>
          <a:lstStyle/>
          <a:p>
            <a:pPr defTabSz="685766">
              <a:lnSpc>
                <a:spcPct val="150000"/>
              </a:lnSpc>
              <a:spcAft>
                <a:spcPts val="450"/>
              </a:spcAft>
              <a:buClr>
                <a:srgbClr val="000000"/>
              </a:buClr>
              <a:defRPr/>
            </a:pPr>
            <a:r>
              <a:rPr lang="en-US" sz="900" kern="0" dirty="0">
                <a:solidFill>
                  <a:srgbClr val="404040"/>
                </a:solidFill>
                <a:latin typeface="Gene Sans Light"/>
                <a:cs typeface="Arial" pitchFamily="34" charset="0"/>
                <a:sym typeface="Arial"/>
              </a:rPr>
              <a:t>TCR</a:t>
            </a:r>
          </a:p>
        </p:txBody>
      </p:sp>
      <p:sp>
        <p:nvSpPr>
          <p:cNvPr id="153" name="TextBox 152">
            <a:extLst>
              <a:ext uri="{FF2B5EF4-FFF2-40B4-BE49-F238E27FC236}">
                <a16:creationId xmlns:a16="http://schemas.microsoft.com/office/drawing/2014/main" id="{7E3286FB-D600-4D60-A6BE-23A5B554393A}"/>
              </a:ext>
            </a:extLst>
          </p:cNvPr>
          <p:cNvSpPr txBox="1"/>
          <p:nvPr/>
        </p:nvSpPr>
        <p:spPr>
          <a:xfrm>
            <a:off x="381649" y="4118001"/>
            <a:ext cx="381836" cy="196208"/>
          </a:xfrm>
          <a:prstGeom prst="rect">
            <a:avLst/>
          </a:prstGeom>
          <a:noFill/>
        </p:spPr>
        <p:txBody>
          <a:bodyPr wrap="none" lIns="0" tIns="0" rIns="0" bIns="0" rtlCol="0" anchor="ctr">
            <a:noAutofit/>
          </a:bodyPr>
          <a:lstStyle/>
          <a:p>
            <a:pPr defTabSz="685766">
              <a:buClr>
                <a:srgbClr val="000000"/>
              </a:buClr>
              <a:defRPr/>
            </a:pPr>
            <a:r>
              <a:rPr lang="en-US" sz="900" kern="0" dirty="0">
                <a:solidFill>
                  <a:srgbClr val="404040"/>
                </a:solidFill>
                <a:latin typeface="Gene Sans Light"/>
                <a:cs typeface="Arial" pitchFamily="34" charset="0"/>
                <a:sym typeface="Arial"/>
              </a:rPr>
              <a:t>MHC I</a:t>
            </a:r>
          </a:p>
        </p:txBody>
      </p:sp>
      <p:grpSp>
        <p:nvGrpSpPr>
          <p:cNvPr id="167" name="Group 323">
            <a:extLst>
              <a:ext uri="{FF2B5EF4-FFF2-40B4-BE49-F238E27FC236}">
                <a16:creationId xmlns:a16="http://schemas.microsoft.com/office/drawing/2014/main" id="{F791A4CE-7D32-47F4-AD4F-2397F0A74115}"/>
              </a:ext>
            </a:extLst>
          </p:cNvPr>
          <p:cNvGrpSpPr>
            <a:grpSpLocks noChangeAspect="1"/>
          </p:cNvGrpSpPr>
          <p:nvPr/>
        </p:nvGrpSpPr>
        <p:grpSpPr>
          <a:xfrm>
            <a:off x="893595" y="4336465"/>
            <a:ext cx="544090" cy="153626"/>
            <a:chOff x="803340" y="4090614"/>
            <a:chExt cx="681884" cy="192533"/>
          </a:xfrm>
          <a:solidFill>
            <a:schemeClr val="bg1">
              <a:lumMod val="75000"/>
            </a:schemeClr>
          </a:solidFill>
        </p:grpSpPr>
        <p:sp>
          <p:nvSpPr>
            <p:cNvPr id="168" name="Freeform 164">
              <a:extLst>
                <a:ext uri="{FF2B5EF4-FFF2-40B4-BE49-F238E27FC236}">
                  <a16:creationId xmlns:a16="http://schemas.microsoft.com/office/drawing/2014/main" id="{42844720-92D8-4177-BE25-0B5583DBC6D3}"/>
                </a:ext>
              </a:extLst>
            </p:cNvPr>
            <p:cNvSpPr>
              <a:spLocks/>
            </p:cNvSpPr>
            <p:nvPr/>
          </p:nvSpPr>
          <p:spPr bwMode="auto">
            <a:xfrm>
              <a:off x="1113530" y="4090614"/>
              <a:ext cx="371694" cy="192533"/>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CE2A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171" name="Freeform 165">
              <a:extLst>
                <a:ext uri="{FF2B5EF4-FFF2-40B4-BE49-F238E27FC236}">
                  <a16:creationId xmlns:a16="http://schemas.microsoft.com/office/drawing/2014/main" id="{49404350-3171-4DCC-A6EC-18D345B4A1C5}"/>
                </a:ext>
              </a:extLst>
            </p:cNvPr>
            <p:cNvSpPr>
              <a:spLocks/>
            </p:cNvSpPr>
            <p:nvPr/>
          </p:nvSpPr>
          <p:spPr bwMode="auto">
            <a:xfrm>
              <a:off x="803340" y="4152115"/>
              <a:ext cx="356987" cy="69526"/>
            </a:xfrm>
            <a:custGeom>
              <a:avLst/>
              <a:gdLst>
                <a:gd name="T0" fmla="*/ 102 w 113"/>
                <a:gd name="T1" fmla="*/ 0 h 22"/>
                <a:gd name="T2" fmla="*/ 93 w 113"/>
                <a:gd name="T3" fmla="*/ 4 h 22"/>
                <a:gd name="T4" fmla="*/ 0 w 113"/>
                <a:gd name="T5" fmla="*/ 4 h 22"/>
                <a:gd name="T6" fmla="*/ 0 w 113"/>
                <a:gd name="T7" fmla="*/ 17 h 22"/>
                <a:gd name="T8" fmla="*/ 93 w 113"/>
                <a:gd name="T9" fmla="*/ 17 h 22"/>
                <a:gd name="T10" fmla="*/ 102 w 113"/>
                <a:gd name="T11" fmla="*/ 22 h 22"/>
                <a:gd name="T12" fmla="*/ 113 w 113"/>
                <a:gd name="T13" fmla="*/ 11 h 22"/>
                <a:gd name="T14" fmla="*/ 102 w 11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22">
                  <a:moveTo>
                    <a:pt x="102" y="0"/>
                  </a:moveTo>
                  <a:cubicBezTo>
                    <a:pt x="98" y="0"/>
                    <a:pt x="95" y="1"/>
                    <a:pt x="93" y="4"/>
                  </a:cubicBezTo>
                  <a:cubicBezTo>
                    <a:pt x="0" y="4"/>
                    <a:pt x="0" y="4"/>
                    <a:pt x="0" y="4"/>
                  </a:cubicBezTo>
                  <a:cubicBezTo>
                    <a:pt x="0" y="17"/>
                    <a:pt x="0" y="17"/>
                    <a:pt x="0" y="17"/>
                  </a:cubicBezTo>
                  <a:cubicBezTo>
                    <a:pt x="93" y="17"/>
                    <a:pt x="93" y="17"/>
                    <a:pt x="93" y="17"/>
                  </a:cubicBezTo>
                  <a:cubicBezTo>
                    <a:pt x="95" y="20"/>
                    <a:pt x="98" y="22"/>
                    <a:pt x="102" y="22"/>
                  </a:cubicBezTo>
                  <a:cubicBezTo>
                    <a:pt x="108" y="22"/>
                    <a:pt x="113" y="17"/>
                    <a:pt x="113" y="11"/>
                  </a:cubicBezTo>
                  <a:cubicBezTo>
                    <a:pt x="113" y="5"/>
                    <a:pt x="108" y="0"/>
                    <a:pt x="102" y="0"/>
                  </a:cubicBezTo>
                  <a:close/>
                </a:path>
              </a:pathLst>
            </a:custGeom>
            <a:solidFill>
              <a:srgbClr val="353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grpSp>
      <p:grpSp>
        <p:nvGrpSpPr>
          <p:cNvPr id="174" name="Group 322">
            <a:extLst>
              <a:ext uri="{FF2B5EF4-FFF2-40B4-BE49-F238E27FC236}">
                <a16:creationId xmlns:a16="http://schemas.microsoft.com/office/drawing/2014/main" id="{29DD2A39-4988-46F8-93D3-A46313EDB77A}"/>
              </a:ext>
            </a:extLst>
          </p:cNvPr>
          <p:cNvGrpSpPr>
            <a:grpSpLocks noChangeAspect="1"/>
          </p:cNvGrpSpPr>
          <p:nvPr/>
        </p:nvGrpSpPr>
        <p:grpSpPr>
          <a:xfrm>
            <a:off x="893595" y="3766183"/>
            <a:ext cx="544090" cy="153626"/>
            <a:chOff x="803340" y="3852148"/>
            <a:chExt cx="681886" cy="192533"/>
          </a:xfrm>
          <a:solidFill>
            <a:schemeClr val="bg1">
              <a:lumMod val="75000"/>
            </a:schemeClr>
          </a:solidFill>
        </p:grpSpPr>
        <p:sp>
          <p:nvSpPr>
            <p:cNvPr id="175" name="Freeform 49">
              <a:extLst>
                <a:ext uri="{FF2B5EF4-FFF2-40B4-BE49-F238E27FC236}">
                  <a16:creationId xmlns:a16="http://schemas.microsoft.com/office/drawing/2014/main" id="{FFE6F784-669B-4F49-A2C7-CFE0F49ADF29}"/>
                </a:ext>
              </a:extLst>
            </p:cNvPr>
            <p:cNvSpPr>
              <a:spLocks/>
            </p:cNvSpPr>
            <p:nvPr/>
          </p:nvSpPr>
          <p:spPr bwMode="auto">
            <a:xfrm>
              <a:off x="803340" y="3913651"/>
              <a:ext cx="356988" cy="69526"/>
            </a:xfrm>
            <a:custGeom>
              <a:avLst/>
              <a:gdLst>
                <a:gd name="T0" fmla="*/ 102 w 113"/>
                <a:gd name="T1" fmla="*/ 0 h 22"/>
                <a:gd name="T2" fmla="*/ 93 w 113"/>
                <a:gd name="T3" fmla="*/ 4 h 22"/>
                <a:gd name="T4" fmla="*/ 0 w 113"/>
                <a:gd name="T5" fmla="*/ 4 h 22"/>
                <a:gd name="T6" fmla="*/ 0 w 113"/>
                <a:gd name="T7" fmla="*/ 18 h 22"/>
                <a:gd name="T8" fmla="*/ 93 w 113"/>
                <a:gd name="T9" fmla="*/ 18 h 22"/>
                <a:gd name="T10" fmla="*/ 102 w 113"/>
                <a:gd name="T11" fmla="*/ 22 h 22"/>
                <a:gd name="T12" fmla="*/ 113 w 113"/>
                <a:gd name="T13" fmla="*/ 11 h 22"/>
                <a:gd name="T14" fmla="*/ 102 w 11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22">
                  <a:moveTo>
                    <a:pt x="102" y="0"/>
                  </a:moveTo>
                  <a:cubicBezTo>
                    <a:pt x="98" y="0"/>
                    <a:pt x="95" y="2"/>
                    <a:pt x="93" y="4"/>
                  </a:cubicBezTo>
                  <a:cubicBezTo>
                    <a:pt x="0" y="4"/>
                    <a:pt x="0" y="4"/>
                    <a:pt x="0" y="4"/>
                  </a:cubicBezTo>
                  <a:cubicBezTo>
                    <a:pt x="0" y="18"/>
                    <a:pt x="0" y="18"/>
                    <a:pt x="0" y="18"/>
                  </a:cubicBezTo>
                  <a:cubicBezTo>
                    <a:pt x="93" y="18"/>
                    <a:pt x="93" y="18"/>
                    <a:pt x="93" y="18"/>
                  </a:cubicBezTo>
                  <a:cubicBezTo>
                    <a:pt x="95" y="20"/>
                    <a:pt x="98" y="22"/>
                    <a:pt x="102" y="22"/>
                  </a:cubicBezTo>
                  <a:cubicBezTo>
                    <a:pt x="108" y="22"/>
                    <a:pt x="113" y="17"/>
                    <a:pt x="113" y="11"/>
                  </a:cubicBezTo>
                  <a:cubicBezTo>
                    <a:pt x="113" y="5"/>
                    <a:pt x="108" y="0"/>
                    <a:pt x="102" y="0"/>
                  </a:cubicBezTo>
                  <a:close/>
                </a:path>
              </a:pathLst>
            </a:custGeom>
            <a:solidFill>
              <a:srgbClr val="9F41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176" name="Freeform 18">
              <a:extLst>
                <a:ext uri="{FF2B5EF4-FFF2-40B4-BE49-F238E27FC236}">
                  <a16:creationId xmlns:a16="http://schemas.microsoft.com/office/drawing/2014/main" id="{4DDD5D8A-E330-43E7-A370-8719868CCE2C}"/>
                </a:ext>
              </a:extLst>
            </p:cNvPr>
            <p:cNvSpPr>
              <a:spLocks/>
            </p:cNvSpPr>
            <p:nvPr/>
          </p:nvSpPr>
          <p:spPr bwMode="auto">
            <a:xfrm>
              <a:off x="1113531" y="3852148"/>
              <a:ext cx="371695" cy="192533"/>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477E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grpSp>
      <p:grpSp>
        <p:nvGrpSpPr>
          <p:cNvPr id="179" name="Group 323">
            <a:extLst>
              <a:ext uri="{FF2B5EF4-FFF2-40B4-BE49-F238E27FC236}">
                <a16:creationId xmlns:a16="http://schemas.microsoft.com/office/drawing/2014/main" id="{8478F45E-DD25-441C-A58C-D0A045C8610D}"/>
              </a:ext>
            </a:extLst>
          </p:cNvPr>
          <p:cNvGrpSpPr>
            <a:grpSpLocks noChangeAspect="1"/>
          </p:cNvGrpSpPr>
          <p:nvPr/>
        </p:nvGrpSpPr>
        <p:grpSpPr>
          <a:xfrm>
            <a:off x="893595" y="3590245"/>
            <a:ext cx="544090" cy="153626"/>
            <a:chOff x="803340" y="4090614"/>
            <a:chExt cx="681884" cy="192533"/>
          </a:xfrm>
          <a:solidFill>
            <a:schemeClr val="bg1">
              <a:lumMod val="75000"/>
            </a:schemeClr>
          </a:solidFill>
        </p:grpSpPr>
        <p:sp>
          <p:nvSpPr>
            <p:cNvPr id="183" name="Freeform 18">
              <a:extLst>
                <a:ext uri="{FF2B5EF4-FFF2-40B4-BE49-F238E27FC236}">
                  <a16:creationId xmlns:a16="http://schemas.microsoft.com/office/drawing/2014/main" id="{50FC595F-47EA-47D6-8921-193B72509C9F}"/>
                </a:ext>
              </a:extLst>
            </p:cNvPr>
            <p:cNvSpPr>
              <a:spLocks/>
            </p:cNvSpPr>
            <p:nvPr/>
          </p:nvSpPr>
          <p:spPr bwMode="auto">
            <a:xfrm>
              <a:off x="1113530" y="4090614"/>
              <a:ext cx="371694" cy="192533"/>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CE2A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184" name="Freeform 19">
              <a:extLst>
                <a:ext uri="{FF2B5EF4-FFF2-40B4-BE49-F238E27FC236}">
                  <a16:creationId xmlns:a16="http://schemas.microsoft.com/office/drawing/2014/main" id="{2C4C0C05-F9E5-46E0-A7B8-56A243BFB2D9}"/>
                </a:ext>
              </a:extLst>
            </p:cNvPr>
            <p:cNvSpPr>
              <a:spLocks/>
            </p:cNvSpPr>
            <p:nvPr/>
          </p:nvSpPr>
          <p:spPr bwMode="auto">
            <a:xfrm>
              <a:off x="803340" y="4152115"/>
              <a:ext cx="356987" cy="69526"/>
            </a:xfrm>
            <a:custGeom>
              <a:avLst/>
              <a:gdLst>
                <a:gd name="T0" fmla="*/ 102 w 113"/>
                <a:gd name="T1" fmla="*/ 0 h 22"/>
                <a:gd name="T2" fmla="*/ 93 w 113"/>
                <a:gd name="T3" fmla="*/ 4 h 22"/>
                <a:gd name="T4" fmla="*/ 0 w 113"/>
                <a:gd name="T5" fmla="*/ 4 h 22"/>
                <a:gd name="T6" fmla="*/ 0 w 113"/>
                <a:gd name="T7" fmla="*/ 17 h 22"/>
                <a:gd name="T8" fmla="*/ 93 w 113"/>
                <a:gd name="T9" fmla="*/ 17 h 22"/>
                <a:gd name="T10" fmla="*/ 102 w 113"/>
                <a:gd name="T11" fmla="*/ 22 h 22"/>
                <a:gd name="T12" fmla="*/ 113 w 113"/>
                <a:gd name="T13" fmla="*/ 11 h 22"/>
                <a:gd name="T14" fmla="*/ 102 w 11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22">
                  <a:moveTo>
                    <a:pt x="102" y="0"/>
                  </a:moveTo>
                  <a:cubicBezTo>
                    <a:pt x="98" y="0"/>
                    <a:pt x="95" y="1"/>
                    <a:pt x="93" y="4"/>
                  </a:cubicBezTo>
                  <a:cubicBezTo>
                    <a:pt x="0" y="4"/>
                    <a:pt x="0" y="4"/>
                    <a:pt x="0" y="4"/>
                  </a:cubicBezTo>
                  <a:cubicBezTo>
                    <a:pt x="0" y="17"/>
                    <a:pt x="0" y="17"/>
                    <a:pt x="0" y="17"/>
                  </a:cubicBezTo>
                  <a:cubicBezTo>
                    <a:pt x="93" y="17"/>
                    <a:pt x="93" y="17"/>
                    <a:pt x="93" y="17"/>
                  </a:cubicBezTo>
                  <a:cubicBezTo>
                    <a:pt x="95" y="20"/>
                    <a:pt x="98" y="22"/>
                    <a:pt x="102" y="22"/>
                  </a:cubicBezTo>
                  <a:cubicBezTo>
                    <a:pt x="108" y="22"/>
                    <a:pt x="113" y="17"/>
                    <a:pt x="113" y="11"/>
                  </a:cubicBezTo>
                  <a:cubicBezTo>
                    <a:pt x="113" y="5"/>
                    <a:pt x="108" y="0"/>
                    <a:pt x="102" y="0"/>
                  </a:cubicBezTo>
                  <a:close/>
                </a:path>
              </a:pathLst>
            </a:custGeom>
            <a:solidFill>
              <a:srgbClr val="AA8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grpSp>
      <p:grpSp>
        <p:nvGrpSpPr>
          <p:cNvPr id="186" name="Group 185">
            <a:extLst>
              <a:ext uri="{FF2B5EF4-FFF2-40B4-BE49-F238E27FC236}">
                <a16:creationId xmlns:a16="http://schemas.microsoft.com/office/drawing/2014/main" id="{D332897D-F7FF-450E-BF0B-377EE728EC9B}"/>
              </a:ext>
            </a:extLst>
          </p:cNvPr>
          <p:cNvGrpSpPr>
            <a:grpSpLocks noChangeAspect="1"/>
          </p:cNvGrpSpPr>
          <p:nvPr/>
        </p:nvGrpSpPr>
        <p:grpSpPr>
          <a:xfrm>
            <a:off x="832210" y="4096767"/>
            <a:ext cx="666860" cy="238674"/>
            <a:chOff x="4277068" y="5699572"/>
            <a:chExt cx="721924" cy="258382"/>
          </a:xfrm>
        </p:grpSpPr>
        <p:sp>
          <p:nvSpPr>
            <p:cNvPr id="187" name="Freeform 53">
              <a:extLst>
                <a:ext uri="{FF2B5EF4-FFF2-40B4-BE49-F238E27FC236}">
                  <a16:creationId xmlns:a16="http://schemas.microsoft.com/office/drawing/2014/main" id="{3DFD5D29-97C2-4D2E-932F-B8BDE61F1A76}"/>
                </a:ext>
              </a:extLst>
            </p:cNvPr>
            <p:cNvSpPr>
              <a:spLocks noChangeAspect="1"/>
            </p:cNvSpPr>
            <p:nvPr/>
          </p:nvSpPr>
          <p:spPr bwMode="auto">
            <a:xfrm flipV="1">
              <a:off x="4680397" y="5699572"/>
              <a:ext cx="318595" cy="258382"/>
            </a:xfrm>
            <a:custGeom>
              <a:avLst/>
              <a:gdLst>
                <a:gd name="T0" fmla="*/ 135 w 291"/>
                <a:gd name="T1" fmla="*/ 104 h 236"/>
                <a:gd name="T2" fmla="*/ 135 w 291"/>
                <a:gd name="T3" fmla="*/ 35 h 236"/>
                <a:gd name="T4" fmla="*/ 28 w 291"/>
                <a:gd name="T5" fmla="*/ 35 h 236"/>
                <a:gd name="T6" fmla="*/ 28 w 291"/>
                <a:gd name="T7" fmla="*/ 0 h 236"/>
                <a:gd name="T8" fmla="*/ 0 w 291"/>
                <a:gd name="T9" fmla="*/ 0 h 236"/>
                <a:gd name="T10" fmla="*/ 0 w 291"/>
                <a:gd name="T11" fmla="*/ 35 h 236"/>
                <a:gd name="T12" fmla="*/ 0 w 291"/>
                <a:gd name="T13" fmla="*/ 66 h 236"/>
                <a:gd name="T14" fmla="*/ 104 w 291"/>
                <a:gd name="T15" fmla="*/ 66 h 236"/>
                <a:gd name="T16" fmla="*/ 104 w 291"/>
                <a:gd name="T17" fmla="*/ 170 h 236"/>
                <a:gd name="T18" fmla="*/ 0 w 291"/>
                <a:gd name="T19" fmla="*/ 170 h 236"/>
                <a:gd name="T20" fmla="*/ 0 w 291"/>
                <a:gd name="T21" fmla="*/ 200 h 236"/>
                <a:gd name="T22" fmla="*/ 0 w 291"/>
                <a:gd name="T23" fmla="*/ 236 h 236"/>
                <a:gd name="T24" fmla="*/ 28 w 291"/>
                <a:gd name="T25" fmla="*/ 236 h 236"/>
                <a:gd name="T26" fmla="*/ 28 w 291"/>
                <a:gd name="T27" fmla="*/ 200 h 236"/>
                <a:gd name="T28" fmla="*/ 135 w 291"/>
                <a:gd name="T29" fmla="*/ 200 h 236"/>
                <a:gd name="T30" fmla="*/ 135 w 291"/>
                <a:gd name="T31" fmla="*/ 132 h 236"/>
                <a:gd name="T32" fmla="*/ 291 w 291"/>
                <a:gd name="T33" fmla="*/ 132 h 236"/>
                <a:gd name="T34" fmla="*/ 291 w 291"/>
                <a:gd name="T35" fmla="*/ 104 h 236"/>
                <a:gd name="T36" fmla="*/ 135 w 291"/>
                <a:gd name="T37" fmla="*/ 10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1" h="236">
                  <a:moveTo>
                    <a:pt x="135" y="104"/>
                  </a:moveTo>
                  <a:lnTo>
                    <a:pt x="135" y="35"/>
                  </a:lnTo>
                  <a:lnTo>
                    <a:pt x="28" y="35"/>
                  </a:lnTo>
                  <a:lnTo>
                    <a:pt x="28" y="0"/>
                  </a:lnTo>
                  <a:lnTo>
                    <a:pt x="0" y="0"/>
                  </a:lnTo>
                  <a:lnTo>
                    <a:pt x="0" y="35"/>
                  </a:lnTo>
                  <a:lnTo>
                    <a:pt x="0" y="66"/>
                  </a:lnTo>
                  <a:lnTo>
                    <a:pt x="104" y="66"/>
                  </a:lnTo>
                  <a:lnTo>
                    <a:pt x="104" y="170"/>
                  </a:lnTo>
                  <a:lnTo>
                    <a:pt x="0" y="170"/>
                  </a:lnTo>
                  <a:lnTo>
                    <a:pt x="0" y="200"/>
                  </a:lnTo>
                  <a:lnTo>
                    <a:pt x="0" y="236"/>
                  </a:lnTo>
                  <a:lnTo>
                    <a:pt x="28" y="236"/>
                  </a:lnTo>
                  <a:lnTo>
                    <a:pt x="28" y="200"/>
                  </a:lnTo>
                  <a:lnTo>
                    <a:pt x="135" y="200"/>
                  </a:lnTo>
                  <a:lnTo>
                    <a:pt x="135" y="132"/>
                  </a:lnTo>
                  <a:lnTo>
                    <a:pt x="291" y="132"/>
                  </a:lnTo>
                  <a:lnTo>
                    <a:pt x="291" y="104"/>
                  </a:lnTo>
                  <a:lnTo>
                    <a:pt x="135" y="104"/>
                  </a:lnTo>
                  <a:close/>
                </a:path>
              </a:pathLst>
            </a:custGeom>
            <a:solidFill>
              <a:schemeClr val="bg2">
                <a:lumMod val="25000"/>
              </a:schemeClr>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grpSp>
          <p:nvGrpSpPr>
            <p:cNvPr id="190" name="Group 405">
              <a:extLst>
                <a:ext uri="{FF2B5EF4-FFF2-40B4-BE49-F238E27FC236}">
                  <a16:creationId xmlns:a16="http://schemas.microsoft.com/office/drawing/2014/main" id="{2BBAFB66-3546-47BD-B2B9-5023241A0FDF}"/>
                </a:ext>
              </a:extLst>
            </p:cNvPr>
            <p:cNvGrpSpPr>
              <a:grpSpLocks noChangeAspect="1"/>
            </p:cNvGrpSpPr>
            <p:nvPr/>
          </p:nvGrpSpPr>
          <p:grpSpPr>
            <a:xfrm rot="5400000">
              <a:off x="4467794" y="5577884"/>
              <a:ext cx="120308" cy="501759"/>
              <a:chOff x="7934528" y="4846938"/>
              <a:chExt cx="74390" cy="310254"/>
            </a:xfrm>
          </p:grpSpPr>
          <p:sp>
            <p:nvSpPr>
              <p:cNvPr id="192" name="Freeform 180">
                <a:extLst>
                  <a:ext uri="{FF2B5EF4-FFF2-40B4-BE49-F238E27FC236}">
                    <a16:creationId xmlns:a16="http://schemas.microsoft.com/office/drawing/2014/main" id="{B93A731B-0797-4066-BA8D-8A225519A589}"/>
                  </a:ext>
                </a:extLst>
              </p:cNvPr>
              <p:cNvSpPr>
                <a:spLocks/>
              </p:cNvSpPr>
              <p:nvPr/>
            </p:nvSpPr>
            <p:spPr bwMode="auto">
              <a:xfrm rot="5400000">
                <a:off x="7899129" y="4895623"/>
                <a:ext cx="145754" cy="48384"/>
              </a:xfrm>
              <a:custGeom>
                <a:avLst/>
                <a:gdLst>
                  <a:gd name="T0" fmla="*/ 196 w 241"/>
                  <a:gd name="T1" fmla="*/ 80 h 80"/>
                  <a:gd name="T2" fmla="*/ 0 w 241"/>
                  <a:gd name="T3" fmla="*/ 80 h 80"/>
                  <a:gd name="T4" fmla="*/ 0 w 241"/>
                  <a:gd name="T5" fmla="*/ 0 h 80"/>
                  <a:gd name="T6" fmla="*/ 196 w 241"/>
                  <a:gd name="T7" fmla="*/ 0 h 80"/>
                  <a:gd name="T8" fmla="*/ 241 w 241"/>
                  <a:gd name="T9" fmla="*/ 40 h 80"/>
                  <a:gd name="T10" fmla="*/ 196 w 241"/>
                  <a:gd name="T11" fmla="*/ 80 h 80"/>
                </a:gdLst>
                <a:ahLst/>
                <a:cxnLst>
                  <a:cxn ang="0">
                    <a:pos x="T0" y="T1"/>
                  </a:cxn>
                  <a:cxn ang="0">
                    <a:pos x="T2" y="T3"/>
                  </a:cxn>
                  <a:cxn ang="0">
                    <a:pos x="T4" y="T5"/>
                  </a:cxn>
                  <a:cxn ang="0">
                    <a:pos x="T6" y="T7"/>
                  </a:cxn>
                  <a:cxn ang="0">
                    <a:pos x="T8" y="T9"/>
                  </a:cxn>
                  <a:cxn ang="0">
                    <a:pos x="T10" y="T11"/>
                  </a:cxn>
                </a:cxnLst>
                <a:rect l="0" t="0" r="r" b="b"/>
                <a:pathLst>
                  <a:path w="241" h="80">
                    <a:moveTo>
                      <a:pt x="196" y="80"/>
                    </a:moveTo>
                    <a:lnTo>
                      <a:pt x="0" y="80"/>
                    </a:lnTo>
                    <a:lnTo>
                      <a:pt x="0" y="0"/>
                    </a:lnTo>
                    <a:lnTo>
                      <a:pt x="196" y="0"/>
                    </a:lnTo>
                    <a:lnTo>
                      <a:pt x="241" y="40"/>
                    </a:lnTo>
                    <a:lnTo>
                      <a:pt x="196" y="80"/>
                    </a:lnTo>
                    <a:close/>
                  </a:path>
                </a:pathLst>
              </a:custGeom>
              <a:solidFill>
                <a:srgbClr val="7C1E35"/>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195" name="Freeform 42">
                <a:extLst>
                  <a:ext uri="{FF2B5EF4-FFF2-40B4-BE49-F238E27FC236}">
                    <a16:creationId xmlns:a16="http://schemas.microsoft.com/office/drawing/2014/main" id="{A96D01AF-0963-4F96-8BE1-F911EDF4FED9}"/>
                  </a:ext>
                </a:extLst>
              </p:cNvPr>
              <p:cNvSpPr>
                <a:spLocks/>
              </p:cNvSpPr>
              <p:nvPr/>
            </p:nvSpPr>
            <p:spPr bwMode="auto">
              <a:xfrm rot="5400000">
                <a:off x="7885238" y="5033512"/>
                <a:ext cx="172970" cy="74390"/>
              </a:xfrm>
              <a:custGeom>
                <a:avLst/>
                <a:gdLst>
                  <a:gd name="T0" fmla="*/ 286 w 286"/>
                  <a:gd name="T1" fmla="*/ 45 h 123"/>
                  <a:gd name="T2" fmla="*/ 154 w 286"/>
                  <a:gd name="T3" fmla="*/ 45 h 123"/>
                  <a:gd name="T4" fmla="*/ 154 w 286"/>
                  <a:gd name="T5" fmla="*/ 0 h 123"/>
                  <a:gd name="T6" fmla="*/ 0 w 286"/>
                  <a:gd name="T7" fmla="*/ 0 h 123"/>
                  <a:gd name="T8" fmla="*/ 0 w 286"/>
                  <a:gd name="T9" fmla="*/ 21 h 123"/>
                  <a:gd name="T10" fmla="*/ 47 w 286"/>
                  <a:gd name="T11" fmla="*/ 61 h 123"/>
                  <a:gd name="T12" fmla="*/ 0 w 286"/>
                  <a:gd name="T13" fmla="*/ 101 h 123"/>
                  <a:gd name="T14" fmla="*/ 0 w 286"/>
                  <a:gd name="T15" fmla="*/ 123 h 123"/>
                  <a:gd name="T16" fmla="*/ 154 w 286"/>
                  <a:gd name="T17" fmla="*/ 123 h 123"/>
                  <a:gd name="T18" fmla="*/ 154 w 286"/>
                  <a:gd name="T19" fmla="*/ 78 h 123"/>
                  <a:gd name="T20" fmla="*/ 286 w 286"/>
                  <a:gd name="T21" fmla="*/ 78 h 123"/>
                  <a:gd name="T22" fmla="*/ 286 w 286"/>
                  <a:gd name="T23" fmla="*/ 4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6" h="123">
                    <a:moveTo>
                      <a:pt x="286" y="45"/>
                    </a:moveTo>
                    <a:lnTo>
                      <a:pt x="154" y="45"/>
                    </a:lnTo>
                    <a:lnTo>
                      <a:pt x="154" y="0"/>
                    </a:lnTo>
                    <a:lnTo>
                      <a:pt x="0" y="0"/>
                    </a:lnTo>
                    <a:lnTo>
                      <a:pt x="0" y="21"/>
                    </a:lnTo>
                    <a:lnTo>
                      <a:pt x="47" y="61"/>
                    </a:lnTo>
                    <a:lnTo>
                      <a:pt x="0" y="101"/>
                    </a:lnTo>
                    <a:lnTo>
                      <a:pt x="0" y="123"/>
                    </a:lnTo>
                    <a:lnTo>
                      <a:pt x="154" y="123"/>
                    </a:lnTo>
                    <a:lnTo>
                      <a:pt x="154" y="78"/>
                    </a:lnTo>
                    <a:lnTo>
                      <a:pt x="286" y="78"/>
                    </a:lnTo>
                    <a:lnTo>
                      <a:pt x="286" y="45"/>
                    </a:lnTo>
                    <a:close/>
                  </a:path>
                </a:pathLst>
              </a:custGeom>
              <a:solidFill>
                <a:srgbClr val="477E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grpSp>
      </p:grpSp>
      <p:grpSp>
        <p:nvGrpSpPr>
          <p:cNvPr id="196" name="Group 323">
            <a:extLst>
              <a:ext uri="{FF2B5EF4-FFF2-40B4-BE49-F238E27FC236}">
                <a16:creationId xmlns:a16="http://schemas.microsoft.com/office/drawing/2014/main" id="{31571023-512A-41C1-878F-C07B9C9ED785}"/>
              </a:ext>
            </a:extLst>
          </p:cNvPr>
          <p:cNvGrpSpPr>
            <a:grpSpLocks noChangeAspect="1"/>
          </p:cNvGrpSpPr>
          <p:nvPr/>
        </p:nvGrpSpPr>
        <p:grpSpPr>
          <a:xfrm>
            <a:off x="893595" y="3942121"/>
            <a:ext cx="544090" cy="153626"/>
            <a:chOff x="803340" y="4090614"/>
            <a:chExt cx="681884" cy="192533"/>
          </a:xfrm>
          <a:solidFill>
            <a:schemeClr val="bg1">
              <a:lumMod val="75000"/>
            </a:schemeClr>
          </a:solidFill>
        </p:grpSpPr>
        <p:sp>
          <p:nvSpPr>
            <p:cNvPr id="197" name="Freeform 18">
              <a:extLst>
                <a:ext uri="{FF2B5EF4-FFF2-40B4-BE49-F238E27FC236}">
                  <a16:creationId xmlns:a16="http://schemas.microsoft.com/office/drawing/2014/main" id="{9C40A299-CFDF-4B08-AB84-85E51F71E3E1}"/>
                </a:ext>
              </a:extLst>
            </p:cNvPr>
            <p:cNvSpPr>
              <a:spLocks/>
            </p:cNvSpPr>
            <p:nvPr/>
          </p:nvSpPr>
          <p:spPr bwMode="auto">
            <a:xfrm>
              <a:off x="1113530" y="4090614"/>
              <a:ext cx="371694" cy="192533"/>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477E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198" name="Freeform 19">
              <a:extLst>
                <a:ext uri="{FF2B5EF4-FFF2-40B4-BE49-F238E27FC236}">
                  <a16:creationId xmlns:a16="http://schemas.microsoft.com/office/drawing/2014/main" id="{12F1D864-F44C-4350-8824-F0A711493E21}"/>
                </a:ext>
              </a:extLst>
            </p:cNvPr>
            <p:cNvSpPr>
              <a:spLocks/>
            </p:cNvSpPr>
            <p:nvPr/>
          </p:nvSpPr>
          <p:spPr bwMode="auto">
            <a:xfrm>
              <a:off x="803340" y="4152115"/>
              <a:ext cx="356987" cy="69526"/>
            </a:xfrm>
            <a:custGeom>
              <a:avLst/>
              <a:gdLst>
                <a:gd name="T0" fmla="*/ 102 w 113"/>
                <a:gd name="T1" fmla="*/ 0 h 22"/>
                <a:gd name="T2" fmla="*/ 93 w 113"/>
                <a:gd name="T3" fmla="*/ 4 h 22"/>
                <a:gd name="T4" fmla="*/ 0 w 113"/>
                <a:gd name="T5" fmla="*/ 4 h 22"/>
                <a:gd name="T6" fmla="*/ 0 w 113"/>
                <a:gd name="T7" fmla="*/ 17 h 22"/>
                <a:gd name="T8" fmla="*/ 93 w 113"/>
                <a:gd name="T9" fmla="*/ 17 h 22"/>
                <a:gd name="T10" fmla="*/ 102 w 113"/>
                <a:gd name="T11" fmla="*/ 22 h 22"/>
                <a:gd name="T12" fmla="*/ 113 w 113"/>
                <a:gd name="T13" fmla="*/ 11 h 22"/>
                <a:gd name="T14" fmla="*/ 102 w 11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22">
                  <a:moveTo>
                    <a:pt x="102" y="0"/>
                  </a:moveTo>
                  <a:cubicBezTo>
                    <a:pt x="98" y="0"/>
                    <a:pt x="95" y="1"/>
                    <a:pt x="93" y="4"/>
                  </a:cubicBezTo>
                  <a:cubicBezTo>
                    <a:pt x="0" y="4"/>
                    <a:pt x="0" y="4"/>
                    <a:pt x="0" y="4"/>
                  </a:cubicBezTo>
                  <a:cubicBezTo>
                    <a:pt x="0" y="17"/>
                    <a:pt x="0" y="17"/>
                    <a:pt x="0" y="17"/>
                  </a:cubicBezTo>
                  <a:cubicBezTo>
                    <a:pt x="93" y="17"/>
                    <a:pt x="93" y="17"/>
                    <a:pt x="93" y="17"/>
                  </a:cubicBezTo>
                  <a:cubicBezTo>
                    <a:pt x="95" y="20"/>
                    <a:pt x="98" y="22"/>
                    <a:pt x="102" y="22"/>
                  </a:cubicBezTo>
                  <a:cubicBezTo>
                    <a:pt x="108" y="22"/>
                    <a:pt x="113" y="17"/>
                    <a:pt x="113" y="11"/>
                  </a:cubicBezTo>
                  <a:cubicBezTo>
                    <a:pt x="113" y="5"/>
                    <a:pt x="108" y="0"/>
                    <a:pt x="102" y="0"/>
                  </a:cubicBezTo>
                  <a:close/>
                </a:path>
              </a:pathLst>
            </a:custGeom>
            <a:solidFill>
              <a:srgbClr val="353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grpSp>
      <p:sp>
        <p:nvSpPr>
          <p:cNvPr id="199" name="TextBox 198">
            <a:extLst>
              <a:ext uri="{FF2B5EF4-FFF2-40B4-BE49-F238E27FC236}">
                <a16:creationId xmlns:a16="http://schemas.microsoft.com/office/drawing/2014/main" id="{9FCE2930-4CF6-4C2B-8301-6C817914539F}"/>
              </a:ext>
            </a:extLst>
          </p:cNvPr>
          <p:cNvSpPr txBox="1"/>
          <p:nvPr/>
        </p:nvSpPr>
        <p:spPr>
          <a:xfrm>
            <a:off x="1567797" y="3920830"/>
            <a:ext cx="381836" cy="196208"/>
          </a:xfrm>
          <a:prstGeom prst="rect">
            <a:avLst/>
          </a:prstGeom>
          <a:noFill/>
        </p:spPr>
        <p:txBody>
          <a:bodyPr wrap="none" lIns="0" tIns="0" rIns="0" bIns="0" rtlCol="0" anchor="ctr">
            <a:noAutofit/>
          </a:bodyPr>
          <a:lstStyle/>
          <a:p>
            <a:pPr defTabSz="685766">
              <a:buClr>
                <a:srgbClr val="000000"/>
              </a:buClr>
              <a:defRPr/>
            </a:pPr>
            <a:r>
              <a:rPr lang="en-US" sz="900" kern="0" dirty="0">
                <a:solidFill>
                  <a:srgbClr val="404040"/>
                </a:solidFill>
                <a:latin typeface="Gene Sans Light"/>
                <a:cs typeface="Arial" pitchFamily="34" charset="0"/>
                <a:sym typeface="Arial"/>
              </a:rPr>
              <a:t>B7.1</a:t>
            </a:r>
          </a:p>
        </p:txBody>
      </p:sp>
      <p:sp>
        <p:nvSpPr>
          <p:cNvPr id="200" name="TextBox 199">
            <a:extLst>
              <a:ext uri="{FF2B5EF4-FFF2-40B4-BE49-F238E27FC236}">
                <a16:creationId xmlns:a16="http://schemas.microsoft.com/office/drawing/2014/main" id="{54012BBA-6D20-44C8-95F2-433B8535A3D6}"/>
              </a:ext>
            </a:extLst>
          </p:cNvPr>
          <p:cNvSpPr txBox="1"/>
          <p:nvPr/>
        </p:nvSpPr>
        <p:spPr>
          <a:xfrm>
            <a:off x="381649" y="3920830"/>
            <a:ext cx="381836" cy="196208"/>
          </a:xfrm>
          <a:prstGeom prst="rect">
            <a:avLst/>
          </a:prstGeom>
          <a:noFill/>
        </p:spPr>
        <p:txBody>
          <a:bodyPr wrap="none" lIns="0" tIns="0" rIns="0" bIns="0" rtlCol="0" anchor="ctr">
            <a:noAutofit/>
          </a:bodyPr>
          <a:lstStyle/>
          <a:p>
            <a:pPr defTabSz="685766">
              <a:buClr>
                <a:srgbClr val="000000"/>
              </a:buClr>
              <a:defRPr/>
            </a:pPr>
            <a:r>
              <a:rPr lang="en-US" sz="900" kern="0" dirty="0">
                <a:solidFill>
                  <a:srgbClr val="404040"/>
                </a:solidFill>
                <a:latin typeface="Gene Sans Light"/>
                <a:cs typeface="Arial" pitchFamily="34" charset="0"/>
                <a:sym typeface="Arial"/>
              </a:rPr>
              <a:t>PD-L1</a:t>
            </a:r>
          </a:p>
        </p:txBody>
      </p:sp>
      <p:sp>
        <p:nvSpPr>
          <p:cNvPr id="201" name="Rectangle 200">
            <a:extLst>
              <a:ext uri="{FF2B5EF4-FFF2-40B4-BE49-F238E27FC236}">
                <a16:creationId xmlns:a16="http://schemas.microsoft.com/office/drawing/2014/main" id="{455ED7CF-557A-4AFE-872F-0B793AA3F244}"/>
              </a:ext>
            </a:extLst>
          </p:cNvPr>
          <p:cNvSpPr/>
          <p:nvPr/>
        </p:nvSpPr>
        <p:spPr>
          <a:xfrm>
            <a:off x="6110902" y="1813898"/>
            <a:ext cx="2655146" cy="2606715"/>
          </a:xfrm>
          <a:prstGeom prst="rect">
            <a:avLst/>
          </a:prstGeom>
          <a:noFill/>
          <a:ln w="12700">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9" tIns="34289" rIns="68579" bIns="34289" numCol="1" spcCol="0" rtlCol="0" fromWordArt="0" anchor="ctr" anchorCtr="0" forceAA="0" compatLnSpc="1">
            <a:prstTxWarp prst="textNoShape">
              <a:avLst/>
            </a:prstTxWarp>
            <a:noAutofit/>
          </a:bodyPr>
          <a:lstStyle/>
          <a:p>
            <a:pPr algn="ctr" defTabSz="685766">
              <a:buClr>
                <a:srgbClr val="000000"/>
              </a:buClr>
              <a:defRPr/>
            </a:pPr>
            <a:endParaRPr lang="en-US" sz="1050" kern="0" dirty="0">
              <a:solidFill>
                <a:srgbClr val="404040"/>
              </a:solidFill>
              <a:latin typeface="Gene Sans Light"/>
              <a:sym typeface="Arial"/>
            </a:endParaRPr>
          </a:p>
        </p:txBody>
      </p:sp>
      <p:sp>
        <p:nvSpPr>
          <p:cNvPr id="202" name="Rectangle 201">
            <a:extLst>
              <a:ext uri="{FF2B5EF4-FFF2-40B4-BE49-F238E27FC236}">
                <a16:creationId xmlns:a16="http://schemas.microsoft.com/office/drawing/2014/main" id="{428AC8C8-125F-44B6-95E4-4F2B61E9BE09}"/>
              </a:ext>
            </a:extLst>
          </p:cNvPr>
          <p:cNvSpPr/>
          <p:nvPr/>
        </p:nvSpPr>
        <p:spPr>
          <a:xfrm>
            <a:off x="3722902" y="1283548"/>
            <a:ext cx="2706425" cy="1007532"/>
          </a:xfrm>
          <a:prstGeom prst="rect">
            <a:avLst/>
          </a:prstGeom>
          <a:solidFill>
            <a:schemeClr val="bg1"/>
          </a:solidFill>
          <a:ln w="12700">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9" tIns="34289" rIns="68579" bIns="34289" numCol="1" spcCol="0" rtlCol="0" fromWordArt="0" anchor="ctr" anchorCtr="0" forceAA="0" compatLnSpc="1">
            <a:prstTxWarp prst="textNoShape">
              <a:avLst/>
            </a:prstTxWarp>
            <a:noAutofit/>
          </a:bodyPr>
          <a:lstStyle/>
          <a:p>
            <a:pPr algn="ctr" defTabSz="685766">
              <a:buClr>
                <a:srgbClr val="000000"/>
              </a:buClr>
              <a:defRPr/>
            </a:pPr>
            <a:endParaRPr lang="en-US" sz="1050" kern="0" dirty="0">
              <a:solidFill>
                <a:srgbClr val="404040"/>
              </a:solidFill>
              <a:latin typeface="Gene Sans Light"/>
              <a:sym typeface="Arial"/>
            </a:endParaRPr>
          </a:p>
        </p:txBody>
      </p:sp>
      <p:pic>
        <p:nvPicPr>
          <p:cNvPr id="203" name="Picture 202">
            <a:extLst>
              <a:ext uri="{FF2B5EF4-FFF2-40B4-BE49-F238E27FC236}">
                <a16:creationId xmlns:a16="http://schemas.microsoft.com/office/drawing/2014/main" id="{8227CA68-DAE4-404C-9F48-AF82C109C39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6478429" y="1856278"/>
            <a:ext cx="1371714" cy="1514076"/>
          </a:xfrm>
          <a:prstGeom prst="rect">
            <a:avLst/>
          </a:prstGeom>
          <a:effectLst/>
        </p:spPr>
      </p:pic>
      <p:sp>
        <p:nvSpPr>
          <p:cNvPr id="204" name="Rectangle 203">
            <a:extLst>
              <a:ext uri="{FF2B5EF4-FFF2-40B4-BE49-F238E27FC236}">
                <a16:creationId xmlns:a16="http://schemas.microsoft.com/office/drawing/2014/main" id="{3C5FFCB0-2911-4DD1-8530-8AA6B5A1DA7D}"/>
              </a:ext>
            </a:extLst>
          </p:cNvPr>
          <p:cNvSpPr/>
          <p:nvPr/>
        </p:nvSpPr>
        <p:spPr>
          <a:xfrm>
            <a:off x="3752586" y="1337193"/>
            <a:ext cx="1357483" cy="900244"/>
          </a:xfrm>
          <a:prstGeom prst="rect">
            <a:avLst/>
          </a:prstGeom>
          <a:noFill/>
          <a:ln>
            <a:noFill/>
          </a:ln>
          <a:effectLst/>
          <a:scene3d>
            <a:camera prst="orthographicFront"/>
            <a:lightRig rig="threePt" dir="t"/>
          </a:scene3d>
          <a:sp3d>
            <a:bevelT/>
          </a:sp3d>
        </p:spPr>
        <p:txBody>
          <a:bodyPr wrap="square" lIns="26999" tIns="34289" rIns="26999" bIns="34289">
            <a:spAutoFit/>
          </a:bodyPr>
          <a:lstStyle/>
          <a:p>
            <a:pPr marL="128582" indent="-128582" defTabSz="685766">
              <a:buClr>
                <a:srgbClr val="545859"/>
              </a:buClr>
              <a:buFont typeface="Arial" panose="020B0604020202020204" pitchFamily="34" charset="0"/>
              <a:buChar char="•"/>
              <a:defRPr/>
            </a:pPr>
            <a:r>
              <a:rPr lang="en-US" sz="900" kern="0" dirty="0">
                <a:solidFill>
                  <a:srgbClr val="545859"/>
                </a:solidFill>
                <a:latin typeface="Gene Sans Light"/>
                <a:cs typeface="Arial" pitchFamily="34" charset="0"/>
                <a:sym typeface="Arial"/>
              </a:rPr>
              <a:t>IFN-γ–mediated</a:t>
            </a:r>
            <a:br>
              <a:rPr lang="en-US" sz="900" kern="0" dirty="0">
                <a:solidFill>
                  <a:srgbClr val="545859"/>
                </a:solidFill>
                <a:latin typeface="Gene Sans Light"/>
                <a:cs typeface="Arial" pitchFamily="34" charset="0"/>
                <a:sym typeface="Arial"/>
              </a:rPr>
            </a:br>
            <a:r>
              <a:rPr lang="en-US" sz="900" kern="0" dirty="0">
                <a:solidFill>
                  <a:srgbClr val="545859"/>
                </a:solidFill>
                <a:latin typeface="Gene Sans Light"/>
                <a:cs typeface="Arial" pitchFamily="34" charset="0"/>
                <a:sym typeface="Arial"/>
              </a:rPr>
              <a:t>upregulation of tumor PD-L1</a:t>
            </a:r>
          </a:p>
          <a:p>
            <a:pPr marL="128582" indent="-128582" defTabSz="685766">
              <a:buClr>
                <a:srgbClr val="545859"/>
              </a:buClr>
              <a:buFont typeface="Arial" panose="020B0604020202020204" pitchFamily="34" charset="0"/>
              <a:buChar char="•"/>
              <a:defRPr/>
            </a:pPr>
            <a:r>
              <a:rPr lang="en-US" sz="900" kern="0">
                <a:solidFill>
                  <a:srgbClr val="545859"/>
                </a:solidFill>
                <a:latin typeface="Gene Sans Light"/>
                <a:cs typeface="Arial" pitchFamily="34" charset="0"/>
                <a:sym typeface="Arial"/>
              </a:rPr>
              <a:t>PD-L1/PD-1–mediated inhibition </a:t>
            </a:r>
            <a:r>
              <a:rPr lang="en-US" sz="900" kern="0" dirty="0">
                <a:solidFill>
                  <a:srgbClr val="545859"/>
                </a:solidFill>
                <a:latin typeface="Gene Sans Light"/>
                <a:cs typeface="Arial" pitchFamily="34" charset="0"/>
                <a:sym typeface="Arial"/>
              </a:rPr>
              <a:t>of tumor cell killing</a:t>
            </a:r>
          </a:p>
        </p:txBody>
      </p:sp>
      <p:sp>
        <p:nvSpPr>
          <p:cNvPr id="205" name="Freeform 18">
            <a:extLst>
              <a:ext uri="{FF2B5EF4-FFF2-40B4-BE49-F238E27FC236}">
                <a16:creationId xmlns:a16="http://schemas.microsoft.com/office/drawing/2014/main" id="{AC08918D-7F47-4081-AADA-C26491C3089E}"/>
              </a:ext>
            </a:extLst>
          </p:cNvPr>
          <p:cNvSpPr>
            <a:spLocks/>
          </p:cNvSpPr>
          <p:nvPr/>
        </p:nvSpPr>
        <p:spPr bwMode="auto">
          <a:xfrm>
            <a:off x="6371797" y="2400423"/>
            <a:ext cx="258338" cy="133816"/>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339966"/>
          </a:solidFill>
          <a:ln>
            <a:noFill/>
          </a:ln>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06" name="Freeform 49">
            <a:extLst>
              <a:ext uri="{FF2B5EF4-FFF2-40B4-BE49-F238E27FC236}">
                <a16:creationId xmlns:a16="http://schemas.microsoft.com/office/drawing/2014/main" id="{E3A226CD-6F4F-45F2-AFF3-0739E36185EF}"/>
              </a:ext>
            </a:extLst>
          </p:cNvPr>
          <p:cNvSpPr>
            <a:spLocks/>
          </p:cNvSpPr>
          <p:nvPr/>
        </p:nvSpPr>
        <p:spPr bwMode="auto">
          <a:xfrm>
            <a:off x="6156205" y="2443171"/>
            <a:ext cx="248117" cy="48323"/>
          </a:xfrm>
          <a:custGeom>
            <a:avLst/>
            <a:gdLst>
              <a:gd name="T0" fmla="*/ 102 w 113"/>
              <a:gd name="T1" fmla="*/ 0 h 22"/>
              <a:gd name="T2" fmla="*/ 93 w 113"/>
              <a:gd name="T3" fmla="*/ 4 h 22"/>
              <a:gd name="T4" fmla="*/ 0 w 113"/>
              <a:gd name="T5" fmla="*/ 4 h 22"/>
              <a:gd name="T6" fmla="*/ 0 w 113"/>
              <a:gd name="T7" fmla="*/ 18 h 22"/>
              <a:gd name="T8" fmla="*/ 93 w 113"/>
              <a:gd name="T9" fmla="*/ 18 h 22"/>
              <a:gd name="T10" fmla="*/ 102 w 113"/>
              <a:gd name="T11" fmla="*/ 22 h 22"/>
              <a:gd name="T12" fmla="*/ 113 w 113"/>
              <a:gd name="T13" fmla="*/ 11 h 22"/>
              <a:gd name="T14" fmla="*/ 102 w 11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22">
                <a:moveTo>
                  <a:pt x="102" y="0"/>
                </a:moveTo>
                <a:cubicBezTo>
                  <a:pt x="98" y="0"/>
                  <a:pt x="95" y="2"/>
                  <a:pt x="93" y="4"/>
                </a:cubicBezTo>
                <a:cubicBezTo>
                  <a:pt x="0" y="4"/>
                  <a:pt x="0" y="4"/>
                  <a:pt x="0" y="4"/>
                </a:cubicBezTo>
                <a:cubicBezTo>
                  <a:pt x="0" y="18"/>
                  <a:pt x="0" y="18"/>
                  <a:pt x="0" y="18"/>
                </a:cubicBezTo>
                <a:cubicBezTo>
                  <a:pt x="93" y="18"/>
                  <a:pt x="93" y="18"/>
                  <a:pt x="93" y="18"/>
                </a:cubicBezTo>
                <a:cubicBezTo>
                  <a:pt x="95" y="20"/>
                  <a:pt x="98" y="22"/>
                  <a:pt x="102" y="22"/>
                </a:cubicBezTo>
                <a:cubicBezTo>
                  <a:pt x="108" y="22"/>
                  <a:pt x="113" y="17"/>
                  <a:pt x="113" y="11"/>
                </a:cubicBezTo>
                <a:cubicBezTo>
                  <a:pt x="113" y="5"/>
                  <a:pt x="108" y="0"/>
                  <a:pt x="102" y="0"/>
                </a:cubicBezTo>
                <a:close/>
              </a:path>
            </a:pathLst>
          </a:custGeom>
          <a:solidFill>
            <a:srgbClr val="9F41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07" name="Freeform 49">
            <a:extLst>
              <a:ext uri="{FF2B5EF4-FFF2-40B4-BE49-F238E27FC236}">
                <a16:creationId xmlns:a16="http://schemas.microsoft.com/office/drawing/2014/main" id="{F85A63CA-5DEA-43A1-93A8-8624DBE37D7D}"/>
              </a:ext>
            </a:extLst>
          </p:cNvPr>
          <p:cNvSpPr>
            <a:spLocks/>
          </p:cNvSpPr>
          <p:nvPr/>
        </p:nvSpPr>
        <p:spPr bwMode="auto">
          <a:xfrm flipH="1">
            <a:off x="5963046" y="2443171"/>
            <a:ext cx="248117" cy="48323"/>
          </a:xfrm>
          <a:custGeom>
            <a:avLst/>
            <a:gdLst>
              <a:gd name="T0" fmla="*/ 102 w 113"/>
              <a:gd name="T1" fmla="*/ 0 h 22"/>
              <a:gd name="T2" fmla="*/ 93 w 113"/>
              <a:gd name="T3" fmla="*/ 4 h 22"/>
              <a:gd name="T4" fmla="*/ 0 w 113"/>
              <a:gd name="T5" fmla="*/ 4 h 22"/>
              <a:gd name="T6" fmla="*/ 0 w 113"/>
              <a:gd name="T7" fmla="*/ 18 h 22"/>
              <a:gd name="T8" fmla="*/ 93 w 113"/>
              <a:gd name="T9" fmla="*/ 18 h 22"/>
              <a:gd name="T10" fmla="*/ 102 w 113"/>
              <a:gd name="T11" fmla="*/ 22 h 22"/>
              <a:gd name="T12" fmla="*/ 113 w 113"/>
              <a:gd name="T13" fmla="*/ 11 h 22"/>
              <a:gd name="T14" fmla="*/ 102 w 11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22">
                <a:moveTo>
                  <a:pt x="102" y="0"/>
                </a:moveTo>
                <a:cubicBezTo>
                  <a:pt x="98" y="0"/>
                  <a:pt x="95" y="2"/>
                  <a:pt x="93" y="4"/>
                </a:cubicBezTo>
                <a:cubicBezTo>
                  <a:pt x="0" y="4"/>
                  <a:pt x="0" y="4"/>
                  <a:pt x="0" y="4"/>
                </a:cubicBezTo>
                <a:cubicBezTo>
                  <a:pt x="0" y="18"/>
                  <a:pt x="0" y="18"/>
                  <a:pt x="0" y="18"/>
                </a:cubicBezTo>
                <a:cubicBezTo>
                  <a:pt x="93" y="18"/>
                  <a:pt x="93" y="18"/>
                  <a:pt x="93" y="18"/>
                </a:cubicBezTo>
                <a:cubicBezTo>
                  <a:pt x="95" y="20"/>
                  <a:pt x="98" y="22"/>
                  <a:pt x="102" y="22"/>
                </a:cubicBezTo>
                <a:cubicBezTo>
                  <a:pt x="108" y="22"/>
                  <a:pt x="113" y="17"/>
                  <a:pt x="113" y="11"/>
                </a:cubicBezTo>
                <a:cubicBezTo>
                  <a:pt x="113" y="5"/>
                  <a:pt x="108" y="0"/>
                  <a:pt x="102" y="0"/>
                </a:cubicBezTo>
                <a:close/>
              </a:path>
            </a:pathLst>
          </a:custGeom>
          <a:solidFill>
            <a:srgbClr val="9F41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08" name="Freeform 18">
            <a:extLst>
              <a:ext uri="{FF2B5EF4-FFF2-40B4-BE49-F238E27FC236}">
                <a16:creationId xmlns:a16="http://schemas.microsoft.com/office/drawing/2014/main" id="{37BFDCC4-936E-4F38-973B-094A15989FB1}"/>
              </a:ext>
            </a:extLst>
          </p:cNvPr>
          <p:cNvSpPr>
            <a:spLocks/>
          </p:cNvSpPr>
          <p:nvPr/>
        </p:nvSpPr>
        <p:spPr bwMode="auto">
          <a:xfrm>
            <a:off x="6423729" y="2714856"/>
            <a:ext cx="258338" cy="133816"/>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339966"/>
          </a:solidFill>
          <a:ln>
            <a:noFill/>
          </a:ln>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09" name="Freeform 19">
            <a:extLst>
              <a:ext uri="{FF2B5EF4-FFF2-40B4-BE49-F238E27FC236}">
                <a16:creationId xmlns:a16="http://schemas.microsoft.com/office/drawing/2014/main" id="{BBEEC008-0A7A-40A6-AC41-10025B616B91}"/>
              </a:ext>
            </a:extLst>
          </p:cNvPr>
          <p:cNvSpPr>
            <a:spLocks/>
          </p:cNvSpPr>
          <p:nvPr/>
        </p:nvSpPr>
        <p:spPr bwMode="auto">
          <a:xfrm>
            <a:off x="6208137" y="2757600"/>
            <a:ext cx="248117" cy="48323"/>
          </a:xfrm>
          <a:custGeom>
            <a:avLst/>
            <a:gdLst>
              <a:gd name="T0" fmla="*/ 102 w 113"/>
              <a:gd name="T1" fmla="*/ 0 h 22"/>
              <a:gd name="T2" fmla="*/ 93 w 113"/>
              <a:gd name="T3" fmla="*/ 4 h 22"/>
              <a:gd name="T4" fmla="*/ 0 w 113"/>
              <a:gd name="T5" fmla="*/ 4 h 22"/>
              <a:gd name="T6" fmla="*/ 0 w 113"/>
              <a:gd name="T7" fmla="*/ 17 h 22"/>
              <a:gd name="T8" fmla="*/ 93 w 113"/>
              <a:gd name="T9" fmla="*/ 17 h 22"/>
              <a:gd name="T10" fmla="*/ 102 w 113"/>
              <a:gd name="T11" fmla="*/ 22 h 22"/>
              <a:gd name="T12" fmla="*/ 113 w 113"/>
              <a:gd name="T13" fmla="*/ 11 h 22"/>
              <a:gd name="T14" fmla="*/ 102 w 11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22">
                <a:moveTo>
                  <a:pt x="102" y="0"/>
                </a:moveTo>
                <a:cubicBezTo>
                  <a:pt x="98" y="0"/>
                  <a:pt x="95" y="1"/>
                  <a:pt x="93" y="4"/>
                </a:cubicBezTo>
                <a:cubicBezTo>
                  <a:pt x="0" y="4"/>
                  <a:pt x="0" y="4"/>
                  <a:pt x="0" y="4"/>
                </a:cubicBezTo>
                <a:cubicBezTo>
                  <a:pt x="0" y="17"/>
                  <a:pt x="0" y="17"/>
                  <a:pt x="0" y="17"/>
                </a:cubicBezTo>
                <a:cubicBezTo>
                  <a:pt x="93" y="17"/>
                  <a:pt x="93" y="17"/>
                  <a:pt x="93" y="17"/>
                </a:cubicBezTo>
                <a:cubicBezTo>
                  <a:pt x="95" y="20"/>
                  <a:pt x="98" y="22"/>
                  <a:pt x="102" y="22"/>
                </a:cubicBezTo>
                <a:cubicBezTo>
                  <a:pt x="108" y="22"/>
                  <a:pt x="113" y="17"/>
                  <a:pt x="113" y="11"/>
                </a:cubicBezTo>
                <a:cubicBezTo>
                  <a:pt x="113" y="5"/>
                  <a:pt x="108" y="0"/>
                  <a:pt x="102" y="0"/>
                </a:cubicBezTo>
                <a:close/>
              </a:path>
            </a:pathLst>
          </a:custGeom>
          <a:solidFill>
            <a:srgbClr val="353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10" name="Freeform 19">
            <a:extLst>
              <a:ext uri="{FF2B5EF4-FFF2-40B4-BE49-F238E27FC236}">
                <a16:creationId xmlns:a16="http://schemas.microsoft.com/office/drawing/2014/main" id="{9ABE1AF2-3894-4EE0-A90F-E05E2A000901}"/>
              </a:ext>
            </a:extLst>
          </p:cNvPr>
          <p:cNvSpPr>
            <a:spLocks/>
          </p:cNvSpPr>
          <p:nvPr/>
        </p:nvSpPr>
        <p:spPr bwMode="auto">
          <a:xfrm flipH="1">
            <a:off x="6036708" y="2757600"/>
            <a:ext cx="248117" cy="48323"/>
          </a:xfrm>
          <a:custGeom>
            <a:avLst/>
            <a:gdLst>
              <a:gd name="T0" fmla="*/ 102 w 113"/>
              <a:gd name="T1" fmla="*/ 0 h 22"/>
              <a:gd name="T2" fmla="*/ 93 w 113"/>
              <a:gd name="T3" fmla="*/ 4 h 22"/>
              <a:gd name="T4" fmla="*/ 0 w 113"/>
              <a:gd name="T5" fmla="*/ 4 h 22"/>
              <a:gd name="T6" fmla="*/ 0 w 113"/>
              <a:gd name="T7" fmla="*/ 17 h 22"/>
              <a:gd name="T8" fmla="*/ 93 w 113"/>
              <a:gd name="T9" fmla="*/ 17 h 22"/>
              <a:gd name="T10" fmla="*/ 102 w 113"/>
              <a:gd name="T11" fmla="*/ 22 h 22"/>
              <a:gd name="T12" fmla="*/ 113 w 113"/>
              <a:gd name="T13" fmla="*/ 11 h 22"/>
              <a:gd name="T14" fmla="*/ 102 w 11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22">
                <a:moveTo>
                  <a:pt x="102" y="0"/>
                </a:moveTo>
                <a:cubicBezTo>
                  <a:pt x="98" y="0"/>
                  <a:pt x="95" y="1"/>
                  <a:pt x="93" y="4"/>
                </a:cubicBezTo>
                <a:cubicBezTo>
                  <a:pt x="0" y="4"/>
                  <a:pt x="0" y="4"/>
                  <a:pt x="0" y="4"/>
                </a:cubicBezTo>
                <a:cubicBezTo>
                  <a:pt x="0" y="17"/>
                  <a:pt x="0" y="17"/>
                  <a:pt x="0" y="17"/>
                </a:cubicBezTo>
                <a:cubicBezTo>
                  <a:pt x="93" y="17"/>
                  <a:pt x="93" y="17"/>
                  <a:pt x="93" y="17"/>
                </a:cubicBezTo>
                <a:cubicBezTo>
                  <a:pt x="95" y="20"/>
                  <a:pt x="98" y="22"/>
                  <a:pt x="102" y="22"/>
                </a:cubicBezTo>
                <a:cubicBezTo>
                  <a:pt x="108" y="22"/>
                  <a:pt x="113" y="17"/>
                  <a:pt x="113" y="11"/>
                </a:cubicBezTo>
                <a:cubicBezTo>
                  <a:pt x="113" y="5"/>
                  <a:pt x="108" y="0"/>
                  <a:pt x="102" y="0"/>
                </a:cubicBezTo>
                <a:close/>
              </a:path>
            </a:pathLst>
          </a:custGeom>
          <a:solidFill>
            <a:srgbClr val="353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11" name="Freeform 257">
            <a:extLst>
              <a:ext uri="{FF2B5EF4-FFF2-40B4-BE49-F238E27FC236}">
                <a16:creationId xmlns:a16="http://schemas.microsoft.com/office/drawing/2014/main" id="{6073FD6E-0586-4C35-BA1D-C8E26C3DEDAA}"/>
              </a:ext>
            </a:extLst>
          </p:cNvPr>
          <p:cNvSpPr>
            <a:spLocks/>
          </p:cNvSpPr>
          <p:nvPr/>
        </p:nvSpPr>
        <p:spPr bwMode="auto">
          <a:xfrm flipH="1">
            <a:off x="6078772" y="2845739"/>
            <a:ext cx="258338" cy="133816"/>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CE2A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12" name="Freeform 19">
            <a:extLst>
              <a:ext uri="{FF2B5EF4-FFF2-40B4-BE49-F238E27FC236}">
                <a16:creationId xmlns:a16="http://schemas.microsoft.com/office/drawing/2014/main" id="{0412038B-0F6F-4848-8196-A0F5A8A3C578}"/>
              </a:ext>
            </a:extLst>
          </p:cNvPr>
          <p:cNvSpPr>
            <a:spLocks/>
          </p:cNvSpPr>
          <p:nvPr/>
        </p:nvSpPr>
        <p:spPr bwMode="auto">
          <a:xfrm flipH="1">
            <a:off x="6324864" y="3033775"/>
            <a:ext cx="298684" cy="48323"/>
          </a:xfrm>
          <a:custGeom>
            <a:avLst/>
            <a:gdLst>
              <a:gd name="T0" fmla="*/ 102 w 113"/>
              <a:gd name="T1" fmla="*/ 0 h 22"/>
              <a:gd name="T2" fmla="*/ 93 w 113"/>
              <a:gd name="T3" fmla="*/ 4 h 22"/>
              <a:gd name="T4" fmla="*/ 0 w 113"/>
              <a:gd name="T5" fmla="*/ 4 h 22"/>
              <a:gd name="T6" fmla="*/ 0 w 113"/>
              <a:gd name="T7" fmla="*/ 17 h 22"/>
              <a:gd name="T8" fmla="*/ 93 w 113"/>
              <a:gd name="T9" fmla="*/ 17 h 22"/>
              <a:gd name="T10" fmla="*/ 102 w 113"/>
              <a:gd name="T11" fmla="*/ 22 h 22"/>
              <a:gd name="T12" fmla="*/ 113 w 113"/>
              <a:gd name="T13" fmla="*/ 11 h 22"/>
              <a:gd name="T14" fmla="*/ 102 w 11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22">
                <a:moveTo>
                  <a:pt x="102" y="0"/>
                </a:moveTo>
                <a:cubicBezTo>
                  <a:pt x="98" y="0"/>
                  <a:pt x="95" y="1"/>
                  <a:pt x="93" y="4"/>
                </a:cubicBezTo>
                <a:cubicBezTo>
                  <a:pt x="0" y="4"/>
                  <a:pt x="0" y="4"/>
                  <a:pt x="0" y="4"/>
                </a:cubicBezTo>
                <a:cubicBezTo>
                  <a:pt x="0" y="17"/>
                  <a:pt x="0" y="17"/>
                  <a:pt x="0" y="17"/>
                </a:cubicBezTo>
                <a:cubicBezTo>
                  <a:pt x="93" y="17"/>
                  <a:pt x="93" y="17"/>
                  <a:pt x="93" y="17"/>
                </a:cubicBezTo>
                <a:cubicBezTo>
                  <a:pt x="95" y="20"/>
                  <a:pt x="98" y="22"/>
                  <a:pt x="102" y="22"/>
                </a:cubicBezTo>
                <a:cubicBezTo>
                  <a:pt x="108" y="22"/>
                  <a:pt x="113" y="17"/>
                  <a:pt x="113" y="11"/>
                </a:cubicBezTo>
                <a:cubicBezTo>
                  <a:pt x="113" y="5"/>
                  <a:pt x="108" y="0"/>
                  <a:pt x="102" y="0"/>
                </a:cubicBezTo>
                <a:close/>
              </a:path>
            </a:pathLst>
          </a:custGeom>
          <a:solidFill>
            <a:srgbClr val="353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13" name="Freeform 18">
            <a:extLst>
              <a:ext uri="{FF2B5EF4-FFF2-40B4-BE49-F238E27FC236}">
                <a16:creationId xmlns:a16="http://schemas.microsoft.com/office/drawing/2014/main" id="{53FBEE59-34F6-40D5-A926-291585F07DC4}"/>
              </a:ext>
            </a:extLst>
          </p:cNvPr>
          <p:cNvSpPr>
            <a:spLocks/>
          </p:cNvSpPr>
          <p:nvPr/>
        </p:nvSpPr>
        <p:spPr bwMode="auto">
          <a:xfrm flipH="1">
            <a:off x="6099052" y="2991030"/>
            <a:ext cx="258338" cy="133816"/>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339966"/>
          </a:solidFill>
          <a:ln>
            <a:noFill/>
          </a:ln>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14" name="Freeform 18">
            <a:extLst>
              <a:ext uri="{FF2B5EF4-FFF2-40B4-BE49-F238E27FC236}">
                <a16:creationId xmlns:a16="http://schemas.microsoft.com/office/drawing/2014/main" id="{FA03A859-A8E3-485A-A4C3-6C8ECC243D04}"/>
              </a:ext>
            </a:extLst>
          </p:cNvPr>
          <p:cNvSpPr>
            <a:spLocks/>
          </p:cNvSpPr>
          <p:nvPr/>
        </p:nvSpPr>
        <p:spPr bwMode="auto">
          <a:xfrm>
            <a:off x="5883691" y="2991030"/>
            <a:ext cx="258338" cy="133816"/>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477E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15" name="Freeform 246">
            <a:extLst>
              <a:ext uri="{FF2B5EF4-FFF2-40B4-BE49-F238E27FC236}">
                <a16:creationId xmlns:a16="http://schemas.microsoft.com/office/drawing/2014/main" id="{BA7843E1-8B0E-4475-BD88-FB0AE1BE97E6}"/>
              </a:ext>
            </a:extLst>
          </p:cNvPr>
          <p:cNvSpPr>
            <a:spLocks/>
          </p:cNvSpPr>
          <p:nvPr/>
        </p:nvSpPr>
        <p:spPr bwMode="auto">
          <a:xfrm rot="5400000">
            <a:off x="5756599" y="2139380"/>
            <a:ext cx="258338" cy="133816"/>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CE2A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16" name="Freeform 247">
            <a:extLst>
              <a:ext uri="{FF2B5EF4-FFF2-40B4-BE49-F238E27FC236}">
                <a16:creationId xmlns:a16="http://schemas.microsoft.com/office/drawing/2014/main" id="{5C651BD9-0C79-4254-94E6-9AF3E0E6F5E7}"/>
              </a:ext>
            </a:extLst>
          </p:cNvPr>
          <p:cNvSpPr>
            <a:spLocks/>
          </p:cNvSpPr>
          <p:nvPr/>
        </p:nvSpPr>
        <p:spPr bwMode="auto">
          <a:xfrm rot="5400000">
            <a:off x="5761710" y="1961425"/>
            <a:ext cx="248117" cy="48323"/>
          </a:xfrm>
          <a:custGeom>
            <a:avLst/>
            <a:gdLst>
              <a:gd name="T0" fmla="*/ 102 w 113"/>
              <a:gd name="T1" fmla="*/ 0 h 22"/>
              <a:gd name="T2" fmla="*/ 93 w 113"/>
              <a:gd name="T3" fmla="*/ 4 h 22"/>
              <a:gd name="T4" fmla="*/ 0 w 113"/>
              <a:gd name="T5" fmla="*/ 4 h 22"/>
              <a:gd name="T6" fmla="*/ 0 w 113"/>
              <a:gd name="T7" fmla="*/ 17 h 22"/>
              <a:gd name="T8" fmla="*/ 93 w 113"/>
              <a:gd name="T9" fmla="*/ 17 h 22"/>
              <a:gd name="T10" fmla="*/ 102 w 113"/>
              <a:gd name="T11" fmla="*/ 22 h 22"/>
              <a:gd name="T12" fmla="*/ 113 w 113"/>
              <a:gd name="T13" fmla="*/ 11 h 22"/>
              <a:gd name="T14" fmla="*/ 102 w 11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22">
                <a:moveTo>
                  <a:pt x="102" y="0"/>
                </a:moveTo>
                <a:cubicBezTo>
                  <a:pt x="98" y="0"/>
                  <a:pt x="95" y="1"/>
                  <a:pt x="93" y="4"/>
                </a:cubicBezTo>
                <a:cubicBezTo>
                  <a:pt x="0" y="4"/>
                  <a:pt x="0" y="4"/>
                  <a:pt x="0" y="4"/>
                </a:cubicBezTo>
                <a:cubicBezTo>
                  <a:pt x="0" y="17"/>
                  <a:pt x="0" y="17"/>
                  <a:pt x="0" y="17"/>
                </a:cubicBezTo>
                <a:cubicBezTo>
                  <a:pt x="93" y="17"/>
                  <a:pt x="93" y="17"/>
                  <a:pt x="93" y="17"/>
                </a:cubicBezTo>
                <a:cubicBezTo>
                  <a:pt x="95" y="20"/>
                  <a:pt x="98" y="22"/>
                  <a:pt x="102" y="22"/>
                </a:cubicBezTo>
                <a:cubicBezTo>
                  <a:pt x="108" y="22"/>
                  <a:pt x="113" y="17"/>
                  <a:pt x="113" y="11"/>
                </a:cubicBezTo>
                <a:cubicBezTo>
                  <a:pt x="113" y="5"/>
                  <a:pt x="108" y="0"/>
                  <a:pt x="102" y="0"/>
                </a:cubicBezTo>
                <a:close/>
              </a:path>
            </a:pathLst>
          </a:custGeom>
          <a:solidFill>
            <a:srgbClr val="353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17" name="Freeform 18">
            <a:extLst>
              <a:ext uri="{FF2B5EF4-FFF2-40B4-BE49-F238E27FC236}">
                <a16:creationId xmlns:a16="http://schemas.microsoft.com/office/drawing/2014/main" id="{5E7C1FBC-2B7C-4207-9A2A-830174DE1461}"/>
              </a:ext>
            </a:extLst>
          </p:cNvPr>
          <p:cNvSpPr>
            <a:spLocks/>
          </p:cNvSpPr>
          <p:nvPr/>
        </p:nvSpPr>
        <p:spPr bwMode="auto">
          <a:xfrm rot="5400000">
            <a:off x="5555613" y="2172420"/>
            <a:ext cx="258338" cy="133816"/>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339966"/>
          </a:solidFill>
          <a:ln>
            <a:noFill/>
          </a:ln>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18" name="Freeform 19">
            <a:extLst>
              <a:ext uri="{FF2B5EF4-FFF2-40B4-BE49-F238E27FC236}">
                <a16:creationId xmlns:a16="http://schemas.microsoft.com/office/drawing/2014/main" id="{45C7BABB-1460-4508-AC0F-D6F7E1827703}"/>
              </a:ext>
            </a:extLst>
          </p:cNvPr>
          <p:cNvSpPr>
            <a:spLocks/>
          </p:cNvSpPr>
          <p:nvPr/>
        </p:nvSpPr>
        <p:spPr bwMode="auto">
          <a:xfrm rot="5400000">
            <a:off x="5560724" y="1994465"/>
            <a:ext cx="248117" cy="48323"/>
          </a:xfrm>
          <a:custGeom>
            <a:avLst/>
            <a:gdLst>
              <a:gd name="T0" fmla="*/ 102 w 113"/>
              <a:gd name="T1" fmla="*/ 0 h 22"/>
              <a:gd name="T2" fmla="*/ 93 w 113"/>
              <a:gd name="T3" fmla="*/ 4 h 22"/>
              <a:gd name="T4" fmla="*/ 0 w 113"/>
              <a:gd name="T5" fmla="*/ 4 h 22"/>
              <a:gd name="T6" fmla="*/ 0 w 113"/>
              <a:gd name="T7" fmla="*/ 17 h 22"/>
              <a:gd name="T8" fmla="*/ 93 w 113"/>
              <a:gd name="T9" fmla="*/ 17 h 22"/>
              <a:gd name="T10" fmla="*/ 102 w 113"/>
              <a:gd name="T11" fmla="*/ 22 h 22"/>
              <a:gd name="T12" fmla="*/ 113 w 113"/>
              <a:gd name="T13" fmla="*/ 11 h 22"/>
              <a:gd name="T14" fmla="*/ 102 w 11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22">
                <a:moveTo>
                  <a:pt x="102" y="0"/>
                </a:moveTo>
                <a:cubicBezTo>
                  <a:pt x="98" y="0"/>
                  <a:pt x="95" y="1"/>
                  <a:pt x="93" y="4"/>
                </a:cubicBezTo>
                <a:cubicBezTo>
                  <a:pt x="0" y="4"/>
                  <a:pt x="0" y="4"/>
                  <a:pt x="0" y="4"/>
                </a:cubicBezTo>
                <a:cubicBezTo>
                  <a:pt x="0" y="17"/>
                  <a:pt x="0" y="17"/>
                  <a:pt x="0" y="17"/>
                </a:cubicBezTo>
                <a:cubicBezTo>
                  <a:pt x="93" y="17"/>
                  <a:pt x="93" y="17"/>
                  <a:pt x="93" y="17"/>
                </a:cubicBezTo>
                <a:cubicBezTo>
                  <a:pt x="95" y="20"/>
                  <a:pt x="98" y="22"/>
                  <a:pt x="102" y="22"/>
                </a:cubicBezTo>
                <a:cubicBezTo>
                  <a:pt x="108" y="22"/>
                  <a:pt x="113" y="17"/>
                  <a:pt x="113" y="11"/>
                </a:cubicBezTo>
                <a:cubicBezTo>
                  <a:pt x="113" y="5"/>
                  <a:pt x="108" y="0"/>
                  <a:pt x="102" y="0"/>
                </a:cubicBezTo>
                <a:close/>
              </a:path>
            </a:pathLst>
          </a:custGeom>
          <a:solidFill>
            <a:srgbClr val="353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19" name="Freeform 240">
            <a:extLst>
              <a:ext uri="{FF2B5EF4-FFF2-40B4-BE49-F238E27FC236}">
                <a16:creationId xmlns:a16="http://schemas.microsoft.com/office/drawing/2014/main" id="{5BBE3E49-8BA2-415D-BFE7-79B72D09CB9F}"/>
              </a:ext>
            </a:extLst>
          </p:cNvPr>
          <p:cNvSpPr>
            <a:spLocks/>
          </p:cNvSpPr>
          <p:nvPr/>
        </p:nvSpPr>
        <p:spPr bwMode="auto">
          <a:xfrm rot="7764828">
            <a:off x="6618135" y="3450759"/>
            <a:ext cx="258338" cy="133816"/>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CE2A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20" name="Freeform 241">
            <a:extLst>
              <a:ext uri="{FF2B5EF4-FFF2-40B4-BE49-F238E27FC236}">
                <a16:creationId xmlns:a16="http://schemas.microsoft.com/office/drawing/2014/main" id="{0A7AD772-DB19-494B-934F-E9FB48678FD5}"/>
              </a:ext>
            </a:extLst>
          </p:cNvPr>
          <p:cNvSpPr>
            <a:spLocks/>
          </p:cNvSpPr>
          <p:nvPr/>
        </p:nvSpPr>
        <p:spPr bwMode="auto">
          <a:xfrm rot="7764828">
            <a:off x="6763374" y="3322997"/>
            <a:ext cx="248117" cy="48323"/>
          </a:xfrm>
          <a:custGeom>
            <a:avLst/>
            <a:gdLst>
              <a:gd name="T0" fmla="*/ 102 w 113"/>
              <a:gd name="T1" fmla="*/ 0 h 22"/>
              <a:gd name="T2" fmla="*/ 93 w 113"/>
              <a:gd name="T3" fmla="*/ 4 h 22"/>
              <a:gd name="T4" fmla="*/ 0 w 113"/>
              <a:gd name="T5" fmla="*/ 4 h 22"/>
              <a:gd name="T6" fmla="*/ 0 w 113"/>
              <a:gd name="T7" fmla="*/ 17 h 22"/>
              <a:gd name="T8" fmla="*/ 93 w 113"/>
              <a:gd name="T9" fmla="*/ 17 h 22"/>
              <a:gd name="T10" fmla="*/ 102 w 113"/>
              <a:gd name="T11" fmla="*/ 22 h 22"/>
              <a:gd name="T12" fmla="*/ 113 w 113"/>
              <a:gd name="T13" fmla="*/ 11 h 22"/>
              <a:gd name="T14" fmla="*/ 102 w 11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22">
                <a:moveTo>
                  <a:pt x="102" y="0"/>
                </a:moveTo>
                <a:cubicBezTo>
                  <a:pt x="98" y="0"/>
                  <a:pt x="95" y="1"/>
                  <a:pt x="93" y="4"/>
                </a:cubicBezTo>
                <a:cubicBezTo>
                  <a:pt x="0" y="4"/>
                  <a:pt x="0" y="4"/>
                  <a:pt x="0" y="4"/>
                </a:cubicBezTo>
                <a:cubicBezTo>
                  <a:pt x="0" y="17"/>
                  <a:pt x="0" y="17"/>
                  <a:pt x="0" y="17"/>
                </a:cubicBezTo>
                <a:cubicBezTo>
                  <a:pt x="93" y="17"/>
                  <a:pt x="93" y="17"/>
                  <a:pt x="93" y="17"/>
                </a:cubicBezTo>
                <a:cubicBezTo>
                  <a:pt x="95" y="20"/>
                  <a:pt x="98" y="22"/>
                  <a:pt x="102" y="22"/>
                </a:cubicBezTo>
                <a:cubicBezTo>
                  <a:pt x="108" y="22"/>
                  <a:pt x="113" y="17"/>
                  <a:pt x="113" y="11"/>
                </a:cubicBezTo>
                <a:cubicBezTo>
                  <a:pt x="113" y="5"/>
                  <a:pt x="108" y="0"/>
                  <a:pt x="102" y="0"/>
                </a:cubicBezTo>
                <a:close/>
              </a:path>
            </a:pathLst>
          </a:custGeom>
          <a:solidFill>
            <a:srgbClr val="353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21" name="Freeform 18">
            <a:extLst>
              <a:ext uri="{FF2B5EF4-FFF2-40B4-BE49-F238E27FC236}">
                <a16:creationId xmlns:a16="http://schemas.microsoft.com/office/drawing/2014/main" id="{8BE111E0-9828-4DB4-9BDB-CEF05840CA9A}"/>
              </a:ext>
            </a:extLst>
          </p:cNvPr>
          <p:cNvSpPr>
            <a:spLocks/>
          </p:cNvSpPr>
          <p:nvPr/>
        </p:nvSpPr>
        <p:spPr bwMode="auto">
          <a:xfrm rot="879443">
            <a:off x="5419222" y="3619022"/>
            <a:ext cx="258338" cy="133816"/>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CE2A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22" name="Freeform 19">
            <a:extLst>
              <a:ext uri="{FF2B5EF4-FFF2-40B4-BE49-F238E27FC236}">
                <a16:creationId xmlns:a16="http://schemas.microsoft.com/office/drawing/2014/main" id="{49001306-E6E5-48D4-AFF0-F00679C9DDDE}"/>
              </a:ext>
            </a:extLst>
          </p:cNvPr>
          <p:cNvSpPr>
            <a:spLocks/>
          </p:cNvSpPr>
          <p:nvPr/>
        </p:nvSpPr>
        <p:spPr bwMode="auto">
          <a:xfrm rot="879443">
            <a:off x="5210815" y="3605921"/>
            <a:ext cx="248117" cy="48323"/>
          </a:xfrm>
          <a:custGeom>
            <a:avLst/>
            <a:gdLst>
              <a:gd name="T0" fmla="*/ 102 w 113"/>
              <a:gd name="T1" fmla="*/ 0 h 22"/>
              <a:gd name="T2" fmla="*/ 93 w 113"/>
              <a:gd name="T3" fmla="*/ 4 h 22"/>
              <a:gd name="T4" fmla="*/ 0 w 113"/>
              <a:gd name="T5" fmla="*/ 4 h 22"/>
              <a:gd name="T6" fmla="*/ 0 w 113"/>
              <a:gd name="T7" fmla="*/ 17 h 22"/>
              <a:gd name="T8" fmla="*/ 93 w 113"/>
              <a:gd name="T9" fmla="*/ 17 h 22"/>
              <a:gd name="T10" fmla="*/ 102 w 113"/>
              <a:gd name="T11" fmla="*/ 22 h 22"/>
              <a:gd name="T12" fmla="*/ 113 w 113"/>
              <a:gd name="T13" fmla="*/ 11 h 22"/>
              <a:gd name="T14" fmla="*/ 102 w 11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22">
                <a:moveTo>
                  <a:pt x="102" y="0"/>
                </a:moveTo>
                <a:cubicBezTo>
                  <a:pt x="98" y="0"/>
                  <a:pt x="95" y="1"/>
                  <a:pt x="93" y="4"/>
                </a:cubicBezTo>
                <a:cubicBezTo>
                  <a:pt x="0" y="4"/>
                  <a:pt x="0" y="4"/>
                  <a:pt x="0" y="4"/>
                </a:cubicBezTo>
                <a:cubicBezTo>
                  <a:pt x="0" y="17"/>
                  <a:pt x="0" y="17"/>
                  <a:pt x="0" y="17"/>
                </a:cubicBezTo>
                <a:cubicBezTo>
                  <a:pt x="93" y="17"/>
                  <a:pt x="93" y="17"/>
                  <a:pt x="93" y="17"/>
                </a:cubicBezTo>
                <a:cubicBezTo>
                  <a:pt x="95" y="20"/>
                  <a:pt x="98" y="22"/>
                  <a:pt x="102" y="22"/>
                </a:cubicBezTo>
                <a:cubicBezTo>
                  <a:pt x="108" y="22"/>
                  <a:pt x="113" y="17"/>
                  <a:pt x="113" y="11"/>
                </a:cubicBezTo>
                <a:cubicBezTo>
                  <a:pt x="113" y="5"/>
                  <a:pt x="108" y="0"/>
                  <a:pt x="102" y="0"/>
                </a:cubicBezTo>
                <a:close/>
              </a:path>
            </a:pathLst>
          </a:custGeom>
          <a:solidFill>
            <a:srgbClr val="AA8D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23" name="Freeform 231">
            <a:extLst>
              <a:ext uri="{FF2B5EF4-FFF2-40B4-BE49-F238E27FC236}">
                <a16:creationId xmlns:a16="http://schemas.microsoft.com/office/drawing/2014/main" id="{AB120569-FF20-4815-8DB3-136FFDCC757E}"/>
              </a:ext>
            </a:extLst>
          </p:cNvPr>
          <p:cNvSpPr>
            <a:spLocks/>
          </p:cNvSpPr>
          <p:nvPr/>
        </p:nvSpPr>
        <p:spPr bwMode="auto">
          <a:xfrm rot="18974423">
            <a:off x="5180968" y="3142806"/>
            <a:ext cx="258338" cy="133816"/>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CE2A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24" name="Freeform 232">
            <a:extLst>
              <a:ext uri="{FF2B5EF4-FFF2-40B4-BE49-F238E27FC236}">
                <a16:creationId xmlns:a16="http://schemas.microsoft.com/office/drawing/2014/main" id="{79247CFB-834D-41A4-BE6F-CE0392F0D512}"/>
              </a:ext>
            </a:extLst>
          </p:cNvPr>
          <p:cNvSpPr>
            <a:spLocks/>
          </p:cNvSpPr>
          <p:nvPr/>
        </p:nvSpPr>
        <p:spPr bwMode="auto">
          <a:xfrm rot="18974423">
            <a:off x="5026676" y="3338196"/>
            <a:ext cx="248117" cy="48323"/>
          </a:xfrm>
          <a:custGeom>
            <a:avLst/>
            <a:gdLst>
              <a:gd name="T0" fmla="*/ 102 w 113"/>
              <a:gd name="T1" fmla="*/ 0 h 22"/>
              <a:gd name="T2" fmla="*/ 93 w 113"/>
              <a:gd name="T3" fmla="*/ 4 h 22"/>
              <a:gd name="T4" fmla="*/ 0 w 113"/>
              <a:gd name="T5" fmla="*/ 4 h 22"/>
              <a:gd name="T6" fmla="*/ 0 w 113"/>
              <a:gd name="T7" fmla="*/ 17 h 22"/>
              <a:gd name="T8" fmla="*/ 93 w 113"/>
              <a:gd name="T9" fmla="*/ 17 h 22"/>
              <a:gd name="T10" fmla="*/ 102 w 113"/>
              <a:gd name="T11" fmla="*/ 22 h 22"/>
              <a:gd name="T12" fmla="*/ 113 w 113"/>
              <a:gd name="T13" fmla="*/ 11 h 22"/>
              <a:gd name="T14" fmla="*/ 102 w 11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22">
                <a:moveTo>
                  <a:pt x="102" y="0"/>
                </a:moveTo>
                <a:cubicBezTo>
                  <a:pt x="98" y="0"/>
                  <a:pt x="95" y="1"/>
                  <a:pt x="93" y="4"/>
                </a:cubicBezTo>
                <a:cubicBezTo>
                  <a:pt x="0" y="4"/>
                  <a:pt x="0" y="4"/>
                  <a:pt x="0" y="4"/>
                </a:cubicBezTo>
                <a:cubicBezTo>
                  <a:pt x="0" y="17"/>
                  <a:pt x="0" y="17"/>
                  <a:pt x="0" y="17"/>
                </a:cubicBezTo>
                <a:cubicBezTo>
                  <a:pt x="93" y="17"/>
                  <a:pt x="93" y="17"/>
                  <a:pt x="93" y="17"/>
                </a:cubicBezTo>
                <a:cubicBezTo>
                  <a:pt x="95" y="20"/>
                  <a:pt x="98" y="22"/>
                  <a:pt x="102" y="22"/>
                </a:cubicBezTo>
                <a:cubicBezTo>
                  <a:pt x="108" y="22"/>
                  <a:pt x="113" y="17"/>
                  <a:pt x="113" y="11"/>
                </a:cubicBezTo>
                <a:cubicBezTo>
                  <a:pt x="113" y="5"/>
                  <a:pt x="108" y="0"/>
                  <a:pt x="102" y="0"/>
                </a:cubicBezTo>
                <a:close/>
              </a:path>
            </a:pathLst>
          </a:custGeom>
          <a:solidFill>
            <a:srgbClr val="353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25" name="Freeform 228">
            <a:extLst>
              <a:ext uri="{FF2B5EF4-FFF2-40B4-BE49-F238E27FC236}">
                <a16:creationId xmlns:a16="http://schemas.microsoft.com/office/drawing/2014/main" id="{5E47D16C-0B12-4683-8B71-394C80E53B97}"/>
              </a:ext>
            </a:extLst>
          </p:cNvPr>
          <p:cNvSpPr>
            <a:spLocks/>
          </p:cNvSpPr>
          <p:nvPr/>
        </p:nvSpPr>
        <p:spPr bwMode="auto">
          <a:xfrm>
            <a:off x="4945630" y="2603243"/>
            <a:ext cx="258338" cy="133816"/>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CE2A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26" name="Freeform 229">
            <a:extLst>
              <a:ext uri="{FF2B5EF4-FFF2-40B4-BE49-F238E27FC236}">
                <a16:creationId xmlns:a16="http://schemas.microsoft.com/office/drawing/2014/main" id="{F254A53F-E74D-4D14-9A99-DFEE572213DE}"/>
              </a:ext>
            </a:extLst>
          </p:cNvPr>
          <p:cNvSpPr>
            <a:spLocks/>
          </p:cNvSpPr>
          <p:nvPr/>
        </p:nvSpPr>
        <p:spPr bwMode="auto">
          <a:xfrm>
            <a:off x="4730038" y="2645987"/>
            <a:ext cx="248117" cy="48323"/>
          </a:xfrm>
          <a:custGeom>
            <a:avLst/>
            <a:gdLst>
              <a:gd name="T0" fmla="*/ 102 w 113"/>
              <a:gd name="T1" fmla="*/ 0 h 22"/>
              <a:gd name="T2" fmla="*/ 93 w 113"/>
              <a:gd name="T3" fmla="*/ 4 h 22"/>
              <a:gd name="T4" fmla="*/ 0 w 113"/>
              <a:gd name="T5" fmla="*/ 4 h 22"/>
              <a:gd name="T6" fmla="*/ 0 w 113"/>
              <a:gd name="T7" fmla="*/ 17 h 22"/>
              <a:gd name="T8" fmla="*/ 93 w 113"/>
              <a:gd name="T9" fmla="*/ 17 h 22"/>
              <a:gd name="T10" fmla="*/ 102 w 113"/>
              <a:gd name="T11" fmla="*/ 22 h 22"/>
              <a:gd name="T12" fmla="*/ 113 w 113"/>
              <a:gd name="T13" fmla="*/ 11 h 22"/>
              <a:gd name="T14" fmla="*/ 102 w 11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22">
                <a:moveTo>
                  <a:pt x="102" y="0"/>
                </a:moveTo>
                <a:cubicBezTo>
                  <a:pt x="98" y="0"/>
                  <a:pt x="95" y="1"/>
                  <a:pt x="93" y="4"/>
                </a:cubicBezTo>
                <a:cubicBezTo>
                  <a:pt x="0" y="4"/>
                  <a:pt x="0" y="4"/>
                  <a:pt x="0" y="4"/>
                </a:cubicBezTo>
                <a:cubicBezTo>
                  <a:pt x="0" y="17"/>
                  <a:pt x="0" y="17"/>
                  <a:pt x="0" y="17"/>
                </a:cubicBezTo>
                <a:cubicBezTo>
                  <a:pt x="93" y="17"/>
                  <a:pt x="93" y="17"/>
                  <a:pt x="93" y="17"/>
                </a:cubicBezTo>
                <a:cubicBezTo>
                  <a:pt x="95" y="20"/>
                  <a:pt x="98" y="22"/>
                  <a:pt x="102" y="22"/>
                </a:cubicBezTo>
                <a:cubicBezTo>
                  <a:pt x="108" y="22"/>
                  <a:pt x="113" y="17"/>
                  <a:pt x="113" y="11"/>
                </a:cubicBezTo>
                <a:cubicBezTo>
                  <a:pt x="113" y="5"/>
                  <a:pt x="108" y="0"/>
                  <a:pt x="102" y="0"/>
                </a:cubicBezTo>
                <a:close/>
              </a:path>
            </a:pathLst>
          </a:custGeom>
          <a:solidFill>
            <a:srgbClr val="353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27" name="Freeform 53">
            <a:extLst>
              <a:ext uri="{FF2B5EF4-FFF2-40B4-BE49-F238E27FC236}">
                <a16:creationId xmlns:a16="http://schemas.microsoft.com/office/drawing/2014/main" id="{ABA4D107-1A24-402E-A7D0-36C2331B81CE}"/>
              </a:ext>
            </a:extLst>
          </p:cNvPr>
          <p:cNvSpPr>
            <a:spLocks noChangeAspect="1"/>
          </p:cNvSpPr>
          <p:nvPr/>
        </p:nvSpPr>
        <p:spPr bwMode="auto">
          <a:xfrm rot="16200000" flipH="1" flipV="1">
            <a:off x="5226390" y="2194212"/>
            <a:ext cx="256345" cy="207898"/>
          </a:xfrm>
          <a:custGeom>
            <a:avLst/>
            <a:gdLst>
              <a:gd name="T0" fmla="*/ 135 w 291"/>
              <a:gd name="T1" fmla="*/ 104 h 236"/>
              <a:gd name="T2" fmla="*/ 135 w 291"/>
              <a:gd name="T3" fmla="*/ 35 h 236"/>
              <a:gd name="T4" fmla="*/ 28 w 291"/>
              <a:gd name="T5" fmla="*/ 35 h 236"/>
              <a:gd name="T6" fmla="*/ 28 w 291"/>
              <a:gd name="T7" fmla="*/ 0 h 236"/>
              <a:gd name="T8" fmla="*/ 0 w 291"/>
              <a:gd name="T9" fmla="*/ 0 h 236"/>
              <a:gd name="T10" fmla="*/ 0 w 291"/>
              <a:gd name="T11" fmla="*/ 35 h 236"/>
              <a:gd name="T12" fmla="*/ 0 w 291"/>
              <a:gd name="T13" fmla="*/ 66 h 236"/>
              <a:gd name="T14" fmla="*/ 104 w 291"/>
              <a:gd name="T15" fmla="*/ 66 h 236"/>
              <a:gd name="T16" fmla="*/ 104 w 291"/>
              <a:gd name="T17" fmla="*/ 170 h 236"/>
              <a:gd name="T18" fmla="*/ 0 w 291"/>
              <a:gd name="T19" fmla="*/ 170 h 236"/>
              <a:gd name="T20" fmla="*/ 0 w 291"/>
              <a:gd name="T21" fmla="*/ 200 h 236"/>
              <a:gd name="T22" fmla="*/ 0 w 291"/>
              <a:gd name="T23" fmla="*/ 236 h 236"/>
              <a:gd name="T24" fmla="*/ 28 w 291"/>
              <a:gd name="T25" fmla="*/ 236 h 236"/>
              <a:gd name="T26" fmla="*/ 28 w 291"/>
              <a:gd name="T27" fmla="*/ 200 h 236"/>
              <a:gd name="T28" fmla="*/ 135 w 291"/>
              <a:gd name="T29" fmla="*/ 200 h 236"/>
              <a:gd name="T30" fmla="*/ 135 w 291"/>
              <a:gd name="T31" fmla="*/ 132 h 236"/>
              <a:gd name="T32" fmla="*/ 291 w 291"/>
              <a:gd name="T33" fmla="*/ 132 h 236"/>
              <a:gd name="T34" fmla="*/ 291 w 291"/>
              <a:gd name="T35" fmla="*/ 104 h 236"/>
              <a:gd name="T36" fmla="*/ 135 w 291"/>
              <a:gd name="T37" fmla="*/ 10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1" h="236">
                <a:moveTo>
                  <a:pt x="135" y="104"/>
                </a:moveTo>
                <a:lnTo>
                  <a:pt x="135" y="35"/>
                </a:lnTo>
                <a:lnTo>
                  <a:pt x="28" y="35"/>
                </a:lnTo>
                <a:lnTo>
                  <a:pt x="28" y="0"/>
                </a:lnTo>
                <a:lnTo>
                  <a:pt x="0" y="0"/>
                </a:lnTo>
                <a:lnTo>
                  <a:pt x="0" y="35"/>
                </a:lnTo>
                <a:lnTo>
                  <a:pt x="0" y="66"/>
                </a:lnTo>
                <a:lnTo>
                  <a:pt x="104" y="66"/>
                </a:lnTo>
                <a:lnTo>
                  <a:pt x="104" y="170"/>
                </a:lnTo>
                <a:lnTo>
                  <a:pt x="0" y="170"/>
                </a:lnTo>
                <a:lnTo>
                  <a:pt x="0" y="200"/>
                </a:lnTo>
                <a:lnTo>
                  <a:pt x="0" y="236"/>
                </a:lnTo>
                <a:lnTo>
                  <a:pt x="28" y="236"/>
                </a:lnTo>
                <a:lnTo>
                  <a:pt x="28" y="200"/>
                </a:lnTo>
                <a:lnTo>
                  <a:pt x="135" y="200"/>
                </a:lnTo>
                <a:lnTo>
                  <a:pt x="135" y="132"/>
                </a:lnTo>
                <a:lnTo>
                  <a:pt x="291" y="132"/>
                </a:lnTo>
                <a:lnTo>
                  <a:pt x="291" y="104"/>
                </a:lnTo>
                <a:lnTo>
                  <a:pt x="135" y="104"/>
                </a:lnTo>
                <a:close/>
              </a:path>
            </a:pathLst>
          </a:custGeom>
          <a:solidFill>
            <a:schemeClr val="bg2">
              <a:lumMod val="25000"/>
            </a:schemeClr>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28" name="Freeform 192">
            <a:extLst>
              <a:ext uri="{FF2B5EF4-FFF2-40B4-BE49-F238E27FC236}">
                <a16:creationId xmlns:a16="http://schemas.microsoft.com/office/drawing/2014/main" id="{707C5807-65C3-4AC4-BADF-60F5D752C2D7}"/>
              </a:ext>
            </a:extLst>
          </p:cNvPr>
          <p:cNvSpPr>
            <a:spLocks/>
          </p:cNvSpPr>
          <p:nvPr/>
        </p:nvSpPr>
        <p:spPr bwMode="auto">
          <a:xfrm rot="5400000" flipH="1">
            <a:off x="5260099" y="2122877"/>
            <a:ext cx="189665" cy="62961"/>
          </a:xfrm>
          <a:custGeom>
            <a:avLst/>
            <a:gdLst>
              <a:gd name="T0" fmla="*/ 196 w 241"/>
              <a:gd name="T1" fmla="*/ 80 h 80"/>
              <a:gd name="T2" fmla="*/ 0 w 241"/>
              <a:gd name="T3" fmla="*/ 80 h 80"/>
              <a:gd name="T4" fmla="*/ 0 w 241"/>
              <a:gd name="T5" fmla="*/ 0 h 80"/>
              <a:gd name="T6" fmla="*/ 196 w 241"/>
              <a:gd name="T7" fmla="*/ 0 h 80"/>
              <a:gd name="T8" fmla="*/ 241 w 241"/>
              <a:gd name="T9" fmla="*/ 40 h 80"/>
              <a:gd name="T10" fmla="*/ 196 w 241"/>
              <a:gd name="T11" fmla="*/ 80 h 80"/>
            </a:gdLst>
            <a:ahLst/>
            <a:cxnLst>
              <a:cxn ang="0">
                <a:pos x="T0" y="T1"/>
              </a:cxn>
              <a:cxn ang="0">
                <a:pos x="T2" y="T3"/>
              </a:cxn>
              <a:cxn ang="0">
                <a:pos x="T4" y="T5"/>
              </a:cxn>
              <a:cxn ang="0">
                <a:pos x="T6" y="T7"/>
              </a:cxn>
              <a:cxn ang="0">
                <a:pos x="T8" y="T9"/>
              </a:cxn>
              <a:cxn ang="0">
                <a:pos x="T10" y="T11"/>
              </a:cxn>
            </a:cxnLst>
            <a:rect l="0" t="0" r="r" b="b"/>
            <a:pathLst>
              <a:path w="241" h="80">
                <a:moveTo>
                  <a:pt x="196" y="80"/>
                </a:moveTo>
                <a:lnTo>
                  <a:pt x="0" y="80"/>
                </a:lnTo>
                <a:lnTo>
                  <a:pt x="0" y="0"/>
                </a:lnTo>
                <a:lnTo>
                  <a:pt x="196" y="0"/>
                </a:lnTo>
                <a:lnTo>
                  <a:pt x="241" y="40"/>
                </a:lnTo>
                <a:lnTo>
                  <a:pt x="196" y="80"/>
                </a:lnTo>
                <a:close/>
              </a:path>
            </a:pathLst>
          </a:custGeom>
          <a:solidFill>
            <a:srgbClr val="7C1E35"/>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31" name="Freeform 42">
            <a:extLst>
              <a:ext uri="{FF2B5EF4-FFF2-40B4-BE49-F238E27FC236}">
                <a16:creationId xmlns:a16="http://schemas.microsoft.com/office/drawing/2014/main" id="{9CB9B923-6BFB-4450-9BEE-37C4BFFC74B6}"/>
              </a:ext>
            </a:extLst>
          </p:cNvPr>
          <p:cNvSpPr>
            <a:spLocks/>
          </p:cNvSpPr>
          <p:nvPr/>
        </p:nvSpPr>
        <p:spPr bwMode="auto">
          <a:xfrm rot="5400000" flipH="1">
            <a:off x="5242024" y="1909607"/>
            <a:ext cx="225079" cy="96801"/>
          </a:xfrm>
          <a:custGeom>
            <a:avLst/>
            <a:gdLst>
              <a:gd name="T0" fmla="*/ 286 w 286"/>
              <a:gd name="T1" fmla="*/ 45 h 123"/>
              <a:gd name="T2" fmla="*/ 154 w 286"/>
              <a:gd name="T3" fmla="*/ 45 h 123"/>
              <a:gd name="T4" fmla="*/ 154 w 286"/>
              <a:gd name="T5" fmla="*/ 0 h 123"/>
              <a:gd name="T6" fmla="*/ 0 w 286"/>
              <a:gd name="T7" fmla="*/ 0 h 123"/>
              <a:gd name="T8" fmla="*/ 0 w 286"/>
              <a:gd name="T9" fmla="*/ 21 h 123"/>
              <a:gd name="T10" fmla="*/ 47 w 286"/>
              <a:gd name="T11" fmla="*/ 61 h 123"/>
              <a:gd name="T12" fmla="*/ 0 w 286"/>
              <a:gd name="T13" fmla="*/ 101 h 123"/>
              <a:gd name="T14" fmla="*/ 0 w 286"/>
              <a:gd name="T15" fmla="*/ 123 h 123"/>
              <a:gd name="T16" fmla="*/ 154 w 286"/>
              <a:gd name="T17" fmla="*/ 123 h 123"/>
              <a:gd name="T18" fmla="*/ 154 w 286"/>
              <a:gd name="T19" fmla="*/ 78 h 123"/>
              <a:gd name="T20" fmla="*/ 286 w 286"/>
              <a:gd name="T21" fmla="*/ 78 h 123"/>
              <a:gd name="T22" fmla="*/ 286 w 286"/>
              <a:gd name="T23" fmla="*/ 4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6" h="123">
                <a:moveTo>
                  <a:pt x="286" y="45"/>
                </a:moveTo>
                <a:lnTo>
                  <a:pt x="154" y="45"/>
                </a:lnTo>
                <a:lnTo>
                  <a:pt x="154" y="0"/>
                </a:lnTo>
                <a:lnTo>
                  <a:pt x="0" y="0"/>
                </a:lnTo>
                <a:lnTo>
                  <a:pt x="0" y="21"/>
                </a:lnTo>
                <a:lnTo>
                  <a:pt x="47" y="61"/>
                </a:lnTo>
                <a:lnTo>
                  <a:pt x="0" y="101"/>
                </a:lnTo>
                <a:lnTo>
                  <a:pt x="0" y="123"/>
                </a:lnTo>
                <a:lnTo>
                  <a:pt x="154" y="123"/>
                </a:lnTo>
                <a:lnTo>
                  <a:pt x="154" y="78"/>
                </a:lnTo>
                <a:lnTo>
                  <a:pt x="286" y="78"/>
                </a:lnTo>
                <a:lnTo>
                  <a:pt x="286" y="45"/>
                </a:lnTo>
                <a:close/>
              </a:path>
            </a:pathLst>
          </a:custGeom>
          <a:solidFill>
            <a:srgbClr val="477E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34" name="Freeform 53">
            <a:extLst>
              <a:ext uri="{FF2B5EF4-FFF2-40B4-BE49-F238E27FC236}">
                <a16:creationId xmlns:a16="http://schemas.microsoft.com/office/drawing/2014/main" id="{561360EF-7527-4BCE-9ED2-E042D247847B}"/>
              </a:ext>
            </a:extLst>
          </p:cNvPr>
          <p:cNvSpPr>
            <a:spLocks noChangeAspect="1"/>
          </p:cNvSpPr>
          <p:nvPr/>
        </p:nvSpPr>
        <p:spPr bwMode="auto">
          <a:xfrm flipH="1" flipV="1">
            <a:off x="6105760" y="2528387"/>
            <a:ext cx="256346" cy="207898"/>
          </a:xfrm>
          <a:custGeom>
            <a:avLst/>
            <a:gdLst>
              <a:gd name="T0" fmla="*/ 135 w 291"/>
              <a:gd name="T1" fmla="*/ 104 h 236"/>
              <a:gd name="T2" fmla="*/ 135 w 291"/>
              <a:gd name="T3" fmla="*/ 35 h 236"/>
              <a:gd name="T4" fmla="*/ 28 w 291"/>
              <a:gd name="T5" fmla="*/ 35 h 236"/>
              <a:gd name="T6" fmla="*/ 28 w 291"/>
              <a:gd name="T7" fmla="*/ 0 h 236"/>
              <a:gd name="T8" fmla="*/ 0 w 291"/>
              <a:gd name="T9" fmla="*/ 0 h 236"/>
              <a:gd name="T10" fmla="*/ 0 w 291"/>
              <a:gd name="T11" fmla="*/ 35 h 236"/>
              <a:gd name="T12" fmla="*/ 0 w 291"/>
              <a:gd name="T13" fmla="*/ 66 h 236"/>
              <a:gd name="T14" fmla="*/ 104 w 291"/>
              <a:gd name="T15" fmla="*/ 66 h 236"/>
              <a:gd name="T16" fmla="*/ 104 w 291"/>
              <a:gd name="T17" fmla="*/ 170 h 236"/>
              <a:gd name="T18" fmla="*/ 0 w 291"/>
              <a:gd name="T19" fmla="*/ 170 h 236"/>
              <a:gd name="T20" fmla="*/ 0 w 291"/>
              <a:gd name="T21" fmla="*/ 200 h 236"/>
              <a:gd name="T22" fmla="*/ 0 w 291"/>
              <a:gd name="T23" fmla="*/ 236 h 236"/>
              <a:gd name="T24" fmla="*/ 28 w 291"/>
              <a:gd name="T25" fmla="*/ 236 h 236"/>
              <a:gd name="T26" fmla="*/ 28 w 291"/>
              <a:gd name="T27" fmla="*/ 200 h 236"/>
              <a:gd name="T28" fmla="*/ 135 w 291"/>
              <a:gd name="T29" fmla="*/ 200 h 236"/>
              <a:gd name="T30" fmla="*/ 135 w 291"/>
              <a:gd name="T31" fmla="*/ 132 h 236"/>
              <a:gd name="T32" fmla="*/ 291 w 291"/>
              <a:gd name="T33" fmla="*/ 132 h 236"/>
              <a:gd name="T34" fmla="*/ 291 w 291"/>
              <a:gd name="T35" fmla="*/ 104 h 236"/>
              <a:gd name="T36" fmla="*/ 135 w 291"/>
              <a:gd name="T37" fmla="*/ 10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1" h="236">
                <a:moveTo>
                  <a:pt x="135" y="104"/>
                </a:moveTo>
                <a:lnTo>
                  <a:pt x="135" y="35"/>
                </a:lnTo>
                <a:lnTo>
                  <a:pt x="28" y="35"/>
                </a:lnTo>
                <a:lnTo>
                  <a:pt x="28" y="0"/>
                </a:lnTo>
                <a:lnTo>
                  <a:pt x="0" y="0"/>
                </a:lnTo>
                <a:lnTo>
                  <a:pt x="0" y="35"/>
                </a:lnTo>
                <a:lnTo>
                  <a:pt x="0" y="66"/>
                </a:lnTo>
                <a:lnTo>
                  <a:pt x="104" y="66"/>
                </a:lnTo>
                <a:lnTo>
                  <a:pt x="104" y="170"/>
                </a:lnTo>
                <a:lnTo>
                  <a:pt x="0" y="170"/>
                </a:lnTo>
                <a:lnTo>
                  <a:pt x="0" y="200"/>
                </a:lnTo>
                <a:lnTo>
                  <a:pt x="0" y="236"/>
                </a:lnTo>
                <a:lnTo>
                  <a:pt x="28" y="236"/>
                </a:lnTo>
                <a:lnTo>
                  <a:pt x="28" y="200"/>
                </a:lnTo>
                <a:lnTo>
                  <a:pt x="135" y="200"/>
                </a:lnTo>
                <a:lnTo>
                  <a:pt x="135" y="132"/>
                </a:lnTo>
                <a:lnTo>
                  <a:pt x="291" y="132"/>
                </a:lnTo>
                <a:lnTo>
                  <a:pt x="291" y="104"/>
                </a:lnTo>
                <a:lnTo>
                  <a:pt x="135" y="104"/>
                </a:lnTo>
                <a:close/>
              </a:path>
            </a:pathLst>
          </a:custGeom>
          <a:solidFill>
            <a:schemeClr val="bg2">
              <a:lumMod val="25000"/>
            </a:schemeClr>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35" name="Freeform 187">
            <a:extLst>
              <a:ext uri="{FF2B5EF4-FFF2-40B4-BE49-F238E27FC236}">
                <a16:creationId xmlns:a16="http://schemas.microsoft.com/office/drawing/2014/main" id="{5046869E-B6A4-42F8-B0C1-C4FA3C0FC202}"/>
              </a:ext>
            </a:extLst>
          </p:cNvPr>
          <p:cNvSpPr>
            <a:spLocks/>
          </p:cNvSpPr>
          <p:nvPr/>
        </p:nvSpPr>
        <p:spPr bwMode="auto">
          <a:xfrm rot="10800000" flipH="1">
            <a:off x="6282909" y="2601226"/>
            <a:ext cx="189665" cy="62961"/>
          </a:xfrm>
          <a:custGeom>
            <a:avLst/>
            <a:gdLst>
              <a:gd name="T0" fmla="*/ 196 w 241"/>
              <a:gd name="T1" fmla="*/ 80 h 80"/>
              <a:gd name="T2" fmla="*/ 0 w 241"/>
              <a:gd name="T3" fmla="*/ 80 h 80"/>
              <a:gd name="T4" fmla="*/ 0 w 241"/>
              <a:gd name="T5" fmla="*/ 0 h 80"/>
              <a:gd name="T6" fmla="*/ 196 w 241"/>
              <a:gd name="T7" fmla="*/ 0 h 80"/>
              <a:gd name="T8" fmla="*/ 241 w 241"/>
              <a:gd name="T9" fmla="*/ 40 h 80"/>
              <a:gd name="T10" fmla="*/ 196 w 241"/>
              <a:gd name="T11" fmla="*/ 80 h 80"/>
            </a:gdLst>
            <a:ahLst/>
            <a:cxnLst>
              <a:cxn ang="0">
                <a:pos x="T0" y="T1"/>
              </a:cxn>
              <a:cxn ang="0">
                <a:pos x="T2" y="T3"/>
              </a:cxn>
              <a:cxn ang="0">
                <a:pos x="T4" y="T5"/>
              </a:cxn>
              <a:cxn ang="0">
                <a:pos x="T6" y="T7"/>
              </a:cxn>
              <a:cxn ang="0">
                <a:pos x="T8" y="T9"/>
              </a:cxn>
              <a:cxn ang="0">
                <a:pos x="T10" y="T11"/>
              </a:cxn>
            </a:cxnLst>
            <a:rect l="0" t="0" r="r" b="b"/>
            <a:pathLst>
              <a:path w="241" h="80">
                <a:moveTo>
                  <a:pt x="196" y="80"/>
                </a:moveTo>
                <a:lnTo>
                  <a:pt x="0" y="80"/>
                </a:lnTo>
                <a:lnTo>
                  <a:pt x="0" y="0"/>
                </a:lnTo>
                <a:lnTo>
                  <a:pt x="196" y="0"/>
                </a:lnTo>
                <a:lnTo>
                  <a:pt x="241" y="40"/>
                </a:lnTo>
                <a:lnTo>
                  <a:pt x="196" y="80"/>
                </a:lnTo>
                <a:close/>
              </a:path>
            </a:pathLst>
          </a:custGeom>
          <a:solidFill>
            <a:srgbClr val="7C1E35"/>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36" name="Freeform 42">
            <a:extLst>
              <a:ext uri="{FF2B5EF4-FFF2-40B4-BE49-F238E27FC236}">
                <a16:creationId xmlns:a16="http://schemas.microsoft.com/office/drawing/2014/main" id="{3EC9F0F8-B692-4025-BAA6-677A600E89C7}"/>
              </a:ext>
            </a:extLst>
          </p:cNvPr>
          <p:cNvSpPr>
            <a:spLocks/>
          </p:cNvSpPr>
          <p:nvPr/>
        </p:nvSpPr>
        <p:spPr bwMode="auto">
          <a:xfrm rot="10800000" flipH="1">
            <a:off x="6461552" y="2583937"/>
            <a:ext cx="225079" cy="96801"/>
          </a:xfrm>
          <a:custGeom>
            <a:avLst/>
            <a:gdLst>
              <a:gd name="T0" fmla="*/ 286 w 286"/>
              <a:gd name="T1" fmla="*/ 45 h 123"/>
              <a:gd name="T2" fmla="*/ 154 w 286"/>
              <a:gd name="T3" fmla="*/ 45 h 123"/>
              <a:gd name="T4" fmla="*/ 154 w 286"/>
              <a:gd name="T5" fmla="*/ 0 h 123"/>
              <a:gd name="T6" fmla="*/ 0 w 286"/>
              <a:gd name="T7" fmla="*/ 0 h 123"/>
              <a:gd name="T8" fmla="*/ 0 w 286"/>
              <a:gd name="T9" fmla="*/ 21 h 123"/>
              <a:gd name="T10" fmla="*/ 47 w 286"/>
              <a:gd name="T11" fmla="*/ 61 h 123"/>
              <a:gd name="T12" fmla="*/ 0 w 286"/>
              <a:gd name="T13" fmla="*/ 101 h 123"/>
              <a:gd name="T14" fmla="*/ 0 w 286"/>
              <a:gd name="T15" fmla="*/ 123 h 123"/>
              <a:gd name="T16" fmla="*/ 154 w 286"/>
              <a:gd name="T17" fmla="*/ 123 h 123"/>
              <a:gd name="T18" fmla="*/ 154 w 286"/>
              <a:gd name="T19" fmla="*/ 78 h 123"/>
              <a:gd name="T20" fmla="*/ 286 w 286"/>
              <a:gd name="T21" fmla="*/ 78 h 123"/>
              <a:gd name="T22" fmla="*/ 286 w 286"/>
              <a:gd name="T23" fmla="*/ 4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6" h="123">
                <a:moveTo>
                  <a:pt x="286" y="45"/>
                </a:moveTo>
                <a:lnTo>
                  <a:pt x="154" y="45"/>
                </a:lnTo>
                <a:lnTo>
                  <a:pt x="154" y="0"/>
                </a:lnTo>
                <a:lnTo>
                  <a:pt x="0" y="0"/>
                </a:lnTo>
                <a:lnTo>
                  <a:pt x="0" y="21"/>
                </a:lnTo>
                <a:lnTo>
                  <a:pt x="47" y="61"/>
                </a:lnTo>
                <a:lnTo>
                  <a:pt x="0" y="101"/>
                </a:lnTo>
                <a:lnTo>
                  <a:pt x="0" y="123"/>
                </a:lnTo>
                <a:lnTo>
                  <a:pt x="154" y="123"/>
                </a:lnTo>
                <a:lnTo>
                  <a:pt x="154" y="78"/>
                </a:lnTo>
                <a:lnTo>
                  <a:pt x="286" y="78"/>
                </a:lnTo>
                <a:lnTo>
                  <a:pt x="286" y="45"/>
                </a:lnTo>
                <a:close/>
              </a:path>
            </a:pathLst>
          </a:custGeom>
          <a:solidFill>
            <a:srgbClr val="339966"/>
          </a:solidFill>
          <a:ln>
            <a:noFill/>
          </a:ln>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050" kern="0" dirty="0">
              <a:solidFill>
                <a:srgbClr val="404040"/>
              </a:solidFill>
              <a:latin typeface="Gene Sans Light"/>
              <a:cs typeface="Arial"/>
              <a:sym typeface="Arial"/>
            </a:endParaRPr>
          </a:p>
        </p:txBody>
      </p:sp>
      <p:sp>
        <p:nvSpPr>
          <p:cNvPr id="237" name="Rectangle 236">
            <a:extLst>
              <a:ext uri="{FF2B5EF4-FFF2-40B4-BE49-F238E27FC236}">
                <a16:creationId xmlns:a16="http://schemas.microsoft.com/office/drawing/2014/main" id="{93EF3F8D-C7BC-44FB-8005-BAA631675497}"/>
              </a:ext>
            </a:extLst>
          </p:cNvPr>
          <p:cNvSpPr/>
          <p:nvPr/>
        </p:nvSpPr>
        <p:spPr>
          <a:xfrm>
            <a:off x="3722901" y="2365656"/>
            <a:ext cx="1522518" cy="846175"/>
          </a:xfrm>
          <a:prstGeom prst="rect">
            <a:avLst/>
          </a:prstGeom>
          <a:noFill/>
          <a:ln w="12700">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9" tIns="34289" rIns="68579" bIns="34289" numCol="1" spcCol="0" rtlCol="0" fromWordArt="0" anchor="ctr" anchorCtr="0" forceAA="0" compatLnSpc="1">
            <a:prstTxWarp prst="textNoShape">
              <a:avLst/>
            </a:prstTxWarp>
            <a:noAutofit/>
          </a:bodyPr>
          <a:lstStyle/>
          <a:p>
            <a:pPr algn="ctr" defTabSz="685766">
              <a:buClr>
                <a:srgbClr val="000000"/>
              </a:buClr>
              <a:defRPr/>
            </a:pPr>
            <a:endParaRPr lang="en-US" sz="1050" kern="0" dirty="0">
              <a:solidFill>
                <a:srgbClr val="404040"/>
              </a:solidFill>
              <a:latin typeface="Gene Sans Light"/>
              <a:sym typeface="Arial"/>
            </a:endParaRPr>
          </a:p>
        </p:txBody>
      </p:sp>
      <p:sp>
        <p:nvSpPr>
          <p:cNvPr id="240" name="Rectangle 239">
            <a:extLst>
              <a:ext uri="{FF2B5EF4-FFF2-40B4-BE49-F238E27FC236}">
                <a16:creationId xmlns:a16="http://schemas.microsoft.com/office/drawing/2014/main" id="{20378757-3390-456D-B2E0-68A06C149883}"/>
              </a:ext>
            </a:extLst>
          </p:cNvPr>
          <p:cNvSpPr/>
          <p:nvPr/>
        </p:nvSpPr>
        <p:spPr>
          <a:xfrm>
            <a:off x="4553086" y="3271171"/>
            <a:ext cx="1479864" cy="1149443"/>
          </a:xfrm>
          <a:prstGeom prst="rect">
            <a:avLst/>
          </a:prstGeom>
          <a:noFill/>
          <a:ln w="12700">
            <a:solidFill>
              <a:schemeClr val="accent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79" tIns="34289" rIns="68579" bIns="34289" numCol="1" spcCol="0" rtlCol="0" fromWordArt="0" anchor="ctr" anchorCtr="0" forceAA="0" compatLnSpc="1">
            <a:prstTxWarp prst="textNoShape">
              <a:avLst/>
            </a:prstTxWarp>
            <a:noAutofit/>
          </a:bodyPr>
          <a:lstStyle/>
          <a:p>
            <a:pPr algn="ctr" defTabSz="685766">
              <a:buClr>
                <a:srgbClr val="000000"/>
              </a:buClr>
              <a:defRPr/>
            </a:pPr>
            <a:endParaRPr lang="en-US" sz="1050" kern="0" dirty="0">
              <a:solidFill>
                <a:srgbClr val="404040"/>
              </a:solidFill>
              <a:latin typeface="Gene Sans Light"/>
              <a:sym typeface="Arial"/>
            </a:endParaRPr>
          </a:p>
        </p:txBody>
      </p:sp>
      <p:cxnSp>
        <p:nvCxnSpPr>
          <p:cNvPr id="243" name="Straight Connector 242">
            <a:extLst>
              <a:ext uri="{FF2B5EF4-FFF2-40B4-BE49-F238E27FC236}">
                <a16:creationId xmlns:a16="http://schemas.microsoft.com/office/drawing/2014/main" id="{D3DFD2F5-8645-46FA-B19E-48B84B64305D}"/>
              </a:ext>
            </a:extLst>
          </p:cNvPr>
          <p:cNvCxnSpPr/>
          <p:nvPr/>
        </p:nvCxnSpPr>
        <p:spPr>
          <a:xfrm rot="2646801">
            <a:off x="6095184" y="3307524"/>
            <a:ext cx="423331"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F955BD15-2DA8-4A17-8612-640AB9969FC0}"/>
              </a:ext>
            </a:extLst>
          </p:cNvPr>
          <p:cNvCxnSpPr/>
          <p:nvPr/>
        </p:nvCxnSpPr>
        <p:spPr>
          <a:xfrm rot="2646801" flipV="1">
            <a:off x="6154879" y="3089625"/>
            <a:ext cx="0" cy="141126"/>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34DA36E1-60CB-4851-A5F3-40DD98C2EE3C}"/>
              </a:ext>
            </a:extLst>
          </p:cNvPr>
          <p:cNvCxnSpPr/>
          <p:nvPr/>
        </p:nvCxnSpPr>
        <p:spPr>
          <a:xfrm flipH="1" flipV="1">
            <a:off x="5945376" y="1744920"/>
            <a:ext cx="177456" cy="6898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pic>
        <p:nvPicPr>
          <p:cNvPr id="252" name="Picture 251">
            <a:extLst>
              <a:ext uri="{FF2B5EF4-FFF2-40B4-BE49-F238E27FC236}">
                <a16:creationId xmlns:a16="http://schemas.microsoft.com/office/drawing/2014/main" id="{87CF9A3B-1B90-4AAA-84F8-90B35574F54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9072"/>
          <a:stretch/>
        </p:blipFill>
        <p:spPr>
          <a:xfrm>
            <a:off x="4154381" y="2418468"/>
            <a:ext cx="679849" cy="649573"/>
          </a:xfrm>
          <a:prstGeom prst="rect">
            <a:avLst/>
          </a:prstGeom>
          <a:effectLst/>
        </p:spPr>
      </p:pic>
      <p:pic>
        <p:nvPicPr>
          <p:cNvPr id="253" name="Picture 252">
            <a:extLst>
              <a:ext uri="{FF2B5EF4-FFF2-40B4-BE49-F238E27FC236}">
                <a16:creationId xmlns:a16="http://schemas.microsoft.com/office/drawing/2014/main" id="{28A124DA-D520-44B5-AC91-C6FB42A6B3B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43885" y="1744919"/>
            <a:ext cx="165273" cy="163281"/>
          </a:xfrm>
          <a:prstGeom prst="rect">
            <a:avLst/>
          </a:prstGeom>
        </p:spPr>
      </p:pic>
      <p:pic>
        <p:nvPicPr>
          <p:cNvPr id="255" name="Picture 254">
            <a:extLst>
              <a:ext uri="{FF2B5EF4-FFF2-40B4-BE49-F238E27FC236}">
                <a16:creationId xmlns:a16="http://schemas.microsoft.com/office/drawing/2014/main" id="{135E2E00-55C3-4C03-9994-45BB9788DEE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60168" y="1368530"/>
            <a:ext cx="758659" cy="661089"/>
          </a:xfrm>
          <a:prstGeom prst="rect">
            <a:avLst/>
          </a:prstGeom>
          <a:effectLst/>
        </p:spPr>
      </p:pic>
      <p:sp>
        <p:nvSpPr>
          <p:cNvPr id="256" name="TextBox 255">
            <a:extLst>
              <a:ext uri="{FF2B5EF4-FFF2-40B4-BE49-F238E27FC236}">
                <a16:creationId xmlns:a16="http://schemas.microsoft.com/office/drawing/2014/main" id="{C20D914F-9084-4A53-9284-848EFE284324}"/>
              </a:ext>
            </a:extLst>
          </p:cNvPr>
          <p:cNvSpPr txBox="1"/>
          <p:nvPr/>
        </p:nvSpPr>
        <p:spPr>
          <a:xfrm>
            <a:off x="5624073" y="1509986"/>
            <a:ext cx="370933" cy="276997"/>
          </a:xfrm>
          <a:prstGeom prst="rect">
            <a:avLst/>
          </a:prstGeom>
          <a:noFill/>
        </p:spPr>
        <p:txBody>
          <a:bodyPr wrap="none" lIns="68579" tIns="34289" rIns="68579" bIns="34289" rtlCol="0">
            <a:spAutoFit/>
          </a:bodyPr>
          <a:lstStyle/>
          <a:p>
            <a:pPr algn="ctr" defTabSz="685766">
              <a:buClr>
                <a:srgbClr val="000000"/>
              </a:buClr>
              <a:defRPr/>
            </a:pPr>
            <a:r>
              <a:rPr lang="en-US" sz="675" kern="0" dirty="0">
                <a:solidFill>
                  <a:srgbClr val="545859"/>
                </a:solidFill>
                <a:latin typeface="Gene Sans Light"/>
                <a:cs typeface="Arial" pitchFamily="34" charset="0"/>
                <a:sym typeface="Arial"/>
              </a:rPr>
              <a:t>Tumor</a:t>
            </a:r>
            <a:br>
              <a:rPr lang="en-US" sz="675" kern="0" dirty="0">
                <a:solidFill>
                  <a:srgbClr val="545859"/>
                </a:solidFill>
                <a:latin typeface="Gene Sans Light"/>
                <a:cs typeface="Arial" pitchFamily="34" charset="0"/>
                <a:sym typeface="Arial"/>
              </a:rPr>
            </a:br>
            <a:r>
              <a:rPr lang="en-US" sz="675" kern="0" dirty="0">
                <a:solidFill>
                  <a:srgbClr val="545859"/>
                </a:solidFill>
                <a:latin typeface="Gene Sans Light"/>
                <a:cs typeface="Arial" pitchFamily="34" charset="0"/>
                <a:sym typeface="Arial"/>
              </a:rPr>
              <a:t>cell</a:t>
            </a:r>
          </a:p>
        </p:txBody>
      </p:sp>
      <p:sp>
        <p:nvSpPr>
          <p:cNvPr id="257" name="TextBox 256">
            <a:extLst>
              <a:ext uri="{FF2B5EF4-FFF2-40B4-BE49-F238E27FC236}">
                <a16:creationId xmlns:a16="http://schemas.microsoft.com/office/drawing/2014/main" id="{D655CC85-7B96-49A6-BC1A-16135A7681FE}"/>
              </a:ext>
            </a:extLst>
          </p:cNvPr>
          <p:cNvSpPr txBox="1"/>
          <p:nvPr/>
        </p:nvSpPr>
        <p:spPr>
          <a:xfrm>
            <a:off x="4127470" y="2418468"/>
            <a:ext cx="723840" cy="207749"/>
          </a:xfrm>
          <a:prstGeom prst="rect">
            <a:avLst/>
          </a:prstGeom>
          <a:noFill/>
        </p:spPr>
        <p:txBody>
          <a:bodyPr wrap="square" lIns="0" tIns="0" rIns="0" bIns="0" rtlCol="0">
            <a:spAutoFit/>
          </a:bodyPr>
          <a:lstStyle/>
          <a:p>
            <a:pPr algn="ctr" defTabSz="685766">
              <a:buClr>
                <a:srgbClr val="000000"/>
              </a:buClr>
              <a:defRPr/>
            </a:pPr>
            <a:r>
              <a:rPr lang="en-US" sz="675" kern="0" dirty="0">
                <a:solidFill>
                  <a:srgbClr val="545859"/>
                </a:solidFill>
                <a:latin typeface="Gene Sans Light"/>
                <a:cs typeface="Arial" pitchFamily="34" charset="0"/>
                <a:sym typeface="Arial"/>
              </a:rPr>
              <a:t>Tumor-associated</a:t>
            </a:r>
          </a:p>
          <a:p>
            <a:pPr algn="ctr" defTabSz="685766">
              <a:buClr>
                <a:srgbClr val="000000"/>
              </a:buClr>
              <a:defRPr/>
            </a:pPr>
            <a:r>
              <a:rPr lang="en-US" sz="675" kern="0">
                <a:solidFill>
                  <a:srgbClr val="545859"/>
                </a:solidFill>
                <a:latin typeface="Gene Sans Light"/>
                <a:cs typeface="Arial" pitchFamily="34" charset="0"/>
                <a:sym typeface="Arial"/>
              </a:rPr>
              <a:t>fibroblast</a:t>
            </a:r>
            <a:endParaRPr lang="en-US" sz="675" kern="0" dirty="0">
              <a:solidFill>
                <a:srgbClr val="545859"/>
              </a:solidFill>
              <a:latin typeface="Gene Sans Light"/>
              <a:cs typeface="Arial" pitchFamily="34" charset="0"/>
              <a:sym typeface="Arial"/>
            </a:endParaRPr>
          </a:p>
        </p:txBody>
      </p:sp>
      <p:sp>
        <p:nvSpPr>
          <p:cNvPr id="259" name="TextBox 258">
            <a:extLst>
              <a:ext uri="{FF2B5EF4-FFF2-40B4-BE49-F238E27FC236}">
                <a16:creationId xmlns:a16="http://schemas.microsoft.com/office/drawing/2014/main" id="{71099006-6D4F-4747-837C-3526C77D32BD}"/>
              </a:ext>
            </a:extLst>
          </p:cNvPr>
          <p:cNvSpPr txBox="1"/>
          <p:nvPr/>
        </p:nvSpPr>
        <p:spPr>
          <a:xfrm>
            <a:off x="5931664" y="1871609"/>
            <a:ext cx="380551" cy="173122"/>
          </a:xfrm>
          <a:prstGeom prst="rect">
            <a:avLst/>
          </a:prstGeom>
          <a:noFill/>
        </p:spPr>
        <p:txBody>
          <a:bodyPr wrap="none" lIns="68579" tIns="34289" rIns="68579" bIns="34289" rtlCol="0">
            <a:spAutoFit/>
          </a:bodyPr>
          <a:lstStyle/>
          <a:p>
            <a:pPr algn="ctr" defTabSz="685766">
              <a:buClr>
                <a:srgbClr val="000000"/>
              </a:buClr>
              <a:defRPr/>
            </a:pPr>
            <a:r>
              <a:rPr lang="en-US" sz="675" kern="0" dirty="0">
                <a:solidFill>
                  <a:srgbClr val="545859"/>
                </a:solidFill>
                <a:latin typeface="Gene Sans Light"/>
                <a:cs typeface="Arial" pitchFamily="34" charset="0"/>
                <a:sym typeface="Arial"/>
              </a:rPr>
              <a:t>IFN-</a:t>
            </a:r>
            <a:r>
              <a:rPr lang="en-US" sz="675" kern="0" dirty="0">
                <a:solidFill>
                  <a:srgbClr val="545859"/>
                </a:solidFill>
                <a:latin typeface="Gene Sans Light"/>
                <a:cs typeface="Arial" pitchFamily="34" charset="0"/>
                <a:sym typeface="Symbol"/>
              </a:rPr>
              <a:t>R</a:t>
            </a:r>
            <a:endParaRPr lang="en-US" sz="675" kern="0" dirty="0">
              <a:solidFill>
                <a:srgbClr val="545859"/>
              </a:solidFill>
              <a:latin typeface="Gene Sans Light"/>
              <a:cs typeface="Arial" pitchFamily="34" charset="0"/>
              <a:sym typeface="Arial"/>
            </a:endParaRPr>
          </a:p>
        </p:txBody>
      </p:sp>
      <p:sp>
        <p:nvSpPr>
          <p:cNvPr id="260" name="TextBox 259">
            <a:extLst>
              <a:ext uri="{FF2B5EF4-FFF2-40B4-BE49-F238E27FC236}">
                <a16:creationId xmlns:a16="http://schemas.microsoft.com/office/drawing/2014/main" id="{AC18EBE6-1B7C-4938-8B2A-AA1C169D136F}"/>
              </a:ext>
            </a:extLst>
          </p:cNvPr>
          <p:cNvSpPr txBox="1"/>
          <p:nvPr/>
        </p:nvSpPr>
        <p:spPr>
          <a:xfrm>
            <a:off x="6991162" y="2235762"/>
            <a:ext cx="346249" cy="207749"/>
          </a:xfrm>
          <a:prstGeom prst="rect">
            <a:avLst/>
          </a:prstGeom>
          <a:noFill/>
        </p:spPr>
        <p:txBody>
          <a:bodyPr wrap="none" lIns="0" tIns="0" rIns="0" bIns="0" rtlCol="0">
            <a:spAutoFit/>
          </a:bodyPr>
          <a:lstStyle/>
          <a:p>
            <a:pPr algn="ctr" defTabSz="685766">
              <a:buClr>
                <a:srgbClr val="000000"/>
              </a:buClr>
              <a:defRPr/>
            </a:pPr>
            <a:r>
              <a:rPr lang="en-US" sz="675" kern="0" dirty="0">
                <a:solidFill>
                  <a:srgbClr val="545859"/>
                </a:solidFill>
                <a:latin typeface="Gene Sans Light"/>
                <a:cs typeface="Arial" pitchFamily="34" charset="0"/>
                <a:sym typeface="Arial"/>
              </a:rPr>
              <a:t>Dendritic</a:t>
            </a:r>
          </a:p>
          <a:p>
            <a:pPr algn="ctr" defTabSz="685766">
              <a:buClr>
                <a:srgbClr val="000000"/>
              </a:buClr>
              <a:defRPr/>
            </a:pPr>
            <a:r>
              <a:rPr lang="en-US" sz="675" kern="0" dirty="0">
                <a:solidFill>
                  <a:srgbClr val="545859"/>
                </a:solidFill>
                <a:latin typeface="Gene Sans Light"/>
                <a:cs typeface="Arial" pitchFamily="34" charset="0"/>
                <a:sym typeface="Arial"/>
              </a:rPr>
              <a:t>cell</a:t>
            </a:r>
          </a:p>
        </p:txBody>
      </p:sp>
      <p:sp>
        <p:nvSpPr>
          <p:cNvPr id="261" name="Rectangle 260">
            <a:extLst>
              <a:ext uri="{FF2B5EF4-FFF2-40B4-BE49-F238E27FC236}">
                <a16:creationId xmlns:a16="http://schemas.microsoft.com/office/drawing/2014/main" id="{DA2C5798-D660-44DB-B950-BEE1C6B3C868}"/>
              </a:ext>
            </a:extLst>
          </p:cNvPr>
          <p:cNvSpPr/>
          <p:nvPr/>
        </p:nvSpPr>
        <p:spPr>
          <a:xfrm>
            <a:off x="3752586" y="2878225"/>
            <a:ext cx="1276297" cy="346247"/>
          </a:xfrm>
          <a:prstGeom prst="rect">
            <a:avLst/>
          </a:prstGeom>
          <a:noFill/>
          <a:ln>
            <a:noFill/>
          </a:ln>
          <a:effectLst/>
          <a:scene3d>
            <a:camera prst="orthographicFront"/>
            <a:lightRig rig="threePt" dir="t"/>
          </a:scene3d>
          <a:sp3d>
            <a:bevelT/>
          </a:sp3d>
        </p:spPr>
        <p:txBody>
          <a:bodyPr wrap="square" lIns="26999" tIns="34289" rIns="26999" bIns="34289">
            <a:spAutoFit/>
          </a:bodyPr>
          <a:lstStyle/>
          <a:p>
            <a:pPr marL="128582" indent="-128582" defTabSz="685766">
              <a:spcAft>
                <a:spcPts val="450"/>
              </a:spcAft>
              <a:buClr>
                <a:srgbClr val="545859"/>
              </a:buClr>
              <a:buFont typeface="Arial" panose="020B0604020202020204" pitchFamily="34" charset="0"/>
              <a:buChar char="•"/>
              <a:defRPr/>
            </a:pPr>
            <a:r>
              <a:rPr lang="en-US" sz="900" kern="0" dirty="0">
                <a:solidFill>
                  <a:srgbClr val="545859"/>
                </a:solidFill>
                <a:latin typeface="Gene Sans Light"/>
                <a:cs typeface="Arial" pitchFamily="34" charset="0"/>
                <a:sym typeface="Arial"/>
              </a:rPr>
              <a:t>Stromal PD-L1 modulation of T cells</a:t>
            </a:r>
          </a:p>
        </p:txBody>
      </p:sp>
      <p:sp>
        <p:nvSpPr>
          <p:cNvPr id="262" name="Rectangle 261">
            <a:extLst>
              <a:ext uri="{FF2B5EF4-FFF2-40B4-BE49-F238E27FC236}">
                <a16:creationId xmlns:a16="http://schemas.microsoft.com/office/drawing/2014/main" id="{A4AD8A54-48C2-49AB-8614-3A11AE0B1F70}"/>
              </a:ext>
            </a:extLst>
          </p:cNvPr>
          <p:cNvSpPr/>
          <p:nvPr/>
        </p:nvSpPr>
        <p:spPr>
          <a:xfrm>
            <a:off x="4617253" y="4074367"/>
            <a:ext cx="1372181" cy="346247"/>
          </a:xfrm>
          <a:prstGeom prst="rect">
            <a:avLst/>
          </a:prstGeom>
          <a:noFill/>
          <a:ln>
            <a:noFill/>
          </a:ln>
          <a:effectLst/>
          <a:scene3d>
            <a:camera prst="orthographicFront"/>
            <a:lightRig rig="threePt" dir="t"/>
          </a:scene3d>
          <a:sp3d>
            <a:bevelT/>
          </a:sp3d>
        </p:spPr>
        <p:txBody>
          <a:bodyPr wrap="square" lIns="26999" tIns="34289" rIns="26999" bIns="34289">
            <a:spAutoFit/>
          </a:bodyPr>
          <a:lstStyle/>
          <a:p>
            <a:pPr marL="128582" indent="-128582" defTabSz="685766">
              <a:spcAft>
                <a:spcPts val="450"/>
              </a:spcAft>
              <a:buClr>
                <a:srgbClr val="545859"/>
              </a:buClr>
              <a:buFont typeface="Arial" panose="020B0604020202020204" pitchFamily="34" charset="0"/>
              <a:buChar char="•"/>
              <a:defRPr/>
            </a:pPr>
            <a:r>
              <a:rPr lang="en-US" sz="900" kern="0">
                <a:solidFill>
                  <a:srgbClr val="545859"/>
                </a:solidFill>
                <a:latin typeface="Gene Sans Light"/>
                <a:cs typeface="Arial" pitchFamily="34" charset="0"/>
                <a:sym typeface="Arial"/>
              </a:rPr>
              <a:t>PD-L2/PD-1–mediated inhibition </a:t>
            </a:r>
            <a:r>
              <a:rPr lang="en-US" sz="900" kern="0" dirty="0">
                <a:solidFill>
                  <a:srgbClr val="545859"/>
                </a:solidFill>
                <a:latin typeface="Gene Sans Light"/>
                <a:cs typeface="Arial" pitchFamily="34" charset="0"/>
                <a:sym typeface="Arial"/>
              </a:rPr>
              <a:t>of T</a:t>
            </a:r>
            <a:r>
              <a:rPr lang="en-US" sz="900" kern="0" baseline="-25000" dirty="0">
                <a:solidFill>
                  <a:srgbClr val="545859"/>
                </a:solidFill>
                <a:latin typeface="Gene Sans Light"/>
                <a:cs typeface="Arial" pitchFamily="34" charset="0"/>
                <a:sym typeface="Arial"/>
              </a:rPr>
              <a:t>h</a:t>
            </a:r>
            <a:r>
              <a:rPr lang="en-US" sz="900" kern="0" dirty="0">
                <a:solidFill>
                  <a:srgbClr val="545859"/>
                </a:solidFill>
                <a:latin typeface="Gene Sans Light"/>
                <a:cs typeface="Arial" pitchFamily="34" charset="0"/>
                <a:sym typeface="Arial"/>
              </a:rPr>
              <a:t>2 T cells</a:t>
            </a:r>
          </a:p>
        </p:txBody>
      </p:sp>
      <p:cxnSp>
        <p:nvCxnSpPr>
          <p:cNvPr id="263" name="Straight Connector 262">
            <a:extLst>
              <a:ext uri="{FF2B5EF4-FFF2-40B4-BE49-F238E27FC236}">
                <a16:creationId xmlns:a16="http://schemas.microsoft.com/office/drawing/2014/main" id="{D8867D1B-8738-4C96-AE27-3FDA0E031C3F}"/>
              </a:ext>
            </a:extLst>
          </p:cNvPr>
          <p:cNvCxnSpPr/>
          <p:nvPr/>
        </p:nvCxnSpPr>
        <p:spPr>
          <a:xfrm rot="5400000">
            <a:off x="5642295" y="3488112"/>
            <a:ext cx="211666" cy="0"/>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6E16D4F3-FE13-409F-BED0-0669E5A0CFD3}"/>
              </a:ext>
            </a:extLst>
          </p:cNvPr>
          <p:cNvCxnSpPr/>
          <p:nvPr/>
        </p:nvCxnSpPr>
        <p:spPr>
          <a:xfrm rot="5400000" flipV="1">
            <a:off x="5748128" y="3311716"/>
            <a:ext cx="0" cy="141126"/>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pic>
        <p:nvPicPr>
          <p:cNvPr id="268" name="Picture 267">
            <a:extLst>
              <a:ext uri="{FF2B5EF4-FFF2-40B4-BE49-F238E27FC236}">
                <a16:creationId xmlns:a16="http://schemas.microsoft.com/office/drawing/2014/main" id="{00B17E00-B973-468D-9F70-C56FBABACC7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22935" y="3600201"/>
            <a:ext cx="517405" cy="517405"/>
          </a:xfrm>
          <a:prstGeom prst="rect">
            <a:avLst/>
          </a:prstGeom>
          <a:effectLst/>
        </p:spPr>
      </p:pic>
      <p:sp>
        <p:nvSpPr>
          <p:cNvPr id="269" name="TextBox 268">
            <a:extLst>
              <a:ext uri="{FF2B5EF4-FFF2-40B4-BE49-F238E27FC236}">
                <a16:creationId xmlns:a16="http://schemas.microsoft.com/office/drawing/2014/main" id="{81813CB8-1BE1-4414-9D42-3F96E8A63BA1}"/>
              </a:ext>
            </a:extLst>
          </p:cNvPr>
          <p:cNvSpPr txBox="1"/>
          <p:nvPr/>
        </p:nvSpPr>
        <p:spPr>
          <a:xfrm>
            <a:off x="5611209" y="3742463"/>
            <a:ext cx="334064" cy="276997"/>
          </a:xfrm>
          <a:prstGeom prst="rect">
            <a:avLst/>
          </a:prstGeom>
          <a:noFill/>
          <a:effectLst/>
        </p:spPr>
        <p:txBody>
          <a:bodyPr wrap="none" lIns="68579" tIns="34289" rIns="68579" bIns="34289" rtlCol="0">
            <a:spAutoFit/>
          </a:bodyPr>
          <a:lstStyle/>
          <a:p>
            <a:pPr algn="ctr" defTabSz="685766">
              <a:buClr>
                <a:srgbClr val="000000"/>
              </a:buClr>
              <a:defRPr/>
            </a:pPr>
            <a:r>
              <a:rPr lang="en-US" sz="675" kern="0" dirty="0">
                <a:solidFill>
                  <a:srgbClr val="545859"/>
                </a:solidFill>
                <a:latin typeface="Gene Sans Light"/>
                <a:cs typeface="Arial" pitchFamily="34" charset="0"/>
                <a:sym typeface="Arial"/>
              </a:rPr>
              <a:t>T</a:t>
            </a:r>
            <a:r>
              <a:rPr lang="en-US" sz="675" kern="0" baseline="-25000" dirty="0">
                <a:solidFill>
                  <a:srgbClr val="545859"/>
                </a:solidFill>
                <a:latin typeface="Gene Sans Light"/>
                <a:cs typeface="Arial" pitchFamily="34" charset="0"/>
                <a:sym typeface="Arial"/>
              </a:rPr>
              <a:t>h</a:t>
            </a:r>
            <a:r>
              <a:rPr lang="en-US" sz="675" kern="0" dirty="0">
                <a:solidFill>
                  <a:srgbClr val="545859"/>
                </a:solidFill>
                <a:latin typeface="Gene Sans Light"/>
                <a:cs typeface="Arial" pitchFamily="34" charset="0"/>
                <a:sym typeface="Arial"/>
              </a:rPr>
              <a:t>2</a:t>
            </a:r>
          </a:p>
          <a:p>
            <a:pPr algn="ctr" defTabSz="685766">
              <a:buClr>
                <a:srgbClr val="000000"/>
              </a:buClr>
              <a:defRPr/>
            </a:pPr>
            <a:r>
              <a:rPr lang="en-US" sz="675" kern="0" dirty="0">
                <a:solidFill>
                  <a:srgbClr val="545859"/>
                </a:solidFill>
                <a:latin typeface="Gene Sans Light"/>
                <a:cs typeface="Arial" pitchFamily="34" charset="0"/>
                <a:sym typeface="Arial"/>
              </a:rPr>
              <a:t>T cell</a:t>
            </a:r>
          </a:p>
        </p:txBody>
      </p:sp>
      <p:pic>
        <p:nvPicPr>
          <p:cNvPr id="273" name="Picture 272">
            <a:extLst>
              <a:ext uri="{FF2B5EF4-FFF2-40B4-BE49-F238E27FC236}">
                <a16:creationId xmlns:a16="http://schemas.microsoft.com/office/drawing/2014/main" id="{7203DBF3-744E-428C-9048-B37A8C92E2B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0792" y="3441607"/>
            <a:ext cx="517405" cy="517405"/>
          </a:xfrm>
          <a:prstGeom prst="rect">
            <a:avLst/>
          </a:prstGeom>
          <a:effectLst/>
        </p:spPr>
      </p:pic>
      <p:sp>
        <p:nvSpPr>
          <p:cNvPr id="274" name="TextBox 273">
            <a:extLst>
              <a:ext uri="{FF2B5EF4-FFF2-40B4-BE49-F238E27FC236}">
                <a16:creationId xmlns:a16="http://schemas.microsoft.com/office/drawing/2014/main" id="{99785447-2616-4E0D-B79A-0022E0769E30}"/>
              </a:ext>
            </a:extLst>
          </p:cNvPr>
          <p:cNvSpPr txBox="1"/>
          <p:nvPr/>
        </p:nvSpPr>
        <p:spPr>
          <a:xfrm>
            <a:off x="6419212" y="3566717"/>
            <a:ext cx="268341" cy="276997"/>
          </a:xfrm>
          <a:prstGeom prst="rect">
            <a:avLst/>
          </a:prstGeom>
          <a:noFill/>
        </p:spPr>
        <p:txBody>
          <a:bodyPr wrap="none" lIns="68579" tIns="34289" rIns="68579" bIns="34289" rtlCol="0">
            <a:spAutoFit/>
          </a:bodyPr>
          <a:lstStyle/>
          <a:p>
            <a:pPr algn="ctr" defTabSz="685766">
              <a:buClr>
                <a:srgbClr val="000000"/>
              </a:buClr>
              <a:defRPr/>
            </a:pPr>
            <a:r>
              <a:rPr lang="en-US" sz="675" kern="0" dirty="0">
                <a:solidFill>
                  <a:srgbClr val="545859"/>
                </a:solidFill>
                <a:latin typeface="Gene Sans Light"/>
                <a:cs typeface="Arial" pitchFamily="34" charset="0"/>
                <a:sym typeface="Arial"/>
              </a:rPr>
              <a:t>T</a:t>
            </a:r>
            <a:r>
              <a:rPr lang="en-US" sz="675" kern="0" baseline="-25000" dirty="0">
                <a:solidFill>
                  <a:srgbClr val="545859"/>
                </a:solidFill>
                <a:latin typeface="Gene Sans Light"/>
                <a:cs typeface="Arial" pitchFamily="34" charset="0"/>
                <a:sym typeface="Arial"/>
              </a:rPr>
              <a:t>reg</a:t>
            </a:r>
            <a:endParaRPr lang="en-US" sz="675" kern="0" dirty="0">
              <a:solidFill>
                <a:srgbClr val="545859"/>
              </a:solidFill>
              <a:latin typeface="Gene Sans Light"/>
              <a:cs typeface="Arial" pitchFamily="34" charset="0"/>
              <a:sym typeface="Arial"/>
            </a:endParaRPr>
          </a:p>
          <a:p>
            <a:pPr algn="ctr" defTabSz="685766">
              <a:buClr>
                <a:srgbClr val="000000"/>
              </a:buClr>
              <a:defRPr/>
            </a:pPr>
            <a:r>
              <a:rPr lang="en-US" sz="675" kern="0" dirty="0">
                <a:solidFill>
                  <a:srgbClr val="545859"/>
                </a:solidFill>
                <a:latin typeface="Gene Sans Light"/>
                <a:cs typeface="Arial" pitchFamily="34" charset="0"/>
                <a:sym typeface="Arial"/>
              </a:rPr>
              <a:t>cell</a:t>
            </a:r>
          </a:p>
        </p:txBody>
      </p:sp>
      <p:sp>
        <p:nvSpPr>
          <p:cNvPr id="275" name="Rectangle 274">
            <a:extLst>
              <a:ext uri="{FF2B5EF4-FFF2-40B4-BE49-F238E27FC236}">
                <a16:creationId xmlns:a16="http://schemas.microsoft.com/office/drawing/2014/main" id="{E091F1C3-B1DE-4917-A2A4-3CD3FB58B725}"/>
              </a:ext>
            </a:extLst>
          </p:cNvPr>
          <p:cNvSpPr/>
          <p:nvPr/>
        </p:nvSpPr>
        <p:spPr>
          <a:xfrm>
            <a:off x="7009322" y="3382280"/>
            <a:ext cx="1655026" cy="900244"/>
          </a:xfrm>
          <a:prstGeom prst="rect">
            <a:avLst/>
          </a:prstGeom>
        </p:spPr>
        <p:txBody>
          <a:bodyPr wrap="square" lIns="26999" tIns="34289" rIns="26999" bIns="34289">
            <a:spAutoFit/>
          </a:bodyPr>
          <a:lstStyle/>
          <a:p>
            <a:pPr marL="128582" indent="-128582" defTabSz="685766">
              <a:buClr>
                <a:srgbClr val="545859"/>
              </a:buClr>
              <a:buFont typeface="Arial" panose="020B0604020202020204" pitchFamily="34" charset="0"/>
              <a:buChar char="•"/>
              <a:defRPr/>
            </a:pPr>
            <a:r>
              <a:rPr lang="en-US" sz="900" kern="0" dirty="0">
                <a:solidFill>
                  <a:srgbClr val="545859"/>
                </a:solidFill>
                <a:latin typeface="Gene Sans Light"/>
                <a:cs typeface="Arial" pitchFamily="34" charset="0"/>
                <a:sym typeface="Arial"/>
              </a:rPr>
              <a:t>PD-L1/B7.1 immunosuppression of T cells</a:t>
            </a:r>
          </a:p>
          <a:p>
            <a:pPr marL="128582" indent="-128582" defTabSz="685766">
              <a:buClr>
                <a:srgbClr val="545859"/>
              </a:buClr>
              <a:buFont typeface="Arial" panose="020B0604020202020204" pitchFamily="34" charset="0"/>
              <a:buChar char="•"/>
              <a:defRPr/>
            </a:pPr>
            <a:r>
              <a:rPr lang="en-US" sz="900" kern="0" dirty="0">
                <a:solidFill>
                  <a:srgbClr val="545859"/>
                </a:solidFill>
                <a:latin typeface="Gene Sans Light"/>
                <a:cs typeface="Arial" pitchFamily="34" charset="0"/>
                <a:sym typeface="Arial"/>
              </a:rPr>
              <a:t>PD-L1/PD-1 priming and activation of T cells</a:t>
            </a:r>
          </a:p>
          <a:p>
            <a:pPr marL="128582" indent="-128582" defTabSz="685766">
              <a:buClr>
                <a:srgbClr val="545859"/>
              </a:buClr>
              <a:buFont typeface="Arial" panose="020B0604020202020204" pitchFamily="34" charset="0"/>
              <a:buChar char="•"/>
              <a:defRPr/>
            </a:pPr>
            <a:r>
              <a:rPr lang="en-US" sz="900" kern="0" dirty="0">
                <a:solidFill>
                  <a:srgbClr val="545859"/>
                </a:solidFill>
                <a:latin typeface="Gene Sans Light"/>
                <a:cs typeface="Arial" pitchFamily="34" charset="0"/>
                <a:sym typeface="Arial"/>
              </a:rPr>
              <a:t>Immune modulation of </a:t>
            </a:r>
            <a:br>
              <a:rPr lang="en-US" sz="900" kern="0" dirty="0">
                <a:solidFill>
                  <a:srgbClr val="545859"/>
                </a:solidFill>
                <a:latin typeface="Gene Sans Light"/>
                <a:cs typeface="Arial" pitchFamily="34" charset="0"/>
                <a:sym typeface="Arial"/>
              </a:rPr>
            </a:br>
            <a:r>
              <a:rPr lang="en-US" sz="900" kern="0" dirty="0">
                <a:solidFill>
                  <a:srgbClr val="545859"/>
                </a:solidFill>
                <a:latin typeface="Gene Sans Light"/>
                <a:cs typeface="Arial" pitchFamily="34" charset="0"/>
                <a:sym typeface="Arial"/>
              </a:rPr>
              <a:t>T</a:t>
            </a:r>
            <a:r>
              <a:rPr lang="en-US" sz="900" kern="0" baseline="-25000" dirty="0">
                <a:solidFill>
                  <a:srgbClr val="545859"/>
                </a:solidFill>
                <a:latin typeface="Gene Sans Light"/>
                <a:cs typeface="Arial" pitchFamily="34" charset="0"/>
                <a:sym typeface="Arial"/>
              </a:rPr>
              <a:t>reg</a:t>
            </a:r>
            <a:r>
              <a:rPr lang="en-US" sz="900" kern="0" dirty="0">
                <a:solidFill>
                  <a:srgbClr val="545859"/>
                </a:solidFill>
                <a:latin typeface="Gene Sans Light"/>
                <a:cs typeface="Arial" pitchFamily="34" charset="0"/>
                <a:sym typeface="Arial"/>
              </a:rPr>
              <a:t> cells</a:t>
            </a:r>
          </a:p>
        </p:txBody>
      </p:sp>
      <p:cxnSp>
        <p:nvCxnSpPr>
          <p:cNvPr id="282" name="Straight Connector 281">
            <a:extLst>
              <a:ext uri="{FF2B5EF4-FFF2-40B4-BE49-F238E27FC236}">
                <a16:creationId xmlns:a16="http://schemas.microsoft.com/office/drawing/2014/main" id="{459F63B3-B299-4648-8491-304BE8B9A599}"/>
              </a:ext>
            </a:extLst>
          </p:cNvPr>
          <p:cNvCxnSpPr/>
          <p:nvPr/>
        </p:nvCxnSpPr>
        <p:spPr bwMode="auto">
          <a:xfrm>
            <a:off x="6333006" y="2912645"/>
            <a:ext cx="388289" cy="0"/>
          </a:xfrm>
          <a:prstGeom prst="line">
            <a:avLst/>
          </a:prstGeom>
          <a:ln w="38100" cap="rnd">
            <a:solidFill>
              <a:srgbClr val="7030A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283" name="Picture 282">
            <a:extLst>
              <a:ext uri="{FF2B5EF4-FFF2-40B4-BE49-F238E27FC236}">
                <a16:creationId xmlns:a16="http://schemas.microsoft.com/office/drawing/2014/main" id="{DF1EA22D-6074-4156-90C6-684D8E46E62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39998" y="2241534"/>
            <a:ext cx="1081967" cy="1081967"/>
          </a:xfrm>
          <a:prstGeom prst="rect">
            <a:avLst/>
          </a:prstGeom>
          <a:effectLst/>
        </p:spPr>
      </p:pic>
      <p:sp>
        <p:nvSpPr>
          <p:cNvPr id="284" name="TextBox 283">
            <a:extLst>
              <a:ext uri="{FF2B5EF4-FFF2-40B4-BE49-F238E27FC236}">
                <a16:creationId xmlns:a16="http://schemas.microsoft.com/office/drawing/2014/main" id="{E30E8F4E-4A6B-4079-AA77-4A5C9ED7C0F9}"/>
              </a:ext>
            </a:extLst>
          </p:cNvPr>
          <p:cNvSpPr txBox="1"/>
          <p:nvPr/>
        </p:nvSpPr>
        <p:spPr>
          <a:xfrm>
            <a:off x="5334097" y="2664046"/>
            <a:ext cx="721991" cy="380871"/>
          </a:xfrm>
          <a:prstGeom prst="rect">
            <a:avLst/>
          </a:prstGeom>
          <a:noFill/>
          <a:effectLst/>
        </p:spPr>
        <p:txBody>
          <a:bodyPr wrap="none" lIns="68579" tIns="34289" rIns="68579" bIns="34289" rtlCol="0">
            <a:spAutoFit/>
          </a:bodyPr>
          <a:lstStyle/>
          <a:p>
            <a:pPr algn="ctr" defTabSz="685766">
              <a:buClr>
                <a:srgbClr val="000000"/>
              </a:buClr>
              <a:defRPr/>
            </a:pPr>
            <a:r>
              <a:rPr lang="en-US" sz="675" kern="0" dirty="0">
                <a:solidFill>
                  <a:srgbClr val="545859"/>
                </a:solidFill>
                <a:latin typeface="Gene Sans Light"/>
                <a:cs typeface="Arial" pitchFamily="34" charset="0"/>
                <a:sym typeface="Arial"/>
              </a:rPr>
              <a:t>CD8</a:t>
            </a:r>
            <a:r>
              <a:rPr lang="en-US" sz="675" kern="0" baseline="30000" dirty="0">
                <a:solidFill>
                  <a:srgbClr val="545859"/>
                </a:solidFill>
                <a:latin typeface="Gene Sans Light"/>
                <a:cs typeface="Arial" pitchFamily="34" charset="0"/>
                <a:sym typeface="Arial"/>
              </a:rPr>
              <a:t>+</a:t>
            </a:r>
            <a:r>
              <a:rPr lang="en-US" sz="675" kern="0" dirty="0">
                <a:solidFill>
                  <a:srgbClr val="545859"/>
                </a:solidFill>
                <a:latin typeface="Gene Sans Light"/>
                <a:cs typeface="Arial" pitchFamily="34" charset="0"/>
                <a:sym typeface="Arial"/>
              </a:rPr>
              <a:t> cytotoxic </a:t>
            </a:r>
            <a:br>
              <a:rPr lang="en-US" sz="675" kern="0" dirty="0">
                <a:solidFill>
                  <a:srgbClr val="545859"/>
                </a:solidFill>
                <a:latin typeface="Gene Sans Light"/>
                <a:cs typeface="Arial" pitchFamily="34" charset="0"/>
                <a:sym typeface="Arial"/>
              </a:rPr>
            </a:br>
            <a:r>
              <a:rPr lang="en-US" sz="675" kern="0" dirty="0">
                <a:solidFill>
                  <a:srgbClr val="545859"/>
                </a:solidFill>
                <a:latin typeface="Gene Sans Light"/>
                <a:cs typeface="Arial" pitchFamily="34" charset="0"/>
                <a:sym typeface="Arial"/>
              </a:rPr>
              <a:t>T lymphocyte </a:t>
            </a:r>
            <a:br>
              <a:rPr lang="en-US" sz="675" kern="0" dirty="0">
                <a:solidFill>
                  <a:srgbClr val="545859"/>
                </a:solidFill>
                <a:latin typeface="Gene Sans Light"/>
                <a:cs typeface="Arial" pitchFamily="34" charset="0"/>
                <a:sym typeface="Arial"/>
              </a:rPr>
            </a:br>
            <a:r>
              <a:rPr lang="en-US" sz="675" kern="0" dirty="0">
                <a:solidFill>
                  <a:srgbClr val="545859"/>
                </a:solidFill>
                <a:latin typeface="Gene Sans Light"/>
                <a:cs typeface="Arial" pitchFamily="34" charset="0"/>
                <a:sym typeface="Arial"/>
              </a:rPr>
              <a:t>(CTL)</a:t>
            </a:r>
          </a:p>
        </p:txBody>
      </p:sp>
      <p:pic>
        <p:nvPicPr>
          <p:cNvPr id="285" name="Picture 284">
            <a:extLst>
              <a:ext uri="{FF2B5EF4-FFF2-40B4-BE49-F238E27FC236}">
                <a16:creationId xmlns:a16="http://schemas.microsoft.com/office/drawing/2014/main" id="{A7EECA9B-D1D5-41BD-A018-B4EAC985164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87339" y="3295811"/>
            <a:ext cx="748006" cy="695143"/>
          </a:xfrm>
          <a:prstGeom prst="rect">
            <a:avLst/>
          </a:prstGeom>
          <a:effectLst/>
        </p:spPr>
      </p:pic>
      <p:sp>
        <p:nvSpPr>
          <p:cNvPr id="286" name="TextBox 285">
            <a:extLst>
              <a:ext uri="{FF2B5EF4-FFF2-40B4-BE49-F238E27FC236}">
                <a16:creationId xmlns:a16="http://schemas.microsoft.com/office/drawing/2014/main" id="{4A815D92-9879-460F-A451-48CFEBD9C829}"/>
              </a:ext>
            </a:extLst>
          </p:cNvPr>
          <p:cNvSpPr txBox="1"/>
          <p:nvPr/>
        </p:nvSpPr>
        <p:spPr>
          <a:xfrm>
            <a:off x="4737090" y="3733409"/>
            <a:ext cx="456856" cy="103875"/>
          </a:xfrm>
          <a:prstGeom prst="rect">
            <a:avLst/>
          </a:prstGeom>
          <a:noFill/>
        </p:spPr>
        <p:txBody>
          <a:bodyPr wrap="none" lIns="0" tIns="0" rIns="0" bIns="0" rtlCol="0">
            <a:spAutoFit/>
          </a:bodyPr>
          <a:lstStyle/>
          <a:p>
            <a:pPr algn="ctr" defTabSz="685766">
              <a:buClr>
                <a:srgbClr val="000000"/>
              </a:buClr>
              <a:defRPr/>
            </a:pPr>
            <a:r>
              <a:rPr lang="en-US" sz="675" kern="0" dirty="0">
                <a:solidFill>
                  <a:srgbClr val="FFFFFF"/>
                </a:solidFill>
                <a:latin typeface="Gene Sans Light"/>
                <a:cs typeface="Arial" pitchFamily="34" charset="0"/>
                <a:sym typeface="Arial"/>
              </a:rPr>
              <a:t>Macrophage</a:t>
            </a:r>
          </a:p>
        </p:txBody>
      </p:sp>
      <p:sp>
        <p:nvSpPr>
          <p:cNvPr id="287" name="Content Placeholder 14">
            <a:extLst>
              <a:ext uri="{FF2B5EF4-FFF2-40B4-BE49-F238E27FC236}">
                <a16:creationId xmlns:a16="http://schemas.microsoft.com/office/drawing/2014/main" id="{BD734DF1-03E3-4B1A-9DB6-E9FF52CCB87D}"/>
              </a:ext>
            </a:extLst>
          </p:cNvPr>
          <p:cNvSpPr txBox="1">
            <a:spLocks/>
          </p:cNvSpPr>
          <p:nvPr/>
        </p:nvSpPr>
        <p:spPr>
          <a:xfrm>
            <a:off x="381648" y="1283550"/>
            <a:ext cx="2951431" cy="2154436"/>
          </a:xfrm>
          <a:prstGeom prst="rect">
            <a:avLst/>
          </a:prstGeom>
        </p:spPr>
        <p:txBody>
          <a:bodyPr vert="horz" lIns="0" tIns="0" rIns="0" bIns="0" numCol="1" rtlCol="0">
            <a:noAutofit/>
          </a:bodyPr>
          <a:lstStyle>
            <a:defPPr marR="0" lvl="0" algn="l" rtl="0">
              <a:lnSpc>
                <a:spcPct val="100000"/>
              </a:lnSpc>
              <a:spcBef>
                <a:spcPts val="0"/>
              </a:spcBef>
              <a:spcAft>
                <a:spcPts val="0"/>
              </a:spcAft>
            </a:defPPr>
            <a:lvl1pPr marL="173736" marR="0" lvl="0" indent="-173736" algn="l" rtl="0">
              <a:lnSpc>
                <a:spcPct val="100000"/>
              </a:lnSpc>
              <a:spcBef>
                <a:spcPts val="0"/>
              </a:spcBef>
              <a:spcAft>
                <a:spcPts val="0"/>
              </a:spcAft>
              <a:buClr>
                <a:schemeClr val="tx1"/>
              </a:buClr>
              <a:buFont typeface="Arial" panose="020B0604020202020204" pitchFamily="34" charset="0"/>
              <a:buChar char="•"/>
              <a:defRPr lang="en-US" sz="1600" b="0" i="0" u="none" strike="noStrike" kern="1200" cap="none">
                <a:solidFill>
                  <a:schemeClr val="tx1"/>
                </a:solidFill>
                <a:latin typeface="+mn-lt"/>
                <a:ea typeface="+mn-ea"/>
                <a:cs typeface="+mn-cs"/>
                <a:sym typeface="Arial"/>
              </a:defRPr>
            </a:lvl1pPr>
            <a:lvl2pPr marL="347472" marR="0" lvl="1" indent="-173736" algn="l" rtl="0">
              <a:lnSpc>
                <a:spcPct val="90000"/>
              </a:lnSpc>
              <a:spcBef>
                <a:spcPts val="600"/>
              </a:spcBef>
              <a:spcAft>
                <a:spcPts val="0"/>
              </a:spcAft>
              <a:buClr>
                <a:schemeClr val="tx1"/>
              </a:buClr>
              <a:buFont typeface="Gene Sans Light" panose="00000400000000000000" pitchFamily="50" charset="0"/>
              <a:buChar char="–"/>
              <a:defRPr lang="en-US" sz="1400" b="0" i="0" u="none" strike="noStrike" kern="1200" cap="none">
                <a:solidFill>
                  <a:schemeClr val="tx1"/>
                </a:solidFill>
                <a:latin typeface="+mn-lt"/>
                <a:ea typeface="+mn-ea"/>
                <a:cs typeface="+mn-cs"/>
                <a:sym typeface="Arial"/>
              </a:defRPr>
            </a:lvl2pPr>
            <a:lvl3pPr marL="521208" marR="0" lvl="2" indent="-173736" algn="l" rtl="0">
              <a:lnSpc>
                <a:spcPct val="90000"/>
              </a:lnSpc>
              <a:spcBef>
                <a:spcPts val="600"/>
              </a:spcBef>
              <a:spcAft>
                <a:spcPts val="0"/>
              </a:spcAft>
              <a:buClr>
                <a:schemeClr val="tx1"/>
              </a:buClr>
              <a:buFont typeface="Wingdings" panose="05000000000000000000" pitchFamily="2" charset="2"/>
              <a:buChar char="§"/>
              <a:defRPr lang="en-US" sz="1100" b="0" i="0" u="none" strike="noStrike" kern="1200" cap="none">
                <a:solidFill>
                  <a:schemeClr val="tx1"/>
                </a:solidFill>
                <a:latin typeface="+mn-lt"/>
                <a:ea typeface="+mn-ea"/>
                <a:cs typeface="+mn-cs"/>
                <a:sym typeface="Arial"/>
              </a:defRPr>
            </a:lvl3pPr>
            <a:lvl4pPr marL="694944" marR="0" lvl="3" indent="-173736" algn="l" rtl="0">
              <a:lnSpc>
                <a:spcPct val="90000"/>
              </a:lnSpc>
              <a:spcBef>
                <a:spcPts val="600"/>
              </a:spcBef>
              <a:spcAft>
                <a:spcPts val="0"/>
              </a:spcAft>
              <a:buClr>
                <a:schemeClr val="tx1"/>
              </a:buClr>
              <a:buFont typeface="Arial" panose="020B0604020202020204" pitchFamily="34" charset="0"/>
              <a:buChar char="•"/>
              <a:defRPr lang="en-US" sz="1050" b="0" i="0" u="none" strike="noStrike" kern="1200" cap="none">
                <a:solidFill>
                  <a:schemeClr val="tx1"/>
                </a:solidFill>
                <a:latin typeface="+mn-lt"/>
                <a:ea typeface="+mn-ea"/>
                <a:cs typeface="+mn-cs"/>
                <a:sym typeface="Arial"/>
              </a:defRPr>
            </a:lvl4pPr>
            <a:lvl5pPr marL="868680" marR="0" lvl="4" indent="-173736" algn="l" rtl="0">
              <a:lnSpc>
                <a:spcPct val="90000"/>
              </a:lnSpc>
              <a:spcBef>
                <a:spcPts val="600"/>
              </a:spcBef>
              <a:spcAft>
                <a:spcPts val="0"/>
              </a:spcAft>
              <a:buClr>
                <a:schemeClr val="tx1"/>
              </a:buClr>
              <a:buFont typeface="Arial" panose="020B0604020202020204" pitchFamily="34" charset="0"/>
              <a:buChar char="•"/>
              <a:defRPr lang="en-US" sz="1050" b="0" i="0" u="none" strike="noStrike" kern="1200" cap="none">
                <a:solidFill>
                  <a:schemeClr val="tx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73732" indent="-173732" defTabSz="914378">
              <a:buClr>
                <a:srgbClr val="000000"/>
              </a:buClr>
            </a:pPr>
            <a:r>
              <a:rPr lang="en-US" sz="1500" dirty="0">
                <a:solidFill>
                  <a:srgbClr val="545859"/>
                </a:solidFill>
                <a:latin typeface="Gene Sans Light"/>
              </a:rPr>
              <a:t>PD-L1 is expressed on a range of cell types in the immune system and activation of </a:t>
            </a:r>
            <a:br>
              <a:rPr lang="en-US" sz="1500" dirty="0">
                <a:solidFill>
                  <a:srgbClr val="545859"/>
                </a:solidFill>
                <a:latin typeface="Gene Sans Light"/>
              </a:rPr>
            </a:br>
            <a:r>
              <a:rPr lang="en-US" sz="1500" dirty="0">
                <a:solidFill>
                  <a:srgbClr val="545859"/>
                </a:solidFill>
                <a:latin typeface="Gene Sans Light"/>
              </a:rPr>
              <a:t>PD-L1/PD-1 signaling can regulate many functions</a:t>
            </a:r>
          </a:p>
          <a:p>
            <a:pPr marL="173732" indent="-173732" defTabSz="914378">
              <a:buClr>
                <a:srgbClr val="000000"/>
              </a:buClr>
            </a:pPr>
            <a:r>
              <a:rPr lang="en-US" sz="1500" dirty="0">
                <a:solidFill>
                  <a:srgbClr val="545859"/>
                </a:solidFill>
                <a:latin typeface="Gene Sans Light"/>
              </a:rPr>
              <a:t>Tumor-associated APCs can regulate antitumor </a:t>
            </a:r>
            <a:br>
              <a:rPr lang="en-US" sz="1500" dirty="0">
                <a:solidFill>
                  <a:srgbClr val="545859"/>
                </a:solidFill>
                <a:latin typeface="Gene Sans Light"/>
              </a:rPr>
            </a:br>
            <a:r>
              <a:rPr lang="en-US" sz="1500" dirty="0">
                <a:solidFill>
                  <a:srgbClr val="545859"/>
                </a:solidFill>
                <a:latin typeface="Gene Sans Light"/>
              </a:rPr>
              <a:t>T-cell responses through the</a:t>
            </a:r>
            <a:br>
              <a:rPr lang="en-US" sz="1500" dirty="0">
                <a:solidFill>
                  <a:srgbClr val="545859"/>
                </a:solidFill>
                <a:latin typeface="Gene Sans Light"/>
              </a:rPr>
            </a:br>
            <a:r>
              <a:rPr lang="en-US" sz="1500" dirty="0">
                <a:solidFill>
                  <a:srgbClr val="545859"/>
                </a:solidFill>
                <a:latin typeface="Gene Sans Light"/>
              </a:rPr>
              <a:t>PD-L1 pathway</a:t>
            </a:r>
          </a:p>
        </p:txBody>
      </p:sp>
      <p:grpSp>
        <p:nvGrpSpPr>
          <p:cNvPr id="91" name="Google Shape;342;p4">
            <a:extLst>
              <a:ext uri="{FF2B5EF4-FFF2-40B4-BE49-F238E27FC236}">
                <a16:creationId xmlns:a16="http://schemas.microsoft.com/office/drawing/2014/main" id="{C3FAC192-DC90-4E49-B809-904967787E51}"/>
              </a:ext>
            </a:extLst>
          </p:cNvPr>
          <p:cNvGrpSpPr/>
          <p:nvPr/>
        </p:nvGrpSpPr>
        <p:grpSpPr>
          <a:xfrm>
            <a:off x="8849668" y="55416"/>
            <a:ext cx="238916" cy="228628"/>
            <a:chOff x="11619274" y="118751"/>
            <a:chExt cx="432689" cy="414056"/>
          </a:xfrm>
        </p:grpSpPr>
        <p:sp>
          <p:nvSpPr>
            <p:cNvPr id="92" name="Google Shape;343;p4">
              <a:hlinkClick r:id="rId11" action="ppaction://hlinksldjump"/>
              <a:extLst>
                <a:ext uri="{FF2B5EF4-FFF2-40B4-BE49-F238E27FC236}">
                  <a16:creationId xmlns:a16="http://schemas.microsoft.com/office/drawing/2014/main" id="{323A2C04-D44C-4602-B3E7-B3FAC59C03E1}"/>
                </a:ext>
              </a:extLst>
            </p:cNvPr>
            <p:cNvSpPr/>
            <p:nvPr/>
          </p:nvSpPr>
          <p:spPr>
            <a:xfrm>
              <a:off x="11619274" y="118751"/>
              <a:ext cx="432689" cy="414056"/>
            </a:xfrm>
            <a:prstGeom prst="roundRect">
              <a:avLst>
                <a:gd name="adj" fmla="val 16667"/>
              </a:avLst>
            </a:prstGeom>
            <a:solidFill>
              <a:schemeClr val="accent2"/>
            </a:solidFill>
            <a:ln>
              <a:noFill/>
            </a:ln>
          </p:spPr>
          <p:txBody>
            <a:bodyPr spcFirstLastPara="1" wrap="square" lIns="68550" tIns="34275" rIns="68550" bIns="34275" anchor="ctr" anchorCtr="0">
              <a:noAutofit/>
            </a:bodyPr>
            <a:lstStyle/>
            <a:p>
              <a:pPr algn="ctr" defTabSz="914378">
                <a:buClr>
                  <a:srgbClr val="000000"/>
                </a:buClr>
              </a:pPr>
              <a:endParaRPr lang="en-US" sz="825" kern="0" dirty="0">
                <a:solidFill>
                  <a:srgbClr val="FFFFFF"/>
                </a:solidFill>
                <a:latin typeface="Arial"/>
                <a:ea typeface="Arial"/>
                <a:cs typeface="Arial"/>
                <a:sym typeface="Arial"/>
              </a:endParaRPr>
            </a:p>
          </p:txBody>
        </p:sp>
        <p:pic>
          <p:nvPicPr>
            <p:cNvPr id="93" name="Google Shape;344;p4">
              <a:hlinkClick r:id="rId11" action="ppaction://hlinksldjump"/>
              <a:extLst>
                <a:ext uri="{FF2B5EF4-FFF2-40B4-BE49-F238E27FC236}">
                  <a16:creationId xmlns:a16="http://schemas.microsoft.com/office/drawing/2014/main" id="{F223DA7C-B44E-4F6D-8AA0-E6EC26A52C49}"/>
                </a:ext>
              </a:extLst>
            </p:cNvPr>
            <p:cNvPicPr preferRelativeResize="0"/>
            <p:nvPr/>
          </p:nvPicPr>
          <p:blipFill rotWithShape="1">
            <a:blip r:embed="rId12">
              <a:alphaModFix/>
            </a:blip>
            <a:srcRect/>
            <a:stretch/>
          </p:blipFill>
          <p:spPr>
            <a:xfrm>
              <a:off x="11681971" y="162551"/>
              <a:ext cx="307293" cy="307293"/>
            </a:xfrm>
            <a:prstGeom prst="rect">
              <a:avLst/>
            </a:prstGeom>
            <a:noFill/>
            <a:ln>
              <a:noFill/>
            </a:ln>
          </p:spPr>
        </p:pic>
      </p:grpSp>
    </p:spTree>
    <p:extLst>
      <p:ext uri="{BB962C8B-B14F-4D97-AF65-F5344CB8AC3E}">
        <p14:creationId xmlns:p14="http://schemas.microsoft.com/office/powerpoint/2010/main" val="3802390160"/>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64"/>
        <p:cNvGrpSpPr/>
        <p:nvPr/>
      </p:nvGrpSpPr>
      <p:grpSpPr>
        <a:xfrm>
          <a:off x="0" y="0"/>
          <a:ext cx="0" cy="0"/>
          <a:chOff x="0" y="0"/>
          <a:chExt cx="0" cy="0"/>
        </a:xfrm>
      </p:grpSpPr>
      <p:sp>
        <p:nvSpPr>
          <p:cNvPr id="265" name="Google Shape;265;p1"/>
          <p:cNvSpPr txBox="1">
            <a:spLocks noGrp="1"/>
          </p:cNvSpPr>
          <p:nvPr>
            <p:ph type="ctrTitle"/>
          </p:nvPr>
        </p:nvSpPr>
        <p:spPr>
          <a:xfrm>
            <a:off x="381000" y="1786920"/>
            <a:ext cx="6480000" cy="1569660"/>
          </a:xfrm>
          <a:prstGeom prst="rect">
            <a:avLst/>
          </a:prstGeom>
          <a:noFill/>
          <a:ln>
            <a:noFill/>
          </a:ln>
        </p:spPr>
        <p:txBody>
          <a:bodyPr spcFirstLastPara="1" wrap="square" lIns="0" tIns="0" rIns="0" bIns="0" anchor="ctr" anchorCtr="0">
            <a:spAutoFit/>
          </a:bodyPr>
          <a:lstStyle/>
          <a:p>
            <a:pPr marL="0" lvl="0" indent="0" algn="l" rtl="0">
              <a:lnSpc>
                <a:spcPct val="85000"/>
              </a:lnSpc>
              <a:spcBef>
                <a:spcPts val="0"/>
              </a:spcBef>
              <a:spcAft>
                <a:spcPts val="0"/>
              </a:spcAft>
              <a:buNone/>
            </a:pPr>
            <a:r>
              <a:rPr lang="en-US" dirty="0"/>
              <a:t>Immune-Related Adverse Events With Checkpoint </a:t>
            </a:r>
            <a:br>
              <a:rPr lang="en-US" dirty="0"/>
            </a:br>
            <a:r>
              <a:rPr lang="en-US" dirty="0"/>
              <a:t>Inhibitors</a:t>
            </a:r>
          </a:p>
        </p:txBody>
      </p:sp>
    </p:spTree>
    <p:extLst>
      <p:ext uri="{BB962C8B-B14F-4D97-AF65-F5344CB8AC3E}">
        <p14:creationId xmlns:p14="http://schemas.microsoft.com/office/powerpoint/2010/main" val="855215794"/>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08D38E3C-4B6B-42AD-BF2A-1803C4C4FFC1}"/>
              </a:ext>
            </a:extLst>
          </p:cNvPr>
          <p:cNvSpPr>
            <a:spLocks noGrp="1"/>
          </p:cNvSpPr>
          <p:nvPr>
            <p:ph type="body" idx="1"/>
          </p:nvPr>
        </p:nvSpPr>
        <p:spPr/>
        <p:txBody>
          <a:bodyPr/>
          <a:lstStyle/>
          <a:p>
            <a:endParaRPr lang="en-ID"/>
          </a:p>
        </p:txBody>
      </p:sp>
      <p:sp>
        <p:nvSpPr>
          <p:cNvPr id="16" name="Text Placeholder 15">
            <a:extLst>
              <a:ext uri="{FF2B5EF4-FFF2-40B4-BE49-F238E27FC236}">
                <a16:creationId xmlns:a16="http://schemas.microsoft.com/office/drawing/2014/main" id="{B8E04A20-926F-4F3C-B7D6-7873CE98900E}"/>
              </a:ext>
            </a:extLst>
          </p:cNvPr>
          <p:cNvSpPr>
            <a:spLocks noGrp="1"/>
          </p:cNvSpPr>
          <p:nvPr>
            <p:ph type="body" idx="2"/>
          </p:nvPr>
        </p:nvSpPr>
        <p:spPr/>
        <p:txBody>
          <a:bodyPr/>
          <a:lstStyle/>
          <a:p>
            <a:endParaRPr lang="en-ID"/>
          </a:p>
        </p:txBody>
      </p:sp>
      <p:sp>
        <p:nvSpPr>
          <p:cNvPr id="4" name="Title 3">
            <a:extLst>
              <a:ext uri="{FF2B5EF4-FFF2-40B4-BE49-F238E27FC236}">
                <a16:creationId xmlns:a16="http://schemas.microsoft.com/office/drawing/2014/main" id="{07D9DBE8-C036-4EC5-804D-CA9F11404723}"/>
              </a:ext>
            </a:extLst>
          </p:cNvPr>
          <p:cNvSpPr>
            <a:spLocks noGrp="1"/>
          </p:cNvSpPr>
          <p:nvPr>
            <p:ph type="title"/>
          </p:nvPr>
        </p:nvSpPr>
        <p:spPr/>
        <p:txBody>
          <a:bodyPr/>
          <a:lstStyle/>
          <a:p>
            <a:r>
              <a:rPr lang="en-ID" dirty="0"/>
              <a:t>Objectives</a:t>
            </a:r>
          </a:p>
        </p:txBody>
      </p:sp>
      <p:sp>
        <p:nvSpPr>
          <p:cNvPr id="18" name="Rectangle 17">
            <a:extLst>
              <a:ext uri="{FF2B5EF4-FFF2-40B4-BE49-F238E27FC236}">
                <a16:creationId xmlns:a16="http://schemas.microsoft.com/office/drawing/2014/main" id="{97B9F522-1EF1-4131-952E-02E25508F979}"/>
              </a:ext>
            </a:extLst>
          </p:cNvPr>
          <p:cNvSpPr/>
          <p:nvPr/>
        </p:nvSpPr>
        <p:spPr>
          <a:xfrm>
            <a:off x="381646" y="1640245"/>
            <a:ext cx="1988404" cy="2389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720000" rIns="182880" bIns="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Review the spectrum of immune mediated adverse events (</a:t>
            </a:r>
            <a:r>
              <a:rPr kumimoji="0" lang="en-US" sz="1400" b="0" i="0" u="none" strike="noStrike" kern="0" cap="none" spc="0" normalizeH="0" baseline="0" noProof="0" dirty="0" err="1">
                <a:ln>
                  <a:noFill/>
                </a:ln>
                <a:solidFill>
                  <a:srgbClr val="545859"/>
                </a:solidFill>
                <a:effectLst/>
                <a:uLnTx/>
                <a:uFillTx/>
                <a:latin typeface="Gene Sans Light" panose="00000400000000000000" pitchFamily="50" charset="0"/>
                <a:ea typeface="+mn-ea"/>
                <a:cs typeface="+mn-cs"/>
                <a:sym typeface="Arial"/>
              </a:rPr>
              <a:t>irAEs</a:t>
            </a:r>
            <a:r>
              <a:rPr kumimoji="0" lang="en-US" sz="14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 induced by immune checkpoint inhibitors (ICIs)</a:t>
            </a:r>
          </a:p>
        </p:txBody>
      </p:sp>
      <p:sp>
        <p:nvSpPr>
          <p:cNvPr id="19" name="Rectangle 18">
            <a:extLst>
              <a:ext uri="{FF2B5EF4-FFF2-40B4-BE49-F238E27FC236}">
                <a16:creationId xmlns:a16="http://schemas.microsoft.com/office/drawing/2014/main" id="{DA78335B-25F9-48C0-ADAA-5AD857F160A1}"/>
              </a:ext>
            </a:extLst>
          </p:cNvPr>
          <p:cNvSpPr/>
          <p:nvPr/>
        </p:nvSpPr>
        <p:spPr>
          <a:xfrm>
            <a:off x="381000" y="1640244"/>
            <a:ext cx="397834" cy="4012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36" name="Rectangle 35">
            <a:extLst>
              <a:ext uri="{FF2B5EF4-FFF2-40B4-BE49-F238E27FC236}">
                <a16:creationId xmlns:a16="http://schemas.microsoft.com/office/drawing/2014/main" id="{D7732C12-C5F8-4EE0-95EE-8BC8A16B9033}"/>
              </a:ext>
            </a:extLst>
          </p:cNvPr>
          <p:cNvSpPr/>
          <p:nvPr/>
        </p:nvSpPr>
        <p:spPr>
          <a:xfrm>
            <a:off x="2513645" y="1640245"/>
            <a:ext cx="1988404" cy="2389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720000" rIns="182880" bIns="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Review the kinetics of </a:t>
            </a:r>
            <a:r>
              <a:rPr kumimoji="0" lang="en-US" sz="1400" b="0" i="0" u="none" strike="noStrike" kern="0" cap="none" spc="0" normalizeH="0" baseline="0" noProof="0" dirty="0" err="1">
                <a:ln>
                  <a:noFill/>
                </a:ln>
                <a:solidFill>
                  <a:srgbClr val="545859"/>
                </a:solidFill>
                <a:effectLst/>
                <a:uLnTx/>
                <a:uFillTx/>
                <a:latin typeface="Gene Sans Light" panose="00000400000000000000" pitchFamily="50" charset="0"/>
                <a:ea typeface="+mn-ea"/>
                <a:cs typeface="+mn-cs"/>
                <a:sym typeface="Arial"/>
              </a:rPr>
              <a:t>irAEs</a:t>
            </a:r>
            <a:r>
              <a:rPr kumimoji="0" lang="en-US" sz="14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 with ICIs</a:t>
            </a:r>
          </a:p>
        </p:txBody>
      </p:sp>
      <p:sp>
        <p:nvSpPr>
          <p:cNvPr id="37" name="Rectangle 36">
            <a:extLst>
              <a:ext uri="{FF2B5EF4-FFF2-40B4-BE49-F238E27FC236}">
                <a16:creationId xmlns:a16="http://schemas.microsoft.com/office/drawing/2014/main" id="{F3CBFBA0-80E2-4795-8A26-58A919356D86}"/>
              </a:ext>
            </a:extLst>
          </p:cNvPr>
          <p:cNvSpPr/>
          <p:nvPr/>
        </p:nvSpPr>
        <p:spPr>
          <a:xfrm>
            <a:off x="2512999" y="1640244"/>
            <a:ext cx="397834" cy="4012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9" name="Rectangle 38">
            <a:extLst>
              <a:ext uri="{FF2B5EF4-FFF2-40B4-BE49-F238E27FC236}">
                <a16:creationId xmlns:a16="http://schemas.microsoft.com/office/drawing/2014/main" id="{60BFCB5D-C2EF-47A0-9DF0-545EA69703A2}"/>
              </a:ext>
            </a:extLst>
          </p:cNvPr>
          <p:cNvSpPr/>
          <p:nvPr/>
        </p:nvSpPr>
        <p:spPr>
          <a:xfrm>
            <a:off x="4645643" y="1640245"/>
            <a:ext cx="1988404" cy="2389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720000" rIns="182880" bIns="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Discuss the effect of baseline corticosteroid use on outcome with ICIs</a:t>
            </a:r>
          </a:p>
        </p:txBody>
      </p:sp>
      <p:sp>
        <p:nvSpPr>
          <p:cNvPr id="40" name="Rectangle 39">
            <a:extLst>
              <a:ext uri="{FF2B5EF4-FFF2-40B4-BE49-F238E27FC236}">
                <a16:creationId xmlns:a16="http://schemas.microsoft.com/office/drawing/2014/main" id="{FC23CCE7-D1C4-45F8-BC72-39C1762D32C7}"/>
              </a:ext>
            </a:extLst>
          </p:cNvPr>
          <p:cNvSpPr/>
          <p:nvPr/>
        </p:nvSpPr>
        <p:spPr>
          <a:xfrm>
            <a:off x="4644998" y="1640244"/>
            <a:ext cx="397834" cy="4012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2" name="Rectangle 41">
            <a:extLst>
              <a:ext uri="{FF2B5EF4-FFF2-40B4-BE49-F238E27FC236}">
                <a16:creationId xmlns:a16="http://schemas.microsoft.com/office/drawing/2014/main" id="{447E3311-FAA9-4D30-A9A6-528FABCC8117}"/>
              </a:ext>
            </a:extLst>
          </p:cNvPr>
          <p:cNvSpPr/>
          <p:nvPr/>
        </p:nvSpPr>
        <p:spPr>
          <a:xfrm>
            <a:off x="6777643" y="1640245"/>
            <a:ext cx="1988404" cy="2389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720000" rIns="182880" bIns="0" rtlCol="0" anchor="t" anchorCtr="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Review national guidelines for the management of </a:t>
            </a:r>
            <a:r>
              <a:rPr kumimoji="0" lang="en-US" sz="1400" b="0" i="0" u="none" strike="noStrike" kern="0" cap="none" spc="0" normalizeH="0" baseline="0" noProof="0" dirty="0" err="1">
                <a:ln>
                  <a:noFill/>
                </a:ln>
                <a:solidFill>
                  <a:srgbClr val="545859"/>
                </a:solidFill>
                <a:effectLst/>
                <a:uLnTx/>
                <a:uFillTx/>
                <a:latin typeface="Gene Sans Light" panose="00000400000000000000" pitchFamily="50" charset="0"/>
                <a:ea typeface="+mn-ea"/>
                <a:cs typeface="+mn-cs"/>
                <a:sym typeface="Arial"/>
              </a:rPr>
              <a:t>irAEs</a:t>
            </a:r>
            <a:endParaRPr kumimoji="0" lang="en-US" sz="14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endParaRPr>
          </a:p>
        </p:txBody>
      </p:sp>
      <p:sp>
        <p:nvSpPr>
          <p:cNvPr id="43" name="Rectangle 42">
            <a:extLst>
              <a:ext uri="{FF2B5EF4-FFF2-40B4-BE49-F238E27FC236}">
                <a16:creationId xmlns:a16="http://schemas.microsoft.com/office/drawing/2014/main" id="{1EE30CB1-9C1A-488D-86F3-2CACA3D3CFB1}"/>
              </a:ext>
            </a:extLst>
          </p:cNvPr>
          <p:cNvSpPr/>
          <p:nvPr/>
        </p:nvSpPr>
        <p:spPr>
          <a:xfrm>
            <a:off x="6776998" y="1640244"/>
            <a:ext cx="397834" cy="4012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46" name="Straight Connector 45">
            <a:extLst>
              <a:ext uri="{FF2B5EF4-FFF2-40B4-BE49-F238E27FC236}">
                <a16:creationId xmlns:a16="http://schemas.microsoft.com/office/drawing/2014/main" id="{04D85A5E-010F-402B-90E8-FDAF0E99D675}"/>
              </a:ext>
            </a:extLst>
          </p:cNvPr>
          <p:cNvCxnSpPr/>
          <p:nvPr/>
        </p:nvCxnSpPr>
        <p:spPr>
          <a:xfrm>
            <a:off x="381000" y="4030145"/>
            <a:ext cx="39848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5E4FBB8-C773-43CC-8353-68503A340C3B}"/>
              </a:ext>
            </a:extLst>
          </p:cNvPr>
          <p:cNvCxnSpPr/>
          <p:nvPr/>
        </p:nvCxnSpPr>
        <p:spPr>
          <a:xfrm>
            <a:off x="2512999" y="4030145"/>
            <a:ext cx="39848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5759E43-4884-427C-B6D8-C4F6145B3C3C}"/>
              </a:ext>
            </a:extLst>
          </p:cNvPr>
          <p:cNvCxnSpPr/>
          <p:nvPr/>
        </p:nvCxnSpPr>
        <p:spPr>
          <a:xfrm>
            <a:off x="4644998" y="4030145"/>
            <a:ext cx="39848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3AF08EA-9602-49AA-9142-05E25E74BB82}"/>
              </a:ext>
            </a:extLst>
          </p:cNvPr>
          <p:cNvCxnSpPr/>
          <p:nvPr/>
        </p:nvCxnSpPr>
        <p:spPr>
          <a:xfrm>
            <a:off x="6776998" y="4030145"/>
            <a:ext cx="39848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6AF51B94-B14D-4BF6-8930-A7B94DE98098}"/>
              </a:ext>
            </a:extLst>
          </p:cNvPr>
          <p:cNvGrpSpPr/>
          <p:nvPr/>
        </p:nvGrpSpPr>
        <p:grpSpPr>
          <a:xfrm>
            <a:off x="515069" y="1775998"/>
            <a:ext cx="129696" cy="129696"/>
            <a:chOff x="3459163" y="5703888"/>
            <a:chExt cx="239713" cy="239713"/>
          </a:xfrm>
        </p:grpSpPr>
        <p:sp>
          <p:nvSpPr>
            <p:cNvPr id="21" name="Line 290">
              <a:extLst>
                <a:ext uri="{FF2B5EF4-FFF2-40B4-BE49-F238E27FC236}">
                  <a16:creationId xmlns:a16="http://schemas.microsoft.com/office/drawing/2014/main" id="{AD1C31A6-6FD2-4310-8890-E0670F598999}"/>
                </a:ext>
              </a:extLst>
            </p:cNvPr>
            <p:cNvSpPr>
              <a:spLocks noChangeShapeType="1"/>
            </p:cNvSpPr>
            <p:nvPr/>
          </p:nvSpPr>
          <p:spPr bwMode="auto">
            <a:xfrm flipH="1" flipV="1">
              <a:off x="3459163" y="5703888"/>
              <a:ext cx="239713" cy="239713"/>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2" name="Freeform 291">
              <a:extLst>
                <a:ext uri="{FF2B5EF4-FFF2-40B4-BE49-F238E27FC236}">
                  <a16:creationId xmlns:a16="http://schemas.microsoft.com/office/drawing/2014/main" id="{946C55DC-24EA-4BE0-8FA3-BCD84965E6F0}"/>
                </a:ext>
              </a:extLst>
            </p:cNvPr>
            <p:cNvSpPr>
              <a:spLocks/>
            </p:cNvSpPr>
            <p:nvPr/>
          </p:nvSpPr>
          <p:spPr bwMode="auto">
            <a:xfrm>
              <a:off x="3459163" y="5703888"/>
              <a:ext cx="239713" cy="239713"/>
            </a:xfrm>
            <a:custGeom>
              <a:avLst/>
              <a:gdLst>
                <a:gd name="T0" fmla="*/ 151 w 151"/>
                <a:gd name="T1" fmla="*/ 0 h 151"/>
                <a:gd name="T2" fmla="*/ 151 w 151"/>
                <a:gd name="T3" fmla="*/ 151 h 151"/>
                <a:gd name="T4" fmla="*/ 0 w 151"/>
                <a:gd name="T5" fmla="*/ 151 h 151"/>
              </a:gdLst>
              <a:ahLst/>
              <a:cxnLst>
                <a:cxn ang="0">
                  <a:pos x="T0" y="T1"/>
                </a:cxn>
                <a:cxn ang="0">
                  <a:pos x="T2" y="T3"/>
                </a:cxn>
                <a:cxn ang="0">
                  <a:pos x="T4" y="T5"/>
                </a:cxn>
              </a:cxnLst>
              <a:rect l="0" t="0" r="r" b="b"/>
              <a:pathLst>
                <a:path w="151" h="151">
                  <a:moveTo>
                    <a:pt x="151" y="0"/>
                  </a:moveTo>
                  <a:lnTo>
                    <a:pt x="151" y="151"/>
                  </a:lnTo>
                  <a:lnTo>
                    <a:pt x="0" y="151"/>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8" name="Group 27">
            <a:extLst>
              <a:ext uri="{FF2B5EF4-FFF2-40B4-BE49-F238E27FC236}">
                <a16:creationId xmlns:a16="http://schemas.microsoft.com/office/drawing/2014/main" id="{8BE83272-CC83-4283-8AC4-095077E9053D}"/>
              </a:ext>
            </a:extLst>
          </p:cNvPr>
          <p:cNvGrpSpPr/>
          <p:nvPr/>
        </p:nvGrpSpPr>
        <p:grpSpPr>
          <a:xfrm>
            <a:off x="2647068" y="1775998"/>
            <a:ext cx="129696" cy="129696"/>
            <a:chOff x="3459163" y="5703888"/>
            <a:chExt cx="239713" cy="239713"/>
          </a:xfrm>
        </p:grpSpPr>
        <p:sp>
          <p:nvSpPr>
            <p:cNvPr id="29" name="Line 290">
              <a:extLst>
                <a:ext uri="{FF2B5EF4-FFF2-40B4-BE49-F238E27FC236}">
                  <a16:creationId xmlns:a16="http://schemas.microsoft.com/office/drawing/2014/main" id="{CA1B918C-1C6A-49FF-A896-5E25D2F8D4CE}"/>
                </a:ext>
              </a:extLst>
            </p:cNvPr>
            <p:cNvSpPr>
              <a:spLocks noChangeShapeType="1"/>
            </p:cNvSpPr>
            <p:nvPr/>
          </p:nvSpPr>
          <p:spPr bwMode="auto">
            <a:xfrm flipH="1" flipV="1">
              <a:off x="3459163" y="5703888"/>
              <a:ext cx="239713" cy="239713"/>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0" name="Freeform 291">
              <a:extLst>
                <a:ext uri="{FF2B5EF4-FFF2-40B4-BE49-F238E27FC236}">
                  <a16:creationId xmlns:a16="http://schemas.microsoft.com/office/drawing/2014/main" id="{9657C615-FFA0-4070-B020-115EAFC22393}"/>
                </a:ext>
              </a:extLst>
            </p:cNvPr>
            <p:cNvSpPr>
              <a:spLocks/>
            </p:cNvSpPr>
            <p:nvPr/>
          </p:nvSpPr>
          <p:spPr bwMode="auto">
            <a:xfrm>
              <a:off x="3459163" y="5703888"/>
              <a:ext cx="239713" cy="239713"/>
            </a:xfrm>
            <a:custGeom>
              <a:avLst/>
              <a:gdLst>
                <a:gd name="T0" fmla="*/ 151 w 151"/>
                <a:gd name="T1" fmla="*/ 0 h 151"/>
                <a:gd name="T2" fmla="*/ 151 w 151"/>
                <a:gd name="T3" fmla="*/ 151 h 151"/>
                <a:gd name="T4" fmla="*/ 0 w 151"/>
                <a:gd name="T5" fmla="*/ 151 h 151"/>
              </a:gdLst>
              <a:ahLst/>
              <a:cxnLst>
                <a:cxn ang="0">
                  <a:pos x="T0" y="T1"/>
                </a:cxn>
                <a:cxn ang="0">
                  <a:pos x="T2" y="T3"/>
                </a:cxn>
                <a:cxn ang="0">
                  <a:pos x="T4" y="T5"/>
                </a:cxn>
              </a:cxnLst>
              <a:rect l="0" t="0" r="r" b="b"/>
              <a:pathLst>
                <a:path w="151" h="151">
                  <a:moveTo>
                    <a:pt x="151" y="0"/>
                  </a:moveTo>
                  <a:lnTo>
                    <a:pt x="151" y="151"/>
                  </a:lnTo>
                  <a:lnTo>
                    <a:pt x="0" y="151"/>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1" name="Group 30">
            <a:extLst>
              <a:ext uri="{FF2B5EF4-FFF2-40B4-BE49-F238E27FC236}">
                <a16:creationId xmlns:a16="http://schemas.microsoft.com/office/drawing/2014/main" id="{047B3C5D-5021-486C-946D-FD62E4A3AD3E}"/>
              </a:ext>
            </a:extLst>
          </p:cNvPr>
          <p:cNvGrpSpPr/>
          <p:nvPr/>
        </p:nvGrpSpPr>
        <p:grpSpPr>
          <a:xfrm>
            <a:off x="4779067" y="1775998"/>
            <a:ext cx="129696" cy="129696"/>
            <a:chOff x="3459163" y="5703888"/>
            <a:chExt cx="239713" cy="239713"/>
          </a:xfrm>
        </p:grpSpPr>
        <p:sp>
          <p:nvSpPr>
            <p:cNvPr id="32" name="Line 290">
              <a:extLst>
                <a:ext uri="{FF2B5EF4-FFF2-40B4-BE49-F238E27FC236}">
                  <a16:creationId xmlns:a16="http://schemas.microsoft.com/office/drawing/2014/main" id="{DBD32459-3F56-41D9-A948-A9D4991BD642}"/>
                </a:ext>
              </a:extLst>
            </p:cNvPr>
            <p:cNvSpPr>
              <a:spLocks noChangeShapeType="1"/>
            </p:cNvSpPr>
            <p:nvPr/>
          </p:nvSpPr>
          <p:spPr bwMode="auto">
            <a:xfrm flipH="1" flipV="1">
              <a:off x="3459163" y="5703888"/>
              <a:ext cx="239713" cy="239713"/>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Freeform 291">
              <a:extLst>
                <a:ext uri="{FF2B5EF4-FFF2-40B4-BE49-F238E27FC236}">
                  <a16:creationId xmlns:a16="http://schemas.microsoft.com/office/drawing/2014/main" id="{31969E4C-1D9B-469F-98C9-E990A80D6D9C}"/>
                </a:ext>
              </a:extLst>
            </p:cNvPr>
            <p:cNvSpPr>
              <a:spLocks/>
            </p:cNvSpPr>
            <p:nvPr/>
          </p:nvSpPr>
          <p:spPr bwMode="auto">
            <a:xfrm>
              <a:off x="3459163" y="5703888"/>
              <a:ext cx="239713" cy="239713"/>
            </a:xfrm>
            <a:custGeom>
              <a:avLst/>
              <a:gdLst>
                <a:gd name="T0" fmla="*/ 151 w 151"/>
                <a:gd name="T1" fmla="*/ 0 h 151"/>
                <a:gd name="T2" fmla="*/ 151 w 151"/>
                <a:gd name="T3" fmla="*/ 151 h 151"/>
                <a:gd name="T4" fmla="*/ 0 w 151"/>
                <a:gd name="T5" fmla="*/ 151 h 151"/>
              </a:gdLst>
              <a:ahLst/>
              <a:cxnLst>
                <a:cxn ang="0">
                  <a:pos x="T0" y="T1"/>
                </a:cxn>
                <a:cxn ang="0">
                  <a:pos x="T2" y="T3"/>
                </a:cxn>
                <a:cxn ang="0">
                  <a:pos x="T4" y="T5"/>
                </a:cxn>
              </a:cxnLst>
              <a:rect l="0" t="0" r="r" b="b"/>
              <a:pathLst>
                <a:path w="151" h="151">
                  <a:moveTo>
                    <a:pt x="151" y="0"/>
                  </a:moveTo>
                  <a:lnTo>
                    <a:pt x="151" y="151"/>
                  </a:lnTo>
                  <a:lnTo>
                    <a:pt x="0" y="151"/>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4" name="Group 33">
            <a:extLst>
              <a:ext uri="{FF2B5EF4-FFF2-40B4-BE49-F238E27FC236}">
                <a16:creationId xmlns:a16="http://schemas.microsoft.com/office/drawing/2014/main" id="{A3082741-3F7F-43BD-9F38-6C8AA32BB2D4}"/>
              </a:ext>
            </a:extLst>
          </p:cNvPr>
          <p:cNvGrpSpPr/>
          <p:nvPr/>
        </p:nvGrpSpPr>
        <p:grpSpPr>
          <a:xfrm>
            <a:off x="6911067" y="1775998"/>
            <a:ext cx="129696" cy="129696"/>
            <a:chOff x="3459163" y="5703888"/>
            <a:chExt cx="239713" cy="239713"/>
          </a:xfrm>
        </p:grpSpPr>
        <p:sp>
          <p:nvSpPr>
            <p:cNvPr id="35" name="Line 290">
              <a:extLst>
                <a:ext uri="{FF2B5EF4-FFF2-40B4-BE49-F238E27FC236}">
                  <a16:creationId xmlns:a16="http://schemas.microsoft.com/office/drawing/2014/main" id="{66B8C883-B52F-4173-9874-19678204E469}"/>
                </a:ext>
              </a:extLst>
            </p:cNvPr>
            <p:cNvSpPr>
              <a:spLocks noChangeShapeType="1"/>
            </p:cNvSpPr>
            <p:nvPr/>
          </p:nvSpPr>
          <p:spPr bwMode="auto">
            <a:xfrm flipH="1" flipV="1">
              <a:off x="3459163" y="5703888"/>
              <a:ext cx="239713" cy="239713"/>
            </a:xfrm>
            <a:prstGeom prst="line">
              <a:avLst/>
            </a:prstGeom>
            <a:noFill/>
            <a:ln w="14288"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Freeform 291">
              <a:extLst>
                <a:ext uri="{FF2B5EF4-FFF2-40B4-BE49-F238E27FC236}">
                  <a16:creationId xmlns:a16="http://schemas.microsoft.com/office/drawing/2014/main" id="{1DB8F432-E2B1-4247-A9BA-618478B042A7}"/>
                </a:ext>
              </a:extLst>
            </p:cNvPr>
            <p:cNvSpPr>
              <a:spLocks/>
            </p:cNvSpPr>
            <p:nvPr/>
          </p:nvSpPr>
          <p:spPr bwMode="auto">
            <a:xfrm>
              <a:off x="3459163" y="5703888"/>
              <a:ext cx="239713" cy="239713"/>
            </a:xfrm>
            <a:custGeom>
              <a:avLst/>
              <a:gdLst>
                <a:gd name="T0" fmla="*/ 151 w 151"/>
                <a:gd name="T1" fmla="*/ 0 h 151"/>
                <a:gd name="T2" fmla="*/ 151 w 151"/>
                <a:gd name="T3" fmla="*/ 151 h 151"/>
                <a:gd name="T4" fmla="*/ 0 w 151"/>
                <a:gd name="T5" fmla="*/ 151 h 151"/>
              </a:gdLst>
              <a:ahLst/>
              <a:cxnLst>
                <a:cxn ang="0">
                  <a:pos x="T0" y="T1"/>
                </a:cxn>
                <a:cxn ang="0">
                  <a:pos x="T2" y="T3"/>
                </a:cxn>
                <a:cxn ang="0">
                  <a:pos x="T4" y="T5"/>
                </a:cxn>
              </a:cxnLst>
              <a:rect l="0" t="0" r="r" b="b"/>
              <a:pathLst>
                <a:path w="151" h="151">
                  <a:moveTo>
                    <a:pt x="151" y="0"/>
                  </a:moveTo>
                  <a:lnTo>
                    <a:pt x="151" y="151"/>
                  </a:lnTo>
                  <a:lnTo>
                    <a:pt x="0" y="151"/>
                  </a:ln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41" name="Google Shape;122;p3">
            <a:extLst>
              <a:ext uri="{FF2B5EF4-FFF2-40B4-BE49-F238E27FC236}">
                <a16:creationId xmlns:a16="http://schemas.microsoft.com/office/drawing/2014/main" id="{8553F099-096F-4EFD-A4B2-F0A8823D519A}"/>
              </a:ext>
            </a:extLst>
          </p:cNvPr>
          <p:cNvSpPr txBox="1">
            <a:spLocks/>
          </p:cNvSpPr>
          <p:nvPr/>
        </p:nvSpPr>
        <p:spPr>
          <a:xfrm>
            <a:off x="381000" y="94545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Tree>
    <p:extLst>
      <p:ext uri="{BB962C8B-B14F-4D97-AF65-F5344CB8AC3E}">
        <p14:creationId xmlns:p14="http://schemas.microsoft.com/office/powerpoint/2010/main" val="2226797842"/>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29"/>
        <p:cNvGrpSpPr/>
        <p:nvPr/>
      </p:nvGrpSpPr>
      <p:grpSpPr>
        <a:xfrm>
          <a:off x="0" y="0"/>
          <a:ext cx="0" cy="0"/>
          <a:chOff x="0" y="0"/>
          <a:chExt cx="0" cy="0"/>
        </a:xfrm>
      </p:grpSpPr>
      <p:sp>
        <p:nvSpPr>
          <p:cNvPr id="4" name="Rectangle 3">
            <a:extLst>
              <a:ext uri="{FF2B5EF4-FFF2-40B4-BE49-F238E27FC236}">
                <a16:creationId xmlns:a16="http://schemas.microsoft.com/office/drawing/2014/main" id="{60D9D1B5-1F55-412D-B528-6B1044B2DFED}"/>
              </a:ext>
            </a:extLst>
          </p:cNvPr>
          <p:cNvSpPr/>
          <p:nvPr/>
        </p:nvSpPr>
        <p:spPr>
          <a:xfrm>
            <a:off x="4572000" y="1801586"/>
            <a:ext cx="4191001" cy="10649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0" rIns="108000" bIns="0"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Cancer immunity is influenced by a complex set of tumor, host and environmental factors</a:t>
            </a:r>
            <a:r>
              <a:rPr kumimoji="0" lang="en-US" sz="1400" b="0" i="0" u="none" strike="noStrike" kern="0" cap="none" spc="0" normalizeH="0" baseline="30000" noProof="0" dirty="0">
                <a:ln>
                  <a:noFill/>
                </a:ln>
                <a:solidFill>
                  <a:srgbClr val="545859"/>
                </a:solidFill>
                <a:effectLst/>
                <a:uLnTx/>
                <a:uFillTx/>
                <a:latin typeface="Gene Sans Light" panose="00000400000000000000" pitchFamily="50" charset="0"/>
                <a:ea typeface="+mn-ea"/>
                <a:cs typeface="+mn-cs"/>
                <a:sym typeface="Arial"/>
              </a:rPr>
              <a:t>1</a:t>
            </a:r>
            <a:endParaRPr kumimoji="0" lang="en-US" sz="900" b="0"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endParaRPr>
          </a:p>
        </p:txBody>
      </p:sp>
      <p:sp>
        <p:nvSpPr>
          <p:cNvPr id="82" name="Rectangle 81">
            <a:extLst>
              <a:ext uri="{FF2B5EF4-FFF2-40B4-BE49-F238E27FC236}">
                <a16:creationId xmlns:a16="http://schemas.microsoft.com/office/drawing/2014/main" id="{09259AD1-44BC-4ECB-A056-43E56A9A0A2D}"/>
              </a:ext>
            </a:extLst>
          </p:cNvPr>
          <p:cNvSpPr/>
          <p:nvPr/>
        </p:nvSpPr>
        <p:spPr>
          <a:xfrm>
            <a:off x="4572000" y="2940403"/>
            <a:ext cx="4191001" cy="15517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8640" tIns="0" rIns="108000" bIns="0"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The cancer-immune set point is considered the threshold that must be surpassed for a person with cancer to respond to immunotherapy and varies between individuals</a:t>
            </a:r>
          </a:p>
        </p:txBody>
      </p:sp>
      <p:sp>
        <p:nvSpPr>
          <p:cNvPr id="130" name="Google Shape;130;p4"/>
          <p:cNvSpPr txBox="1">
            <a:spLocks noGrp="1"/>
          </p:cNvSpPr>
          <p:nvPr>
            <p:ph type="body" idx="2"/>
          </p:nvPr>
        </p:nvSpPr>
        <p:spPr>
          <a:prstGeom prst="rect">
            <a:avLst/>
          </a:prstGeom>
          <a:noFill/>
          <a:ln>
            <a:noFill/>
          </a:ln>
        </p:spPr>
        <p:txBody>
          <a:bodyPr spcFirstLastPara="1" wrap="square" lIns="0" tIns="0" rIns="0" bIns="0" anchor="t" anchorCtr="0">
            <a:spAutoFit/>
          </a:bodyPr>
          <a:lstStyle/>
          <a:p>
            <a:pPr marL="0" indent="0">
              <a:spcBef>
                <a:spcPts val="0"/>
              </a:spcBef>
              <a:buClr>
                <a:schemeClr val="accent1"/>
              </a:buClr>
              <a:buSzPts val="2200"/>
            </a:pPr>
            <a:r>
              <a:rPr lang="en-US" dirty="0">
                <a:latin typeface="Gene Sans Light" panose="00000400000000000000" pitchFamily="50" charset="0"/>
              </a:rPr>
              <a:t>1. Chen DS and Mellman I. Nature. 2017;541:321-330.</a:t>
            </a:r>
          </a:p>
        </p:txBody>
      </p:sp>
      <p:sp>
        <p:nvSpPr>
          <p:cNvPr id="131" name="Google Shape;131;p4"/>
          <p:cNvSpPr txBox="1">
            <a:spLocks noGrp="1"/>
          </p:cNvSpPr>
          <p:nvPr>
            <p:ph type="title"/>
          </p:nvPr>
        </p:nvSpPr>
        <p:spPr>
          <a:prstGeom prst="rect">
            <a:avLst/>
          </a:prstGeom>
          <a:noFill/>
          <a:ln>
            <a:noFill/>
          </a:ln>
        </p:spPr>
        <p:txBody>
          <a:bodyPr spcFirstLastPara="1" wrap="square" lIns="0" tIns="0" rIns="0" bIns="0" anchor="t" anchorCtr="0">
            <a:noAutofit/>
          </a:bodyPr>
          <a:lstStyle/>
          <a:p>
            <a:r>
              <a:rPr lang="en-US" dirty="0"/>
              <a:t>The Cancer–Immune Set Point: </a:t>
            </a:r>
            <a:br>
              <a:rPr lang="en-US" dirty="0"/>
            </a:br>
            <a:r>
              <a:rPr lang="en-US" dirty="0"/>
              <a:t>Multivariate Factors Influence Tolerance and Immunity</a:t>
            </a:r>
            <a:endParaRPr baseline="30000" dirty="0"/>
          </a:p>
        </p:txBody>
      </p:sp>
      <p:grpSp>
        <p:nvGrpSpPr>
          <p:cNvPr id="10" name="Group 9">
            <a:extLst>
              <a:ext uri="{FF2B5EF4-FFF2-40B4-BE49-F238E27FC236}">
                <a16:creationId xmlns:a16="http://schemas.microsoft.com/office/drawing/2014/main" id="{4DC38035-BFDD-41AF-BD2D-6D2DA470C92A}"/>
              </a:ext>
            </a:extLst>
          </p:cNvPr>
          <p:cNvGrpSpPr/>
          <p:nvPr/>
        </p:nvGrpSpPr>
        <p:grpSpPr>
          <a:xfrm>
            <a:off x="128003" y="1582330"/>
            <a:ext cx="4088397" cy="2910483"/>
            <a:chOff x="-233208" y="1465446"/>
            <a:chExt cx="4609252" cy="3281273"/>
          </a:xfrm>
        </p:grpSpPr>
        <p:sp>
          <p:nvSpPr>
            <p:cNvPr id="134" name="Google Shape;134;p4"/>
            <p:cNvSpPr/>
            <p:nvPr/>
          </p:nvSpPr>
          <p:spPr>
            <a:xfrm>
              <a:off x="3135649" y="2111574"/>
              <a:ext cx="180000" cy="180000"/>
            </a:xfrm>
            <a:prstGeom prst="ellipse">
              <a:avLst/>
            </a:prstGeom>
            <a:solidFill>
              <a:srgbClr val="FFC5C5"/>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35" name="Google Shape;135;p4"/>
            <p:cNvSpPr/>
            <p:nvPr/>
          </p:nvSpPr>
          <p:spPr>
            <a:xfrm>
              <a:off x="4097909" y="2452479"/>
              <a:ext cx="180000" cy="180000"/>
            </a:xfrm>
            <a:prstGeom prst="ellipse">
              <a:avLst/>
            </a:prstGeom>
            <a:solidFill>
              <a:srgbClr val="FFC5C5"/>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36" name="Google Shape;136;p4"/>
            <p:cNvSpPr/>
            <p:nvPr/>
          </p:nvSpPr>
          <p:spPr>
            <a:xfrm>
              <a:off x="3551232" y="2688395"/>
              <a:ext cx="180000" cy="180000"/>
            </a:xfrm>
            <a:prstGeom prst="ellipse">
              <a:avLst/>
            </a:prstGeom>
            <a:solidFill>
              <a:srgbClr val="FFC5C5"/>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37" name="Google Shape;137;p4"/>
            <p:cNvSpPr/>
            <p:nvPr/>
          </p:nvSpPr>
          <p:spPr>
            <a:xfrm>
              <a:off x="3384999" y="2421589"/>
              <a:ext cx="180000" cy="180000"/>
            </a:xfrm>
            <a:prstGeom prst="ellipse">
              <a:avLst/>
            </a:prstGeom>
            <a:solidFill>
              <a:srgbClr val="FFC5C5"/>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38" name="Google Shape;138;p4"/>
            <p:cNvSpPr/>
            <p:nvPr/>
          </p:nvSpPr>
          <p:spPr>
            <a:xfrm>
              <a:off x="3992105" y="2911192"/>
              <a:ext cx="180000" cy="180000"/>
            </a:xfrm>
            <a:prstGeom prst="ellipse">
              <a:avLst/>
            </a:prstGeom>
            <a:solidFill>
              <a:srgbClr val="FFC5C5"/>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39" name="Google Shape;139;p4"/>
            <p:cNvSpPr/>
            <p:nvPr/>
          </p:nvSpPr>
          <p:spPr>
            <a:xfrm>
              <a:off x="2945711" y="2785279"/>
              <a:ext cx="180000" cy="180000"/>
            </a:xfrm>
            <a:prstGeom prst="ellipse">
              <a:avLst/>
            </a:prstGeom>
            <a:solidFill>
              <a:srgbClr val="FFC5C5"/>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40" name="Google Shape;140;p4"/>
            <p:cNvSpPr/>
            <p:nvPr/>
          </p:nvSpPr>
          <p:spPr>
            <a:xfrm>
              <a:off x="3069001" y="3114854"/>
              <a:ext cx="180000" cy="180000"/>
            </a:xfrm>
            <a:prstGeom prst="ellipse">
              <a:avLst/>
            </a:prstGeom>
            <a:solidFill>
              <a:srgbClr val="FFC5C5"/>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41" name="Google Shape;141;p4"/>
            <p:cNvSpPr/>
            <p:nvPr/>
          </p:nvSpPr>
          <p:spPr>
            <a:xfrm>
              <a:off x="3718097" y="2153738"/>
              <a:ext cx="180000" cy="180000"/>
            </a:xfrm>
            <a:prstGeom prst="ellipse">
              <a:avLst/>
            </a:prstGeom>
            <a:solidFill>
              <a:srgbClr val="FFC5C5"/>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42" name="Google Shape;142;p4"/>
            <p:cNvSpPr txBox="1"/>
            <p:nvPr/>
          </p:nvSpPr>
          <p:spPr>
            <a:xfrm>
              <a:off x="3060299" y="2155408"/>
              <a:ext cx="330701" cy="92333"/>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IFN I, II</a:t>
              </a:r>
              <a:endParaRPr kumimoji="0" sz="600" b="0" i="0" u="none" strike="noStrike" kern="0" cap="none" spc="0" normalizeH="0" baseline="-25000" noProof="0" dirty="0">
                <a:ln>
                  <a:noFill/>
                </a:ln>
                <a:solidFill>
                  <a:srgbClr val="202020"/>
                </a:solidFill>
                <a:effectLst/>
                <a:uLnTx/>
                <a:uFillTx/>
                <a:latin typeface="Gene Sans Light" panose="00000400000000000000" pitchFamily="50" charset="0"/>
                <a:cs typeface="Arial"/>
                <a:sym typeface="Arial"/>
              </a:endParaRPr>
            </a:p>
          </p:txBody>
        </p:sp>
        <p:sp>
          <p:nvSpPr>
            <p:cNvPr id="143" name="Google Shape;143;p4"/>
            <p:cNvSpPr txBox="1"/>
            <p:nvPr/>
          </p:nvSpPr>
          <p:spPr>
            <a:xfrm>
              <a:off x="3347261" y="2465423"/>
              <a:ext cx="255476" cy="92333"/>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IL-12</a:t>
              </a:r>
              <a:endParaRPr kumimoji="0" sz="6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44" name="Google Shape;144;p4"/>
            <p:cNvSpPr txBox="1"/>
            <p:nvPr/>
          </p:nvSpPr>
          <p:spPr>
            <a:xfrm>
              <a:off x="3999774" y="2376280"/>
              <a:ext cx="376270" cy="332399"/>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Cytosol</a:t>
              </a:r>
              <a:endParaRPr kumimoji="0" sz="6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a:p>
              <a:pPr marL="0" marR="0" lvl="0" indent="0" algn="ctr" defTabSz="914400" rtl="0" eaLnBrk="1" fontAlgn="auto" latinLnBrk="0" hangingPunct="1">
                <a:lnSpc>
                  <a:spcPct val="9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sensor</a:t>
              </a:r>
              <a:endParaRPr kumimoji="0" sz="6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a:p>
              <a:pPr marL="0" marR="0" lvl="0" indent="0" algn="ctr" defTabSz="914400" rtl="0" eaLnBrk="1" fontAlgn="auto" latinLnBrk="0" hangingPunct="1">
                <a:lnSpc>
                  <a:spcPct val="9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ligand</a:t>
              </a:r>
              <a:endParaRPr kumimoji="0" sz="6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a:p>
              <a:pPr marL="0" marR="0" lvl="0" indent="0" algn="ctr" defTabSz="914400" rtl="0" eaLnBrk="1" fontAlgn="auto" latinLnBrk="0" hangingPunct="1">
                <a:lnSpc>
                  <a:spcPct val="9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NOD 2,1</a:t>
              </a:r>
              <a:endParaRPr kumimoji="0" sz="6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45" name="Google Shape;145;p4"/>
            <p:cNvSpPr txBox="1"/>
            <p:nvPr/>
          </p:nvSpPr>
          <p:spPr>
            <a:xfrm>
              <a:off x="3932263" y="2918093"/>
              <a:ext cx="299685" cy="166199"/>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CD8</a:t>
              </a:r>
              <a:endParaRPr kumimoji="0" sz="6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a:p>
              <a:pPr marL="0" marR="0" lvl="0" indent="0" algn="ctr" defTabSz="914400" rtl="0" eaLnBrk="1" fontAlgn="auto" latinLnBrk="0" hangingPunct="1">
                <a:lnSpc>
                  <a:spcPct val="9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T cells</a:t>
              </a:r>
              <a:endParaRPr kumimoji="0" sz="6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46" name="Google Shape;146;p4"/>
            <p:cNvSpPr txBox="1"/>
            <p:nvPr/>
          </p:nvSpPr>
          <p:spPr>
            <a:xfrm>
              <a:off x="3491390" y="2695296"/>
              <a:ext cx="299685" cy="166199"/>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CD4</a:t>
              </a:r>
              <a:endParaRPr kumimoji="0" sz="6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a:p>
              <a:pPr marL="0" marR="0" lvl="0" indent="0" algn="ctr" defTabSz="914400" rtl="0" eaLnBrk="1" fontAlgn="auto" latinLnBrk="0" hangingPunct="1">
                <a:lnSpc>
                  <a:spcPct val="9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T cells</a:t>
              </a:r>
              <a:endParaRPr kumimoji="0" sz="6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47" name="Google Shape;147;p4"/>
            <p:cNvSpPr txBox="1"/>
            <p:nvPr/>
          </p:nvSpPr>
          <p:spPr>
            <a:xfrm>
              <a:off x="2907973" y="2833729"/>
              <a:ext cx="255476" cy="83100"/>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IL-23</a:t>
              </a:r>
              <a:endParaRPr kumimoji="0" sz="6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48" name="Google Shape;148;p4"/>
            <p:cNvSpPr txBox="1"/>
            <p:nvPr/>
          </p:nvSpPr>
          <p:spPr>
            <a:xfrm>
              <a:off x="2998352" y="3163304"/>
              <a:ext cx="321298" cy="83100"/>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IL-1α,β</a:t>
              </a:r>
              <a:endParaRPr kumimoji="0"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endParaRPr>
            </a:p>
          </p:txBody>
        </p:sp>
        <p:sp>
          <p:nvSpPr>
            <p:cNvPr id="149" name="Google Shape;149;p4"/>
            <p:cNvSpPr txBox="1"/>
            <p:nvPr/>
          </p:nvSpPr>
          <p:spPr>
            <a:xfrm>
              <a:off x="3647087" y="2160639"/>
              <a:ext cx="322021" cy="166199"/>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9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TLR</a:t>
              </a:r>
              <a:endParaRPr kumimoji="0" sz="6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a:p>
              <a:pPr marL="0" marR="0" lvl="0" indent="0" algn="ctr" defTabSz="914400" rtl="0" eaLnBrk="1" fontAlgn="auto" latinLnBrk="0" hangingPunct="1">
                <a:lnSpc>
                  <a:spcPct val="9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ligands</a:t>
              </a:r>
              <a:endParaRPr kumimoji="0" sz="6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50" name="Google Shape;150;p4"/>
            <p:cNvSpPr/>
            <p:nvPr/>
          </p:nvSpPr>
          <p:spPr>
            <a:xfrm>
              <a:off x="1578103" y="2075152"/>
              <a:ext cx="180000" cy="180000"/>
            </a:xfrm>
            <a:prstGeom prst="ellipse">
              <a:avLst/>
            </a:prstGeom>
            <a:solidFill>
              <a:srgbClr val="B7DFFF"/>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51" name="Google Shape;151;p4"/>
            <p:cNvSpPr/>
            <p:nvPr/>
          </p:nvSpPr>
          <p:spPr>
            <a:xfrm>
              <a:off x="2001580" y="2132222"/>
              <a:ext cx="180000" cy="180000"/>
            </a:xfrm>
            <a:prstGeom prst="ellipse">
              <a:avLst/>
            </a:prstGeom>
            <a:solidFill>
              <a:srgbClr val="B7DFFF"/>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52" name="Google Shape;152;p4"/>
            <p:cNvSpPr/>
            <p:nvPr/>
          </p:nvSpPr>
          <p:spPr>
            <a:xfrm>
              <a:off x="2133409" y="2378920"/>
              <a:ext cx="180000" cy="180000"/>
            </a:xfrm>
            <a:prstGeom prst="ellipse">
              <a:avLst/>
            </a:prstGeom>
            <a:solidFill>
              <a:srgbClr val="B7DFFF"/>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53" name="Google Shape;153;p4"/>
            <p:cNvSpPr/>
            <p:nvPr/>
          </p:nvSpPr>
          <p:spPr>
            <a:xfrm>
              <a:off x="1993093" y="2654912"/>
              <a:ext cx="180000" cy="180000"/>
            </a:xfrm>
            <a:prstGeom prst="ellipse">
              <a:avLst/>
            </a:prstGeom>
            <a:solidFill>
              <a:srgbClr val="B7DFFF"/>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54" name="Google Shape;154;p4"/>
            <p:cNvSpPr/>
            <p:nvPr/>
          </p:nvSpPr>
          <p:spPr>
            <a:xfrm>
              <a:off x="1701863" y="2508506"/>
              <a:ext cx="180000" cy="180000"/>
            </a:xfrm>
            <a:prstGeom prst="ellipse">
              <a:avLst/>
            </a:prstGeom>
            <a:solidFill>
              <a:srgbClr val="B7DFFF"/>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55" name="Google Shape;155;p4"/>
            <p:cNvSpPr/>
            <p:nvPr/>
          </p:nvSpPr>
          <p:spPr>
            <a:xfrm>
              <a:off x="1389542" y="2716594"/>
              <a:ext cx="180000" cy="180000"/>
            </a:xfrm>
            <a:prstGeom prst="ellipse">
              <a:avLst/>
            </a:prstGeom>
            <a:solidFill>
              <a:srgbClr val="B7DFFF"/>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56" name="Google Shape;156;p4"/>
            <p:cNvSpPr/>
            <p:nvPr/>
          </p:nvSpPr>
          <p:spPr>
            <a:xfrm>
              <a:off x="1741924" y="2901587"/>
              <a:ext cx="180000" cy="180000"/>
            </a:xfrm>
            <a:prstGeom prst="ellipse">
              <a:avLst/>
            </a:prstGeom>
            <a:solidFill>
              <a:srgbClr val="B7DFFF"/>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57" name="Google Shape;157;p4"/>
            <p:cNvSpPr/>
            <p:nvPr/>
          </p:nvSpPr>
          <p:spPr>
            <a:xfrm>
              <a:off x="2231324" y="3103948"/>
              <a:ext cx="180000" cy="180000"/>
            </a:xfrm>
            <a:prstGeom prst="ellipse">
              <a:avLst/>
            </a:prstGeom>
            <a:solidFill>
              <a:srgbClr val="B7DFFF"/>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58" name="Google Shape;158;p4"/>
            <p:cNvSpPr/>
            <p:nvPr/>
          </p:nvSpPr>
          <p:spPr>
            <a:xfrm>
              <a:off x="2478455" y="2881320"/>
              <a:ext cx="180000" cy="180000"/>
            </a:xfrm>
            <a:prstGeom prst="ellipse">
              <a:avLst/>
            </a:prstGeom>
            <a:solidFill>
              <a:srgbClr val="B7DFFF"/>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grpSp>
          <p:nvGrpSpPr>
            <p:cNvPr id="159" name="Google Shape;159;p4"/>
            <p:cNvGrpSpPr/>
            <p:nvPr/>
          </p:nvGrpSpPr>
          <p:grpSpPr>
            <a:xfrm>
              <a:off x="1543488" y="1674659"/>
              <a:ext cx="2655897" cy="1723610"/>
              <a:chOff x="4525279" y="1748707"/>
              <a:chExt cx="2996829" cy="2409477"/>
            </a:xfrm>
          </p:grpSpPr>
          <p:sp>
            <p:nvSpPr>
              <p:cNvPr id="160" name="Google Shape;160;p4"/>
              <p:cNvSpPr/>
              <p:nvPr/>
            </p:nvSpPr>
            <p:spPr>
              <a:xfrm>
                <a:off x="6020356" y="1748707"/>
                <a:ext cx="0" cy="2409477"/>
              </a:xfrm>
              <a:custGeom>
                <a:avLst/>
                <a:gdLst/>
                <a:ahLst/>
                <a:cxnLst/>
                <a:rect l="l" t="t" r="r" b="b"/>
                <a:pathLst>
                  <a:path w="120000" h="2409477" extrusionOk="0">
                    <a:moveTo>
                      <a:pt x="0" y="0"/>
                    </a:moveTo>
                    <a:lnTo>
                      <a:pt x="0" y="2409477"/>
                    </a:lnTo>
                  </a:path>
                </a:pathLst>
              </a:custGeom>
              <a:noFill/>
              <a:ln w="19050"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61" name="Google Shape;161;p4"/>
              <p:cNvSpPr/>
              <p:nvPr/>
            </p:nvSpPr>
            <p:spPr>
              <a:xfrm>
                <a:off x="4525279" y="4154274"/>
                <a:ext cx="2996829" cy="0"/>
              </a:xfrm>
              <a:custGeom>
                <a:avLst/>
                <a:gdLst/>
                <a:ahLst/>
                <a:cxnLst/>
                <a:rect l="l" t="t" r="r" b="b"/>
                <a:pathLst>
                  <a:path w="2996829" h="120000" extrusionOk="0">
                    <a:moveTo>
                      <a:pt x="0" y="0"/>
                    </a:moveTo>
                    <a:lnTo>
                      <a:pt x="2996829" y="0"/>
                    </a:lnTo>
                  </a:path>
                </a:pathLst>
              </a:custGeom>
              <a:noFill/>
              <a:ln w="19050" cap="flat" cmpd="sng">
                <a:solidFill>
                  <a:srgbClr val="7F7F7F"/>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grpSp>
        <p:sp>
          <p:nvSpPr>
            <p:cNvPr id="162" name="Google Shape;162;p4"/>
            <p:cNvSpPr/>
            <p:nvPr/>
          </p:nvSpPr>
          <p:spPr>
            <a:xfrm>
              <a:off x="1543488" y="2295327"/>
              <a:ext cx="2638151" cy="969255"/>
            </a:xfrm>
            <a:custGeom>
              <a:avLst/>
              <a:gdLst/>
              <a:ahLst/>
              <a:cxnLst/>
              <a:rect l="l" t="t" r="r" b="b"/>
              <a:pathLst>
                <a:path w="2976806" h="1354945" extrusionOk="0">
                  <a:moveTo>
                    <a:pt x="0" y="1348270"/>
                  </a:moveTo>
                  <a:cubicBezTo>
                    <a:pt x="240280" y="1332140"/>
                    <a:pt x="423828" y="1359394"/>
                    <a:pt x="720841" y="1041245"/>
                  </a:cubicBezTo>
                  <a:cubicBezTo>
                    <a:pt x="1017854" y="723096"/>
                    <a:pt x="1006730" y="-5531"/>
                    <a:pt x="1501752" y="31"/>
                  </a:cubicBezTo>
                  <a:cubicBezTo>
                    <a:pt x="1996774" y="5593"/>
                    <a:pt x="1970075" y="762030"/>
                    <a:pt x="2289337" y="1074617"/>
                  </a:cubicBezTo>
                  <a:cubicBezTo>
                    <a:pt x="2608599" y="1387204"/>
                    <a:pt x="2896713" y="1341596"/>
                    <a:pt x="2976806" y="1354945"/>
                  </a:cubicBezTo>
                </a:path>
              </a:pathLst>
            </a:custGeom>
            <a:noFill/>
            <a:ln w="381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63" name="Google Shape;163;p4"/>
            <p:cNvSpPr/>
            <p:nvPr/>
          </p:nvSpPr>
          <p:spPr>
            <a:xfrm>
              <a:off x="1543488" y="3481068"/>
              <a:ext cx="2655895" cy="56932"/>
            </a:xfrm>
            <a:prstGeom prst="rect">
              <a:avLst/>
            </a:prstGeom>
            <a:gradFill>
              <a:gsLst>
                <a:gs pos="0">
                  <a:schemeClr val="accent1"/>
                </a:gs>
                <a:gs pos="100000">
                  <a:srgbClr val="FF0000"/>
                </a:gs>
              </a:gsLst>
              <a:lin ang="0" scaled="0"/>
            </a:gra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300"/>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64" name="Google Shape;164;p4"/>
            <p:cNvSpPr/>
            <p:nvPr/>
          </p:nvSpPr>
          <p:spPr>
            <a:xfrm>
              <a:off x="1543488" y="3688257"/>
              <a:ext cx="2655895" cy="56932"/>
            </a:xfrm>
            <a:prstGeom prst="rect">
              <a:avLst/>
            </a:prstGeom>
            <a:gradFill>
              <a:gsLst>
                <a:gs pos="0">
                  <a:schemeClr val="accent1"/>
                </a:gs>
                <a:gs pos="100000">
                  <a:srgbClr val="FF0000"/>
                </a:gs>
              </a:gsLst>
              <a:lin ang="0" scaled="0"/>
            </a:gra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65" name="Google Shape;165;p4"/>
            <p:cNvSpPr/>
            <p:nvPr/>
          </p:nvSpPr>
          <p:spPr>
            <a:xfrm>
              <a:off x="1543488" y="3904584"/>
              <a:ext cx="2655895" cy="56932"/>
            </a:xfrm>
            <a:prstGeom prst="rect">
              <a:avLst/>
            </a:prstGeom>
            <a:gradFill>
              <a:gsLst>
                <a:gs pos="0">
                  <a:schemeClr val="accent1"/>
                </a:gs>
                <a:gs pos="100000">
                  <a:srgbClr val="FF0000"/>
                </a:gs>
              </a:gsLst>
              <a:lin ang="0" scaled="0"/>
            </a:gra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66" name="Google Shape;166;p4"/>
            <p:cNvSpPr/>
            <p:nvPr/>
          </p:nvSpPr>
          <p:spPr>
            <a:xfrm>
              <a:off x="1543488" y="4120910"/>
              <a:ext cx="2655895" cy="56932"/>
            </a:xfrm>
            <a:prstGeom prst="rect">
              <a:avLst/>
            </a:prstGeom>
            <a:gradFill>
              <a:gsLst>
                <a:gs pos="0">
                  <a:schemeClr val="accent1"/>
                </a:gs>
                <a:gs pos="100000">
                  <a:srgbClr val="FF0000"/>
                </a:gs>
              </a:gsLst>
              <a:lin ang="0" scaled="0"/>
            </a:gra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67" name="Google Shape;167;p4"/>
            <p:cNvSpPr/>
            <p:nvPr/>
          </p:nvSpPr>
          <p:spPr>
            <a:xfrm>
              <a:off x="1543488" y="4337237"/>
              <a:ext cx="2655895" cy="56932"/>
            </a:xfrm>
            <a:prstGeom prst="rect">
              <a:avLst/>
            </a:prstGeom>
            <a:gradFill>
              <a:gsLst>
                <a:gs pos="0">
                  <a:schemeClr val="accent1"/>
                </a:gs>
                <a:gs pos="100000">
                  <a:srgbClr val="FF0000"/>
                </a:gs>
              </a:gsLst>
              <a:lin ang="0" scaled="0"/>
            </a:gra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68" name="Google Shape;168;p4"/>
            <p:cNvSpPr/>
            <p:nvPr/>
          </p:nvSpPr>
          <p:spPr>
            <a:xfrm>
              <a:off x="1543488" y="4548482"/>
              <a:ext cx="2655895" cy="56932"/>
            </a:xfrm>
            <a:prstGeom prst="rect">
              <a:avLst/>
            </a:prstGeom>
            <a:gradFill>
              <a:gsLst>
                <a:gs pos="0">
                  <a:schemeClr val="accent1"/>
                </a:gs>
                <a:gs pos="100000">
                  <a:srgbClr val="FF0000"/>
                </a:gs>
              </a:gsLst>
              <a:lin ang="0" scaled="0"/>
            </a:gra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69" name="Google Shape;169;p4"/>
            <p:cNvSpPr txBox="1"/>
            <p:nvPr/>
          </p:nvSpPr>
          <p:spPr>
            <a:xfrm>
              <a:off x="762098" y="3440056"/>
              <a:ext cx="710624" cy="123111"/>
            </a:xfrm>
            <a:prstGeom prst="rect">
              <a:avLst/>
            </a:prstGeom>
            <a:noFill/>
            <a:ln>
              <a:noFill/>
            </a:ln>
          </p:spPr>
          <p:txBody>
            <a:bodyPr spcFirstLastPara="1"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300"/>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Genetics</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70" name="Google Shape;170;p4"/>
            <p:cNvSpPr txBox="1"/>
            <p:nvPr/>
          </p:nvSpPr>
          <p:spPr>
            <a:xfrm>
              <a:off x="1067306" y="3653294"/>
              <a:ext cx="405415" cy="123111"/>
            </a:xfrm>
            <a:prstGeom prst="rect">
              <a:avLst/>
            </a:prstGeom>
            <a:noFill/>
            <a:ln>
              <a:noFill/>
            </a:ln>
          </p:spPr>
          <p:txBody>
            <a:bodyPr spcFirstLastPara="1"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300"/>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Age</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71" name="Google Shape;171;p4"/>
            <p:cNvSpPr txBox="1"/>
            <p:nvPr/>
          </p:nvSpPr>
          <p:spPr>
            <a:xfrm>
              <a:off x="589235" y="3866532"/>
              <a:ext cx="883484" cy="123111"/>
            </a:xfrm>
            <a:prstGeom prst="rect">
              <a:avLst/>
            </a:prstGeom>
            <a:noFill/>
            <a:ln>
              <a:noFill/>
            </a:ln>
          </p:spPr>
          <p:txBody>
            <a:bodyPr spcFirstLastPara="1"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300"/>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Microbiome</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72" name="Google Shape;172;p4"/>
            <p:cNvSpPr txBox="1"/>
            <p:nvPr/>
          </p:nvSpPr>
          <p:spPr>
            <a:xfrm>
              <a:off x="475634" y="4079770"/>
              <a:ext cx="997087" cy="123111"/>
            </a:xfrm>
            <a:prstGeom prst="rect">
              <a:avLst/>
            </a:prstGeom>
            <a:noFill/>
            <a:ln>
              <a:noFill/>
            </a:ln>
          </p:spPr>
          <p:txBody>
            <a:bodyPr spcFirstLastPara="1"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300"/>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Viral infection</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73" name="Google Shape;173;p4"/>
            <p:cNvSpPr txBox="1"/>
            <p:nvPr/>
          </p:nvSpPr>
          <p:spPr>
            <a:xfrm>
              <a:off x="386667" y="4293008"/>
              <a:ext cx="1086055" cy="123111"/>
            </a:xfrm>
            <a:prstGeom prst="rect">
              <a:avLst/>
            </a:prstGeom>
            <a:noFill/>
            <a:ln>
              <a:noFill/>
            </a:ln>
          </p:spPr>
          <p:txBody>
            <a:bodyPr spcFirstLastPara="1"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300"/>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Seasons / sun</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74" name="Google Shape;174;p4"/>
            <p:cNvSpPr txBox="1"/>
            <p:nvPr/>
          </p:nvSpPr>
          <p:spPr>
            <a:xfrm>
              <a:off x="-233208" y="4506244"/>
              <a:ext cx="1705927" cy="123111"/>
            </a:xfrm>
            <a:prstGeom prst="rect">
              <a:avLst/>
            </a:prstGeom>
            <a:noFill/>
            <a:ln>
              <a:noFill/>
            </a:ln>
          </p:spPr>
          <p:txBody>
            <a:bodyPr spcFirstLastPara="1"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300"/>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Immune-modifying drugs</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75" name="Google Shape;175;p4"/>
            <p:cNvSpPr txBox="1"/>
            <p:nvPr/>
          </p:nvSpPr>
          <p:spPr>
            <a:xfrm>
              <a:off x="1543487" y="4623608"/>
              <a:ext cx="1454736"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13294B"/>
                </a:buClr>
                <a:buSzPts val="1300"/>
                <a:buFont typeface="Arial"/>
                <a:buNone/>
                <a:tabLst/>
                <a:defRPr/>
              </a:pPr>
              <a:r>
                <a:rPr kumimoji="0" lang="en-US" sz="800" b="0" i="0" u="none" strike="noStrike" kern="0" cap="none" spc="0" normalizeH="0" baseline="0" noProof="0" dirty="0">
                  <a:ln>
                    <a:noFill/>
                  </a:ln>
                  <a:solidFill>
                    <a:srgbClr val="13294B"/>
                  </a:solidFill>
                  <a:effectLst/>
                  <a:uLnTx/>
                  <a:uFillTx/>
                  <a:latin typeface="Gene Sans Light" panose="00000400000000000000" pitchFamily="50" charset="0"/>
                  <a:cs typeface="Arial"/>
                  <a:sym typeface="Arial"/>
                </a:rPr>
                <a:t>Immune Suppression</a:t>
              </a:r>
              <a:endParaRPr kumimoji="0" lang="en-US"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76" name="Google Shape;176;p4"/>
            <p:cNvSpPr txBox="1"/>
            <p:nvPr/>
          </p:nvSpPr>
          <p:spPr>
            <a:xfrm>
              <a:off x="1543487" y="4406108"/>
              <a:ext cx="743035"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13294B"/>
                </a:buClr>
                <a:buSzPts val="1300"/>
                <a:buFont typeface="Arial"/>
                <a:buNone/>
                <a:tabLst/>
                <a:defRPr/>
              </a:pPr>
              <a:r>
                <a:rPr kumimoji="0" lang="en-US" sz="800" b="0" i="0" u="none" strike="noStrike" kern="0" cap="none" spc="0" normalizeH="0" baseline="0" noProof="0" dirty="0">
                  <a:ln>
                    <a:noFill/>
                  </a:ln>
                  <a:solidFill>
                    <a:srgbClr val="13294B"/>
                  </a:solidFill>
                  <a:effectLst/>
                  <a:uLnTx/>
                  <a:uFillTx/>
                  <a:latin typeface="Gene Sans Light" panose="00000400000000000000" pitchFamily="50" charset="0"/>
                  <a:cs typeface="Arial"/>
                  <a:sym typeface="Arial"/>
                </a:rPr>
                <a:t>More Sun</a:t>
              </a:r>
              <a:endParaRPr kumimoji="0" lang="en-US"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77" name="Google Shape;177;p4"/>
            <p:cNvSpPr txBox="1"/>
            <p:nvPr/>
          </p:nvSpPr>
          <p:spPr>
            <a:xfrm>
              <a:off x="1543486" y="4196341"/>
              <a:ext cx="875382"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13294B"/>
                </a:buClr>
                <a:buSzPts val="1300"/>
                <a:buFont typeface="Arial"/>
                <a:buNone/>
                <a:tabLst/>
                <a:defRPr/>
              </a:pPr>
              <a:r>
                <a:rPr kumimoji="0" lang="en-US" sz="800" b="0" i="0" u="none" strike="noStrike" kern="0" cap="none" spc="0" normalizeH="0" baseline="0" noProof="0" dirty="0">
                  <a:ln>
                    <a:noFill/>
                  </a:ln>
                  <a:solidFill>
                    <a:srgbClr val="13294B"/>
                  </a:solidFill>
                  <a:effectLst/>
                  <a:uLnTx/>
                  <a:uFillTx/>
                  <a:latin typeface="Gene Sans Light" panose="00000400000000000000" pitchFamily="50" charset="0"/>
                  <a:cs typeface="Arial"/>
                  <a:sym typeface="Arial"/>
                </a:rPr>
                <a:t>No Infection</a:t>
              </a:r>
              <a:endParaRPr kumimoji="0" lang="en-US"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78" name="Google Shape;178;p4"/>
            <p:cNvSpPr txBox="1"/>
            <p:nvPr/>
          </p:nvSpPr>
          <p:spPr>
            <a:xfrm>
              <a:off x="1543487" y="3978288"/>
              <a:ext cx="844320"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13294B"/>
                </a:buClr>
                <a:buSzPts val="1300"/>
                <a:buFont typeface="Arial"/>
                <a:buNone/>
                <a:tabLst/>
                <a:defRPr/>
              </a:pPr>
              <a:r>
                <a:rPr kumimoji="0" lang="en-US" sz="800" b="0" i="0" u="none" strike="noStrike" kern="0" cap="none" spc="0" normalizeH="0" baseline="0" noProof="0" dirty="0">
                  <a:ln>
                    <a:noFill/>
                  </a:ln>
                  <a:solidFill>
                    <a:srgbClr val="13294B"/>
                  </a:solidFill>
                  <a:effectLst/>
                  <a:uLnTx/>
                  <a:uFillTx/>
                  <a:latin typeface="Gene Sans Light" panose="00000400000000000000" pitchFamily="50" charset="0"/>
                  <a:cs typeface="Arial"/>
                  <a:sym typeface="Arial"/>
                </a:rPr>
                <a:t>Tolerogenic</a:t>
              </a:r>
              <a:endParaRPr kumimoji="0" lang="en-US"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79" name="Google Shape;179;p4"/>
            <p:cNvSpPr txBox="1"/>
            <p:nvPr/>
          </p:nvSpPr>
          <p:spPr>
            <a:xfrm>
              <a:off x="1543487" y="3765077"/>
              <a:ext cx="468887"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13294B"/>
                </a:buClr>
                <a:buSzPts val="1300"/>
                <a:buFont typeface="Arial"/>
                <a:buNone/>
                <a:tabLst/>
                <a:defRPr/>
              </a:pPr>
              <a:r>
                <a:rPr kumimoji="0" lang="en-US" sz="800" b="0" i="0" u="none" strike="noStrike" kern="0" cap="none" spc="0" normalizeH="0" baseline="0" noProof="0" dirty="0">
                  <a:ln>
                    <a:noFill/>
                  </a:ln>
                  <a:solidFill>
                    <a:srgbClr val="13294B"/>
                  </a:solidFill>
                  <a:effectLst/>
                  <a:uLnTx/>
                  <a:uFillTx/>
                  <a:latin typeface="Gene Sans Light" panose="00000400000000000000" pitchFamily="50" charset="0"/>
                  <a:cs typeface="Arial"/>
                  <a:sym typeface="Arial"/>
                </a:rPr>
                <a:t>Older</a:t>
              </a:r>
              <a:endParaRPr kumimoji="0" lang="en-US"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80" name="Google Shape;180;p4"/>
            <p:cNvSpPr txBox="1"/>
            <p:nvPr/>
          </p:nvSpPr>
          <p:spPr>
            <a:xfrm>
              <a:off x="3449494" y="3551981"/>
              <a:ext cx="749787" cy="123111"/>
            </a:xfrm>
            <a:prstGeom prst="rect">
              <a:avLst/>
            </a:prstGeom>
            <a:noFill/>
            <a:ln>
              <a:noFill/>
            </a:ln>
          </p:spPr>
          <p:txBody>
            <a:bodyPr spcFirstLastPara="1"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
                  <a:srgbClr val="FF0000"/>
                </a:buClr>
                <a:buSzPts val="1300"/>
                <a:buFont typeface="Arial"/>
                <a:buNone/>
                <a:tabLst/>
                <a:defRPr/>
              </a:pPr>
              <a:r>
                <a:rPr kumimoji="0" lang="en-US" sz="800" b="0" i="0" u="none" strike="noStrike" kern="0" cap="none" spc="0" normalizeH="0" baseline="0" noProof="0" dirty="0">
                  <a:ln>
                    <a:noFill/>
                  </a:ln>
                  <a:solidFill>
                    <a:srgbClr val="FF0000"/>
                  </a:solidFill>
                  <a:effectLst/>
                  <a:uLnTx/>
                  <a:uFillTx/>
                  <a:latin typeface="Gene Sans Light" panose="00000400000000000000" pitchFamily="50" charset="0"/>
                  <a:cs typeface="Arial"/>
                  <a:sym typeface="Arial"/>
                </a:rPr>
                <a:t>Activation</a:t>
              </a:r>
              <a:endParaRPr kumimoji="0" lang="en-US"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81" name="Google Shape;181;p4"/>
            <p:cNvSpPr txBox="1"/>
            <p:nvPr/>
          </p:nvSpPr>
          <p:spPr>
            <a:xfrm>
              <a:off x="3534576" y="3767019"/>
              <a:ext cx="664707" cy="123111"/>
            </a:xfrm>
            <a:prstGeom prst="rect">
              <a:avLst/>
            </a:prstGeom>
            <a:noFill/>
            <a:ln>
              <a:noFill/>
            </a:ln>
          </p:spPr>
          <p:txBody>
            <a:bodyPr spcFirstLastPara="1"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
                  <a:srgbClr val="FF0000"/>
                </a:buClr>
                <a:buSzPts val="1300"/>
                <a:buFont typeface="Arial"/>
                <a:buNone/>
                <a:tabLst/>
                <a:defRPr/>
              </a:pPr>
              <a:r>
                <a:rPr kumimoji="0" lang="en-US" sz="800" b="0" i="0" u="none" strike="noStrike" kern="0" cap="none" spc="0" normalizeH="0" baseline="0" noProof="0" dirty="0">
                  <a:ln>
                    <a:noFill/>
                  </a:ln>
                  <a:solidFill>
                    <a:srgbClr val="FF0000"/>
                  </a:solidFill>
                  <a:effectLst/>
                  <a:uLnTx/>
                  <a:uFillTx/>
                  <a:latin typeface="Gene Sans Light" panose="00000400000000000000" pitchFamily="50" charset="0"/>
                  <a:cs typeface="Arial"/>
                  <a:sym typeface="Arial"/>
                </a:rPr>
                <a:t>Younger</a:t>
              </a:r>
              <a:endParaRPr kumimoji="0" lang="en-US"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82" name="Google Shape;182;p4"/>
            <p:cNvSpPr txBox="1"/>
            <p:nvPr/>
          </p:nvSpPr>
          <p:spPr>
            <a:xfrm>
              <a:off x="3245573" y="3975109"/>
              <a:ext cx="953710" cy="123111"/>
            </a:xfrm>
            <a:prstGeom prst="rect">
              <a:avLst/>
            </a:prstGeom>
            <a:noFill/>
            <a:ln>
              <a:noFill/>
            </a:ln>
          </p:spPr>
          <p:txBody>
            <a:bodyPr spcFirstLastPara="1"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
                  <a:srgbClr val="FF0000"/>
                </a:buClr>
                <a:buSzPts val="1300"/>
                <a:buFont typeface="Arial"/>
                <a:buNone/>
                <a:tabLst/>
                <a:defRPr/>
              </a:pPr>
              <a:r>
                <a:rPr kumimoji="0" lang="en-US" sz="800" b="0" i="0" u="none" strike="noStrike" kern="0" cap="none" spc="0" normalizeH="0" baseline="0" noProof="0" dirty="0">
                  <a:ln>
                    <a:noFill/>
                  </a:ln>
                  <a:solidFill>
                    <a:srgbClr val="FF0000"/>
                  </a:solidFill>
                  <a:effectLst/>
                  <a:uLnTx/>
                  <a:uFillTx/>
                  <a:latin typeface="Gene Sans Light" panose="00000400000000000000" pitchFamily="50" charset="0"/>
                  <a:cs typeface="Arial"/>
                  <a:sym typeface="Arial"/>
                </a:rPr>
                <a:t>Inflammation</a:t>
              </a:r>
              <a:endParaRPr kumimoji="0" lang="en-US"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83" name="Google Shape;183;p4"/>
            <p:cNvSpPr txBox="1"/>
            <p:nvPr/>
          </p:nvSpPr>
          <p:spPr>
            <a:xfrm>
              <a:off x="3519721" y="4196381"/>
              <a:ext cx="679561" cy="123111"/>
            </a:xfrm>
            <a:prstGeom prst="rect">
              <a:avLst/>
            </a:prstGeom>
            <a:noFill/>
            <a:ln>
              <a:noFill/>
            </a:ln>
          </p:spPr>
          <p:txBody>
            <a:bodyPr spcFirstLastPara="1"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
                  <a:srgbClr val="FF0000"/>
                </a:buClr>
                <a:buSzPts val="1300"/>
                <a:buFont typeface="Arial"/>
                <a:buNone/>
                <a:tabLst/>
                <a:defRPr/>
              </a:pPr>
              <a:r>
                <a:rPr kumimoji="0" lang="en-US" sz="800" b="0" i="0" u="none" strike="noStrike" kern="0" cap="none" spc="0" normalizeH="0" baseline="0" noProof="0" dirty="0">
                  <a:ln>
                    <a:noFill/>
                  </a:ln>
                  <a:solidFill>
                    <a:srgbClr val="FF0000"/>
                  </a:solidFill>
                  <a:effectLst/>
                  <a:uLnTx/>
                  <a:uFillTx/>
                  <a:latin typeface="Gene Sans Light" panose="00000400000000000000" pitchFamily="50" charset="0"/>
                  <a:cs typeface="Arial"/>
                  <a:sym typeface="Arial"/>
                </a:rPr>
                <a:t>Infection</a:t>
              </a:r>
              <a:endParaRPr kumimoji="0" lang="en-US"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84" name="Google Shape;184;p4"/>
            <p:cNvSpPr txBox="1"/>
            <p:nvPr/>
          </p:nvSpPr>
          <p:spPr>
            <a:xfrm>
              <a:off x="3527822" y="4406108"/>
              <a:ext cx="671460" cy="123111"/>
            </a:xfrm>
            <a:prstGeom prst="rect">
              <a:avLst/>
            </a:prstGeom>
            <a:noFill/>
            <a:ln>
              <a:noFill/>
            </a:ln>
          </p:spPr>
          <p:txBody>
            <a:bodyPr spcFirstLastPara="1"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
                  <a:srgbClr val="FF0000"/>
                </a:buClr>
                <a:buSzPts val="1300"/>
                <a:buFont typeface="Arial"/>
                <a:buNone/>
                <a:tabLst/>
                <a:defRPr/>
              </a:pPr>
              <a:r>
                <a:rPr kumimoji="0" lang="en-US" sz="800" b="0" i="0" u="none" strike="noStrike" kern="0" cap="none" spc="0" normalizeH="0" baseline="0" noProof="0" dirty="0">
                  <a:ln>
                    <a:noFill/>
                  </a:ln>
                  <a:solidFill>
                    <a:srgbClr val="FF0000"/>
                  </a:solidFill>
                  <a:effectLst/>
                  <a:uLnTx/>
                  <a:uFillTx/>
                  <a:latin typeface="Gene Sans Light" panose="00000400000000000000" pitchFamily="50" charset="0"/>
                  <a:cs typeface="Arial"/>
                  <a:sym typeface="Arial"/>
                </a:rPr>
                <a:t>Less Sun</a:t>
              </a:r>
              <a:endParaRPr kumimoji="0" lang="en-US"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85" name="Google Shape;185;p4"/>
            <p:cNvSpPr txBox="1"/>
            <p:nvPr/>
          </p:nvSpPr>
          <p:spPr>
            <a:xfrm>
              <a:off x="2822871" y="4623608"/>
              <a:ext cx="1376410" cy="123111"/>
            </a:xfrm>
            <a:prstGeom prst="rect">
              <a:avLst/>
            </a:prstGeom>
            <a:noFill/>
            <a:ln>
              <a:noFill/>
            </a:ln>
          </p:spPr>
          <p:txBody>
            <a:bodyPr spcFirstLastPara="1" wrap="square" lIns="0" tIns="0" rIns="0" bIns="0" anchor="ctr" anchorCtr="0">
              <a:spAutoFit/>
            </a:bodyPr>
            <a:lstStyle/>
            <a:p>
              <a:pPr marL="0" marR="0" lvl="0" indent="0" algn="r" defTabSz="914400" rtl="0" eaLnBrk="1" fontAlgn="auto" latinLnBrk="0" hangingPunct="1">
                <a:lnSpc>
                  <a:spcPct val="100000"/>
                </a:lnSpc>
                <a:spcBef>
                  <a:spcPts val="0"/>
                </a:spcBef>
                <a:spcAft>
                  <a:spcPts val="0"/>
                </a:spcAft>
                <a:buClr>
                  <a:srgbClr val="FF0000"/>
                </a:buClr>
                <a:buSzPts val="1300"/>
                <a:buFont typeface="Arial"/>
                <a:buNone/>
                <a:tabLst/>
                <a:defRPr/>
              </a:pPr>
              <a:r>
                <a:rPr kumimoji="0" lang="en-US" sz="800" b="0" i="0" u="none" strike="noStrike" kern="0" cap="none" spc="0" normalizeH="0" baseline="0" noProof="0" dirty="0">
                  <a:ln>
                    <a:noFill/>
                  </a:ln>
                  <a:solidFill>
                    <a:srgbClr val="FF0000"/>
                  </a:solidFill>
                  <a:effectLst/>
                  <a:uLnTx/>
                  <a:uFillTx/>
                  <a:latin typeface="Gene Sans Light" panose="00000400000000000000" pitchFamily="50" charset="0"/>
                  <a:cs typeface="Arial"/>
                  <a:sym typeface="Arial"/>
                </a:rPr>
                <a:t>Immune Stimulation</a:t>
              </a:r>
              <a:endParaRPr kumimoji="0" lang="en-US"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86" name="Google Shape;186;p4"/>
            <p:cNvSpPr txBox="1"/>
            <p:nvPr/>
          </p:nvSpPr>
          <p:spPr>
            <a:xfrm>
              <a:off x="2738904" y="1465446"/>
              <a:ext cx="256862"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300"/>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N</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187" name="Google Shape;187;p4"/>
            <p:cNvSpPr txBox="1"/>
            <p:nvPr/>
          </p:nvSpPr>
          <p:spPr>
            <a:xfrm>
              <a:off x="2074005" y="1666080"/>
              <a:ext cx="766642"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300"/>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Tolerance</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188" name="Google Shape;188;p4"/>
            <p:cNvSpPr txBox="1"/>
            <p:nvPr/>
          </p:nvSpPr>
          <p:spPr>
            <a:xfrm>
              <a:off x="2888070" y="1666080"/>
              <a:ext cx="726829"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300"/>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Immunity</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189" name="Google Shape;189;p4"/>
            <p:cNvSpPr txBox="1"/>
            <p:nvPr/>
          </p:nvSpPr>
          <p:spPr>
            <a:xfrm>
              <a:off x="1948121" y="1913188"/>
              <a:ext cx="906442"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13294B"/>
                </a:buClr>
                <a:buSzPts val="1300"/>
                <a:buFont typeface="Arial"/>
                <a:buNone/>
                <a:tabLst/>
                <a:defRPr/>
              </a:pPr>
              <a:r>
                <a:rPr kumimoji="0" lang="en-US" sz="800" b="0" i="0" u="none" strike="noStrike" kern="0" cap="none" spc="0" normalizeH="0" baseline="0" noProof="0">
                  <a:ln>
                    <a:noFill/>
                  </a:ln>
                  <a:solidFill>
                    <a:srgbClr val="13294B"/>
                  </a:solidFill>
                  <a:effectLst/>
                  <a:uLnTx/>
                  <a:uFillTx/>
                  <a:latin typeface="Gene Sans Light" panose="00000400000000000000" pitchFamily="50" charset="0"/>
                  <a:cs typeface="Arial"/>
                  <a:sym typeface="Arial"/>
                </a:rPr>
                <a:t>Suppressed</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190" name="Google Shape;190;p4"/>
            <p:cNvSpPr txBox="1"/>
            <p:nvPr/>
          </p:nvSpPr>
          <p:spPr>
            <a:xfrm>
              <a:off x="2898143" y="1910673"/>
              <a:ext cx="961811"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FF0000"/>
                </a:buClr>
                <a:buSzPts val="1300"/>
                <a:buFont typeface="Arial"/>
                <a:buNone/>
                <a:tabLst/>
                <a:defRPr/>
              </a:pPr>
              <a:r>
                <a:rPr kumimoji="0" lang="en-US" sz="800" b="0" i="0" u="none" strike="noStrike" kern="0" cap="none" spc="0" normalizeH="0" baseline="0" noProof="0">
                  <a:ln>
                    <a:noFill/>
                  </a:ln>
                  <a:solidFill>
                    <a:srgbClr val="FF0000"/>
                  </a:solidFill>
                  <a:effectLst/>
                  <a:uLnTx/>
                  <a:uFillTx/>
                  <a:latin typeface="Gene Sans Light" panose="00000400000000000000" pitchFamily="50" charset="0"/>
                  <a:cs typeface="Arial"/>
                  <a:sym typeface="Arial"/>
                </a:rPr>
                <a:t>Inflammation</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191" name="Google Shape;191;p4"/>
            <p:cNvSpPr txBox="1"/>
            <p:nvPr/>
          </p:nvSpPr>
          <p:spPr>
            <a:xfrm>
              <a:off x="1544344" y="2118986"/>
              <a:ext cx="247519" cy="92333"/>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err="1">
                  <a:ln>
                    <a:noFill/>
                  </a:ln>
                  <a:solidFill>
                    <a:srgbClr val="202020"/>
                  </a:solidFill>
                  <a:effectLst/>
                  <a:uLnTx/>
                  <a:uFillTx/>
                  <a:latin typeface="Gene Sans Light" panose="00000400000000000000" pitchFamily="50" charset="0"/>
                  <a:cs typeface="Arial"/>
                  <a:sym typeface="Arial"/>
                </a:rPr>
                <a:t>T</a:t>
              </a:r>
              <a:r>
                <a:rPr kumimoji="0" lang="en-US" sz="600" b="0" i="0" u="none" strike="noStrike" kern="0" cap="none" spc="0" normalizeH="0" baseline="-25000" noProof="0" dirty="0" err="1">
                  <a:ln>
                    <a:noFill/>
                  </a:ln>
                  <a:solidFill>
                    <a:srgbClr val="202020"/>
                  </a:solidFill>
                  <a:effectLst/>
                  <a:uLnTx/>
                  <a:uFillTx/>
                  <a:latin typeface="Gene Sans Light" panose="00000400000000000000" pitchFamily="50" charset="0"/>
                  <a:cs typeface="Arial"/>
                  <a:sym typeface="Arial"/>
                </a:rPr>
                <a:t>Regs</a:t>
              </a:r>
              <a:endParaRPr kumimoji="0" sz="6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92" name="Google Shape;192;p4"/>
            <p:cNvSpPr txBox="1"/>
            <p:nvPr/>
          </p:nvSpPr>
          <p:spPr>
            <a:xfrm>
              <a:off x="1952631" y="2176056"/>
              <a:ext cx="277899" cy="92333"/>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TGFβ</a:t>
              </a:r>
              <a:endParaRPr kumimoji="0" sz="600" b="0" i="0" u="none" strike="noStrike" kern="0" cap="none" spc="0" normalizeH="0" baseline="-25000" noProof="0" dirty="0">
                <a:ln>
                  <a:noFill/>
                </a:ln>
                <a:solidFill>
                  <a:srgbClr val="202020"/>
                </a:solidFill>
                <a:effectLst/>
                <a:uLnTx/>
                <a:uFillTx/>
                <a:latin typeface="Gene Sans Light" panose="00000400000000000000" pitchFamily="50" charset="0"/>
                <a:cs typeface="Arial"/>
                <a:sym typeface="Arial"/>
              </a:endParaRPr>
            </a:p>
          </p:txBody>
        </p:sp>
        <p:sp>
          <p:nvSpPr>
            <p:cNvPr id="193" name="Google Shape;193;p4"/>
            <p:cNvSpPr txBox="1"/>
            <p:nvPr/>
          </p:nvSpPr>
          <p:spPr>
            <a:xfrm>
              <a:off x="2116648" y="2422754"/>
              <a:ext cx="213523" cy="92333"/>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IL-4</a:t>
              </a:r>
              <a:endParaRPr kumimoji="0" sz="600" b="0" i="0" u="none" strike="noStrike" kern="0" cap="none" spc="0" normalizeH="0" baseline="-25000" noProof="0" dirty="0">
                <a:ln>
                  <a:noFill/>
                </a:ln>
                <a:solidFill>
                  <a:srgbClr val="202020"/>
                </a:solidFill>
                <a:effectLst/>
                <a:uLnTx/>
                <a:uFillTx/>
                <a:latin typeface="Gene Sans Light" panose="00000400000000000000" pitchFamily="50" charset="0"/>
                <a:cs typeface="Arial"/>
                <a:sym typeface="Arial"/>
              </a:endParaRPr>
            </a:p>
          </p:txBody>
        </p:sp>
        <p:sp>
          <p:nvSpPr>
            <p:cNvPr id="194" name="Google Shape;194;p4"/>
            <p:cNvSpPr txBox="1"/>
            <p:nvPr/>
          </p:nvSpPr>
          <p:spPr>
            <a:xfrm>
              <a:off x="1664125" y="2552340"/>
              <a:ext cx="255476" cy="92333"/>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IL-10</a:t>
              </a:r>
              <a:endParaRPr kumimoji="0" sz="600" b="0" i="0" u="none" strike="noStrike" kern="0" cap="none" spc="0" normalizeH="0" baseline="-25000" noProof="0" dirty="0">
                <a:ln>
                  <a:noFill/>
                </a:ln>
                <a:solidFill>
                  <a:srgbClr val="202020"/>
                </a:solidFill>
                <a:effectLst/>
                <a:uLnTx/>
                <a:uFillTx/>
                <a:latin typeface="Gene Sans Light" panose="00000400000000000000" pitchFamily="50" charset="0"/>
                <a:cs typeface="Arial"/>
                <a:sym typeface="Arial"/>
              </a:endParaRPr>
            </a:p>
          </p:txBody>
        </p:sp>
        <p:sp>
          <p:nvSpPr>
            <p:cNvPr id="195" name="Google Shape;195;p4"/>
            <p:cNvSpPr txBox="1"/>
            <p:nvPr/>
          </p:nvSpPr>
          <p:spPr>
            <a:xfrm>
              <a:off x="1955355" y="2698746"/>
              <a:ext cx="255476" cy="92333"/>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IL-17</a:t>
              </a:r>
              <a:endParaRPr kumimoji="0" sz="600" b="0" i="0" u="none" strike="noStrike" kern="0" cap="none" spc="0" normalizeH="0" baseline="-25000" noProof="0" dirty="0">
                <a:ln>
                  <a:noFill/>
                </a:ln>
                <a:solidFill>
                  <a:srgbClr val="202020"/>
                </a:solidFill>
                <a:effectLst/>
                <a:uLnTx/>
                <a:uFillTx/>
                <a:latin typeface="Gene Sans Light" panose="00000400000000000000" pitchFamily="50" charset="0"/>
                <a:cs typeface="Arial"/>
                <a:sym typeface="Arial"/>
              </a:endParaRPr>
            </a:p>
          </p:txBody>
        </p:sp>
        <p:sp>
          <p:nvSpPr>
            <p:cNvPr id="196" name="Google Shape;196;p4"/>
            <p:cNvSpPr txBox="1"/>
            <p:nvPr/>
          </p:nvSpPr>
          <p:spPr>
            <a:xfrm>
              <a:off x="1308405" y="2760428"/>
              <a:ext cx="342274" cy="92333"/>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MDSCs</a:t>
              </a:r>
              <a:endParaRPr kumimoji="0" sz="600" b="0" i="0" u="none" strike="noStrike" kern="0" cap="none" spc="0" normalizeH="0" baseline="-25000" noProof="0" dirty="0">
                <a:ln>
                  <a:noFill/>
                </a:ln>
                <a:solidFill>
                  <a:srgbClr val="202020"/>
                </a:solidFill>
                <a:effectLst/>
                <a:uLnTx/>
                <a:uFillTx/>
                <a:latin typeface="Gene Sans Light" panose="00000400000000000000" pitchFamily="50" charset="0"/>
                <a:cs typeface="Arial"/>
                <a:sym typeface="Arial"/>
              </a:endParaRPr>
            </a:p>
          </p:txBody>
        </p:sp>
        <p:sp>
          <p:nvSpPr>
            <p:cNvPr id="197" name="Google Shape;197;p4"/>
            <p:cNvSpPr txBox="1"/>
            <p:nvPr/>
          </p:nvSpPr>
          <p:spPr>
            <a:xfrm>
              <a:off x="1704186" y="2945421"/>
              <a:ext cx="255476" cy="92333"/>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IL-13</a:t>
              </a:r>
              <a:endParaRPr kumimoji="0" sz="600" b="0" i="0" u="none" strike="noStrike" kern="0" cap="none" spc="0" normalizeH="0" baseline="-25000" noProof="0" dirty="0">
                <a:ln>
                  <a:noFill/>
                </a:ln>
                <a:solidFill>
                  <a:srgbClr val="202020"/>
                </a:solidFill>
                <a:effectLst/>
                <a:uLnTx/>
                <a:uFillTx/>
                <a:latin typeface="Gene Sans Light" panose="00000400000000000000" pitchFamily="50" charset="0"/>
                <a:cs typeface="Arial"/>
                <a:sym typeface="Arial"/>
              </a:endParaRPr>
            </a:p>
          </p:txBody>
        </p:sp>
        <p:sp>
          <p:nvSpPr>
            <p:cNvPr id="198" name="Google Shape;198;p4"/>
            <p:cNvSpPr txBox="1"/>
            <p:nvPr/>
          </p:nvSpPr>
          <p:spPr>
            <a:xfrm>
              <a:off x="2413955" y="2925154"/>
              <a:ext cx="309001" cy="92333"/>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NRP-1</a:t>
              </a:r>
              <a:endParaRPr kumimoji="0" sz="600" b="0" i="0" u="none" strike="noStrike" kern="0" cap="none" spc="0" normalizeH="0" baseline="-25000" noProof="0" dirty="0">
                <a:ln>
                  <a:noFill/>
                </a:ln>
                <a:solidFill>
                  <a:srgbClr val="202020"/>
                </a:solidFill>
                <a:effectLst/>
                <a:uLnTx/>
                <a:uFillTx/>
                <a:latin typeface="Gene Sans Light" panose="00000400000000000000" pitchFamily="50" charset="0"/>
                <a:cs typeface="Arial"/>
                <a:sym typeface="Arial"/>
              </a:endParaRPr>
            </a:p>
          </p:txBody>
        </p:sp>
        <p:sp>
          <p:nvSpPr>
            <p:cNvPr id="199" name="Google Shape;199;p4"/>
            <p:cNvSpPr txBox="1"/>
            <p:nvPr/>
          </p:nvSpPr>
          <p:spPr>
            <a:xfrm>
              <a:off x="2172972" y="3147782"/>
              <a:ext cx="296705" cy="92333"/>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202020"/>
                </a:buClr>
                <a:buSzPts val="1300"/>
                <a:buFont typeface="Arial"/>
                <a:buNone/>
                <a:tabLst/>
                <a:defRPr/>
              </a:pPr>
              <a:r>
                <a:rPr kumimoji="0" lang="en-US" sz="600" b="0" i="0" u="none" strike="noStrike" kern="0" cap="none" spc="0" normalizeH="0" baseline="0" noProof="0" dirty="0">
                  <a:ln>
                    <a:noFill/>
                  </a:ln>
                  <a:solidFill>
                    <a:srgbClr val="202020"/>
                  </a:solidFill>
                  <a:effectLst/>
                  <a:uLnTx/>
                  <a:uFillTx/>
                  <a:latin typeface="Gene Sans Light" panose="00000400000000000000" pitchFamily="50" charset="0"/>
                  <a:cs typeface="Arial"/>
                  <a:sym typeface="Arial"/>
                </a:rPr>
                <a:t>PD-L1</a:t>
              </a:r>
              <a:endParaRPr kumimoji="0" sz="600" b="0" i="0" u="none" strike="noStrike" kern="0" cap="none" spc="0" normalizeH="0" baseline="-25000" noProof="0" dirty="0">
                <a:ln>
                  <a:noFill/>
                </a:ln>
                <a:solidFill>
                  <a:srgbClr val="202020"/>
                </a:solidFill>
                <a:effectLst/>
                <a:uLnTx/>
                <a:uFillTx/>
                <a:latin typeface="Gene Sans Light" panose="00000400000000000000" pitchFamily="50" charset="0"/>
                <a:cs typeface="Arial"/>
                <a:sym typeface="Arial"/>
              </a:endParaRPr>
            </a:p>
          </p:txBody>
        </p:sp>
        <p:sp>
          <p:nvSpPr>
            <p:cNvPr id="200" name="Google Shape;200;p4"/>
            <p:cNvSpPr txBox="1"/>
            <p:nvPr/>
          </p:nvSpPr>
          <p:spPr>
            <a:xfrm>
              <a:off x="1543487" y="3551207"/>
              <a:ext cx="782197"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13294B"/>
                </a:buClr>
                <a:buSzPts val="1300"/>
                <a:buFont typeface="Arial"/>
                <a:buNone/>
                <a:tabLst/>
                <a:defRPr/>
              </a:pPr>
              <a:r>
                <a:rPr kumimoji="0" lang="en-US" sz="800" b="0" i="0" u="none" strike="noStrike" kern="0" cap="none" spc="0" normalizeH="0" baseline="0" noProof="0" dirty="0">
                  <a:ln>
                    <a:noFill/>
                  </a:ln>
                  <a:solidFill>
                    <a:srgbClr val="13294B"/>
                  </a:solidFill>
                  <a:effectLst/>
                  <a:uLnTx/>
                  <a:uFillTx/>
                  <a:latin typeface="Gene Sans Light" panose="00000400000000000000" pitchFamily="50" charset="0"/>
                  <a:cs typeface="Arial"/>
                  <a:sym typeface="Arial"/>
                </a:rPr>
                <a:t>Repressed</a:t>
              </a:r>
              <a:endParaRPr kumimoji="0" lang="en-US"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cxnSp>
          <p:nvCxnSpPr>
            <p:cNvPr id="201" name="Google Shape;201;p4"/>
            <p:cNvCxnSpPr/>
            <p:nvPr/>
          </p:nvCxnSpPr>
          <p:spPr>
            <a:xfrm rot="10800000">
              <a:off x="1966553" y="1867027"/>
              <a:ext cx="774636" cy="0"/>
            </a:xfrm>
            <a:prstGeom prst="straightConnector1">
              <a:avLst/>
            </a:prstGeom>
            <a:noFill/>
            <a:ln w="25400" cap="flat" cmpd="sng">
              <a:solidFill>
                <a:schemeClr val="dk2"/>
              </a:solidFill>
              <a:prstDash val="solid"/>
              <a:round/>
              <a:headEnd type="none" w="sm" len="sm"/>
              <a:tailEnd type="triangle" w="lg" len="lg"/>
            </a:ln>
          </p:spPr>
        </p:cxnSp>
        <p:cxnSp>
          <p:nvCxnSpPr>
            <p:cNvPr id="202" name="Google Shape;202;p4"/>
            <p:cNvCxnSpPr/>
            <p:nvPr/>
          </p:nvCxnSpPr>
          <p:spPr>
            <a:xfrm>
              <a:off x="2967884" y="1867027"/>
              <a:ext cx="774636" cy="0"/>
            </a:xfrm>
            <a:prstGeom prst="straightConnector1">
              <a:avLst/>
            </a:prstGeom>
            <a:noFill/>
            <a:ln w="25400" cap="flat" cmpd="sng">
              <a:solidFill>
                <a:schemeClr val="dk2"/>
              </a:solidFill>
              <a:prstDash val="solid"/>
              <a:round/>
              <a:headEnd type="none" w="sm" len="sm"/>
              <a:tailEnd type="triangle" w="lg" len="lg"/>
            </a:ln>
          </p:spPr>
        </p:cxnSp>
      </p:grpSp>
      <p:sp>
        <p:nvSpPr>
          <p:cNvPr id="6" name="Oval 5">
            <a:extLst>
              <a:ext uri="{FF2B5EF4-FFF2-40B4-BE49-F238E27FC236}">
                <a16:creationId xmlns:a16="http://schemas.microsoft.com/office/drawing/2014/main" id="{8CFD3B0A-275B-4568-B9DD-A9CEFA8E3794}"/>
              </a:ext>
            </a:extLst>
          </p:cNvPr>
          <p:cNvSpPr/>
          <p:nvPr/>
        </p:nvSpPr>
        <p:spPr>
          <a:xfrm>
            <a:off x="4731037" y="2034904"/>
            <a:ext cx="229698" cy="229698"/>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3" name="Oval 82">
            <a:extLst>
              <a:ext uri="{FF2B5EF4-FFF2-40B4-BE49-F238E27FC236}">
                <a16:creationId xmlns:a16="http://schemas.microsoft.com/office/drawing/2014/main" id="{2F385FE3-F96F-409E-BD64-399098059365}"/>
              </a:ext>
            </a:extLst>
          </p:cNvPr>
          <p:cNvSpPr/>
          <p:nvPr/>
        </p:nvSpPr>
        <p:spPr>
          <a:xfrm>
            <a:off x="4731037" y="3222061"/>
            <a:ext cx="229698" cy="229698"/>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7" name="Google Shape;122;p3">
            <a:extLst>
              <a:ext uri="{FF2B5EF4-FFF2-40B4-BE49-F238E27FC236}">
                <a16:creationId xmlns:a16="http://schemas.microsoft.com/office/drawing/2014/main" id="{3E52E717-F148-4F2F-A3A4-F383B8CD950D}"/>
              </a:ext>
            </a:extLst>
          </p:cNvPr>
          <p:cNvSpPr txBox="1">
            <a:spLocks/>
          </p:cNvSpPr>
          <p:nvPr/>
        </p:nvSpPr>
        <p:spPr>
          <a:xfrm>
            <a:off x="381000" y="1270832"/>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Tree>
    <p:extLst>
      <p:ext uri="{BB962C8B-B14F-4D97-AF65-F5344CB8AC3E}">
        <p14:creationId xmlns:p14="http://schemas.microsoft.com/office/powerpoint/2010/main" val="1225197727"/>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9E7056-E792-40A8-B064-EA3CD705AE29}"/>
              </a:ext>
            </a:extLst>
          </p:cNvPr>
          <p:cNvSpPr>
            <a:spLocks noGrp="1"/>
          </p:cNvSpPr>
          <p:nvPr>
            <p:ph type="body" idx="2"/>
          </p:nvPr>
        </p:nvSpPr>
        <p:spPr/>
        <p:txBody>
          <a:bodyPr/>
          <a:lstStyle/>
          <a:p>
            <a:endParaRPr lang="en-IN"/>
          </a:p>
        </p:txBody>
      </p:sp>
      <p:sp>
        <p:nvSpPr>
          <p:cNvPr id="3" name="Text Placeholder 2">
            <a:extLst>
              <a:ext uri="{FF2B5EF4-FFF2-40B4-BE49-F238E27FC236}">
                <a16:creationId xmlns:a16="http://schemas.microsoft.com/office/drawing/2014/main" id="{595E5D6F-BDB7-467D-A6C7-D9C47613A277}"/>
              </a:ext>
            </a:extLst>
          </p:cNvPr>
          <p:cNvSpPr>
            <a:spLocks noGrp="1"/>
          </p:cNvSpPr>
          <p:nvPr>
            <p:ph type="body" idx="3"/>
          </p:nvPr>
        </p:nvSpPr>
        <p:spPr/>
        <p:txBody>
          <a:bodyPr/>
          <a:lstStyle/>
          <a:p>
            <a:endParaRPr lang="en-US" dirty="0"/>
          </a:p>
        </p:txBody>
      </p:sp>
    </p:spTree>
    <p:extLst>
      <p:ext uri="{BB962C8B-B14F-4D97-AF65-F5344CB8AC3E}">
        <p14:creationId xmlns:p14="http://schemas.microsoft.com/office/powerpoint/2010/main" val="2798315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29"/>
        <p:cNvGrpSpPr/>
        <p:nvPr/>
      </p:nvGrpSpPr>
      <p:grpSpPr>
        <a:xfrm>
          <a:off x="0" y="0"/>
          <a:ext cx="0" cy="0"/>
          <a:chOff x="0" y="0"/>
          <a:chExt cx="0" cy="0"/>
        </a:xfrm>
      </p:grpSpPr>
      <p:sp>
        <p:nvSpPr>
          <p:cNvPr id="13" name="Rectangle 12">
            <a:extLst>
              <a:ext uri="{FF2B5EF4-FFF2-40B4-BE49-F238E27FC236}">
                <a16:creationId xmlns:a16="http://schemas.microsoft.com/office/drawing/2014/main" id="{7DC2B574-89FB-469F-8B72-EAB98044F56B}"/>
              </a:ext>
            </a:extLst>
          </p:cNvPr>
          <p:cNvSpPr/>
          <p:nvPr/>
        </p:nvSpPr>
        <p:spPr>
          <a:xfrm>
            <a:off x="-8793" y="2547329"/>
            <a:ext cx="9152793" cy="20834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31" name="Google Shape;212;p5">
            <a:extLst>
              <a:ext uri="{FF2B5EF4-FFF2-40B4-BE49-F238E27FC236}">
                <a16:creationId xmlns:a16="http://schemas.microsoft.com/office/drawing/2014/main" id="{55055951-D9FA-4088-A4CA-D14FA4715C06}"/>
              </a:ext>
            </a:extLst>
          </p:cNvPr>
          <p:cNvSpPr/>
          <p:nvPr/>
        </p:nvSpPr>
        <p:spPr>
          <a:xfrm>
            <a:off x="1414410" y="1404475"/>
            <a:ext cx="3029635" cy="3089633"/>
          </a:xfrm>
          <a:prstGeom prst="rect">
            <a:avLst/>
          </a:prstGeom>
          <a:solidFill>
            <a:schemeClr val="lt1"/>
          </a:solid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Arial"/>
              <a:buNone/>
              <a:tabLst/>
              <a:defRPr/>
            </a:pPr>
            <a:endParaRPr kumimoji="0" sz="1050" b="0" i="0" u="none" strike="noStrike" kern="0" cap="none" spc="0" normalizeH="0" baseline="0" noProof="0">
              <a:ln>
                <a:noFill/>
              </a:ln>
              <a:solidFill>
                <a:srgbClr val="FFFFFF"/>
              </a:solidFill>
              <a:effectLst/>
              <a:uLnTx/>
              <a:uFillTx/>
              <a:latin typeface="Arial"/>
              <a:cs typeface="Arial"/>
              <a:sym typeface="Arial"/>
            </a:endParaRPr>
          </a:p>
        </p:txBody>
      </p:sp>
      <p:sp>
        <p:nvSpPr>
          <p:cNvPr id="232" name="Google Shape;213;p5">
            <a:extLst>
              <a:ext uri="{FF2B5EF4-FFF2-40B4-BE49-F238E27FC236}">
                <a16:creationId xmlns:a16="http://schemas.microsoft.com/office/drawing/2014/main" id="{F7000721-6CB3-496F-A0BB-0ED48C04724E}"/>
              </a:ext>
            </a:extLst>
          </p:cNvPr>
          <p:cNvSpPr/>
          <p:nvPr/>
        </p:nvSpPr>
        <p:spPr>
          <a:xfrm>
            <a:off x="4623362" y="1404204"/>
            <a:ext cx="3029635" cy="3089633"/>
          </a:xfrm>
          <a:prstGeom prst="rect">
            <a:avLst/>
          </a:prstGeom>
          <a:solidFill>
            <a:schemeClr val="lt1"/>
          </a:solidFill>
          <a:ln w="12700" cap="flat" cmpd="sng">
            <a:solidFill>
              <a:schemeClr val="accent5"/>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400"/>
              <a:buFont typeface="Arial"/>
              <a:buNone/>
              <a:tabLst/>
              <a:defRPr/>
            </a:pPr>
            <a:endParaRPr kumimoji="0" sz="1050" b="0" i="0" u="none" strike="noStrike" kern="0" cap="none" spc="0" normalizeH="0" baseline="0" noProof="0">
              <a:ln>
                <a:noFill/>
              </a:ln>
              <a:solidFill>
                <a:srgbClr val="FFFFFF"/>
              </a:solidFill>
              <a:effectLst/>
              <a:uLnTx/>
              <a:uFillTx/>
              <a:latin typeface="Arial"/>
              <a:cs typeface="Arial"/>
              <a:sym typeface="Arial"/>
            </a:endParaRPr>
          </a:p>
        </p:txBody>
      </p:sp>
      <p:sp>
        <p:nvSpPr>
          <p:cNvPr id="296" name="Rectangle 295">
            <a:extLst>
              <a:ext uri="{FF2B5EF4-FFF2-40B4-BE49-F238E27FC236}">
                <a16:creationId xmlns:a16="http://schemas.microsoft.com/office/drawing/2014/main" id="{E7BAAFB4-FF97-4AA1-B53A-D67A15B45C2C}"/>
              </a:ext>
            </a:extLst>
          </p:cNvPr>
          <p:cNvSpPr/>
          <p:nvPr/>
        </p:nvSpPr>
        <p:spPr>
          <a:xfrm>
            <a:off x="4623362" y="4060770"/>
            <a:ext cx="3029635" cy="44134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Rectangle 11">
            <a:extLst>
              <a:ext uri="{FF2B5EF4-FFF2-40B4-BE49-F238E27FC236}">
                <a16:creationId xmlns:a16="http://schemas.microsoft.com/office/drawing/2014/main" id="{B4B1A1A2-89FA-4083-AFF1-19C931DECB3B}"/>
              </a:ext>
            </a:extLst>
          </p:cNvPr>
          <p:cNvSpPr/>
          <p:nvPr/>
        </p:nvSpPr>
        <p:spPr>
          <a:xfrm>
            <a:off x="1414409" y="4065104"/>
            <a:ext cx="3029635" cy="424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236" name="Google Shape;217;p5" descr="C:\Users\eruppel\Desktop\Work\31905-35169_MOA_w-sounds\35169_files\FINAL REV 03Jan13\FINAL REV PNGs\31905_PD1_MOA_Dendritic_FINAL_v2.png">
            <a:extLst>
              <a:ext uri="{FF2B5EF4-FFF2-40B4-BE49-F238E27FC236}">
                <a16:creationId xmlns:a16="http://schemas.microsoft.com/office/drawing/2014/main" id="{AA502718-C7ED-45F9-9A60-B40684140210}"/>
              </a:ext>
            </a:extLst>
          </p:cNvPr>
          <p:cNvPicPr preferRelativeResize="0"/>
          <p:nvPr/>
        </p:nvPicPr>
        <p:blipFill rotWithShape="1">
          <a:blip r:embed="rId3">
            <a:alphaModFix/>
          </a:blip>
          <a:srcRect l="23105" t="15675" r="22383" b="15675"/>
          <a:stretch/>
        </p:blipFill>
        <p:spPr>
          <a:xfrm rot="5880000" flipH="1">
            <a:off x="1395889" y="1967006"/>
            <a:ext cx="1733849" cy="1539013"/>
          </a:xfrm>
          <a:prstGeom prst="rect">
            <a:avLst/>
          </a:prstGeom>
          <a:noFill/>
          <a:ln>
            <a:noFill/>
          </a:ln>
        </p:spPr>
      </p:pic>
      <p:sp>
        <p:nvSpPr>
          <p:cNvPr id="203" name="Google Shape;203;p4"/>
          <p:cNvSpPr txBox="1">
            <a:spLocks noGrp="1"/>
          </p:cNvSpPr>
          <p:nvPr>
            <p:ph type="sldNum" idx="4294967295"/>
          </p:nvPr>
        </p:nvSpPr>
        <p:spPr>
          <a:xfrm>
            <a:off x="8842375" y="6665913"/>
            <a:ext cx="301625" cy="122237"/>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800" b="0" i="0" u="none" strike="noStrike" kern="0" cap="none" spc="0" normalizeH="0" baseline="0" noProof="0" smtClean="0">
                <a:ln>
                  <a:noFill/>
                </a:ln>
                <a:solidFill>
                  <a:srgbClr val="545859"/>
                </a:solidFill>
                <a:effectLst/>
                <a:uLnTx/>
                <a:uFillTx/>
                <a:latin typeface="Arial"/>
                <a:cs typeface="Arial"/>
                <a:sym typeface="Arial"/>
              </a:rPr>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t>20</a:t>
            </a:fld>
            <a:endParaRPr kumimoji="0" sz="800" b="0" i="0" u="none" strike="noStrike" kern="0" cap="none" spc="0" normalizeH="0" baseline="0" noProof="0">
              <a:ln>
                <a:noFill/>
              </a:ln>
              <a:solidFill>
                <a:srgbClr val="545859"/>
              </a:solidFill>
              <a:effectLst/>
              <a:uLnTx/>
              <a:uFillTx/>
              <a:latin typeface="Arial"/>
              <a:cs typeface="Arial"/>
              <a:sym typeface="Arial"/>
            </a:endParaRPr>
          </a:p>
        </p:txBody>
      </p:sp>
      <p:sp>
        <p:nvSpPr>
          <p:cNvPr id="10" name="Title 9">
            <a:extLst>
              <a:ext uri="{FF2B5EF4-FFF2-40B4-BE49-F238E27FC236}">
                <a16:creationId xmlns:a16="http://schemas.microsoft.com/office/drawing/2014/main" id="{CA79AD19-C80A-483E-A77F-47A118A9928C}"/>
              </a:ext>
            </a:extLst>
          </p:cNvPr>
          <p:cNvSpPr>
            <a:spLocks noGrp="1"/>
          </p:cNvSpPr>
          <p:nvPr>
            <p:ph type="title"/>
          </p:nvPr>
        </p:nvSpPr>
        <p:spPr/>
        <p:txBody>
          <a:bodyPr/>
          <a:lstStyle/>
          <a:p>
            <a:r>
              <a:rPr lang="en-ID" dirty="0"/>
              <a:t>Immune Checkpoint Blockade: CTLA-4, PD-L1, PD-1</a:t>
            </a:r>
          </a:p>
        </p:txBody>
      </p:sp>
      <p:pic>
        <p:nvPicPr>
          <p:cNvPr id="233" name="Google Shape;214;p5">
            <a:extLst>
              <a:ext uri="{FF2B5EF4-FFF2-40B4-BE49-F238E27FC236}">
                <a16:creationId xmlns:a16="http://schemas.microsoft.com/office/drawing/2014/main" id="{15F71C1C-F3DF-4F31-8F1B-2EBD001BCB73}"/>
              </a:ext>
            </a:extLst>
          </p:cNvPr>
          <p:cNvPicPr preferRelativeResize="0"/>
          <p:nvPr/>
        </p:nvPicPr>
        <p:blipFill rotWithShape="1">
          <a:blip r:embed="rId4">
            <a:alphaModFix/>
          </a:blip>
          <a:srcRect/>
          <a:stretch/>
        </p:blipFill>
        <p:spPr>
          <a:xfrm>
            <a:off x="4551825" y="2302848"/>
            <a:ext cx="1448864" cy="1557677"/>
          </a:xfrm>
          <a:prstGeom prst="rect">
            <a:avLst/>
          </a:prstGeom>
          <a:noFill/>
          <a:ln>
            <a:noFill/>
          </a:ln>
        </p:spPr>
      </p:pic>
      <p:pic>
        <p:nvPicPr>
          <p:cNvPr id="234" name="Google Shape;215;p5">
            <a:extLst>
              <a:ext uri="{FF2B5EF4-FFF2-40B4-BE49-F238E27FC236}">
                <a16:creationId xmlns:a16="http://schemas.microsoft.com/office/drawing/2014/main" id="{A612DC35-8BDC-483D-87C3-785C5535F8AB}"/>
              </a:ext>
            </a:extLst>
          </p:cNvPr>
          <p:cNvPicPr preferRelativeResize="0"/>
          <p:nvPr/>
        </p:nvPicPr>
        <p:blipFill rotWithShape="1">
          <a:blip r:embed="rId5">
            <a:alphaModFix/>
          </a:blip>
          <a:srcRect/>
          <a:stretch/>
        </p:blipFill>
        <p:spPr>
          <a:xfrm>
            <a:off x="6042767" y="2053935"/>
            <a:ext cx="1629482" cy="1904244"/>
          </a:xfrm>
          <a:prstGeom prst="rect">
            <a:avLst/>
          </a:prstGeom>
          <a:noFill/>
          <a:ln>
            <a:noFill/>
          </a:ln>
        </p:spPr>
      </p:pic>
      <p:pic>
        <p:nvPicPr>
          <p:cNvPr id="235" name="Google Shape;216;p5">
            <a:extLst>
              <a:ext uri="{FF2B5EF4-FFF2-40B4-BE49-F238E27FC236}">
                <a16:creationId xmlns:a16="http://schemas.microsoft.com/office/drawing/2014/main" id="{C763C537-51BA-4805-98B7-BF7D961861BC}"/>
              </a:ext>
            </a:extLst>
          </p:cNvPr>
          <p:cNvPicPr preferRelativeResize="0"/>
          <p:nvPr/>
        </p:nvPicPr>
        <p:blipFill rotWithShape="1">
          <a:blip r:embed="rId6">
            <a:alphaModFix/>
          </a:blip>
          <a:srcRect/>
          <a:stretch/>
        </p:blipFill>
        <p:spPr>
          <a:xfrm>
            <a:off x="2895565" y="2208386"/>
            <a:ext cx="1527441" cy="1641176"/>
          </a:xfrm>
          <a:prstGeom prst="rect">
            <a:avLst/>
          </a:prstGeom>
          <a:noFill/>
          <a:ln>
            <a:noFill/>
          </a:ln>
        </p:spPr>
      </p:pic>
      <p:sp>
        <p:nvSpPr>
          <p:cNvPr id="238" name="Google Shape;219;p5">
            <a:extLst>
              <a:ext uri="{FF2B5EF4-FFF2-40B4-BE49-F238E27FC236}">
                <a16:creationId xmlns:a16="http://schemas.microsoft.com/office/drawing/2014/main" id="{B6793D58-C490-4FBF-AB39-B75ABF918314}"/>
              </a:ext>
            </a:extLst>
          </p:cNvPr>
          <p:cNvSpPr txBox="1"/>
          <p:nvPr/>
        </p:nvSpPr>
        <p:spPr>
          <a:xfrm>
            <a:off x="5274210" y="4184802"/>
            <a:ext cx="1714711" cy="184666"/>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800"/>
              <a:buFont typeface="Arial"/>
              <a:buNone/>
              <a:tabLst/>
              <a:defRPr/>
            </a:pPr>
            <a:r>
              <a:rPr kumimoji="0" lang="en-US" sz="1200" b="1" i="0" u="none" strike="noStrike" kern="0" cap="none" spc="0" normalizeH="0" baseline="0" noProof="0" dirty="0">
                <a:ln>
                  <a:noFill/>
                </a:ln>
                <a:solidFill>
                  <a:srgbClr val="FFFFFF"/>
                </a:solidFill>
                <a:effectLst/>
                <a:uLnTx/>
                <a:uFillTx/>
                <a:latin typeface="Gene Sans Light" panose="00000400000000000000" pitchFamily="50" charset="0"/>
                <a:cs typeface="Arial"/>
                <a:sym typeface="Arial"/>
              </a:rPr>
              <a:t>PD-L1/PD-1 blockade</a:t>
            </a:r>
            <a:endParaRPr kumimoji="0" sz="1200" b="1" i="0" u="none" strike="noStrike" kern="0" cap="none" spc="0" normalizeH="0" baseline="0" noProof="0" dirty="0">
              <a:ln>
                <a:noFill/>
              </a:ln>
              <a:solidFill>
                <a:srgbClr val="FFFFFF"/>
              </a:solidFill>
              <a:effectLst/>
              <a:uLnTx/>
              <a:uFillTx/>
              <a:latin typeface="Gene Sans Light" panose="00000400000000000000" pitchFamily="50" charset="0"/>
              <a:cs typeface="Arial"/>
              <a:sym typeface="Arial"/>
            </a:endParaRPr>
          </a:p>
        </p:txBody>
      </p:sp>
      <p:sp>
        <p:nvSpPr>
          <p:cNvPr id="240" name="Google Shape;221;p5">
            <a:extLst>
              <a:ext uri="{FF2B5EF4-FFF2-40B4-BE49-F238E27FC236}">
                <a16:creationId xmlns:a16="http://schemas.microsoft.com/office/drawing/2014/main" id="{0F372A84-8780-488D-9EAB-E24385E93EB3}"/>
              </a:ext>
            </a:extLst>
          </p:cNvPr>
          <p:cNvSpPr/>
          <p:nvPr/>
        </p:nvSpPr>
        <p:spPr>
          <a:xfrm flipH="1">
            <a:off x="3385072" y="1762205"/>
            <a:ext cx="438990" cy="184666"/>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T cell</a:t>
            </a:r>
            <a:endParaRPr kumimoji="0" sz="12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41" name="Google Shape;222;p5">
            <a:extLst>
              <a:ext uri="{FF2B5EF4-FFF2-40B4-BE49-F238E27FC236}">
                <a16:creationId xmlns:a16="http://schemas.microsoft.com/office/drawing/2014/main" id="{51B658E4-71E3-4D98-A639-BDA5958D559F}"/>
              </a:ext>
            </a:extLst>
          </p:cNvPr>
          <p:cNvSpPr/>
          <p:nvPr/>
        </p:nvSpPr>
        <p:spPr>
          <a:xfrm flipH="1">
            <a:off x="1694866" y="1762205"/>
            <a:ext cx="1181489" cy="184666"/>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Dendritic cell</a:t>
            </a:r>
            <a:endParaRPr kumimoji="0" sz="12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42" name="Google Shape;223;p5">
            <a:extLst>
              <a:ext uri="{FF2B5EF4-FFF2-40B4-BE49-F238E27FC236}">
                <a16:creationId xmlns:a16="http://schemas.microsoft.com/office/drawing/2014/main" id="{814B4343-055B-4C91-AD48-AC88352222A8}"/>
              </a:ext>
            </a:extLst>
          </p:cNvPr>
          <p:cNvSpPr txBox="1"/>
          <p:nvPr/>
        </p:nvSpPr>
        <p:spPr>
          <a:xfrm>
            <a:off x="2492375" y="2415038"/>
            <a:ext cx="336976"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050"/>
              <a:buFont typeface="Arial"/>
              <a:buNone/>
              <a:tabLst/>
              <a:defRPr/>
            </a:pPr>
            <a:r>
              <a:rPr kumimoji="0" lang="en-US" sz="800" b="1"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MHC</a:t>
            </a:r>
            <a:endParaRPr kumimoji="0" sz="800" b="1"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43" name="Google Shape;224;p5">
            <a:extLst>
              <a:ext uri="{FF2B5EF4-FFF2-40B4-BE49-F238E27FC236}">
                <a16:creationId xmlns:a16="http://schemas.microsoft.com/office/drawing/2014/main" id="{1716612B-5C6E-4032-83A5-E64F6A7A2FE6}"/>
              </a:ext>
            </a:extLst>
          </p:cNvPr>
          <p:cNvSpPr txBox="1"/>
          <p:nvPr/>
        </p:nvSpPr>
        <p:spPr>
          <a:xfrm>
            <a:off x="3017924" y="2419619"/>
            <a:ext cx="316133"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050"/>
              <a:buFont typeface="Arial"/>
              <a:buNone/>
              <a:tabLst/>
              <a:defRPr/>
            </a:pPr>
            <a:r>
              <a:rPr kumimoji="0" lang="en-US" sz="8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TCR</a:t>
            </a:r>
            <a:endParaRPr kumimoji="0" sz="8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44" name="Google Shape;225;p5">
            <a:extLst>
              <a:ext uri="{FF2B5EF4-FFF2-40B4-BE49-F238E27FC236}">
                <a16:creationId xmlns:a16="http://schemas.microsoft.com/office/drawing/2014/main" id="{C9DB4292-41E7-4C33-A4B4-DE959DAF1D47}"/>
              </a:ext>
            </a:extLst>
          </p:cNvPr>
          <p:cNvSpPr txBox="1"/>
          <p:nvPr/>
        </p:nvSpPr>
        <p:spPr>
          <a:xfrm>
            <a:off x="2882564" y="2720622"/>
            <a:ext cx="363301"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050"/>
              <a:buFont typeface="Arial"/>
              <a:buNone/>
              <a:tabLst/>
              <a:defRPr/>
            </a:pPr>
            <a:r>
              <a:rPr kumimoji="0" lang="en-US" sz="8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CD28</a:t>
            </a:r>
            <a:endParaRPr kumimoji="0" sz="8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45" name="Google Shape;226;p5">
            <a:extLst>
              <a:ext uri="{FF2B5EF4-FFF2-40B4-BE49-F238E27FC236}">
                <a16:creationId xmlns:a16="http://schemas.microsoft.com/office/drawing/2014/main" id="{9FD5F66D-811D-4919-86E5-76EABE8E497D}"/>
              </a:ext>
            </a:extLst>
          </p:cNvPr>
          <p:cNvSpPr txBox="1"/>
          <p:nvPr/>
        </p:nvSpPr>
        <p:spPr>
          <a:xfrm>
            <a:off x="2522407" y="2910626"/>
            <a:ext cx="239350"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050"/>
              <a:buFont typeface="Arial"/>
              <a:buNone/>
              <a:tabLst/>
              <a:defRPr/>
            </a:pPr>
            <a:r>
              <a:rPr kumimoji="0" lang="en-US" sz="8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B7</a:t>
            </a:r>
            <a:endParaRPr kumimoji="0" sz="8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46" name="Google Shape;227;p5">
            <a:extLst>
              <a:ext uri="{FF2B5EF4-FFF2-40B4-BE49-F238E27FC236}">
                <a16:creationId xmlns:a16="http://schemas.microsoft.com/office/drawing/2014/main" id="{9643717A-4FEB-402E-8A19-6AC6B61F8120}"/>
              </a:ext>
            </a:extLst>
          </p:cNvPr>
          <p:cNvSpPr txBox="1"/>
          <p:nvPr/>
        </p:nvSpPr>
        <p:spPr>
          <a:xfrm>
            <a:off x="2876110" y="2911640"/>
            <a:ext cx="444473"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050"/>
              <a:buFont typeface="Arial"/>
              <a:buNone/>
              <a:tabLst/>
              <a:defRPr/>
            </a:pPr>
            <a:r>
              <a:rPr kumimoji="0" lang="en-US" sz="8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CTLA-4</a:t>
            </a:r>
            <a:endParaRPr kumimoji="0" sz="8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47" name="Google Shape;228;p5">
            <a:extLst>
              <a:ext uri="{FF2B5EF4-FFF2-40B4-BE49-F238E27FC236}">
                <a16:creationId xmlns:a16="http://schemas.microsoft.com/office/drawing/2014/main" id="{0729EC22-7CD4-48E9-BBFB-BFA957862082}"/>
              </a:ext>
            </a:extLst>
          </p:cNvPr>
          <p:cNvSpPr txBox="1"/>
          <p:nvPr/>
        </p:nvSpPr>
        <p:spPr>
          <a:xfrm>
            <a:off x="2612094" y="2720776"/>
            <a:ext cx="239350"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050"/>
              <a:buFont typeface="Arial"/>
              <a:buNone/>
              <a:tabLst/>
              <a:defRPr/>
            </a:pPr>
            <a:r>
              <a:rPr kumimoji="0" lang="en-US" sz="800" b="1"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B7</a:t>
            </a:r>
            <a:endParaRPr kumimoji="0" sz="800" b="1"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48" name="Google Shape;229;p5">
            <a:extLst>
              <a:ext uri="{FF2B5EF4-FFF2-40B4-BE49-F238E27FC236}">
                <a16:creationId xmlns:a16="http://schemas.microsoft.com/office/drawing/2014/main" id="{A051E574-BB3D-47AE-BF08-7196DE37260C}"/>
              </a:ext>
            </a:extLst>
          </p:cNvPr>
          <p:cNvSpPr txBox="1"/>
          <p:nvPr/>
        </p:nvSpPr>
        <p:spPr>
          <a:xfrm>
            <a:off x="2401584" y="3139580"/>
            <a:ext cx="847043"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dirty="0">
                <a:ln>
                  <a:noFill/>
                </a:ln>
                <a:solidFill>
                  <a:srgbClr val="FF0000"/>
                </a:solidFill>
                <a:effectLst/>
                <a:uLnTx/>
                <a:uFillTx/>
                <a:latin typeface="Gene Sans Light" panose="00000400000000000000" pitchFamily="50" charset="0"/>
                <a:cs typeface="Arial"/>
                <a:sym typeface="Arial"/>
              </a:rPr>
              <a:t>anti–CTLA-4</a:t>
            </a:r>
            <a:endParaRPr kumimoji="0" sz="800" b="1" i="0" u="none" strike="noStrike" kern="0" cap="none" spc="0" normalizeH="0" baseline="0" noProof="0" dirty="0">
              <a:ln>
                <a:noFill/>
              </a:ln>
              <a:solidFill>
                <a:srgbClr val="FF0000"/>
              </a:solidFill>
              <a:effectLst/>
              <a:uLnTx/>
              <a:uFillTx/>
              <a:latin typeface="Gene Sans Light" panose="00000400000000000000" pitchFamily="50" charset="0"/>
              <a:cs typeface="Arial"/>
              <a:sym typeface="Arial"/>
            </a:endParaRPr>
          </a:p>
        </p:txBody>
      </p:sp>
      <p:sp>
        <p:nvSpPr>
          <p:cNvPr id="250" name="Google Shape;231;p5">
            <a:extLst>
              <a:ext uri="{FF2B5EF4-FFF2-40B4-BE49-F238E27FC236}">
                <a16:creationId xmlns:a16="http://schemas.microsoft.com/office/drawing/2014/main" id="{58D2C51A-0E81-42CC-859D-D927A4324740}"/>
              </a:ext>
            </a:extLst>
          </p:cNvPr>
          <p:cNvSpPr/>
          <p:nvPr/>
        </p:nvSpPr>
        <p:spPr>
          <a:xfrm flipH="1">
            <a:off x="4949922" y="1762205"/>
            <a:ext cx="438988" cy="184666"/>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T cell</a:t>
            </a:r>
            <a:endParaRPr kumimoji="0" sz="12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51" name="Google Shape;232;p5">
            <a:extLst>
              <a:ext uri="{FF2B5EF4-FFF2-40B4-BE49-F238E27FC236}">
                <a16:creationId xmlns:a16="http://schemas.microsoft.com/office/drawing/2014/main" id="{7C88958F-D4E0-4511-82BF-18582AD74DB5}"/>
              </a:ext>
            </a:extLst>
          </p:cNvPr>
          <p:cNvSpPr/>
          <p:nvPr/>
        </p:nvSpPr>
        <p:spPr>
          <a:xfrm flipH="1">
            <a:off x="6453307" y="1762205"/>
            <a:ext cx="737000" cy="184666"/>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Tumor cell</a:t>
            </a:r>
            <a:endParaRPr kumimoji="0" sz="1200" b="1"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52" name="Google Shape;233;p5">
            <a:extLst>
              <a:ext uri="{FF2B5EF4-FFF2-40B4-BE49-F238E27FC236}">
                <a16:creationId xmlns:a16="http://schemas.microsoft.com/office/drawing/2014/main" id="{9ED066A0-DD27-476D-B0E8-8B7EFD611622}"/>
              </a:ext>
            </a:extLst>
          </p:cNvPr>
          <p:cNvSpPr txBox="1"/>
          <p:nvPr/>
        </p:nvSpPr>
        <p:spPr>
          <a:xfrm flipH="1">
            <a:off x="6098689" y="2456077"/>
            <a:ext cx="336976"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050"/>
              <a:buFont typeface="Arial"/>
              <a:buNone/>
              <a:tabLst/>
              <a:defRPr/>
            </a:pPr>
            <a:r>
              <a:rPr kumimoji="0" lang="en-US" sz="800" b="1"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MHC</a:t>
            </a:r>
            <a:endParaRPr kumimoji="0" sz="800" b="1"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53" name="Google Shape;234;p5">
            <a:extLst>
              <a:ext uri="{FF2B5EF4-FFF2-40B4-BE49-F238E27FC236}">
                <a16:creationId xmlns:a16="http://schemas.microsoft.com/office/drawing/2014/main" id="{65C27FC8-EA0A-4932-86B4-CCC82449DE6D}"/>
              </a:ext>
            </a:extLst>
          </p:cNvPr>
          <p:cNvSpPr txBox="1"/>
          <p:nvPr/>
        </p:nvSpPr>
        <p:spPr>
          <a:xfrm flipH="1">
            <a:off x="5601673" y="2449200"/>
            <a:ext cx="316134"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050"/>
              <a:buFont typeface="Arial"/>
              <a:buNone/>
              <a:tabLst/>
              <a:defRPr/>
            </a:pPr>
            <a:r>
              <a:rPr kumimoji="0" lang="en-US" sz="800" b="1"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TCR</a:t>
            </a:r>
            <a:endParaRPr kumimoji="0" sz="800" b="1"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54" name="Google Shape;235;p5">
            <a:extLst>
              <a:ext uri="{FF2B5EF4-FFF2-40B4-BE49-F238E27FC236}">
                <a16:creationId xmlns:a16="http://schemas.microsoft.com/office/drawing/2014/main" id="{8E4A09A1-21F9-4465-B44B-4589A9461C56}"/>
              </a:ext>
            </a:extLst>
          </p:cNvPr>
          <p:cNvSpPr txBox="1"/>
          <p:nvPr/>
        </p:nvSpPr>
        <p:spPr>
          <a:xfrm flipH="1">
            <a:off x="6085148" y="2825909"/>
            <a:ext cx="442672"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050"/>
              <a:buFont typeface="Arial"/>
              <a:buNone/>
              <a:tabLst/>
              <a:defRPr/>
            </a:pPr>
            <a:r>
              <a:rPr kumimoji="0" lang="en-US" sz="8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PD-L1</a:t>
            </a:r>
            <a:endParaRPr kumimoji="0" sz="8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55" name="Google Shape;236;p5">
            <a:extLst>
              <a:ext uri="{FF2B5EF4-FFF2-40B4-BE49-F238E27FC236}">
                <a16:creationId xmlns:a16="http://schemas.microsoft.com/office/drawing/2014/main" id="{59D7CCE0-58B5-4A8B-AF4C-6781F20AE54F}"/>
              </a:ext>
            </a:extLst>
          </p:cNvPr>
          <p:cNvSpPr txBox="1"/>
          <p:nvPr/>
        </p:nvSpPr>
        <p:spPr>
          <a:xfrm flipH="1">
            <a:off x="5632351" y="2833461"/>
            <a:ext cx="326550"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050"/>
              <a:buFont typeface="Arial"/>
              <a:buNone/>
              <a:tabLst/>
              <a:defRPr/>
            </a:pPr>
            <a:r>
              <a:rPr kumimoji="0" lang="en-US" sz="800" b="1"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PD-1</a:t>
            </a:r>
            <a:endParaRPr kumimoji="0" sz="800" b="1"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56" name="Google Shape;237;p5">
            <a:extLst>
              <a:ext uri="{FF2B5EF4-FFF2-40B4-BE49-F238E27FC236}">
                <a16:creationId xmlns:a16="http://schemas.microsoft.com/office/drawing/2014/main" id="{27B0C5D7-E23A-4D24-848D-467A709267A6}"/>
              </a:ext>
            </a:extLst>
          </p:cNvPr>
          <p:cNvSpPr txBox="1"/>
          <p:nvPr/>
        </p:nvSpPr>
        <p:spPr>
          <a:xfrm>
            <a:off x="5604343" y="3105206"/>
            <a:ext cx="947310" cy="92333"/>
          </a:xfrm>
          <a:prstGeom prst="rect">
            <a:avLst/>
          </a:prstGeom>
          <a:solidFill>
            <a:schemeClr val="bg1">
              <a:lumMod val="95000"/>
              <a:alpha val="52000"/>
            </a:schemeClr>
          </a:solid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1" i="0" u="none" strike="noStrike" kern="0" cap="none" spc="0" normalizeH="0" baseline="0" noProof="0" dirty="0">
                <a:ln>
                  <a:noFill/>
                </a:ln>
                <a:solidFill>
                  <a:srgbClr val="FF0000"/>
                </a:solidFill>
                <a:effectLst/>
                <a:uLnTx/>
                <a:uFillTx/>
                <a:latin typeface="Gene Sans Light" panose="00000400000000000000" pitchFamily="50" charset="0"/>
                <a:cs typeface="Arial"/>
                <a:sym typeface="Arial"/>
              </a:rPr>
              <a:t>anti–PD-L1/PD-1</a:t>
            </a:r>
            <a:endParaRPr kumimoji="0" sz="6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57" name="Google Shape;238;p5">
            <a:extLst>
              <a:ext uri="{FF2B5EF4-FFF2-40B4-BE49-F238E27FC236}">
                <a16:creationId xmlns:a16="http://schemas.microsoft.com/office/drawing/2014/main" id="{B4A8C473-1F40-403F-B17D-25BEB5201D09}"/>
              </a:ext>
            </a:extLst>
          </p:cNvPr>
          <p:cNvSpPr txBox="1"/>
          <p:nvPr/>
        </p:nvSpPr>
        <p:spPr>
          <a:xfrm flipH="1">
            <a:off x="6108310" y="3176599"/>
            <a:ext cx="386799"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050"/>
              <a:buFont typeface="Arial"/>
              <a:buNone/>
              <a:tabLst/>
              <a:defRPr/>
            </a:pPr>
            <a:r>
              <a:rPr kumimoji="0" lang="en-US" sz="8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PD-L2</a:t>
            </a:r>
            <a:endParaRPr kumimoji="0" sz="8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58" name="Google Shape;239;p5">
            <a:extLst>
              <a:ext uri="{FF2B5EF4-FFF2-40B4-BE49-F238E27FC236}">
                <a16:creationId xmlns:a16="http://schemas.microsoft.com/office/drawing/2014/main" id="{6C63A6FA-0B06-4076-B917-C9C0DD3B4B14}"/>
              </a:ext>
            </a:extLst>
          </p:cNvPr>
          <p:cNvSpPr txBox="1"/>
          <p:nvPr/>
        </p:nvSpPr>
        <p:spPr>
          <a:xfrm flipH="1">
            <a:off x="5625908" y="3192117"/>
            <a:ext cx="282629"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050"/>
              <a:buFont typeface="Arial"/>
              <a:buNone/>
              <a:tabLst/>
              <a:defRPr/>
            </a:pPr>
            <a:r>
              <a:rPr kumimoji="0" lang="en-US" sz="800" b="1"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PD-1</a:t>
            </a:r>
            <a:endParaRPr kumimoji="0" sz="800" b="1"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59" name="Google Shape;240;p5">
            <a:extLst>
              <a:ext uri="{FF2B5EF4-FFF2-40B4-BE49-F238E27FC236}">
                <a16:creationId xmlns:a16="http://schemas.microsoft.com/office/drawing/2014/main" id="{7F286889-40F2-4073-8E11-79CBA85BD2D6}"/>
              </a:ext>
            </a:extLst>
          </p:cNvPr>
          <p:cNvSpPr txBox="1"/>
          <p:nvPr/>
        </p:nvSpPr>
        <p:spPr>
          <a:xfrm>
            <a:off x="5697129" y="3482639"/>
            <a:ext cx="691281"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dirty="0">
                <a:ln>
                  <a:noFill/>
                </a:ln>
                <a:solidFill>
                  <a:srgbClr val="FF0000"/>
                </a:solidFill>
                <a:effectLst/>
                <a:uLnTx/>
                <a:uFillTx/>
                <a:latin typeface="Gene Sans Light" panose="00000400000000000000" pitchFamily="50" charset="0"/>
                <a:cs typeface="Arial"/>
                <a:sym typeface="Arial"/>
              </a:rPr>
              <a:t>anti–PD-1</a:t>
            </a:r>
            <a:endParaRPr kumimoji="0" sz="8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60" name="Google Shape;241;p5">
            <a:extLst>
              <a:ext uri="{FF2B5EF4-FFF2-40B4-BE49-F238E27FC236}">
                <a16:creationId xmlns:a16="http://schemas.microsoft.com/office/drawing/2014/main" id="{3BF2C265-67A2-49F5-A50C-5ADF8BE78AB1}"/>
              </a:ext>
            </a:extLst>
          </p:cNvPr>
          <p:cNvSpPr txBox="1"/>
          <p:nvPr/>
        </p:nvSpPr>
        <p:spPr>
          <a:xfrm>
            <a:off x="2210534" y="4184802"/>
            <a:ext cx="1416348" cy="184666"/>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800"/>
              <a:buFont typeface="Arial"/>
              <a:buNone/>
              <a:tabLst/>
              <a:defRPr/>
            </a:pPr>
            <a:r>
              <a:rPr kumimoji="0" lang="en-US" sz="1200" b="1" i="0" u="none" strike="noStrike" kern="0" cap="none" spc="0" normalizeH="0" baseline="0" noProof="0" dirty="0">
                <a:ln>
                  <a:noFill/>
                </a:ln>
                <a:solidFill>
                  <a:srgbClr val="FFFFFF"/>
                </a:solidFill>
                <a:effectLst/>
                <a:uLnTx/>
                <a:uFillTx/>
                <a:latin typeface="Gene Sans Light" panose="00000400000000000000" pitchFamily="50" charset="0"/>
                <a:cs typeface="Arial"/>
                <a:sym typeface="Arial"/>
              </a:rPr>
              <a:t>CTLA-4 blockade</a:t>
            </a:r>
            <a:endParaRPr kumimoji="0" sz="1200" b="1" i="0" u="none" strike="noStrike" kern="0" cap="none" spc="0" normalizeH="0" baseline="0" noProof="0" dirty="0">
              <a:ln>
                <a:noFill/>
              </a:ln>
              <a:solidFill>
                <a:srgbClr val="FFFFFF"/>
              </a:solidFill>
              <a:effectLst/>
              <a:uLnTx/>
              <a:uFillTx/>
              <a:latin typeface="Gene Sans Light" panose="00000400000000000000" pitchFamily="50" charset="0"/>
              <a:cs typeface="Arial"/>
              <a:sym typeface="Arial"/>
            </a:endParaRPr>
          </a:p>
        </p:txBody>
      </p:sp>
      <p:pic>
        <p:nvPicPr>
          <p:cNvPr id="261" name="Google Shape;242;p5" descr="C:\Users\eruppel\Desktop\MOA_w-sounds\31905_PD1_MOA_Receptor_Details_FINAL_v2.png">
            <a:extLst>
              <a:ext uri="{FF2B5EF4-FFF2-40B4-BE49-F238E27FC236}">
                <a16:creationId xmlns:a16="http://schemas.microsoft.com/office/drawing/2014/main" id="{D364ED08-C84E-4718-B602-CA37853B182B}"/>
              </a:ext>
            </a:extLst>
          </p:cNvPr>
          <p:cNvPicPr preferRelativeResize="0"/>
          <p:nvPr/>
        </p:nvPicPr>
        <p:blipFill rotWithShape="1">
          <a:blip r:embed="rId7">
            <a:alphaModFix/>
          </a:blip>
          <a:srcRect r="52816" b="53029"/>
          <a:stretch/>
        </p:blipFill>
        <p:spPr>
          <a:xfrm>
            <a:off x="5522049" y="2485403"/>
            <a:ext cx="541758" cy="356735"/>
          </a:xfrm>
          <a:prstGeom prst="rect">
            <a:avLst/>
          </a:prstGeom>
          <a:noFill/>
          <a:ln>
            <a:noFill/>
          </a:ln>
        </p:spPr>
      </p:pic>
      <p:pic>
        <p:nvPicPr>
          <p:cNvPr id="262" name="Google Shape;243;p5" descr="C:\Users\eruppel\Desktop\MOA_w-sounds\31905_PD1_MOA_Receptor_Details_FINAL_v2.png">
            <a:extLst>
              <a:ext uri="{FF2B5EF4-FFF2-40B4-BE49-F238E27FC236}">
                <a16:creationId xmlns:a16="http://schemas.microsoft.com/office/drawing/2014/main" id="{1F9728D7-3F85-47A8-B929-72FF56FB17D8}"/>
              </a:ext>
            </a:extLst>
          </p:cNvPr>
          <p:cNvPicPr preferRelativeResize="0"/>
          <p:nvPr/>
        </p:nvPicPr>
        <p:blipFill rotWithShape="1">
          <a:blip r:embed="rId7">
            <a:alphaModFix/>
          </a:blip>
          <a:srcRect l="46831" r="4226" b="53029"/>
          <a:stretch/>
        </p:blipFill>
        <p:spPr>
          <a:xfrm>
            <a:off x="5853417" y="2485403"/>
            <a:ext cx="562798" cy="356735"/>
          </a:xfrm>
          <a:prstGeom prst="rect">
            <a:avLst/>
          </a:prstGeom>
          <a:noFill/>
          <a:ln>
            <a:noFill/>
          </a:ln>
        </p:spPr>
      </p:pic>
      <p:pic>
        <p:nvPicPr>
          <p:cNvPr id="263" name="Google Shape;244;p5" descr="C:\Users\eruppel\Desktop\MOA_w-sounds\31905_PD1_MOA_Receptor_Details_FINAL_v2.png">
            <a:extLst>
              <a:ext uri="{FF2B5EF4-FFF2-40B4-BE49-F238E27FC236}">
                <a16:creationId xmlns:a16="http://schemas.microsoft.com/office/drawing/2014/main" id="{B973E8B8-D498-4525-BA23-62A853F4410C}"/>
              </a:ext>
            </a:extLst>
          </p:cNvPr>
          <p:cNvPicPr preferRelativeResize="0"/>
          <p:nvPr/>
        </p:nvPicPr>
        <p:blipFill rotWithShape="1">
          <a:blip r:embed="rId8">
            <a:alphaModFix/>
          </a:blip>
          <a:srcRect l="45775" t="70708" r="16900" b="7068"/>
          <a:stretch/>
        </p:blipFill>
        <p:spPr>
          <a:xfrm>
            <a:off x="6198467" y="2885981"/>
            <a:ext cx="501784" cy="197301"/>
          </a:xfrm>
          <a:prstGeom prst="rect">
            <a:avLst/>
          </a:prstGeom>
          <a:noFill/>
          <a:ln>
            <a:noFill/>
          </a:ln>
        </p:spPr>
      </p:pic>
      <p:pic>
        <p:nvPicPr>
          <p:cNvPr id="264" name="Google Shape;245;p5" descr="C:\Users\eruppel\Desktop\MOA_w-sounds\31905_PD1_MOA_Receptor_Details_FINAL_v2.png">
            <a:extLst>
              <a:ext uri="{FF2B5EF4-FFF2-40B4-BE49-F238E27FC236}">
                <a16:creationId xmlns:a16="http://schemas.microsoft.com/office/drawing/2014/main" id="{D402281E-CE52-40C1-ADD9-5449FE40C959}"/>
              </a:ext>
            </a:extLst>
          </p:cNvPr>
          <p:cNvPicPr preferRelativeResize="0"/>
          <p:nvPr/>
        </p:nvPicPr>
        <p:blipFill rotWithShape="1">
          <a:blip r:embed="rId9">
            <a:alphaModFix/>
          </a:blip>
          <a:srcRect l="9859" t="67677" r="55634"/>
          <a:stretch/>
        </p:blipFill>
        <p:spPr>
          <a:xfrm>
            <a:off x="5635660" y="2863061"/>
            <a:ext cx="464965" cy="286982"/>
          </a:xfrm>
          <a:prstGeom prst="rect">
            <a:avLst/>
          </a:prstGeom>
          <a:noFill/>
          <a:ln>
            <a:noFill/>
          </a:ln>
        </p:spPr>
      </p:pic>
      <p:sp>
        <p:nvSpPr>
          <p:cNvPr id="265" name="Google Shape;246;p5">
            <a:extLst>
              <a:ext uri="{FF2B5EF4-FFF2-40B4-BE49-F238E27FC236}">
                <a16:creationId xmlns:a16="http://schemas.microsoft.com/office/drawing/2014/main" id="{EC3091B9-F21D-4AAE-9E96-F07E15A0F967}"/>
              </a:ext>
            </a:extLst>
          </p:cNvPr>
          <p:cNvSpPr txBox="1"/>
          <p:nvPr/>
        </p:nvSpPr>
        <p:spPr>
          <a:xfrm>
            <a:off x="5423320" y="2896843"/>
            <a:ext cx="166953"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FFFF00"/>
              </a:buClr>
              <a:buSzPts val="1400"/>
              <a:buFont typeface="Arial"/>
              <a:buNone/>
              <a:tabLst/>
              <a:defRPr/>
            </a:pPr>
            <a:r>
              <a:rPr kumimoji="0" lang="en-US" sz="800" b="1" i="0" u="none" strike="noStrike" kern="0" cap="none" spc="0" normalizeH="0" baseline="0" noProof="0">
                <a:ln>
                  <a:noFill/>
                </a:ln>
                <a:solidFill>
                  <a:srgbClr val="FFFF00"/>
                </a:solidFill>
                <a:effectLst/>
                <a:uLnTx/>
                <a:uFillTx/>
                <a:latin typeface="Gene Sans Light" panose="00000400000000000000" pitchFamily="50" charset="0"/>
                <a:cs typeface="Arial"/>
                <a:sym typeface="Arial"/>
              </a:rPr>
              <a:t>-</a:t>
            </a:r>
            <a:endParaRPr kumimoji="0" sz="800" b="1"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66" name="Google Shape;247;p5">
            <a:extLst>
              <a:ext uri="{FF2B5EF4-FFF2-40B4-BE49-F238E27FC236}">
                <a16:creationId xmlns:a16="http://schemas.microsoft.com/office/drawing/2014/main" id="{0CE8447A-7CAF-44EB-A0E7-AE88E8FA13E3}"/>
              </a:ext>
            </a:extLst>
          </p:cNvPr>
          <p:cNvSpPr txBox="1"/>
          <p:nvPr/>
        </p:nvSpPr>
        <p:spPr>
          <a:xfrm>
            <a:off x="5515869" y="2896843"/>
            <a:ext cx="166953"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FFFF00"/>
              </a:buClr>
              <a:buSzPts val="1400"/>
              <a:buFont typeface="Arial"/>
              <a:buNone/>
              <a:tabLst/>
              <a:defRPr/>
            </a:pPr>
            <a:r>
              <a:rPr kumimoji="0" lang="en-US" sz="800" b="1" i="0" u="none" strike="noStrike" kern="0" cap="none" spc="0" normalizeH="0" baseline="0" noProof="0">
                <a:ln>
                  <a:noFill/>
                </a:ln>
                <a:solidFill>
                  <a:srgbClr val="FFFF00"/>
                </a:solidFill>
                <a:effectLst/>
                <a:uLnTx/>
                <a:uFillTx/>
                <a:latin typeface="Gene Sans Light" panose="00000400000000000000" pitchFamily="50" charset="0"/>
                <a:cs typeface="Arial"/>
                <a:sym typeface="Arial"/>
              </a:rPr>
              <a:t>-</a:t>
            </a:r>
            <a:endParaRPr kumimoji="0" sz="800" b="1"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67" name="Google Shape;248;p5">
            <a:extLst>
              <a:ext uri="{FF2B5EF4-FFF2-40B4-BE49-F238E27FC236}">
                <a16:creationId xmlns:a16="http://schemas.microsoft.com/office/drawing/2014/main" id="{0DF845AF-5D24-421F-A54B-71F3E36087A7}"/>
              </a:ext>
            </a:extLst>
          </p:cNvPr>
          <p:cNvSpPr txBox="1"/>
          <p:nvPr/>
        </p:nvSpPr>
        <p:spPr>
          <a:xfrm>
            <a:off x="5606718" y="2896843"/>
            <a:ext cx="166953"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FFFF00"/>
              </a:buClr>
              <a:buSzPts val="1400"/>
              <a:buFont typeface="Arial"/>
              <a:buNone/>
              <a:tabLst/>
              <a:defRPr/>
            </a:pPr>
            <a:r>
              <a:rPr kumimoji="0" lang="en-US" sz="800" b="1" i="0" u="none" strike="noStrike" kern="0" cap="none" spc="0" normalizeH="0" baseline="0" noProof="0" dirty="0">
                <a:ln>
                  <a:noFill/>
                </a:ln>
                <a:solidFill>
                  <a:srgbClr val="FFFF00"/>
                </a:solidFill>
                <a:effectLst/>
                <a:uLnTx/>
                <a:uFillTx/>
                <a:latin typeface="Gene Sans Light" panose="00000400000000000000" pitchFamily="50" charset="0"/>
                <a:cs typeface="Arial"/>
                <a:sym typeface="Arial"/>
              </a:rPr>
              <a:t>-</a:t>
            </a:r>
            <a:endParaRPr kumimoji="0" sz="8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pic>
        <p:nvPicPr>
          <p:cNvPr id="268" name="Google Shape;249;p5" descr="C:\Users\eruppel\Desktop\MOA_w-sounds\31905_PD1_MOA_Receptor_Details_FINAL_v2.png">
            <a:extLst>
              <a:ext uri="{FF2B5EF4-FFF2-40B4-BE49-F238E27FC236}">
                <a16:creationId xmlns:a16="http://schemas.microsoft.com/office/drawing/2014/main" id="{B59BD946-B6F4-4178-BA1C-BB5B74A28785}"/>
              </a:ext>
            </a:extLst>
          </p:cNvPr>
          <p:cNvPicPr preferRelativeResize="0"/>
          <p:nvPr/>
        </p:nvPicPr>
        <p:blipFill rotWithShape="1">
          <a:blip r:embed="rId10">
            <a:alphaModFix/>
          </a:blip>
          <a:srcRect l="52816" b="53029"/>
          <a:stretch/>
        </p:blipFill>
        <p:spPr>
          <a:xfrm>
            <a:off x="2865058" y="2419636"/>
            <a:ext cx="534393" cy="351752"/>
          </a:xfrm>
          <a:prstGeom prst="rect">
            <a:avLst/>
          </a:prstGeom>
          <a:noFill/>
          <a:ln>
            <a:noFill/>
          </a:ln>
        </p:spPr>
      </p:pic>
      <p:pic>
        <p:nvPicPr>
          <p:cNvPr id="269" name="Google Shape;250;p5" descr="C:\Users\eruppel\Desktop\Work\31905-35169_MOA_w-sounds\FINAL ART\FINAL PNGs\31905_PD1_MOA_CD28_CTLA4_FINAL_v1.png">
            <a:extLst>
              <a:ext uri="{FF2B5EF4-FFF2-40B4-BE49-F238E27FC236}">
                <a16:creationId xmlns:a16="http://schemas.microsoft.com/office/drawing/2014/main" id="{04EC9F54-34CB-49F3-B549-333E889FB4AE}"/>
              </a:ext>
            </a:extLst>
          </p:cNvPr>
          <p:cNvPicPr preferRelativeResize="0"/>
          <p:nvPr/>
        </p:nvPicPr>
        <p:blipFill rotWithShape="1">
          <a:blip r:embed="rId11">
            <a:alphaModFix/>
          </a:blip>
          <a:srcRect l="48887" t="18750" r="24603" b="68393"/>
          <a:stretch/>
        </p:blipFill>
        <p:spPr>
          <a:xfrm>
            <a:off x="2861901" y="2806265"/>
            <a:ext cx="353457" cy="108615"/>
          </a:xfrm>
          <a:prstGeom prst="rect">
            <a:avLst/>
          </a:prstGeom>
          <a:noFill/>
          <a:ln>
            <a:noFill/>
          </a:ln>
        </p:spPr>
      </p:pic>
      <p:pic>
        <p:nvPicPr>
          <p:cNvPr id="270" name="Google Shape;251;p5" descr="C:\Users\eruppel\Desktop\Work\31905-35169_MOA_w-sounds\FINAL ART\FINAL PNGs\31905_PD1_MOA_CD28_CTLA4_FINAL_v1.png">
            <a:extLst>
              <a:ext uri="{FF2B5EF4-FFF2-40B4-BE49-F238E27FC236}">
                <a16:creationId xmlns:a16="http://schemas.microsoft.com/office/drawing/2014/main" id="{2E4C065A-F73A-446A-8736-E77734633C67}"/>
              </a:ext>
            </a:extLst>
          </p:cNvPr>
          <p:cNvPicPr preferRelativeResize="0"/>
          <p:nvPr/>
        </p:nvPicPr>
        <p:blipFill rotWithShape="1">
          <a:blip r:embed="rId12">
            <a:alphaModFix/>
          </a:blip>
          <a:srcRect l="48460" t="50191" r="24423" b="36069"/>
          <a:stretch/>
        </p:blipFill>
        <p:spPr>
          <a:xfrm>
            <a:off x="2799837" y="2991608"/>
            <a:ext cx="363977" cy="116587"/>
          </a:xfrm>
          <a:prstGeom prst="rect">
            <a:avLst/>
          </a:prstGeom>
          <a:noFill/>
          <a:ln>
            <a:noFill/>
          </a:ln>
        </p:spPr>
      </p:pic>
      <p:sp>
        <p:nvSpPr>
          <p:cNvPr id="271" name="Google Shape;252;p5">
            <a:extLst>
              <a:ext uri="{FF2B5EF4-FFF2-40B4-BE49-F238E27FC236}">
                <a16:creationId xmlns:a16="http://schemas.microsoft.com/office/drawing/2014/main" id="{D6548125-1FA7-4692-A023-239C60DC0BD7}"/>
              </a:ext>
            </a:extLst>
          </p:cNvPr>
          <p:cNvSpPr txBox="1"/>
          <p:nvPr/>
        </p:nvSpPr>
        <p:spPr>
          <a:xfrm>
            <a:off x="3167848" y="2973927"/>
            <a:ext cx="166953"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FFFF00"/>
              </a:buClr>
              <a:buSzPts val="1400"/>
              <a:buFont typeface="Arial"/>
              <a:buNone/>
              <a:tabLst/>
              <a:defRPr/>
            </a:pPr>
            <a:r>
              <a:rPr kumimoji="0" lang="en-US" sz="800" b="1" i="0" u="none" strike="noStrike" kern="0" cap="none" spc="0" normalizeH="0" baseline="0" noProof="0">
                <a:ln>
                  <a:noFill/>
                </a:ln>
                <a:solidFill>
                  <a:srgbClr val="FFFF00"/>
                </a:solidFill>
                <a:effectLst/>
                <a:uLnTx/>
                <a:uFillTx/>
                <a:latin typeface="Gene Sans Light" panose="00000400000000000000" pitchFamily="50" charset="0"/>
                <a:cs typeface="Arial"/>
                <a:sym typeface="Arial"/>
              </a:rPr>
              <a:t>-</a:t>
            </a:r>
            <a:endParaRPr kumimoji="0" sz="800" b="1"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72" name="Google Shape;253;p5">
            <a:extLst>
              <a:ext uri="{FF2B5EF4-FFF2-40B4-BE49-F238E27FC236}">
                <a16:creationId xmlns:a16="http://schemas.microsoft.com/office/drawing/2014/main" id="{E5B079B6-0C7C-40F3-871B-F164D17A651A}"/>
              </a:ext>
            </a:extLst>
          </p:cNvPr>
          <p:cNvSpPr txBox="1"/>
          <p:nvPr/>
        </p:nvSpPr>
        <p:spPr>
          <a:xfrm>
            <a:off x="3255374" y="2973927"/>
            <a:ext cx="166953"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FFFF00"/>
              </a:buClr>
              <a:buSzPts val="1400"/>
              <a:buFont typeface="Arial"/>
              <a:buNone/>
              <a:tabLst/>
              <a:defRPr/>
            </a:pPr>
            <a:r>
              <a:rPr kumimoji="0" lang="en-US" sz="800" b="1" i="0" u="none" strike="noStrike" kern="0" cap="none" spc="0" normalizeH="0" baseline="0" noProof="0">
                <a:ln>
                  <a:noFill/>
                </a:ln>
                <a:solidFill>
                  <a:srgbClr val="FFFF00"/>
                </a:solidFill>
                <a:effectLst/>
                <a:uLnTx/>
                <a:uFillTx/>
                <a:latin typeface="Gene Sans Light" panose="00000400000000000000" pitchFamily="50" charset="0"/>
                <a:cs typeface="Arial"/>
                <a:sym typeface="Arial"/>
              </a:rPr>
              <a:t>-</a:t>
            </a:r>
            <a:endParaRPr kumimoji="0" sz="800" b="1"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73" name="Google Shape;254;p5">
            <a:extLst>
              <a:ext uri="{FF2B5EF4-FFF2-40B4-BE49-F238E27FC236}">
                <a16:creationId xmlns:a16="http://schemas.microsoft.com/office/drawing/2014/main" id="{E7B6E473-B449-4949-9A31-622CCAC487E9}"/>
              </a:ext>
            </a:extLst>
          </p:cNvPr>
          <p:cNvSpPr txBox="1"/>
          <p:nvPr/>
        </p:nvSpPr>
        <p:spPr>
          <a:xfrm>
            <a:off x="3341291" y="2973927"/>
            <a:ext cx="166953"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FFFF00"/>
              </a:buClr>
              <a:buSzPts val="1400"/>
              <a:buFont typeface="Arial"/>
              <a:buNone/>
              <a:tabLst/>
              <a:defRPr/>
            </a:pPr>
            <a:r>
              <a:rPr kumimoji="0" lang="en-US" sz="800" b="1" i="0" u="none" strike="noStrike" kern="0" cap="none" spc="0" normalizeH="0" baseline="0" noProof="0" dirty="0">
                <a:ln>
                  <a:noFill/>
                </a:ln>
                <a:solidFill>
                  <a:srgbClr val="FFFF00"/>
                </a:solidFill>
                <a:effectLst/>
                <a:uLnTx/>
                <a:uFillTx/>
                <a:latin typeface="Gene Sans Light" panose="00000400000000000000" pitchFamily="50" charset="0"/>
                <a:cs typeface="Arial"/>
                <a:sym typeface="Arial"/>
              </a:rPr>
              <a:t>-</a:t>
            </a:r>
            <a:endParaRPr kumimoji="0" sz="8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pic>
        <p:nvPicPr>
          <p:cNvPr id="274" name="Google Shape;255;p5" descr="C:\Users\eruppel\Desktop\Work\31905-35169_MOA_w-sounds\FINAL ART\FINAL PNGs\31905_PD1_MOA_CD28_CTLA4_FINAL_v1.png">
            <a:extLst>
              <a:ext uri="{FF2B5EF4-FFF2-40B4-BE49-F238E27FC236}">
                <a16:creationId xmlns:a16="http://schemas.microsoft.com/office/drawing/2014/main" id="{422B0666-4037-4BA3-84DA-A7EA19FF3214}"/>
              </a:ext>
            </a:extLst>
          </p:cNvPr>
          <p:cNvPicPr preferRelativeResize="0"/>
          <p:nvPr/>
        </p:nvPicPr>
        <p:blipFill rotWithShape="1">
          <a:blip r:embed="rId13">
            <a:alphaModFix/>
          </a:blip>
          <a:srcRect l="23174" t="20416" r="51270" b="70059"/>
          <a:stretch/>
        </p:blipFill>
        <p:spPr>
          <a:xfrm>
            <a:off x="2344340" y="3011535"/>
            <a:ext cx="340835" cy="79716"/>
          </a:xfrm>
          <a:prstGeom prst="rect">
            <a:avLst/>
          </a:prstGeom>
          <a:noFill/>
          <a:ln>
            <a:noFill/>
          </a:ln>
        </p:spPr>
      </p:pic>
      <p:pic>
        <p:nvPicPr>
          <p:cNvPr id="275" name="Google Shape;256;p5" descr="C:\Users\eruppel\Desktop\Work\31905-35169_MOA_w-sounds\FINAL ART\FINAL PNGs\31905_PD1_MOA_CD28_CTLA4_FINAL_v1.png">
            <a:extLst>
              <a:ext uri="{FF2B5EF4-FFF2-40B4-BE49-F238E27FC236}">
                <a16:creationId xmlns:a16="http://schemas.microsoft.com/office/drawing/2014/main" id="{C91BED64-51CB-4B58-A82B-1A836BA577EF}"/>
              </a:ext>
            </a:extLst>
          </p:cNvPr>
          <p:cNvPicPr preferRelativeResize="0"/>
          <p:nvPr/>
        </p:nvPicPr>
        <p:blipFill rotWithShape="1">
          <a:blip r:embed="rId11">
            <a:alphaModFix/>
          </a:blip>
          <a:srcRect l="23174" t="20416" r="51270" b="70059"/>
          <a:stretch/>
        </p:blipFill>
        <p:spPr>
          <a:xfrm>
            <a:off x="2573667" y="2819219"/>
            <a:ext cx="340835" cy="80714"/>
          </a:xfrm>
          <a:prstGeom prst="rect">
            <a:avLst/>
          </a:prstGeom>
          <a:noFill/>
          <a:ln>
            <a:noFill/>
          </a:ln>
        </p:spPr>
      </p:pic>
      <p:sp>
        <p:nvSpPr>
          <p:cNvPr id="276" name="Google Shape;257;p5">
            <a:extLst>
              <a:ext uri="{FF2B5EF4-FFF2-40B4-BE49-F238E27FC236}">
                <a16:creationId xmlns:a16="http://schemas.microsoft.com/office/drawing/2014/main" id="{76966A0D-C2FA-40DB-85E1-0A9BF29273B5}"/>
              </a:ext>
            </a:extLst>
          </p:cNvPr>
          <p:cNvSpPr txBox="1"/>
          <p:nvPr/>
        </p:nvSpPr>
        <p:spPr>
          <a:xfrm>
            <a:off x="3218160" y="2788005"/>
            <a:ext cx="197666"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FFFF00"/>
              </a:buClr>
              <a:buSzPts val="1400"/>
              <a:buFont typeface="Arial"/>
              <a:buNone/>
              <a:tabLst/>
              <a:defRPr/>
            </a:pPr>
            <a:r>
              <a:rPr kumimoji="0" lang="en-US" sz="800" b="1" i="0" u="none" strike="noStrike" kern="0" cap="none" spc="0" normalizeH="0" baseline="0" noProof="0" dirty="0">
                <a:ln>
                  <a:noFill/>
                </a:ln>
                <a:solidFill>
                  <a:srgbClr val="FFFF00"/>
                </a:solidFill>
                <a:effectLst/>
                <a:uLnTx/>
                <a:uFillTx/>
                <a:latin typeface="Gene Sans Light" panose="00000400000000000000" pitchFamily="50" charset="0"/>
                <a:cs typeface="Arial"/>
                <a:sym typeface="Arial"/>
              </a:rPr>
              <a:t>+</a:t>
            </a:r>
            <a:endParaRPr kumimoji="0" sz="8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77" name="Google Shape;258;p5">
            <a:extLst>
              <a:ext uri="{FF2B5EF4-FFF2-40B4-BE49-F238E27FC236}">
                <a16:creationId xmlns:a16="http://schemas.microsoft.com/office/drawing/2014/main" id="{91DB69B8-9C62-4CF9-9349-FC74B6C7BCAA}"/>
              </a:ext>
            </a:extLst>
          </p:cNvPr>
          <p:cNvSpPr txBox="1"/>
          <p:nvPr/>
        </p:nvSpPr>
        <p:spPr>
          <a:xfrm>
            <a:off x="3292826" y="2788005"/>
            <a:ext cx="197666"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FFFF00"/>
              </a:buClr>
              <a:buSzPts val="1400"/>
              <a:buFont typeface="Arial"/>
              <a:buNone/>
              <a:tabLst/>
              <a:defRPr/>
            </a:pPr>
            <a:r>
              <a:rPr kumimoji="0" lang="en-US" sz="800" b="1" i="0" u="none" strike="noStrike" kern="0" cap="none" spc="0" normalizeH="0" baseline="0" noProof="0">
                <a:ln>
                  <a:noFill/>
                </a:ln>
                <a:solidFill>
                  <a:srgbClr val="FFFF00"/>
                </a:solidFill>
                <a:effectLst/>
                <a:uLnTx/>
                <a:uFillTx/>
                <a:latin typeface="Gene Sans Light" panose="00000400000000000000" pitchFamily="50" charset="0"/>
                <a:cs typeface="Arial"/>
                <a:sym typeface="Arial"/>
              </a:rPr>
              <a:t>+</a:t>
            </a:r>
            <a:endParaRPr kumimoji="0" sz="800" b="1"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78" name="Google Shape;259;p5">
            <a:extLst>
              <a:ext uri="{FF2B5EF4-FFF2-40B4-BE49-F238E27FC236}">
                <a16:creationId xmlns:a16="http://schemas.microsoft.com/office/drawing/2014/main" id="{31ED655E-2A98-40D8-905E-33B16923231A}"/>
              </a:ext>
            </a:extLst>
          </p:cNvPr>
          <p:cNvSpPr txBox="1"/>
          <p:nvPr/>
        </p:nvSpPr>
        <p:spPr>
          <a:xfrm>
            <a:off x="3367496" y="2788005"/>
            <a:ext cx="197666"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FFFF00"/>
              </a:buClr>
              <a:buSzPts val="1400"/>
              <a:buFont typeface="Arial"/>
              <a:buNone/>
              <a:tabLst/>
              <a:defRPr/>
            </a:pPr>
            <a:r>
              <a:rPr kumimoji="0" lang="en-US" sz="800" b="1" i="0" u="none" strike="noStrike" kern="0" cap="none" spc="0" normalizeH="0" baseline="0" noProof="0" dirty="0">
                <a:ln>
                  <a:noFill/>
                </a:ln>
                <a:solidFill>
                  <a:srgbClr val="FFFF00"/>
                </a:solidFill>
                <a:effectLst/>
                <a:uLnTx/>
                <a:uFillTx/>
                <a:latin typeface="Gene Sans Light" panose="00000400000000000000" pitchFamily="50" charset="0"/>
                <a:cs typeface="Arial"/>
                <a:sym typeface="Arial"/>
              </a:rPr>
              <a:t>+</a:t>
            </a:r>
            <a:endParaRPr kumimoji="0" sz="8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79" name="Google Shape;260;p5">
            <a:extLst>
              <a:ext uri="{FF2B5EF4-FFF2-40B4-BE49-F238E27FC236}">
                <a16:creationId xmlns:a16="http://schemas.microsoft.com/office/drawing/2014/main" id="{313B8423-1576-4F49-BC4B-A79A56A2A0A7}"/>
              </a:ext>
            </a:extLst>
          </p:cNvPr>
          <p:cNvSpPr txBox="1"/>
          <p:nvPr/>
        </p:nvSpPr>
        <p:spPr>
          <a:xfrm>
            <a:off x="3322749" y="2505798"/>
            <a:ext cx="197666"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FFFF00"/>
              </a:buClr>
              <a:buSzPts val="1400"/>
              <a:buFont typeface="Arial"/>
              <a:buNone/>
              <a:tabLst/>
              <a:defRPr/>
            </a:pPr>
            <a:r>
              <a:rPr kumimoji="0" lang="en-US" sz="800" b="1" i="0" u="none" strike="noStrike" kern="0" cap="none" spc="0" normalizeH="0" baseline="0" noProof="0">
                <a:ln>
                  <a:noFill/>
                </a:ln>
                <a:solidFill>
                  <a:srgbClr val="FFFF00"/>
                </a:solidFill>
                <a:effectLst/>
                <a:uLnTx/>
                <a:uFillTx/>
                <a:latin typeface="Gene Sans Light" panose="00000400000000000000" pitchFamily="50" charset="0"/>
                <a:cs typeface="Arial"/>
                <a:sym typeface="Arial"/>
              </a:rPr>
              <a:t>+</a:t>
            </a:r>
            <a:endParaRPr kumimoji="0" sz="800" b="1"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80" name="Google Shape;261;p5">
            <a:extLst>
              <a:ext uri="{FF2B5EF4-FFF2-40B4-BE49-F238E27FC236}">
                <a16:creationId xmlns:a16="http://schemas.microsoft.com/office/drawing/2014/main" id="{4B3E067D-728F-4516-B62D-B89051325A18}"/>
              </a:ext>
            </a:extLst>
          </p:cNvPr>
          <p:cNvSpPr txBox="1"/>
          <p:nvPr/>
        </p:nvSpPr>
        <p:spPr>
          <a:xfrm>
            <a:off x="3397417" y="2505798"/>
            <a:ext cx="197666"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FFFF00"/>
              </a:buClr>
              <a:buSzPts val="1400"/>
              <a:buFont typeface="Arial"/>
              <a:buNone/>
              <a:tabLst/>
              <a:defRPr/>
            </a:pPr>
            <a:r>
              <a:rPr kumimoji="0" lang="en-US" sz="800" b="1" i="0" u="none" strike="noStrike" kern="0" cap="none" spc="0" normalizeH="0" baseline="0" noProof="0">
                <a:ln>
                  <a:noFill/>
                </a:ln>
                <a:solidFill>
                  <a:srgbClr val="FFFF00"/>
                </a:solidFill>
                <a:effectLst/>
                <a:uLnTx/>
                <a:uFillTx/>
                <a:latin typeface="Gene Sans Light" panose="00000400000000000000" pitchFamily="50" charset="0"/>
                <a:cs typeface="Arial"/>
                <a:sym typeface="Arial"/>
              </a:rPr>
              <a:t>+</a:t>
            </a:r>
            <a:endParaRPr kumimoji="0" sz="800" b="1"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81" name="Google Shape;262;p5">
            <a:extLst>
              <a:ext uri="{FF2B5EF4-FFF2-40B4-BE49-F238E27FC236}">
                <a16:creationId xmlns:a16="http://schemas.microsoft.com/office/drawing/2014/main" id="{983037C6-D4FC-4A7E-8369-ACD7159C4DD8}"/>
              </a:ext>
            </a:extLst>
          </p:cNvPr>
          <p:cNvSpPr txBox="1"/>
          <p:nvPr/>
        </p:nvSpPr>
        <p:spPr>
          <a:xfrm>
            <a:off x="3475296" y="2505798"/>
            <a:ext cx="197666"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FFFF00"/>
              </a:buClr>
              <a:buSzPts val="1400"/>
              <a:buFont typeface="Arial"/>
              <a:buNone/>
              <a:tabLst/>
              <a:defRPr/>
            </a:pPr>
            <a:r>
              <a:rPr kumimoji="0" lang="en-US" sz="800" b="1" i="0" u="none" strike="noStrike" kern="0" cap="none" spc="0" normalizeH="0" baseline="0" noProof="0" dirty="0">
                <a:ln>
                  <a:noFill/>
                </a:ln>
                <a:solidFill>
                  <a:srgbClr val="FFFF00"/>
                </a:solidFill>
                <a:effectLst/>
                <a:uLnTx/>
                <a:uFillTx/>
                <a:latin typeface="Gene Sans Light" panose="00000400000000000000" pitchFamily="50" charset="0"/>
                <a:cs typeface="Arial"/>
                <a:sym typeface="Arial"/>
              </a:rPr>
              <a:t>+</a:t>
            </a:r>
            <a:endParaRPr kumimoji="0" sz="8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pic>
        <p:nvPicPr>
          <p:cNvPr id="282" name="Google Shape;263;p5" descr="C:\Users\eruppel\Desktop\Work\31905-35169_MOA_w-sounds\35169_files\FINAL REV 03Jan13\FINAL REV PNGs\31905_PD1_MOA_Receptors_FINAL_v3.png">
            <a:extLst>
              <a:ext uri="{FF2B5EF4-FFF2-40B4-BE49-F238E27FC236}">
                <a16:creationId xmlns:a16="http://schemas.microsoft.com/office/drawing/2014/main" id="{2448CA0F-744C-4224-A6B7-E4F96F17470B}"/>
              </a:ext>
            </a:extLst>
          </p:cNvPr>
          <p:cNvPicPr preferRelativeResize="0"/>
          <p:nvPr/>
        </p:nvPicPr>
        <p:blipFill rotWithShape="1">
          <a:blip r:embed="rId14">
            <a:alphaModFix/>
          </a:blip>
          <a:srcRect l="49881" t="64137" r="43869" b="28156"/>
          <a:stretch/>
        </p:blipFill>
        <p:spPr>
          <a:xfrm>
            <a:off x="2668342" y="2980646"/>
            <a:ext cx="181989" cy="141498"/>
          </a:xfrm>
          <a:prstGeom prst="rect">
            <a:avLst/>
          </a:prstGeom>
          <a:noFill/>
          <a:ln>
            <a:noFill/>
          </a:ln>
        </p:spPr>
      </p:pic>
      <p:pic>
        <p:nvPicPr>
          <p:cNvPr id="283" name="Google Shape;264;p5" descr="C:\Users\eruppel\Desktop\MOA_w-sounds\31905_PD1_MOA_Receptor_Details_FINAL_v2.png">
            <a:extLst>
              <a:ext uri="{FF2B5EF4-FFF2-40B4-BE49-F238E27FC236}">
                <a16:creationId xmlns:a16="http://schemas.microsoft.com/office/drawing/2014/main" id="{6C6599A3-72EE-4517-87B3-78A1B4D6DCEC}"/>
              </a:ext>
            </a:extLst>
          </p:cNvPr>
          <p:cNvPicPr preferRelativeResize="0"/>
          <p:nvPr/>
        </p:nvPicPr>
        <p:blipFill rotWithShape="1">
          <a:blip r:embed="rId15">
            <a:alphaModFix/>
          </a:blip>
          <a:srcRect l="4227" r="46831" b="53029"/>
          <a:stretch/>
        </p:blipFill>
        <p:spPr>
          <a:xfrm>
            <a:off x="2531588" y="2419637"/>
            <a:ext cx="554382" cy="351752"/>
          </a:xfrm>
          <a:prstGeom prst="rect">
            <a:avLst/>
          </a:prstGeom>
          <a:noFill/>
          <a:ln>
            <a:noFill/>
          </a:ln>
        </p:spPr>
      </p:pic>
      <p:sp>
        <p:nvSpPr>
          <p:cNvPr id="284" name="Google Shape;265;p5">
            <a:extLst>
              <a:ext uri="{FF2B5EF4-FFF2-40B4-BE49-F238E27FC236}">
                <a16:creationId xmlns:a16="http://schemas.microsoft.com/office/drawing/2014/main" id="{3F79F30D-C672-4A59-ADFF-596ABC991A39}"/>
              </a:ext>
            </a:extLst>
          </p:cNvPr>
          <p:cNvSpPr txBox="1"/>
          <p:nvPr/>
        </p:nvSpPr>
        <p:spPr>
          <a:xfrm>
            <a:off x="5382844" y="2573407"/>
            <a:ext cx="197666"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FFFF00"/>
              </a:buClr>
              <a:buSzPts val="1400"/>
              <a:buFont typeface="Arial"/>
              <a:buNone/>
              <a:tabLst/>
              <a:defRPr/>
            </a:pPr>
            <a:r>
              <a:rPr kumimoji="0" lang="en-US" sz="800" b="1" i="0" u="none" strike="noStrike" kern="0" cap="none" spc="0" normalizeH="0" baseline="0" noProof="0">
                <a:ln>
                  <a:noFill/>
                </a:ln>
                <a:solidFill>
                  <a:srgbClr val="FFFF00"/>
                </a:solidFill>
                <a:effectLst/>
                <a:uLnTx/>
                <a:uFillTx/>
                <a:latin typeface="Gene Sans Light" panose="00000400000000000000" pitchFamily="50" charset="0"/>
                <a:cs typeface="Arial"/>
                <a:sym typeface="Arial"/>
              </a:rPr>
              <a:t>+</a:t>
            </a:r>
            <a:endParaRPr kumimoji="0" sz="800" b="1"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85" name="Google Shape;266;p5">
            <a:extLst>
              <a:ext uri="{FF2B5EF4-FFF2-40B4-BE49-F238E27FC236}">
                <a16:creationId xmlns:a16="http://schemas.microsoft.com/office/drawing/2014/main" id="{69E444B0-3EF5-4D6D-8C71-041BC729C620}"/>
              </a:ext>
            </a:extLst>
          </p:cNvPr>
          <p:cNvSpPr txBox="1"/>
          <p:nvPr/>
        </p:nvSpPr>
        <p:spPr>
          <a:xfrm>
            <a:off x="5461794" y="2573407"/>
            <a:ext cx="197666"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FFFF00"/>
              </a:buClr>
              <a:buSzPts val="1400"/>
              <a:buFont typeface="Arial"/>
              <a:buNone/>
              <a:tabLst/>
              <a:defRPr/>
            </a:pPr>
            <a:r>
              <a:rPr kumimoji="0" lang="en-US" sz="800" b="1" i="0" u="none" strike="noStrike" kern="0" cap="none" spc="0" normalizeH="0" baseline="0" noProof="0">
                <a:ln>
                  <a:noFill/>
                </a:ln>
                <a:solidFill>
                  <a:srgbClr val="FFFF00"/>
                </a:solidFill>
                <a:effectLst/>
                <a:uLnTx/>
                <a:uFillTx/>
                <a:latin typeface="Gene Sans Light" panose="00000400000000000000" pitchFamily="50" charset="0"/>
                <a:cs typeface="Arial"/>
                <a:sym typeface="Arial"/>
              </a:rPr>
              <a:t>+</a:t>
            </a:r>
            <a:endParaRPr kumimoji="0" sz="800" b="1"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86" name="Google Shape;267;p5">
            <a:extLst>
              <a:ext uri="{FF2B5EF4-FFF2-40B4-BE49-F238E27FC236}">
                <a16:creationId xmlns:a16="http://schemas.microsoft.com/office/drawing/2014/main" id="{1C3B0133-89B3-4EF0-B400-2FF1307D3AA3}"/>
              </a:ext>
            </a:extLst>
          </p:cNvPr>
          <p:cNvSpPr txBox="1"/>
          <p:nvPr/>
        </p:nvSpPr>
        <p:spPr>
          <a:xfrm>
            <a:off x="5544145" y="2573406"/>
            <a:ext cx="197666"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FFFF00"/>
              </a:buClr>
              <a:buSzPts val="1400"/>
              <a:buFont typeface="Arial"/>
              <a:buNone/>
              <a:tabLst/>
              <a:defRPr/>
            </a:pPr>
            <a:r>
              <a:rPr kumimoji="0" lang="en-US" sz="800" b="1" i="0" u="none" strike="noStrike" kern="0" cap="none" spc="0" normalizeH="0" baseline="0" noProof="0" dirty="0">
                <a:ln>
                  <a:noFill/>
                </a:ln>
                <a:solidFill>
                  <a:srgbClr val="FFFF00"/>
                </a:solidFill>
                <a:effectLst/>
                <a:uLnTx/>
                <a:uFillTx/>
                <a:latin typeface="Gene Sans Light" panose="00000400000000000000" pitchFamily="50" charset="0"/>
                <a:cs typeface="Arial"/>
                <a:sym typeface="Arial"/>
              </a:rPr>
              <a:t>+</a:t>
            </a:r>
            <a:endParaRPr kumimoji="0" sz="8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pic>
        <p:nvPicPr>
          <p:cNvPr id="287" name="Google Shape;268;p5" descr="C:\Users\eruppel\Desktop\Work\31905-35169_MOA_w-sounds\35169_files\FINAL REV 03Jan13\FINAL REV PNGs\31905_PD1_MOA_Receptors_FINAL_v3.png">
            <a:extLst>
              <a:ext uri="{FF2B5EF4-FFF2-40B4-BE49-F238E27FC236}">
                <a16:creationId xmlns:a16="http://schemas.microsoft.com/office/drawing/2014/main" id="{E032EFAF-9B64-4268-906A-21ACF66B914B}"/>
              </a:ext>
            </a:extLst>
          </p:cNvPr>
          <p:cNvPicPr preferRelativeResize="0"/>
          <p:nvPr/>
        </p:nvPicPr>
        <p:blipFill rotWithShape="1">
          <a:blip r:embed="rId16">
            <a:alphaModFix/>
          </a:blip>
          <a:srcRect l="43869" t="64137" r="49881" b="28156"/>
          <a:stretch/>
        </p:blipFill>
        <p:spPr>
          <a:xfrm>
            <a:off x="5901599" y="2921696"/>
            <a:ext cx="192509" cy="150466"/>
          </a:xfrm>
          <a:prstGeom prst="rect">
            <a:avLst/>
          </a:prstGeom>
          <a:noFill/>
          <a:ln>
            <a:noFill/>
          </a:ln>
        </p:spPr>
      </p:pic>
      <p:pic>
        <p:nvPicPr>
          <p:cNvPr id="288" name="Google Shape;269;p5" descr="C:\Users\eruppel\Desktop\Work\31905-35169_MOA_w-sounds\35169_files\FINAL REV 03Jan13\FINAL REV PNGs\31905_PD1_MOA_Receptors_FINAL_v3.png">
            <a:extLst>
              <a:ext uri="{FF2B5EF4-FFF2-40B4-BE49-F238E27FC236}">
                <a16:creationId xmlns:a16="http://schemas.microsoft.com/office/drawing/2014/main" id="{731629AF-3B93-463A-A9BF-F712CDD6C357}"/>
              </a:ext>
            </a:extLst>
          </p:cNvPr>
          <p:cNvPicPr preferRelativeResize="0"/>
          <p:nvPr/>
        </p:nvPicPr>
        <p:blipFill rotWithShape="1">
          <a:blip r:embed="rId17">
            <a:alphaModFix/>
          </a:blip>
          <a:srcRect l="43869" t="64137" r="49881" b="28156"/>
          <a:stretch/>
        </p:blipFill>
        <p:spPr>
          <a:xfrm>
            <a:off x="5945988" y="3288552"/>
            <a:ext cx="193560" cy="150466"/>
          </a:xfrm>
          <a:prstGeom prst="rect">
            <a:avLst/>
          </a:prstGeom>
          <a:noFill/>
          <a:ln>
            <a:noFill/>
          </a:ln>
        </p:spPr>
      </p:pic>
      <p:pic>
        <p:nvPicPr>
          <p:cNvPr id="289" name="Google Shape;270;p5" descr="C:\Users\eruppel\Desktop\MOA_w-sounds\31905_PD1_MOA_Receptor_Details_FINAL_v2.png">
            <a:extLst>
              <a:ext uri="{FF2B5EF4-FFF2-40B4-BE49-F238E27FC236}">
                <a16:creationId xmlns:a16="http://schemas.microsoft.com/office/drawing/2014/main" id="{690D0238-8204-4367-B689-35ECEB06FC8D}"/>
              </a:ext>
            </a:extLst>
          </p:cNvPr>
          <p:cNvPicPr preferRelativeResize="0"/>
          <p:nvPr/>
        </p:nvPicPr>
        <p:blipFill rotWithShape="1">
          <a:blip r:embed="rId18">
            <a:alphaModFix/>
          </a:blip>
          <a:srcRect l="16901" t="70707" r="45775" b="7069"/>
          <a:stretch/>
        </p:blipFill>
        <p:spPr>
          <a:xfrm flipH="1">
            <a:off x="6107157" y="3249204"/>
            <a:ext cx="502608" cy="197624"/>
          </a:xfrm>
          <a:prstGeom prst="rect">
            <a:avLst/>
          </a:prstGeom>
          <a:noFill/>
          <a:ln>
            <a:noFill/>
          </a:ln>
        </p:spPr>
      </p:pic>
      <p:pic>
        <p:nvPicPr>
          <p:cNvPr id="290" name="Google Shape;271;p5" descr="C:\Users\eruppel\Desktop\MOA_w-sounds\31905_PD1_MOA_Receptor_Details_FINAL_v2.png">
            <a:extLst>
              <a:ext uri="{FF2B5EF4-FFF2-40B4-BE49-F238E27FC236}">
                <a16:creationId xmlns:a16="http://schemas.microsoft.com/office/drawing/2014/main" id="{894A467E-5749-430A-A038-AF684AFC97E2}"/>
              </a:ext>
            </a:extLst>
          </p:cNvPr>
          <p:cNvPicPr preferRelativeResize="0"/>
          <p:nvPr/>
        </p:nvPicPr>
        <p:blipFill rotWithShape="1">
          <a:blip r:embed="rId19">
            <a:alphaModFix/>
          </a:blip>
          <a:srcRect l="9859" t="67677" r="55634"/>
          <a:stretch/>
        </p:blipFill>
        <p:spPr>
          <a:xfrm>
            <a:off x="5551504" y="3226774"/>
            <a:ext cx="549122" cy="286983"/>
          </a:xfrm>
          <a:prstGeom prst="rect">
            <a:avLst/>
          </a:prstGeom>
          <a:noFill/>
          <a:ln>
            <a:noFill/>
          </a:ln>
        </p:spPr>
      </p:pic>
      <p:sp>
        <p:nvSpPr>
          <p:cNvPr id="291" name="Google Shape;272;p5">
            <a:extLst>
              <a:ext uri="{FF2B5EF4-FFF2-40B4-BE49-F238E27FC236}">
                <a16:creationId xmlns:a16="http://schemas.microsoft.com/office/drawing/2014/main" id="{AA8B709E-89CA-479E-8C26-ACAC03C1D5E9}"/>
              </a:ext>
            </a:extLst>
          </p:cNvPr>
          <p:cNvSpPr txBox="1"/>
          <p:nvPr/>
        </p:nvSpPr>
        <p:spPr>
          <a:xfrm>
            <a:off x="5326932" y="3256323"/>
            <a:ext cx="166953"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FFFF00"/>
              </a:buClr>
              <a:buSzPts val="1400"/>
              <a:buFont typeface="Arial"/>
              <a:buNone/>
              <a:tabLst/>
              <a:defRPr/>
            </a:pPr>
            <a:r>
              <a:rPr kumimoji="0" lang="en-US" sz="800" b="1" i="0" u="none" strike="noStrike" kern="0" cap="none" spc="0" normalizeH="0" baseline="0" noProof="0">
                <a:ln>
                  <a:noFill/>
                </a:ln>
                <a:solidFill>
                  <a:srgbClr val="FFFF00"/>
                </a:solidFill>
                <a:effectLst/>
                <a:uLnTx/>
                <a:uFillTx/>
                <a:latin typeface="Gene Sans Light" panose="00000400000000000000" pitchFamily="50" charset="0"/>
                <a:cs typeface="Arial"/>
                <a:sym typeface="Arial"/>
              </a:rPr>
              <a:t>-</a:t>
            </a:r>
            <a:endParaRPr kumimoji="0" sz="800" b="1"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92" name="Google Shape;273;p5">
            <a:extLst>
              <a:ext uri="{FF2B5EF4-FFF2-40B4-BE49-F238E27FC236}">
                <a16:creationId xmlns:a16="http://schemas.microsoft.com/office/drawing/2014/main" id="{386E8BBA-000A-4C5F-AE93-E52110F90987}"/>
              </a:ext>
            </a:extLst>
          </p:cNvPr>
          <p:cNvSpPr txBox="1"/>
          <p:nvPr/>
        </p:nvSpPr>
        <p:spPr>
          <a:xfrm>
            <a:off x="5419481" y="3256323"/>
            <a:ext cx="166953"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FFFF00"/>
              </a:buClr>
              <a:buSzPts val="1400"/>
              <a:buFont typeface="Arial"/>
              <a:buNone/>
              <a:tabLst/>
              <a:defRPr/>
            </a:pPr>
            <a:r>
              <a:rPr kumimoji="0" lang="en-US" sz="800" b="1" i="0" u="none" strike="noStrike" kern="0" cap="none" spc="0" normalizeH="0" baseline="0" noProof="0">
                <a:ln>
                  <a:noFill/>
                </a:ln>
                <a:solidFill>
                  <a:srgbClr val="FFFF00"/>
                </a:solidFill>
                <a:effectLst/>
                <a:uLnTx/>
                <a:uFillTx/>
                <a:latin typeface="Gene Sans Light" panose="00000400000000000000" pitchFamily="50" charset="0"/>
                <a:cs typeface="Arial"/>
                <a:sym typeface="Arial"/>
              </a:rPr>
              <a:t>-</a:t>
            </a:r>
            <a:endParaRPr kumimoji="0" sz="800" b="1"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93" name="Google Shape;274;p5">
            <a:extLst>
              <a:ext uri="{FF2B5EF4-FFF2-40B4-BE49-F238E27FC236}">
                <a16:creationId xmlns:a16="http://schemas.microsoft.com/office/drawing/2014/main" id="{B38666A9-50CD-4FA7-BC25-E5ACC5E7B56C}"/>
              </a:ext>
            </a:extLst>
          </p:cNvPr>
          <p:cNvSpPr txBox="1"/>
          <p:nvPr/>
        </p:nvSpPr>
        <p:spPr>
          <a:xfrm>
            <a:off x="5510327" y="3256323"/>
            <a:ext cx="166953"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FFFF00"/>
              </a:buClr>
              <a:buSzPts val="1400"/>
              <a:buFont typeface="Arial"/>
              <a:buNone/>
              <a:tabLst/>
              <a:defRPr/>
            </a:pPr>
            <a:r>
              <a:rPr kumimoji="0" lang="en-US" sz="800" b="1" i="0" u="none" strike="noStrike" kern="0" cap="none" spc="0" normalizeH="0" baseline="0" noProof="0" dirty="0">
                <a:ln>
                  <a:noFill/>
                </a:ln>
                <a:solidFill>
                  <a:srgbClr val="FFFF00"/>
                </a:solidFill>
                <a:effectLst/>
                <a:uLnTx/>
                <a:uFillTx/>
                <a:latin typeface="Gene Sans Light" panose="00000400000000000000" pitchFamily="50" charset="0"/>
                <a:cs typeface="Arial"/>
                <a:sym typeface="Arial"/>
              </a:rPr>
              <a:t>-</a:t>
            </a:r>
            <a:endParaRPr kumimoji="0" sz="8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pic>
        <p:nvPicPr>
          <p:cNvPr id="294" name="Google Shape;275;p5" descr="C:\Users\eruppel\Desktop\Work\31905-35169_MOA_w-sounds\35169_files\FINAL REV 03Jan13\FINAL REV PNGs\31905_PD1_MOA_Receptors_FINAL_v3.png">
            <a:extLst>
              <a:ext uri="{FF2B5EF4-FFF2-40B4-BE49-F238E27FC236}">
                <a16:creationId xmlns:a16="http://schemas.microsoft.com/office/drawing/2014/main" id="{1A6FB908-1B20-4B8E-A7D5-515DB826B854}"/>
              </a:ext>
            </a:extLst>
          </p:cNvPr>
          <p:cNvPicPr preferRelativeResize="0"/>
          <p:nvPr/>
        </p:nvPicPr>
        <p:blipFill rotWithShape="1">
          <a:blip r:embed="rId16">
            <a:alphaModFix/>
          </a:blip>
          <a:srcRect l="43869" t="64137" r="49881" b="28156"/>
          <a:stretch/>
        </p:blipFill>
        <p:spPr>
          <a:xfrm rot="10800000">
            <a:off x="6074284" y="2925109"/>
            <a:ext cx="192509" cy="150466"/>
          </a:xfrm>
          <a:prstGeom prst="rect">
            <a:avLst/>
          </a:prstGeom>
          <a:noFill/>
          <a:ln>
            <a:noFill/>
          </a:ln>
        </p:spPr>
      </p:pic>
      <p:sp>
        <p:nvSpPr>
          <p:cNvPr id="298" name="Google Shape;280;p6">
            <a:extLst>
              <a:ext uri="{FF2B5EF4-FFF2-40B4-BE49-F238E27FC236}">
                <a16:creationId xmlns:a16="http://schemas.microsoft.com/office/drawing/2014/main" id="{CFE44E18-2AE2-4766-8460-6AAE0FED734C}"/>
              </a:ext>
            </a:extLst>
          </p:cNvPr>
          <p:cNvSpPr txBox="1">
            <a:spLocks/>
          </p:cNvSpPr>
          <p:nvPr/>
        </p:nvSpPr>
        <p:spPr>
          <a:xfrm>
            <a:off x="381648" y="4745251"/>
            <a:ext cx="8385048" cy="110800"/>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Adapted from </a:t>
            </a:r>
            <a:r>
              <a:rPr kumimoji="0" lang="en-US" sz="8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Pardoll</a:t>
            </a: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DM. Nat Rev Cancer. 2012;12:252-264 and </a:t>
            </a:r>
            <a:r>
              <a:rPr kumimoji="0" lang="en-US" sz="8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Merelli</a:t>
            </a: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B, et al. Critical Rev </a:t>
            </a:r>
            <a:r>
              <a:rPr kumimoji="0" lang="en-US" sz="8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Oncol</a:t>
            </a: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a:t>
            </a:r>
            <a:r>
              <a:rPr kumimoji="0" lang="en-US" sz="8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Hematol</a:t>
            </a: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2014;89:140-165. </a:t>
            </a:r>
          </a:p>
        </p:txBody>
      </p:sp>
      <p:sp>
        <p:nvSpPr>
          <p:cNvPr id="70" name="Google Shape;122;p3">
            <a:extLst>
              <a:ext uri="{FF2B5EF4-FFF2-40B4-BE49-F238E27FC236}">
                <a16:creationId xmlns:a16="http://schemas.microsoft.com/office/drawing/2014/main" id="{AC098D35-C84D-4B60-801B-5329DE150E16}"/>
              </a:ext>
            </a:extLst>
          </p:cNvPr>
          <p:cNvSpPr txBox="1">
            <a:spLocks/>
          </p:cNvSpPr>
          <p:nvPr/>
        </p:nvSpPr>
        <p:spPr>
          <a:xfrm>
            <a:off x="381000" y="94545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Tree>
    <p:extLst>
      <p:ext uri="{BB962C8B-B14F-4D97-AF65-F5344CB8AC3E}">
        <p14:creationId xmlns:p14="http://schemas.microsoft.com/office/powerpoint/2010/main" val="860095028"/>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79"/>
        <p:cNvGrpSpPr/>
        <p:nvPr/>
      </p:nvGrpSpPr>
      <p:grpSpPr>
        <a:xfrm>
          <a:off x="0" y="0"/>
          <a:ext cx="0" cy="0"/>
          <a:chOff x="0" y="0"/>
          <a:chExt cx="0" cy="0"/>
        </a:xfrm>
      </p:grpSpPr>
      <p:sp>
        <p:nvSpPr>
          <p:cNvPr id="2" name="Text Placeholder 1">
            <a:extLst>
              <a:ext uri="{FF2B5EF4-FFF2-40B4-BE49-F238E27FC236}">
                <a16:creationId xmlns:a16="http://schemas.microsoft.com/office/drawing/2014/main" id="{B11DD096-4BCE-404A-90A9-E19922B797E9}"/>
              </a:ext>
            </a:extLst>
          </p:cNvPr>
          <p:cNvSpPr>
            <a:spLocks noGrp="1"/>
          </p:cNvSpPr>
          <p:nvPr>
            <p:ph type="body" idx="1"/>
          </p:nvPr>
        </p:nvSpPr>
        <p:spPr/>
        <p:txBody>
          <a:bodyPr/>
          <a:lstStyle/>
          <a:p>
            <a:endParaRPr lang="en-ID"/>
          </a:p>
        </p:txBody>
      </p:sp>
      <p:sp>
        <p:nvSpPr>
          <p:cNvPr id="280" name="Google Shape;280;p6"/>
          <p:cNvSpPr txBox="1">
            <a:spLocks noGrp="1"/>
          </p:cNvSpPr>
          <p:nvPr>
            <p:ph type="body" idx="2"/>
          </p:nvPr>
        </p:nvSpPr>
        <p:spPr>
          <a:xfrm>
            <a:off x="381648" y="4745251"/>
            <a:ext cx="8385048" cy="221599"/>
          </a:xfrm>
          <a:prstGeom prst="rect">
            <a:avLst/>
          </a:prstGeom>
          <a:noFill/>
          <a:ln>
            <a:noFill/>
          </a:ln>
        </p:spPr>
        <p:txBody>
          <a:bodyPr spcFirstLastPara="1" wrap="square" lIns="0" tIns="0" rIns="0" bIns="0" anchor="t" anchorCtr="0">
            <a:spAutoFit/>
          </a:bodyPr>
          <a:lstStyle/>
          <a:p>
            <a:pPr marL="0" indent="0">
              <a:spcBef>
                <a:spcPts val="0"/>
              </a:spcBef>
              <a:buClr>
                <a:schemeClr val="accent1"/>
              </a:buClr>
              <a:buSzPts val="2200"/>
            </a:pPr>
            <a:r>
              <a:rPr lang="en-US" dirty="0">
                <a:latin typeface="Gene Sans Light" panose="00000400000000000000" pitchFamily="50" charset="0"/>
              </a:rPr>
              <a:t>Not all toxicities are listed. 1. Abdel-Wahab N, et al. Add Exp Med Biol. 2017;995:155-174. 2. Calabrese LH, et al. Nat Rev </a:t>
            </a:r>
            <a:r>
              <a:rPr lang="en-US" dirty="0" err="1">
                <a:latin typeface="Gene Sans Light" panose="00000400000000000000" pitchFamily="50" charset="0"/>
              </a:rPr>
              <a:t>Rheumatol</a:t>
            </a:r>
            <a:r>
              <a:rPr lang="en-US" dirty="0">
                <a:latin typeface="Gene Sans Light" panose="00000400000000000000" pitchFamily="50" charset="0"/>
              </a:rPr>
              <a:t>. 2018;14:569-579. 3. </a:t>
            </a:r>
            <a:r>
              <a:rPr lang="en-US" dirty="0" err="1">
                <a:latin typeface="Gene Sans Light" panose="00000400000000000000" pitchFamily="50" charset="0"/>
              </a:rPr>
              <a:t>Lemiale</a:t>
            </a:r>
            <a:r>
              <a:rPr lang="en-US" dirty="0">
                <a:latin typeface="Gene Sans Light" panose="00000400000000000000" pitchFamily="50" charset="0"/>
              </a:rPr>
              <a:t> V, et al. Ann Intensive Care.2019;9:25. 4. Naidoo J, et al. Ann Oncol. 2015;26:2375-2391. </a:t>
            </a:r>
          </a:p>
        </p:txBody>
      </p:sp>
      <p:sp>
        <p:nvSpPr>
          <p:cNvPr id="282" name="Google Shape;282;p6"/>
          <p:cNvSpPr txBox="1">
            <a:spLocks noGrp="1"/>
          </p:cNvSpPr>
          <p:nvPr>
            <p:ph type="title"/>
          </p:nvPr>
        </p:nvSpPr>
        <p:spPr>
          <a:xfrm>
            <a:off x="381648" y="585795"/>
            <a:ext cx="8384400" cy="323165"/>
          </a:xfrm>
          <a:prstGeom prst="rect">
            <a:avLst/>
          </a:prstGeom>
          <a:noFill/>
          <a:ln>
            <a:noFill/>
          </a:ln>
        </p:spPr>
        <p:txBody>
          <a:bodyPr spcFirstLastPara="1" wrap="square" lIns="0" tIns="0" rIns="0" bIns="0" anchor="t" anchorCtr="0">
            <a:spAutoFit/>
          </a:bodyPr>
          <a:lstStyle/>
          <a:p>
            <a:r>
              <a:rPr lang="en-US" dirty="0"/>
              <a:t>Spectrum of Immune-Related Toxicities</a:t>
            </a:r>
            <a:endParaRPr dirty="0"/>
          </a:p>
        </p:txBody>
      </p:sp>
      <p:sp>
        <p:nvSpPr>
          <p:cNvPr id="281" name="Google Shape;281;p6"/>
          <p:cNvSpPr txBox="1">
            <a:spLocks noGrp="1"/>
          </p:cNvSpPr>
          <p:nvPr>
            <p:ph type="sldNum" idx="4294967295"/>
          </p:nvPr>
        </p:nvSpPr>
        <p:spPr>
          <a:xfrm>
            <a:off x="8842375" y="6665913"/>
            <a:ext cx="301625" cy="122237"/>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800" b="0" i="0" u="none" strike="noStrike" kern="0" cap="none" spc="0" normalizeH="0" baseline="0" noProof="0" smtClean="0">
                <a:ln>
                  <a:noFill/>
                </a:ln>
                <a:solidFill>
                  <a:srgbClr val="545859"/>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1</a:t>
            </a:fld>
            <a:endParaRPr kumimoji="0" sz="800" b="0" i="0" u="none" strike="noStrike" kern="0" cap="none" spc="0" normalizeH="0" baseline="0" noProof="0">
              <a:ln>
                <a:noFill/>
              </a:ln>
              <a:solidFill>
                <a:srgbClr val="545859"/>
              </a:solidFill>
              <a:effectLst/>
              <a:uLnTx/>
              <a:uFillTx/>
              <a:latin typeface="Arial"/>
              <a:cs typeface="Arial"/>
              <a:sym typeface="Arial"/>
            </a:endParaRPr>
          </a:p>
        </p:txBody>
      </p:sp>
      <p:sp>
        <p:nvSpPr>
          <p:cNvPr id="3" name="Rectangle 2">
            <a:extLst>
              <a:ext uri="{FF2B5EF4-FFF2-40B4-BE49-F238E27FC236}">
                <a16:creationId xmlns:a16="http://schemas.microsoft.com/office/drawing/2014/main" id="{5DBFFBE8-5D52-4226-8A09-1BD3296F83DD}"/>
              </a:ext>
            </a:extLst>
          </p:cNvPr>
          <p:cNvSpPr/>
          <p:nvPr/>
        </p:nvSpPr>
        <p:spPr>
          <a:xfrm>
            <a:off x="0" y="1352550"/>
            <a:ext cx="9144000" cy="10296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 name="TextBox 5">
            <a:extLst>
              <a:ext uri="{FF2B5EF4-FFF2-40B4-BE49-F238E27FC236}">
                <a16:creationId xmlns:a16="http://schemas.microsoft.com/office/drawing/2014/main" id="{9004B45F-7991-4CCB-B612-F4487F363857}"/>
              </a:ext>
            </a:extLst>
          </p:cNvPr>
          <p:cNvSpPr txBox="1"/>
          <p:nvPr/>
        </p:nvSpPr>
        <p:spPr>
          <a:xfrm>
            <a:off x="4159676" y="1499043"/>
            <a:ext cx="824649"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FFFFFF"/>
                </a:solidFill>
                <a:effectLst/>
                <a:uLnTx/>
                <a:uFillTx/>
                <a:latin typeface="Gene Sans Light" panose="00000400000000000000" pitchFamily="50" charset="0"/>
                <a:cs typeface="Arial"/>
                <a:sym typeface="Arial"/>
              </a:rPr>
              <a:t>irAEs</a:t>
            </a:r>
            <a:r>
              <a:rPr kumimoji="0" lang="en-US" sz="1800" b="1" i="0" u="none" strike="noStrike" kern="0" cap="none" spc="0" normalizeH="0" baseline="30000" noProof="0" dirty="0">
                <a:ln>
                  <a:noFill/>
                </a:ln>
                <a:solidFill>
                  <a:srgbClr val="FFFFFF"/>
                </a:solidFill>
                <a:effectLst/>
                <a:uLnTx/>
                <a:uFillTx/>
                <a:latin typeface="Gene Sans Light" panose="00000400000000000000" pitchFamily="50" charset="0"/>
                <a:cs typeface="Arial"/>
                <a:sym typeface="Arial"/>
              </a:rPr>
              <a:t>1-4</a:t>
            </a:r>
            <a:endParaRPr kumimoji="0" lang="en-US" sz="1050" b="1" i="0" u="none" strike="noStrike" kern="0" cap="none" spc="0" normalizeH="0" baseline="0" noProof="0" dirty="0">
              <a:ln>
                <a:noFill/>
              </a:ln>
              <a:solidFill>
                <a:srgbClr val="FFFFFF"/>
              </a:solidFill>
              <a:effectLst/>
              <a:uLnTx/>
              <a:uFillTx/>
              <a:latin typeface="Gene Sans Light" panose="00000400000000000000" pitchFamily="50" charset="0"/>
              <a:cs typeface="Arial"/>
              <a:sym typeface="Arial"/>
            </a:endParaRPr>
          </a:p>
        </p:txBody>
      </p:sp>
      <p:cxnSp>
        <p:nvCxnSpPr>
          <p:cNvPr id="8" name="Straight Connector 7">
            <a:extLst>
              <a:ext uri="{FF2B5EF4-FFF2-40B4-BE49-F238E27FC236}">
                <a16:creationId xmlns:a16="http://schemas.microsoft.com/office/drawing/2014/main" id="{529E4094-966E-449A-B9D5-C791CC1B431D}"/>
              </a:ext>
            </a:extLst>
          </p:cNvPr>
          <p:cNvCxnSpPr/>
          <p:nvPr/>
        </p:nvCxnSpPr>
        <p:spPr>
          <a:xfrm flipV="1">
            <a:off x="381647" y="1836234"/>
            <a:ext cx="8460727" cy="38039"/>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5D571453-5B80-4521-84AD-7441C5C95988}"/>
              </a:ext>
            </a:extLst>
          </p:cNvPr>
          <p:cNvSpPr/>
          <p:nvPr/>
        </p:nvSpPr>
        <p:spPr>
          <a:xfrm>
            <a:off x="381647" y="2105853"/>
            <a:ext cx="999536" cy="46589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D" sz="900" b="1"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rPr>
              <a:t>Neurologic/</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D" sz="900" b="1"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rPr>
              <a:t>Ophthalmologic</a:t>
            </a:r>
          </a:p>
        </p:txBody>
      </p:sp>
      <p:sp>
        <p:nvSpPr>
          <p:cNvPr id="31" name="Rectangle 30">
            <a:extLst>
              <a:ext uri="{FF2B5EF4-FFF2-40B4-BE49-F238E27FC236}">
                <a16:creationId xmlns:a16="http://schemas.microsoft.com/office/drawing/2014/main" id="{DD234566-31D6-40C9-80DF-6AD40890EA82}"/>
              </a:ext>
            </a:extLst>
          </p:cNvPr>
          <p:cNvSpPr/>
          <p:nvPr/>
        </p:nvSpPr>
        <p:spPr>
          <a:xfrm>
            <a:off x="1436193" y="2105853"/>
            <a:ext cx="999536" cy="46589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D" sz="900" b="1" i="0" u="none" strike="noStrike" kern="0" cap="none" spc="0" normalizeH="0" baseline="0" noProof="0">
                <a:ln>
                  <a:noFill/>
                </a:ln>
                <a:solidFill>
                  <a:srgbClr val="FFFFFF"/>
                </a:solidFill>
                <a:effectLst/>
                <a:uLnTx/>
                <a:uFillTx/>
                <a:latin typeface="Gene Sans Light" panose="00000400000000000000" pitchFamily="50" charset="0"/>
                <a:ea typeface="+mn-ea"/>
                <a:cs typeface="+mn-cs"/>
                <a:sym typeface="Arial"/>
              </a:rPr>
              <a:t>Renal</a:t>
            </a:r>
          </a:p>
        </p:txBody>
      </p:sp>
      <p:sp>
        <p:nvSpPr>
          <p:cNvPr id="32" name="Rectangle 31">
            <a:extLst>
              <a:ext uri="{FF2B5EF4-FFF2-40B4-BE49-F238E27FC236}">
                <a16:creationId xmlns:a16="http://schemas.microsoft.com/office/drawing/2014/main" id="{90958DE3-801E-4D47-B18E-F8FE5B325ED4}"/>
              </a:ext>
            </a:extLst>
          </p:cNvPr>
          <p:cNvSpPr/>
          <p:nvPr/>
        </p:nvSpPr>
        <p:spPr>
          <a:xfrm>
            <a:off x="2490737" y="2105853"/>
            <a:ext cx="999536" cy="46589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D" sz="900" b="1" i="0" u="none" strike="noStrike" kern="0" cap="none" spc="0" normalizeH="0" baseline="0" noProof="0">
                <a:ln>
                  <a:noFill/>
                </a:ln>
                <a:solidFill>
                  <a:srgbClr val="FFFFFF"/>
                </a:solidFill>
                <a:effectLst/>
                <a:uLnTx/>
                <a:uFillTx/>
                <a:latin typeface="Gene Sans Light" panose="00000400000000000000" pitchFamily="50" charset="0"/>
                <a:ea typeface="+mn-ea"/>
                <a:cs typeface="+mn-cs"/>
                <a:sym typeface="Arial"/>
              </a:rPr>
              <a:t>Rheumatic</a:t>
            </a:r>
          </a:p>
        </p:txBody>
      </p:sp>
      <p:sp>
        <p:nvSpPr>
          <p:cNvPr id="33" name="Rectangle 32">
            <a:extLst>
              <a:ext uri="{FF2B5EF4-FFF2-40B4-BE49-F238E27FC236}">
                <a16:creationId xmlns:a16="http://schemas.microsoft.com/office/drawing/2014/main" id="{A942A86C-D9E0-4844-A5E9-E287889CF51C}"/>
              </a:ext>
            </a:extLst>
          </p:cNvPr>
          <p:cNvSpPr/>
          <p:nvPr/>
        </p:nvSpPr>
        <p:spPr>
          <a:xfrm>
            <a:off x="3545283" y="2105853"/>
            <a:ext cx="999536" cy="46589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D" sz="900" b="1"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rPr>
              <a:t>Gastro-</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D" sz="900" b="1"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rPr>
              <a:t>intestinal</a:t>
            </a:r>
          </a:p>
        </p:txBody>
      </p:sp>
      <p:sp>
        <p:nvSpPr>
          <p:cNvPr id="34" name="Rectangle 33">
            <a:extLst>
              <a:ext uri="{FF2B5EF4-FFF2-40B4-BE49-F238E27FC236}">
                <a16:creationId xmlns:a16="http://schemas.microsoft.com/office/drawing/2014/main" id="{1C9DDAFF-F212-49A2-A0D3-160DE61DD5D7}"/>
              </a:ext>
            </a:extLst>
          </p:cNvPr>
          <p:cNvSpPr/>
          <p:nvPr/>
        </p:nvSpPr>
        <p:spPr>
          <a:xfrm>
            <a:off x="4599829" y="2105853"/>
            <a:ext cx="999536" cy="46589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D" sz="900" b="1" i="0" u="none" strike="noStrike" kern="0" cap="none" spc="0" normalizeH="0" baseline="0" noProof="0">
                <a:ln>
                  <a:noFill/>
                </a:ln>
                <a:solidFill>
                  <a:srgbClr val="FFFFFF"/>
                </a:solidFill>
                <a:effectLst/>
                <a:uLnTx/>
                <a:uFillTx/>
                <a:latin typeface="Gene Sans Light" panose="00000400000000000000" pitchFamily="50" charset="0"/>
                <a:ea typeface="+mn-ea"/>
                <a:cs typeface="+mn-cs"/>
                <a:sym typeface="Arial"/>
              </a:rPr>
              <a:t>Cutaneous</a:t>
            </a:r>
          </a:p>
        </p:txBody>
      </p:sp>
      <p:sp>
        <p:nvSpPr>
          <p:cNvPr id="35" name="Rectangle 34">
            <a:extLst>
              <a:ext uri="{FF2B5EF4-FFF2-40B4-BE49-F238E27FC236}">
                <a16:creationId xmlns:a16="http://schemas.microsoft.com/office/drawing/2014/main" id="{77CADC99-6472-4E2F-A8ED-CEAB5F0542E2}"/>
              </a:ext>
            </a:extLst>
          </p:cNvPr>
          <p:cNvSpPr/>
          <p:nvPr/>
        </p:nvSpPr>
        <p:spPr>
          <a:xfrm>
            <a:off x="5654374" y="2105853"/>
            <a:ext cx="999536" cy="46589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D" sz="900" b="1" i="0" u="none" strike="noStrike" kern="0" cap="none" spc="0" normalizeH="0" baseline="0" noProof="0">
                <a:ln>
                  <a:noFill/>
                </a:ln>
                <a:solidFill>
                  <a:srgbClr val="FFFFFF"/>
                </a:solidFill>
                <a:effectLst/>
                <a:uLnTx/>
                <a:uFillTx/>
                <a:latin typeface="Gene Sans Light" panose="00000400000000000000" pitchFamily="50" charset="0"/>
                <a:ea typeface="+mn-ea"/>
                <a:cs typeface="+mn-cs"/>
                <a:sym typeface="Arial"/>
              </a:rPr>
              <a:t>Pulmonary</a:t>
            </a:r>
          </a:p>
        </p:txBody>
      </p:sp>
      <p:sp>
        <p:nvSpPr>
          <p:cNvPr id="36" name="Rectangle 35">
            <a:extLst>
              <a:ext uri="{FF2B5EF4-FFF2-40B4-BE49-F238E27FC236}">
                <a16:creationId xmlns:a16="http://schemas.microsoft.com/office/drawing/2014/main" id="{4693EADD-EA26-4001-879A-CF914F68CC9A}"/>
              </a:ext>
            </a:extLst>
          </p:cNvPr>
          <p:cNvSpPr/>
          <p:nvPr/>
        </p:nvSpPr>
        <p:spPr>
          <a:xfrm>
            <a:off x="6708919" y="2105853"/>
            <a:ext cx="999536" cy="46589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D" sz="900" b="1" i="0" u="none" strike="noStrike" kern="0" cap="none" spc="0" normalizeH="0" baseline="0" noProof="0">
                <a:ln>
                  <a:noFill/>
                </a:ln>
                <a:solidFill>
                  <a:srgbClr val="FFFFFF"/>
                </a:solidFill>
                <a:effectLst/>
                <a:uLnTx/>
                <a:uFillTx/>
                <a:latin typeface="Gene Sans Light" panose="00000400000000000000" pitchFamily="50" charset="0"/>
                <a:ea typeface="+mn-ea"/>
                <a:cs typeface="+mn-cs"/>
                <a:sym typeface="Arial"/>
              </a:rPr>
              <a:t>Cardiac</a:t>
            </a:r>
            <a:endParaRPr kumimoji="0" lang="en-ID" sz="900" b="1"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endParaRPr>
          </a:p>
        </p:txBody>
      </p:sp>
      <p:sp>
        <p:nvSpPr>
          <p:cNvPr id="38" name="Rectangle 37">
            <a:extLst>
              <a:ext uri="{FF2B5EF4-FFF2-40B4-BE49-F238E27FC236}">
                <a16:creationId xmlns:a16="http://schemas.microsoft.com/office/drawing/2014/main" id="{1AAC9C7D-60AD-4397-98AC-757429B3C743}"/>
              </a:ext>
            </a:extLst>
          </p:cNvPr>
          <p:cNvSpPr/>
          <p:nvPr/>
        </p:nvSpPr>
        <p:spPr>
          <a:xfrm>
            <a:off x="7763464" y="2105853"/>
            <a:ext cx="1078910" cy="46589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D" sz="900" b="1"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rPr>
              <a:t>Endocrine</a:t>
            </a:r>
          </a:p>
        </p:txBody>
      </p:sp>
      <p:sp>
        <p:nvSpPr>
          <p:cNvPr id="40" name="Rectangle 39">
            <a:extLst>
              <a:ext uri="{FF2B5EF4-FFF2-40B4-BE49-F238E27FC236}">
                <a16:creationId xmlns:a16="http://schemas.microsoft.com/office/drawing/2014/main" id="{51F18B4E-05F2-467E-9C05-A5EADED34698}"/>
              </a:ext>
            </a:extLst>
          </p:cNvPr>
          <p:cNvSpPr/>
          <p:nvPr/>
        </p:nvSpPr>
        <p:spPr>
          <a:xfrm>
            <a:off x="381647" y="2627087"/>
            <a:ext cx="999536" cy="19080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0" rtlCol="0" anchor="t" anchorCtr="0"/>
          <a:lstStyle/>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Neuropathies</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Demyelination</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Uveitis</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Guillain-Barré</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Myasthenia</a:t>
            </a:r>
          </a:p>
        </p:txBody>
      </p:sp>
      <p:sp>
        <p:nvSpPr>
          <p:cNvPr id="41" name="Rectangle 40">
            <a:extLst>
              <a:ext uri="{FF2B5EF4-FFF2-40B4-BE49-F238E27FC236}">
                <a16:creationId xmlns:a16="http://schemas.microsoft.com/office/drawing/2014/main" id="{77D8C761-65E4-48BA-924A-CBE6CEFF2480}"/>
              </a:ext>
            </a:extLst>
          </p:cNvPr>
          <p:cNvSpPr/>
          <p:nvPr/>
        </p:nvSpPr>
        <p:spPr>
          <a:xfrm>
            <a:off x="1436193" y="2627087"/>
            <a:ext cx="999536" cy="19080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0" rtlCol="0" anchor="t" anchorCtr="0"/>
          <a:lstStyle/>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a:ln>
                  <a:noFill/>
                </a:ln>
                <a:solidFill>
                  <a:srgbClr val="545859"/>
                </a:solidFill>
                <a:effectLst/>
                <a:uLnTx/>
                <a:uFillTx/>
                <a:latin typeface="Gene Sans Light" panose="00000400000000000000" pitchFamily="50" charset="0"/>
                <a:ea typeface="+mn-ea"/>
                <a:cs typeface="+mn-cs"/>
                <a:sym typeface="Arial"/>
              </a:rPr>
              <a:t>Nephritis</a:t>
            </a:r>
          </a:p>
        </p:txBody>
      </p:sp>
      <p:sp>
        <p:nvSpPr>
          <p:cNvPr id="42" name="Rectangle 41">
            <a:extLst>
              <a:ext uri="{FF2B5EF4-FFF2-40B4-BE49-F238E27FC236}">
                <a16:creationId xmlns:a16="http://schemas.microsoft.com/office/drawing/2014/main" id="{BAFFD3C0-8830-418A-BF6B-29D7C51E56C4}"/>
              </a:ext>
            </a:extLst>
          </p:cNvPr>
          <p:cNvSpPr/>
          <p:nvPr/>
        </p:nvSpPr>
        <p:spPr>
          <a:xfrm>
            <a:off x="2490737" y="2627087"/>
            <a:ext cx="999536" cy="19080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0" rtlCol="0" anchor="t" anchorCtr="0"/>
          <a:lstStyle/>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Inflammatory arthritis</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Sicca syndrome</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Polymyalgia rheumatica</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Myositis</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Vasculitis</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Scleroderma</a:t>
            </a:r>
          </a:p>
        </p:txBody>
      </p:sp>
      <p:sp>
        <p:nvSpPr>
          <p:cNvPr id="43" name="Rectangle 42">
            <a:extLst>
              <a:ext uri="{FF2B5EF4-FFF2-40B4-BE49-F238E27FC236}">
                <a16:creationId xmlns:a16="http://schemas.microsoft.com/office/drawing/2014/main" id="{B57AEF10-8264-48C4-8E4A-29AB156B761B}"/>
              </a:ext>
            </a:extLst>
          </p:cNvPr>
          <p:cNvSpPr/>
          <p:nvPr/>
        </p:nvSpPr>
        <p:spPr>
          <a:xfrm>
            <a:off x="3545283" y="2627087"/>
            <a:ext cx="999536" cy="19080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0" rtlCol="0" anchor="t" anchorCtr="0"/>
          <a:lstStyle/>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a:ln>
                  <a:noFill/>
                </a:ln>
                <a:solidFill>
                  <a:srgbClr val="545859"/>
                </a:solidFill>
                <a:effectLst/>
                <a:uLnTx/>
                <a:uFillTx/>
                <a:latin typeface="Gene Sans Light" panose="00000400000000000000" pitchFamily="50" charset="0"/>
                <a:ea typeface="+mn-ea"/>
                <a:cs typeface="+mn-cs"/>
                <a:sym typeface="Arial"/>
              </a:rPr>
              <a:t>Colitis</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a:ln>
                  <a:noFill/>
                </a:ln>
                <a:solidFill>
                  <a:srgbClr val="545859"/>
                </a:solidFill>
                <a:effectLst/>
                <a:uLnTx/>
                <a:uFillTx/>
                <a:latin typeface="Gene Sans Light" panose="00000400000000000000" pitchFamily="50" charset="0"/>
                <a:ea typeface="+mn-ea"/>
                <a:cs typeface="+mn-cs"/>
                <a:sym typeface="Arial"/>
              </a:rPr>
              <a:t>Diarrhea</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a:ln>
                  <a:noFill/>
                </a:ln>
                <a:solidFill>
                  <a:srgbClr val="545859"/>
                </a:solidFill>
                <a:effectLst/>
                <a:uLnTx/>
                <a:uFillTx/>
                <a:latin typeface="Gene Sans Light" panose="00000400000000000000" pitchFamily="50" charset="0"/>
                <a:ea typeface="+mn-ea"/>
                <a:cs typeface="+mn-cs"/>
                <a:sym typeface="Arial"/>
              </a:rPr>
              <a:t>Hepatitis</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a:ln>
                  <a:noFill/>
                </a:ln>
                <a:solidFill>
                  <a:srgbClr val="545859"/>
                </a:solidFill>
                <a:effectLst/>
                <a:uLnTx/>
                <a:uFillTx/>
                <a:latin typeface="Gene Sans Light" panose="00000400000000000000" pitchFamily="50" charset="0"/>
                <a:ea typeface="+mn-ea"/>
                <a:cs typeface="+mn-cs"/>
                <a:sym typeface="Arial"/>
              </a:rPr>
              <a:t>Perforation</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a:ln>
                  <a:noFill/>
                </a:ln>
                <a:solidFill>
                  <a:srgbClr val="545859"/>
                </a:solidFill>
                <a:effectLst/>
                <a:uLnTx/>
                <a:uFillTx/>
                <a:latin typeface="Gene Sans Light" panose="00000400000000000000" pitchFamily="50" charset="0"/>
                <a:ea typeface="+mn-ea"/>
                <a:cs typeface="+mn-cs"/>
                <a:sym typeface="Arial"/>
              </a:rPr>
              <a:t>Pancreatitis</a:t>
            </a:r>
            <a:endParaRPr kumimoji="0" lang="en-ID" sz="900" b="0" i="0" u="none" strike="noStrike" kern="0" cap="none" spc="0" normalizeH="0" baseline="0" noProof="0" dirty="0" err="1">
              <a:ln>
                <a:noFill/>
              </a:ln>
              <a:solidFill>
                <a:srgbClr val="545859"/>
              </a:solidFill>
              <a:effectLst/>
              <a:uLnTx/>
              <a:uFillTx/>
              <a:latin typeface="Gene Sans Light" panose="00000400000000000000" pitchFamily="50" charset="0"/>
              <a:ea typeface="+mn-ea"/>
              <a:cs typeface="+mn-cs"/>
              <a:sym typeface="Arial"/>
            </a:endParaRPr>
          </a:p>
        </p:txBody>
      </p:sp>
      <p:sp>
        <p:nvSpPr>
          <p:cNvPr id="44" name="Rectangle 43">
            <a:extLst>
              <a:ext uri="{FF2B5EF4-FFF2-40B4-BE49-F238E27FC236}">
                <a16:creationId xmlns:a16="http://schemas.microsoft.com/office/drawing/2014/main" id="{5F796F8D-A5FE-461B-AF23-2465BBDFC3E7}"/>
              </a:ext>
            </a:extLst>
          </p:cNvPr>
          <p:cNvSpPr/>
          <p:nvPr/>
        </p:nvSpPr>
        <p:spPr>
          <a:xfrm>
            <a:off x="4599829" y="2627087"/>
            <a:ext cx="999536" cy="19080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0" rtlCol="0" anchor="t" anchorCtr="0"/>
          <a:lstStyle/>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a:ln>
                  <a:noFill/>
                </a:ln>
                <a:solidFill>
                  <a:srgbClr val="545859"/>
                </a:solidFill>
                <a:effectLst/>
                <a:uLnTx/>
                <a:uFillTx/>
                <a:latin typeface="Gene Sans Light" panose="00000400000000000000" pitchFamily="50" charset="0"/>
                <a:ea typeface="+mn-ea"/>
                <a:cs typeface="+mn-cs"/>
                <a:sym typeface="Arial"/>
              </a:rPr>
              <a:t>Rash</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a:ln>
                  <a:noFill/>
                </a:ln>
                <a:solidFill>
                  <a:srgbClr val="545859"/>
                </a:solidFill>
                <a:effectLst/>
                <a:uLnTx/>
                <a:uFillTx/>
                <a:latin typeface="Gene Sans Light" panose="00000400000000000000" pitchFamily="50" charset="0"/>
                <a:ea typeface="+mn-ea"/>
                <a:cs typeface="+mn-cs"/>
                <a:sym typeface="Arial"/>
              </a:rPr>
              <a:t>Pruritus</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a:ln>
                  <a:noFill/>
                </a:ln>
                <a:solidFill>
                  <a:srgbClr val="545859"/>
                </a:solidFill>
                <a:effectLst/>
                <a:uLnTx/>
                <a:uFillTx/>
                <a:latin typeface="Gene Sans Light" panose="00000400000000000000" pitchFamily="50" charset="0"/>
                <a:ea typeface="+mn-ea"/>
                <a:cs typeface="+mn-cs"/>
                <a:sym typeface="Arial"/>
              </a:rPr>
              <a:t>Dermatitis</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a:ln>
                  <a:noFill/>
                </a:ln>
                <a:solidFill>
                  <a:srgbClr val="545859"/>
                </a:solidFill>
                <a:effectLst/>
                <a:uLnTx/>
                <a:uFillTx/>
                <a:latin typeface="Gene Sans Light" panose="00000400000000000000" pitchFamily="50" charset="0"/>
                <a:ea typeface="+mn-ea"/>
                <a:cs typeface="+mn-cs"/>
                <a:sym typeface="Arial"/>
              </a:rPr>
              <a:t>Vitiligo</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a:ln>
                  <a:noFill/>
                </a:ln>
                <a:solidFill>
                  <a:srgbClr val="545859"/>
                </a:solidFill>
                <a:effectLst/>
                <a:uLnTx/>
                <a:uFillTx/>
                <a:latin typeface="Gene Sans Light" panose="00000400000000000000" pitchFamily="50" charset="0"/>
                <a:ea typeface="+mn-ea"/>
                <a:cs typeface="+mn-cs"/>
                <a:sym typeface="Arial"/>
              </a:rPr>
              <a:t>Psoriasis</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a:ln>
                  <a:noFill/>
                </a:ln>
                <a:solidFill>
                  <a:srgbClr val="545859"/>
                </a:solidFill>
                <a:effectLst/>
                <a:uLnTx/>
                <a:uFillTx/>
                <a:latin typeface="Gene Sans Light" panose="00000400000000000000" pitchFamily="50" charset="0"/>
                <a:ea typeface="+mn-ea"/>
                <a:cs typeface="+mn-cs"/>
                <a:sym typeface="Arial"/>
              </a:rPr>
              <a:t>Lichenoid eruption</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a:ln>
                  <a:noFill/>
                </a:ln>
                <a:solidFill>
                  <a:srgbClr val="545859"/>
                </a:solidFill>
                <a:effectLst/>
                <a:uLnTx/>
                <a:uFillTx/>
                <a:latin typeface="Gene Sans Light" panose="00000400000000000000" pitchFamily="50" charset="0"/>
                <a:ea typeface="+mn-ea"/>
                <a:cs typeface="+mn-cs"/>
                <a:sym typeface="Arial"/>
              </a:rPr>
              <a:t>Sarcoidosis</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a:ln>
                  <a:noFill/>
                </a:ln>
                <a:solidFill>
                  <a:srgbClr val="545859"/>
                </a:solidFill>
                <a:effectLst/>
                <a:uLnTx/>
                <a:uFillTx/>
                <a:latin typeface="Gene Sans Light" panose="00000400000000000000" pitchFamily="50" charset="0"/>
                <a:ea typeface="+mn-ea"/>
                <a:cs typeface="+mn-cs"/>
                <a:sym typeface="Arial"/>
              </a:rPr>
              <a:t>Sweet’s syndrome</a:t>
            </a:r>
          </a:p>
        </p:txBody>
      </p:sp>
      <p:sp>
        <p:nvSpPr>
          <p:cNvPr id="45" name="Rectangle 44">
            <a:extLst>
              <a:ext uri="{FF2B5EF4-FFF2-40B4-BE49-F238E27FC236}">
                <a16:creationId xmlns:a16="http://schemas.microsoft.com/office/drawing/2014/main" id="{BCA57502-4230-41CF-A7F3-6406944EA0A2}"/>
              </a:ext>
            </a:extLst>
          </p:cNvPr>
          <p:cNvSpPr/>
          <p:nvPr/>
        </p:nvSpPr>
        <p:spPr>
          <a:xfrm>
            <a:off x="5654374" y="2627087"/>
            <a:ext cx="999536" cy="19080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0" rtlCol="0" anchor="t" anchorCtr="0"/>
          <a:lstStyle/>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a:ln>
                  <a:noFill/>
                </a:ln>
                <a:solidFill>
                  <a:srgbClr val="545859"/>
                </a:solidFill>
                <a:effectLst/>
                <a:uLnTx/>
                <a:uFillTx/>
                <a:latin typeface="Gene Sans Light" panose="00000400000000000000" pitchFamily="50" charset="0"/>
                <a:ea typeface="+mn-ea"/>
                <a:cs typeface="+mn-cs"/>
                <a:sym typeface="Arial"/>
              </a:rPr>
              <a:t>Pneumonitis</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a:ln>
                  <a:noFill/>
                </a:ln>
                <a:solidFill>
                  <a:srgbClr val="545859"/>
                </a:solidFill>
                <a:effectLst/>
                <a:uLnTx/>
                <a:uFillTx/>
                <a:latin typeface="Gene Sans Light" panose="00000400000000000000" pitchFamily="50" charset="0"/>
                <a:ea typeface="+mn-ea"/>
                <a:cs typeface="+mn-cs"/>
                <a:sym typeface="Arial"/>
              </a:rPr>
              <a:t>Sarcoidosis</a:t>
            </a:r>
          </a:p>
        </p:txBody>
      </p:sp>
      <p:sp>
        <p:nvSpPr>
          <p:cNvPr id="46" name="Rectangle 45">
            <a:extLst>
              <a:ext uri="{FF2B5EF4-FFF2-40B4-BE49-F238E27FC236}">
                <a16:creationId xmlns:a16="http://schemas.microsoft.com/office/drawing/2014/main" id="{9D517A5D-A5E5-406A-B1B6-11401EEE9483}"/>
              </a:ext>
            </a:extLst>
          </p:cNvPr>
          <p:cNvSpPr/>
          <p:nvPr/>
        </p:nvSpPr>
        <p:spPr>
          <a:xfrm>
            <a:off x="6708919" y="2627087"/>
            <a:ext cx="999536" cy="19080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0" rtlCol="0" anchor="t" anchorCtr="0"/>
          <a:lstStyle/>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a:ln>
                  <a:noFill/>
                </a:ln>
                <a:solidFill>
                  <a:srgbClr val="545859"/>
                </a:solidFill>
                <a:effectLst/>
                <a:uLnTx/>
                <a:uFillTx/>
                <a:latin typeface="Gene Sans Light" panose="00000400000000000000" pitchFamily="50" charset="0"/>
                <a:ea typeface="+mn-ea"/>
                <a:cs typeface="+mn-cs"/>
                <a:sym typeface="Arial"/>
              </a:rPr>
              <a:t>Myocarditis</a:t>
            </a:r>
          </a:p>
        </p:txBody>
      </p:sp>
      <p:sp>
        <p:nvSpPr>
          <p:cNvPr id="47" name="Rectangle 46">
            <a:extLst>
              <a:ext uri="{FF2B5EF4-FFF2-40B4-BE49-F238E27FC236}">
                <a16:creationId xmlns:a16="http://schemas.microsoft.com/office/drawing/2014/main" id="{4245B096-D621-480E-99A3-A109EAC11984}"/>
              </a:ext>
            </a:extLst>
          </p:cNvPr>
          <p:cNvSpPr/>
          <p:nvPr/>
        </p:nvSpPr>
        <p:spPr>
          <a:xfrm>
            <a:off x="7763463" y="2627087"/>
            <a:ext cx="1078911" cy="19080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0" rtlCol="0" anchor="t" anchorCtr="0"/>
          <a:lstStyle/>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Hypoadrenalism</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Hypopituitarism</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Hypo/hyper-</a:t>
            </a:r>
            <a:r>
              <a:rPr kumimoji="0" lang="en-ID" sz="900" b="0" i="0" u="none" strike="noStrike" kern="0" cap="none" spc="0" normalizeH="0" baseline="0" noProof="0" dirty="0" err="1">
                <a:ln>
                  <a:noFill/>
                </a:ln>
                <a:solidFill>
                  <a:srgbClr val="545859"/>
                </a:solidFill>
                <a:effectLst/>
                <a:uLnTx/>
                <a:uFillTx/>
                <a:latin typeface="Gene Sans Light" panose="00000400000000000000" pitchFamily="50" charset="0"/>
                <a:ea typeface="+mn-ea"/>
                <a:cs typeface="+mn-cs"/>
                <a:sym typeface="Arial"/>
              </a:rPr>
              <a:t>thyroidism</a:t>
            </a:r>
            <a:endParaRPr kumimoji="0" lang="en-ID" sz="9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endParaRP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Thyroiditis</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rPr>
              <a:t>Insulin-dependent diabetes</a:t>
            </a:r>
          </a:p>
          <a:p>
            <a:pPr marL="108000" marR="0" lvl="0" indent="-10800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ID" sz="900" b="0" i="0" u="none" strike="noStrike" kern="0" cap="none" spc="0" normalizeH="0" baseline="0" noProof="0" dirty="0" err="1">
                <a:ln>
                  <a:noFill/>
                </a:ln>
                <a:solidFill>
                  <a:srgbClr val="545859"/>
                </a:solidFill>
                <a:effectLst/>
                <a:uLnTx/>
                <a:uFillTx/>
                <a:latin typeface="Gene Sans Light" panose="00000400000000000000" pitchFamily="50" charset="0"/>
                <a:ea typeface="+mn-ea"/>
                <a:cs typeface="+mn-cs"/>
                <a:sym typeface="Arial"/>
              </a:rPr>
              <a:t>Hypophysitis</a:t>
            </a:r>
            <a:endParaRPr kumimoji="0" lang="en-ID" sz="900" b="0" i="0" u="none" strike="noStrike" kern="0" cap="none" spc="0" normalizeH="0" baseline="0" noProof="0" dirty="0">
              <a:ln>
                <a:noFill/>
              </a:ln>
              <a:solidFill>
                <a:srgbClr val="545859"/>
              </a:solidFill>
              <a:effectLst/>
              <a:uLnTx/>
              <a:uFillTx/>
              <a:latin typeface="Gene Sans Light" panose="00000400000000000000" pitchFamily="50" charset="0"/>
              <a:ea typeface="+mn-ea"/>
              <a:cs typeface="+mn-cs"/>
              <a:sym typeface="Arial"/>
            </a:endParaRPr>
          </a:p>
        </p:txBody>
      </p:sp>
      <p:sp>
        <p:nvSpPr>
          <p:cNvPr id="26" name="Google Shape;122;p3">
            <a:extLst>
              <a:ext uri="{FF2B5EF4-FFF2-40B4-BE49-F238E27FC236}">
                <a16:creationId xmlns:a16="http://schemas.microsoft.com/office/drawing/2014/main" id="{27143E25-3A11-48AE-8D96-7DA3361DDE08}"/>
              </a:ext>
            </a:extLst>
          </p:cNvPr>
          <p:cNvSpPr txBox="1">
            <a:spLocks/>
          </p:cNvSpPr>
          <p:nvPr/>
        </p:nvSpPr>
        <p:spPr>
          <a:xfrm>
            <a:off x="381000" y="94545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Tree>
    <p:extLst>
      <p:ext uri="{BB962C8B-B14F-4D97-AF65-F5344CB8AC3E}">
        <p14:creationId xmlns:p14="http://schemas.microsoft.com/office/powerpoint/2010/main" val="2062082841"/>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305"/>
        <p:cNvGrpSpPr/>
        <p:nvPr/>
      </p:nvGrpSpPr>
      <p:grpSpPr>
        <a:xfrm>
          <a:off x="0" y="0"/>
          <a:ext cx="0" cy="0"/>
          <a:chOff x="0" y="0"/>
          <a:chExt cx="0" cy="0"/>
        </a:xfrm>
      </p:grpSpPr>
      <p:sp>
        <p:nvSpPr>
          <p:cNvPr id="2" name="Text Placeholder 1">
            <a:extLst>
              <a:ext uri="{FF2B5EF4-FFF2-40B4-BE49-F238E27FC236}">
                <a16:creationId xmlns:a16="http://schemas.microsoft.com/office/drawing/2014/main" id="{CEF21AB0-559C-49F4-97F9-A42828FA15D8}"/>
              </a:ext>
            </a:extLst>
          </p:cNvPr>
          <p:cNvSpPr>
            <a:spLocks noGrp="1"/>
          </p:cNvSpPr>
          <p:nvPr>
            <p:ph type="body" idx="1"/>
          </p:nvPr>
        </p:nvSpPr>
        <p:spPr/>
        <p:txBody>
          <a:bodyPr/>
          <a:lstStyle/>
          <a:p>
            <a:endParaRPr lang="en-ID"/>
          </a:p>
        </p:txBody>
      </p:sp>
      <p:sp>
        <p:nvSpPr>
          <p:cNvPr id="307" name="Google Shape;307;p7"/>
          <p:cNvSpPr txBox="1">
            <a:spLocks noGrp="1"/>
          </p:cNvSpPr>
          <p:nvPr>
            <p:ph type="body" idx="2"/>
          </p:nvPr>
        </p:nvSpPr>
        <p:spPr>
          <a:xfrm>
            <a:off x="381648" y="4745251"/>
            <a:ext cx="8385048" cy="221599"/>
          </a:xfrm>
          <a:prstGeom prst="rect">
            <a:avLst/>
          </a:prstGeom>
          <a:noFill/>
          <a:ln>
            <a:noFill/>
          </a:ln>
        </p:spPr>
        <p:txBody>
          <a:bodyPr spcFirstLastPara="1" wrap="square" lIns="0" tIns="0" rIns="0" bIns="0" anchor="t" anchorCtr="0">
            <a:spAutoFit/>
          </a:bodyPr>
          <a:lstStyle/>
          <a:p>
            <a:pPr marL="0" indent="0">
              <a:spcBef>
                <a:spcPts val="0"/>
              </a:spcBef>
              <a:buClr>
                <a:schemeClr val="accent1"/>
              </a:buClr>
              <a:buSzPts val="2200"/>
            </a:pPr>
            <a:r>
              <a:rPr lang="en-US" dirty="0">
                <a:solidFill>
                  <a:schemeClr val="tx1"/>
                </a:solidFill>
                <a:latin typeface="Gene Sans Light" panose="00000400000000000000" pitchFamily="50" charset="0"/>
              </a:rPr>
              <a:t>Distribution of Grade 1-2 and Grade 3-5 IRAEs for all tumor types in the main clinical trials with anti-CTLA4, anti-PD-1 or anti-PD-L1 antibodies as single therapies</a:t>
            </a:r>
            <a:endParaRPr lang="fr-FR" dirty="0">
              <a:solidFill>
                <a:schemeClr val="tx1"/>
              </a:solidFill>
              <a:latin typeface="Gene Sans Light" panose="00000400000000000000" pitchFamily="50" charset="0"/>
            </a:endParaRPr>
          </a:p>
          <a:p>
            <a:pPr marL="0" indent="0">
              <a:spcBef>
                <a:spcPts val="0"/>
              </a:spcBef>
              <a:buClr>
                <a:schemeClr val="accent1"/>
              </a:buClr>
              <a:buSzPts val="2200"/>
            </a:pPr>
            <a:r>
              <a:rPr lang="fr-FR" dirty="0">
                <a:solidFill>
                  <a:schemeClr val="tx1"/>
                </a:solidFill>
                <a:latin typeface="Gene Sans Light" panose="00000400000000000000" pitchFamily="50" charset="0"/>
              </a:rPr>
              <a:t>1. Michot JM, et al. </a:t>
            </a:r>
            <a:r>
              <a:rPr lang="fr-FR" dirty="0" err="1">
                <a:solidFill>
                  <a:schemeClr val="tx1"/>
                </a:solidFill>
                <a:latin typeface="Gene Sans Light" panose="00000400000000000000" pitchFamily="50" charset="0"/>
              </a:rPr>
              <a:t>Eur</a:t>
            </a:r>
            <a:r>
              <a:rPr lang="fr-FR" dirty="0">
                <a:solidFill>
                  <a:schemeClr val="tx1"/>
                </a:solidFill>
                <a:latin typeface="Gene Sans Light" panose="00000400000000000000" pitchFamily="50" charset="0"/>
              </a:rPr>
              <a:t> J Cancer. 2016;54:139-148. </a:t>
            </a:r>
          </a:p>
        </p:txBody>
      </p:sp>
      <p:sp>
        <p:nvSpPr>
          <p:cNvPr id="308" name="Google Shape;308;p7"/>
          <p:cNvSpPr txBox="1">
            <a:spLocks noGrp="1"/>
          </p:cNvSpPr>
          <p:nvPr>
            <p:ph type="title"/>
          </p:nvPr>
        </p:nvSpPr>
        <p:spPr>
          <a:xfrm>
            <a:off x="381648" y="585795"/>
            <a:ext cx="8384400" cy="323165"/>
          </a:xfrm>
          <a:prstGeom prst="rect">
            <a:avLst/>
          </a:prstGeom>
          <a:noFill/>
          <a:ln>
            <a:noFill/>
          </a:ln>
        </p:spPr>
        <p:txBody>
          <a:bodyPr spcFirstLastPara="1" wrap="square" lIns="0" tIns="0" rIns="0" bIns="0" anchor="t" anchorCtr="0">
            <a:spAutoFit/>
          </a:bodyPr>
          <a:lstStyle/>
          <a:p>
            <a:r>
              <a:rPr lang="en-US" dirty="0"/>
              <a:t>Frequencies of ICI - Induced </a:t>
            </a:r>
            <a:r>
              <a:rPr lang="en-US" dirty="0" err="1"/>
              <a:t>irAEs</a:t>
            </a:r>
            <a:endParaRPr dirty="0"/>
          </a:p>
        </p:txBody>
      </p:sp>
      <p:sp>
        <p:nvSpPr>
          <p:cNvPr id="485" name="Google Shape;485;p7"/>
          <p:cNvSpPr txBox="1">
            <a:spLocks noGrp="1"/>
          </p:cNvSpPr>
          <p:nvPr>
            <p:ph type="sldNum" idx="4294967295"/>
          </p:nvPr>
        </p:nvSpPr>
        <p:spPr>
          <a:xfrm>
            <a:off x="8842375" y="6665913"/>
            <a:ext cx="301625" cy="122237"/>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800" b="0" i="0" u="none" strike="noStrike" kern="0" cap="none" spc="0" normalizeH="0" baseline="0" noProof="0" smtClean="0">
                <a:ln>
                  <a:noFill/>
                </a:ln>
                <a:solidFill>
                  <a:srgbClr val="545859"/>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2</a:t>
            </a:fld>
            <a:endParaRPr kumimoji="0" sz="800" b="0" i="0" u="none" strike="noStrike" kern="0" cap="none" spc="0" normalizeH="0" baseline="0" noProof="0">
              <a:ln>
                <a:noFill/>
              </a:ln>
              <a:solidFill>
                <a:srgbClr val="545859"/>
              </a:solidFill>
              <a:effectLst/>
              <a:uLnTx/>
              <a:uFillTx/>
              <a:latin typeface="Arial"/>
              <a:cs typeface="Arial"/>
              <a:sym typeface="Arial"/>
            </a:endParaRPr>
          </a:p>
        </p:txBody>
      </p:sp>
      <p:sp>
        <p:nvSpPr>
          <p:cNvPr id="5" name="Rectangle 4">
            <a:extLst>
              <a:ext uri="{FF2B5EF4-FFF2-40B4-BE49-F238E27FC236}">
                <a16:creationId xmlns:a16="http://schemas.microsoft.com/office/drawing/2014/main" id="{B6AAC2AE-A876-4C8B-864D-63D885E3EF4A}"/>
              </a:ext>
            </a:extLst>
          </p:cNvPr>
          <p:cNvSpPr/>
          <p:nvPr/>
        </p:nvSpPr>
        <p:spPr>
          <a:xfrm>
            <a:off x="730644" y="1238250"/>
            <a:ext cx="3500886" cy="3496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rPr>
              <a:t>Distribution of Grade 1-2 irAEs</a:t>
            </a:r>
            <a:r>
              <a:rPr kumimoji="0" lang="en-US" sz="1200" b="1" i="0" u="none" strike="noStrike" kern="0" cap="none" spc="0" normalizeH="0" baseline="30000" noProof="0" dirty="0">
                <a:ln>
                  <a:noFill/>
                </a:ln>
                <a:solidFill>
                  <a:srgbClr val="FFFFFF"/>
                </a:solidFill>
                <a:effectLst/>
                <a:uLnTx/>
                <a:uFillTx/>
                <a:latin typeface="Gene Sans Light" panose="00000400000000000000" pitchFamily="50" charset="0"/>
                <a:ea typeface="+mn-ea"/>
                <a:cs typeface="+mn-cs"/>
                <a:sym typeface="Arial"/>
              </a:rPr>
              <a:t>1</a:t>
            </a:r>
            <a:endParaRPr kumimoji="0" lang="en-US" sz="1050" b="0"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endParaRPr>
          </a:p>
        </p:txBody>
      </p:sp>
      <p:sp>
        <p:nvSpPr>
          <p:cNvPr id="6" name="Rectangle 5">
            <a:extLst>
              <a:ext uri="{FF2B5EF4-FFF2-40B4-BE49-F238E27FC236}">
                <a16:creationId xmlns:a16="http://schemas.microsoft.com/office/drawing/2014/main" id="{DB0AF84B-4B58-47B7-835B-46D589EED215}"/>
              </a:ext>
            </a:extLst>
          </p:cNvPr>
          <p:cNvSpPr/>
          <p:nvPr/>
        </p:nvSpPr>
        <p:spPr>
          <a:xfrm>
            <a:off x="381000" y="1238250"/>
            <a:ext cx="349644" cy="3496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87" name="Rectangle 186">
            <a:extLst>
              <a:ext uri="{FF2B5EF4-FFF2-40B4-BE49-F238E27FC236}">
                <a16:creationId xmlns:a16="http://schemas.microsoft.com/office/drawing/2014/main" id="{3C156C44-4DBB-49E3-B0C7-F6EA0350F3DA}"/>
              </a:ext>
            </a:extLst>
          </p:cNvPr>
          <p:cNvSpPr/>
          <p:nvPr/>
        </p:nvSpPr>
        <p:spPr>
          <a:xfrm>
            <a:off x="5398299" y="1238250"/>
            <a:ext cx="3364701" cy="3496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rPr>
              <a:t>Distribution of Grade 3-5 irAEs</a:t>
            </a:r>
            <a:r>
              <a:rPr kumimoji="0" lang="en-US" sz="1200" b="1" i="0" u="none" strike="noStrike" kern="0" cap="none" spc="0" normalizeH="0" baseline="30000" noProof="0" dirty="0">
                <a:ln>
                  <a:noFill/>
                </a:ln>
                <a:solidFill>
                  <a:srgbClr val="FFFFFF"/>
                </a:solidFill>
                <a:effectLst/>
                <a:uLnTx/>
                <a:uFillTx/>
                <a:latin typeface="Gene Sans Light" panose="00000400000000000000" pitchFamily="50" charset="0"/>
                <a:ea typeface="+mn-ea"/>
                <a:cs typeface="+mn-cs"/>
                <a:sym typeface="Arial"/>
              </a:rPr>
              <a:t>1</a:t>
            </a:r>
            <a:endParaRPr kumimoji="0" lang="en-US" sz="1050" b="0"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endParaRPr>
          </a:p>
        </p:txBody>
      </p:sp>
      <p:sp>
        <p:nvSpPr>
          <p:cNvPr id="188" name="Rectangle 187">
            <a:extLst>
              <a:ext uri="{FF2B5EF4-FFF2-40B4-BE49-F238E27FC236}">
                <a16:creationId xmlns:a16="http://schemas.microsoft.com/office/drawing/2014/main" id="{8D015501-8CC1-4671-A27D-887E6CE5FD72}"/>
              </a:ext>
            </a:extLst>
          </p:cNvPr>
          <p:cNvSpPr/>
          <p:nvPr/>
        </p:nvSpPr>
        <p:spPr>
          <a:xfrm>
            <a:off x="5048655" y="1238250"/>
            <a:ext cx="349644" cy="34964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89" name="Google Shape;391;p7">
            <a:extLst>
              <a:ext uri="{FF2B5EF4-FFF2-40B4-BE49-F238E27FC236}">
                <a16:creationId xmlns:a16="http://schemas.microsoft.com/office/drawing/2014/main" id="{1862EF93-871A-4DDD-A1F8-0C48C4ABF277}"/>
              </a:ext>
            </a:extLst>
          </p:cNvPr>
          <p:cNvSpPr/>
          <p:nvPr/>
        </p:nvSpPr>
        <p:spPr>
          <a:xfrm>
            <a:off x="951293" y="2023969"/>
            <a:ext cx="91734" cy="1834680"/>
          </a:xfrm>
          <a:prstGeom prst="rect">
            <a:avLst/>
          </a:prstGeom>
          <a:solidFill>
            <a:schemeClr val="accent1"/>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90" name="Google Shape;392;p7">
            <a:extLst>
              <a:ext uri="{FF2B5EF4-FFF2-40B4-BE49-F238E27FC236}">
                <a16:creationId xmlns:a16="http://schemas.microsoft.com/office/drawing/2014/main" id="{6085CF52-22A8-4F09-9C89-B26DF9660F4E}"/>
              </a:ext>
            </a:extLst>
          </p:cNvPr>
          <p:cNvSpPr/>
          <p:nvPr/>
        </p:nvSpPr>
        <p:spPr>
          <a:xfrm>
            <a:off x="1095415" y="2507900"/>
            <a:ext cx="91734" cy="1350749"/>
          </a:xfrm>
          <a:prstGeom prst="rect">
            <a:avLst/>
          </a:prstGeom>
          <a:solidFill>
            <a:schemeClr val="accent1"/>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91" name="Google Shape;393;p7">
            <a:extLst>
              <a:ext uri="{FF2B5EF4-FFF2-40B4-BE49-F238E27FC236}">
                <a16:creationId xmlns:a16="http://schemas.microsoft.com/office/drawing/2014/main" id="{24F4C997-B4B2-45D3-8BB0-83F191DBD7A2}"/>
              </a:ext>
            </a:extLst>
          </p:cNvPr>
          <p:cNvSpPr/>
          <p:nvPr/>
        </p:nvSpPr>
        <p:spPr>
          <a:xfrm>
            <a:off x="1240475" y="3302502"/>
            <a:ext cx="91734" cy="556147"/>
          </a:xfrm>
          <a:prstGeom prst="rect">
            <a:avLst/>
          </a:prstGeom>
          <a:solidFill>
            <a:schemeClr val="accent1"/>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92" name="Google Shape;394;p7">
            <a:extLst>
              <a:ext uri="{FF2B5EF4-FFF2-40B4-BE49-F238E27FC236}">
                <a16:creationId xmlns:a16="http://schemas.microsoft.com/office/drawing/2014/main" id="{09B46CAE-84A9-405C-9BBB-A92656E06FE4}"/>
              </a:ext>
            </a:extLst>
          </p:cNvPr>
          <p:cNvSpPr/>
          <p:nvPr/>
        </p:nvSpPr>
        <p:spPr>
          <a:xfrm>
            <a:off x="1388180" y="3459830"/>
            <a:ext cx="91734" cy="398820"/>
          </a:xfrm>
          <a:prstGeom prst="rect">
            <a:avLst/>
          </a:prstGeom>
          <a:solidFill>
            <a:schemeClr val="accent1"/>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93" name="Google Shape;395;p7">
            <a:extLst>
              <a:ext uri="{FF2B5EF4-FFF2-40B4-BE49-F238E27FC236}">
                <a16:creationId xmlns:a16="http://schemas.microsoft.com/office/drawing/2014/main" id="{BD835421-C230-4621-909F-2A78A5C1B2D1}"/>
              </a:ext>
            </a:extLst>
          </p:cNvPr>
          <p:cNvSpPr/>
          <p:nvPr/>
        </p:nvSpPr>
        <p:spPr>
          <a:xfrm>
            <a:off x="1534284" y="3651012"/>
            <a:ext cx="91734" cy="207637"/>
          </a:xfrm>
          <a:prstGeom prst="rect">
            <a:avLst/>
          </a:prstGeom>
          <a:solidFill>
            <a:schemeClr val="accent1"/>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94" name="Google Shape;396;p7">
            <a:extLst>
              <a:ext uri="{FF2B5EF4-FFF2-40B4-BE49-F238E27FC236}">
                <a16:creationId xmlns:a16="http://schemas.microsoft.com/office/drawing/2014/main" id="{4C6458E0-9FBF-4301-853E-EE070D2C4701}"/>
              </a:ext>
            </a:extLst>
          </p:cNvPr>
          <p:cNvSpPr/>
          <p:nvPr/>
        </p:nvSpPr>
        <p:spPr>
          <a:xfrm>
            <a:off x="1679420" y="3704782"/>
            <a:ext cx="91734" cy="153867"/>
          </a:xfrm>
          <a:prstGeom prst="rect">
            <a:avLst/>
          </a:prstGeom>
          <a:solidFill>
            <a:schemeClr val="accent1"/>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95" name="Google Shape;397;p7">
            <a:extLst>
              <a:ext uri="{FF2B5EF4-FFF2-40B4-BE49-F238E27FC236}">
                <a16:creationId xmlns:a16="http://schemas.microsoft.com/office/drawing/2014/main" id="{19434B76-7579-4E14-80EE-902467897C71}"/>
              </a:ext>
            </a:extLst>
          </p:cNvPr>
          <p:cNvSpPr/>
          <p:nvPr/>
        </p:nvSpPr>
        <p:spPr>
          <a:xfrm>
            <a:off x="1826417" y="3702791"/>
            <a:ext cx="91734" cy="155858"/>
          </a:xfrm>
          <a:prstGeom prst="rect">
            <a:avLst/>
          </a:prstGeom>
          <a:solidFill>
            <a:schemeClr val="accent1"/>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96" name="Google Shape;398;p7">
            <a:extLst>
              <a:ext uri="{FF2B5EF4-FFF2-40B4-BE49-F238E27FC236}">
                <a16:creationId xmlns:a16="http://schemas.microsoft.com/office/drawing/2014/main" id="{47F6A5E0-6572-4F69-A006-8061990A2267}"/>
              </a:ext>
            </a:extLst>
          </p:cNvPr>
          <p:cNvSpPr/>
          <p:nvPr/>
        </p:nvSpPr>
        <p:spPr>
          <a:xfrm>
            <a:off x="2066602" y="2778742"/>
            <a:ext cx="91734" cy="1079907"/>
          </a:xfrm>
          <a:prstGeom prst="rect">
            <a:avLst/>
          </a:prstGeom>
          <a:solidFill>
            <a:schemeClr val="dk2"/>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97" name="Google Shape;399;p7">
            <a:extLst>
              <a:ext uri="{FF2B5EF4-FFF2-40B4-BE49-F238E27FC236}">
                <a16:creationId xmlns:a16="http://schemas.microsoft.com/office/drawing/2014/main" id="{8D72AA18-665A-40C3-A6EC-0D554F9B8EF5}"/>
              </a:ext>
            </a:extLst>
          </p:cNvPr>
          <p:cNvSpPr/>
          <p:nvPr/>
        </p:nvSpPr>
        <p:spPr>
          <a:xfrm>
            <a:off x="2213997" y="3154137"/>
            <a:ext cx="91734" cy="704512"/>
          </a:xfrm>
          <a:prstGeom prst="rect">
            <a:avLst/>
          </a:prstGeom>
          <a:solidFill>
            <a:schemeClr val="dk2"/>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98" name="Google Shape;400;p7">
            <a:extLst>
              <a:ext uri="{FF2B5EF4-FFF2-40B4-BE49-F238E27FC236}">
                <a16:creationId xmlns:a16="http://schemas.microsoft.com/office/drawing/2014/main" id="{70CB988A-1D88-4EE8-888F-2A68E1BB4C63}"/>
              </a:ext>
            </a:extLst>
          </p:cNvPr>
          <p:cNvSpPr/>
          <p:nvPr/>
        </p:nvSpPr>
        <p:spPr>
          <a:xfrm>
            <a:off x="2361032" y="3682876"/>
            <a:ext cx="91734" cy="175773"/>
          </a:xfrm>
          <a:prstGeom prst="rect">
            <a:avLst/>
          </a:prstGeom>
          <a:solidFill>
            <a:schemeClr val="dk2"/>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199" name="Google Shape;401;p7">
            <a:extLst>
              <a:ext uri="{FF2B5EF4-FFF2-40B4-BE49-F238E27FC236}">
                <a16:creationId xmlns:a16="http://schemas.microsoft.com/office/drawing/2014/main" id="{757C1AE5-DAC9-4112-97D7-43CA07242541}"/>
              </a:ext>
            </a:extLst>
          </p:cNvPr>
          <p:cNvSpPr/>
          <p:nvPr/>
        </p:nvSpPr>
        <p:spPr>
          <a:xfrm>
            <a:off x="2506843" y="3405064"/>
            <a:ext cx="91734" cy="453585"/>
          </a:xfrm>
          <a:prstGeom prst="rect">
            <a:avLst/>
          </a:prstGeom>
          <a:solidFill>
            <a:schemeClr val="dk2"/>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00" name="Google Shape;402;p7">
            <a:extLst>
              <a:ext uri="{FF2B5EF4-FFF2-40B4-BE49-F238E27FC236}">
                <a16:creationId xmlns:a16="http://schemas.microsoft.com/office/drawing/2014/main" id="{8FDED083-9190-4977-8DAC-D979C3287EE7}"/>
              </a:ext>
            </a:extLst>
          </p:cNvPr>
          <p:cNvSpPr/>
          <p:nvPr/>
        </p:nvSpPr>
        <p:spPr>
          <a:xfrm>
            <a:off x="2653744" y="3532021"/>
            <a:ext cx="91734" cy="326628"/>
          </a:xfrm>
          <a:prstGeom prst="rect">
            <a:avLst/>
          </a:prstGeom>
          <a:solidFill>
            <a:schemeClr val="dk2"/>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01" name="Google Shape;403;p7">
            <a:extLst>
              <a:ext uri="{FF2B5EF4-FFF2-40B4-BE49-F238E27FC236}">
                <a16:creationId xmlns:a16="http://schemas.microsoft.com/office/drawing/2014/main" id="{57CD157E-6555-49DE-BC76-AA1CF3A7964C}"/>
              </a:ext>
            </a:extLst>
          </p:cNvPr>
          <p:cNvSpPr/>
          <p:nvPr/>
        </p:nvSpPr>
        <p:spPr>
          <a:xfrm>
            <a:off x="2801544" y="3730672"/>
            <a:ext cx="91734" cy="127978"/>
          </a:xfrm>
          <a:prstGeom prst="rect">
            <a:avLst/>
          </a:prstGeom>
          <a:solidFill>
            <a:schemeClr val="dk2"/>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02" name="Google Shape;404;p7">
            <a:extLst>
              <a:ext uri="{FF2B5EF4-FFF2-40B4-BE49-F238E27FC236}">
                <a16:creationId xmlns:a16="http://schemas.microsoft.com/office/drawing/2014/main" id="{59BBE599-9876-410B-95FA-A0733AFE9F63}"/>
              </a:ext>
            </a:extLst>
          </p:cNvPr>
          <p:cNvSpPr/>
          <p:nvPr/>
        </p:nvSpPr>
        <p:spPr>
          <a:xfrm>
            <a:off x="2945705" y="3781454"/>
            <a:ext cx="91734" cy="77195"/>
          </a:xfrm>
          <a:prstGeom prst="rect">
            <a:avLst/>
          </a:prstGeom>
          <a:solidFill>
            <a:schemeClr val="dk2"/>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7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03" name="Google Shape;405;p7">
            <a:extLst>
              <a:ext uri="{FF2B5EF4-FFF2-40B4-BE49-F238E27FC236}">
                <a16:creationId xmlns:a16="http://schemas.microsoft.com/office/drawing/2014/main" id="{8C64FC72-336A-4CCB-9C60-2D2986D156E7}"/>
              </a:ext>
            </a:extLst>
          </p:cNvPr>
          <p:cNvSpPr/>
          <p:nvPr/>
        </p:nvSpPr>
        <p:spPr>
          <a:xfrm>
            <a:off x="3188828" y="3509616"/>
            <a:ext cx="91734" cy="349033"/>
          </a:xfrm>
          <a:prstGeom prst="rect">
            <a:avLst/>
          </a:prstGeom>
          <a:solidFill>
            <a:schemeClr val="accent3">
              <a:lumMod val="20000"/>
              <a:lumOff val="80000"/>
            </a:schemeClr>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04" name="Google Shape;406;p7">
            <a:extLst>
              <a:ext uri="{FF2B5EF4-FFF2-40B4-BE49-F238E27FC236}">
                <a16:creationId xmlns:a16="http://schemas.microsoft.com/office/drawing/2014/main" id="{73293D79-C7CB-4D52-B759-85227DA31CAF}"/>
              </a:ext>
            </a:extLst>
          </p:cNvPr>
          <p:cNvSpPr txBox="1"/>
          <p:nvPr/>
        </p:nvSpPr>
        <p:spPr>
          <a:xfrm>
            <a:off x="671174" y="1825406"/>
            <a:ext cx="160356"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40</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05" name="Google Shape;407;p7">
            <a:extLst>
              <a:ext uri="{FF2B5EF4-FFF2-40B4-BE49-F238E27FC236}">
                <a16:creationId xmlns:a16="http://schemas.microsoft.com/office/drawing/2014/main" id="{B661ADDB-372A-4072-A62B-D44A4C048BB9}"/>
              </a:ext>
            </a:extLst>
          </p:cNvPr>
          <p:cNvSpPr txBox="1"/>
          <p:nvPr/>
        </p:nvSpPr>
        <p:spPr>
          <a:xfrm>
            <a:off x="671174" y="2305983"/>
            <a:ext cx="160356"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30</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06" name="Google Shape;408;p7">
            <a:extLst>
              <a:ext uri="{FF2B5EF4-FFF2-40B4-BE49-F238E27FC236}">
                <a16:creationId xmlns:a16="http://schemas.microsoft.com/office/drawing/2014/main" id="{2583551C-3A1B-4CFC-BFC5-FD79AE5A1007}"/>
              </a:ext>
            </a:extLst>
          </p:cNvPr>
          <p:cNvSpPr txBox="1"/>
          <p:nvPr/>
        </p:nvSpPr>
        <p:spPr>
          <a:xfrm>
            <a:off x="671174" y="2786560"/>
            <a:ext cx="160356"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20</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07" name="Google Shape;409;p7">
            <a:extLst>
              <a:ext uri="{FF2B5EF4-FFF2-40B4-BE49-F238E27FC236}">
                <a16:creationId xmlns:a16="http://schemas.microsoft.com/office/drawing/2014/main" id="{33560C10-F06F-4E9B-AE53-59C6DF9C2626}"/>
              </a:ext>
            </a:extLst>
          </p:cNvPr>
          <p:cNvSpPr txBox="1"/>
          <p:nvPr/>
        </p:nvSpPr>
        <p:spPr>
          <a:xfrm>
            <a:off x="671174" y="3267137"/>
            <a:ext cx="160356"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10</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08" name="Google Shape;410;p7">
            <a:extLst>
              <a:ext uri="{FF2B5EF4-FFF2-40B4-BE49-F238E27FC236}">
                <a16:creationId xmlns:a16="http://schemas.microsoft.com/office/drawing/2014/main" id="{2B4B3458-DF90-4EBD-BD57-A416966D9DA5}"/>
              </a:ext>
            </a:extLst>
          </p:cNvPr>
          <p:cNvSpPr txBox="1"/>
          <p:nvPr/>
        </p:nvSpPr>
        <p:spPr>
          <a:xfrm>
            <a:off x="769305" y="3747713"/>
            <a:ext cx="62225"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0</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09" name="Google Shape;411;p7">
            <a:extLst>
              <a:ext uri="{FF2B5EF4-FFF2-40B4-BE49-F238E27FC236}">
                <a16:creationId xmlns:a16="http://schemas.microsoft.com/office/drawing/2014/main" id="{5A79509F-D8B5-4BCB-BB1F-BD72493AD9BB}"/>
              </a:ext>
            </a:extLst>
          </p:cNvPr>
          <p:cNvSpPr txBox="1"/>
          <p:nvPr/>
        </p:nvSpPr>
        <p:spPr>
          <a:xfrm rot="16200000">
            <a:off x="49949" y="2778154"/>
            <a:ext cx="853842" cy="123111"/>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Patients (%)</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10" name="Google Shape;412;p7">
            <a:extLst>
              <a:ext uri="{FF2B5EF4-FFF2-40B4-BE49-F238E27FC236}">
                <a16:creationId xmlns:a16="http://schemas.microsoft.com/office/drawing/2014/main" id="{BD84D1C0-F02C-4AC4-87CD-78BB1042E02C}"/>
              </a:ext>
            </a:extLst>
          </p:cNvPr>
          <p:cNvSpPr txBox="1"/>
          <p:nvPr/>
        </p:nvSpPr>
        <p:spPr>
          <a:xfrm rot="16200000">
            <a:off x="900529" y="3933124"/>
            <a:ext cx="200414"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Skin</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11" name="Google Shape;413;p7">
            <a:extLst>
              <a:ext uri="{FF2B5EF4-FFF2-40B4-BE49-F238E27FC236}">
                <a16:creationId xmlns:a16="http://schemas.microsoft.com/office/drawing/2014/main" id="{33132CD4-B276-4ACD-BD5F-702B0B44CB9E}"/>
              </a:ext>
            </a:extLst>
          </p:cNvPr>
          <p:cNvSpPr txBox="1"/>
          <p:nvPr/>
        </p:nvSpPr>
        <p:spPr>
          <a:xfrm rot="16200000">
            <a:off x="1090588" y="3887869"/>
            <a:ext cx="109905"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GI</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12" name="Google Shape;414;p7">
            <a:extLst>
              <a:ext uri="{FF2B5EF4-FFF2-40B4-BE49-F238E27FC236}">
                <a16:creationId xmlns:a16="http://schemas.microsoft.com/office/drawing/2014/main" id="{69BEF648-22C4-4FA6-BF15-F2E2B13F0FD4}"/>
              </a:ext>
            </a:extLst>
          </p:cNvPr>
          <p:cNvSpPr txBox="1"/>
          <p:nvPr/>
        </p:nvSpPr>
        <p:spPr>
          <a:xfrm rot="16200000">
            <a:off x="1172897" y="3950367"/>
            <a:ext cx="234897"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Pulm</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13" name="Google Shape;415;p7">
            <a:extLst>
              <a:ext uri="{FF2B5EF4-FFF2-40B4-BE49-F238E27FC236}">
                <a16:creationId xmlns:a16="http://schemas.microsoft.com/office/drawing/2014/main" id="{AF3CC165-683F-4AF2-8252-07F9DA387F4B}"/>
              </a:ext>
            </a:extLst>
          </p:cNvPr>
          <p:cNvSpPr txBox="1"/>
          <p:nvPr/>
        </p:nvSpPr>
        <p:spPr>
          <a:xfrm rot="16200000">
            <a:off x="1214802" y="4053266"/>
            <a:ext cx="440695"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Arthralgia</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14" name="Google Shape;416;p7">
            <a:extLst>
              <a:ext uri="{FF2B5EF4-FFF2-40B4-BE49-F238E27FC236}">
                <a16:creationId xmlns:a16="http://schemas.microsoft.com/office/drawing/2014/main" id="{272CC398-5403-483B-92E1-ACF040A8428A}"/>
              </a:ext>
            </a:extLst>
          </p:cNvPr>
          <p:cNvSpPr txBox="1"/>
          <p:nvPr/>
        </p:nvSpPr>
        <p:spPr>
          <a:xfrm rot="16200000">
            <a:off x="1433953" y="3978919"/>
            <a:ext cx="292002"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Endoc</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15" name="Google Shape;417;p7">
            <a:extLst>
              <a:ext uri="{FF2B5EF4-FFF2-40B4-BE49-F238E27FC236}">
                <a16:creationId xmlns:a16="http://schemas.microsoft.com/office/drawing/2014/main" id="{642F53D1-267C-4BE5-8AF6-29DFC3C2C137}"/>
              </a:ext>
            </a:extLst>
          </p:cNvPr>
          <p:cNvSpPr txBox="1"/>
          <p:nvPr/>
        </p:nvSpPr>
        <p:spPr>
          <a:xfrm rot="16200000">
            <a:off x="1550203" y="4007471"/>
            <a:ext cx="349108"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Hepatic</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16" name="Google Shape;418;p7">
            <a:extLst>
              <a:ext uri="{FF2B5EF4-FFF2-40B4-BE49-F238E27FC236}">
                <a16:creationId xmlns:a16="http://schemas.microsoft.com/office/drawing/2014/main" id="{7DC0DF5E-DBA4-43D0-A99C-7454EB8F89C2}"/>
              </a:ext>
            </a:extLst>
          </p:cNvPr>
          <p:cNvSpPr txBox="1"/>
          <p:nvPr/>
        </p:nvSpPr>
        <p:spPr>
          <a:xfrm rot="16200000">
            <a:off x="1549009" y="4153473"/>
            <a:ext cx="641109"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Neurol or </a:t>
            </a:r>
            <a:r>
              <a:rPr kumimoji="0" lang="en-US" sz="8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ocul</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17" name="Google Shape;419;p7">
            <a:extLst>
              <a:ext uri="{FF2B5EF4-FFF2-40B4-BE49-F238E27FC236}">
                <a16:creationId xmlns:a16="http://schemas.microsoft.com/office/drawing/2014/main" id="{DE4DEF25-9959-4CC6-BDFC-12C5DBBCD141}"/>
              </a:ext>
            </a:extLst>
          </p:cNvPr>
          <p:cNvSpPr txBox="1"/>
          <p:nvPr/>
        </p:nvSpPr>
        <p:spPr>
          <a:xfrm rot="16200000">
            <a:off x="1993351" y="3933124"/>
            <a:ext cx="200414"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Skin</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18" name="Google Shape;420;p7">
            <a:extLst>
              <a:ext uri="{FF2B5EF4-FFF2-40B4-BE49-F238E27FC236}">
                <a16:creationId xmlns:a16="http://schemas.microsoft.com/office/drawing/2014/main" id="{1CBBF793-AFCE-4CE2-A8E5-C1E35C38676B}"/>
              </a:ext>
            </a:extLst>
          </p:cNvPr>
          <p:cNvSpPr txBox="1"/>
          <p:nvPr/>
        </p:nvSpPr>
        <p:spPr>
          <a:xfrm rot="16200000">
            <a:off x="2189862" y="3887869"/>
            <a:ext cx="109905"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GI</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19" name="Google Shape;421;p7">
            <a:extLst>
              <a:ext uri="{FF2B5EF4-FFF2-40B4-BE49-F238E27FC236}">
                <a16:creationId xmlns:a16="http://schemas.microsoft.com/office/drawing/2014/main" id="{883DBDB1-AF22-4305-B89B-74F7165A4440}"/>
              </a:ext>
            </a:extLst>
          </p:cNvPr>
          <p:cNvSpPr txBox="1"/>
          <p:nvPr/>
        </p:nvSpPr>
        <p:spPr>
          <a:xfrm rot="16200000">
            <a:off x="2278624" y="3950367"/>
            <a:ext cx="234898"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Pulm</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20" name="Google Shape;422;p7">
            <a:extLst>
              <a:ext uri="{FF2B5EF4-FFF2-40B4-BE49-F238E27FC236}">
                <a16:creationId xmlns:a16="http://schemas.microsoft.com/office/drawing/2014/main" id="{686ED25E-75DC-479E-8989-985DFE4187E3}"/>
              </a:ext>
            </a:extLst>
          </p:cNvPr>
          <p:cNvSpPr txBox="1"/>
          <p:nvPr/>
        </p:nvSpPr>
        <p:spPr>
          <a:xfrm rot="16200000">
            <a:off x="2326981" y="4053268"/>
            <a:ext cx="440699"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Arthralgia</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21" name="Google Shape;423;p7">
            <a:extLst>
              <a:ext uri="{FF2B5EF4-FFF2-40B4-BE49-F238E27FC236}">
                <a16:creationId xmlns:a16="http://schemas.microsoft.com/office/drawing/2014/main" id="{34407B6A-ABCE-4CF5-8A3C-AF2C619904C1}"/>
              </a:ext>
            </a:extLst>
          </p:cNvPr>
          <p:cNvSpPr txBox="1"/>
          <p:nvPr/>
        </p:nvSpPr>
        <p:spPr>
          <a:xfrm rot="16200000">
            <a:off x="2552586" y="3978920"/>
            <a:ext cx="292003"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Endoc</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22" name="Google Shape;424;p7">
            <a:extLst>
              <a:ext uri="{FF2B5EF4-FFF2-40B4-BE49-F238E27FC236}">
                <a16:creationId xmlns:a16="http://schemas.microsoft.com/office/drawing/2014/main" id="{661FB970-F193-479E-8885-92354E0E8BEB}"/>
              </a:ext>
            </a:extLst>
          </p:cNvPr>
          <p:cNvSpPr txBox="1"/>
          <p:nvPr/>
        </p:nvSpPr>
        <p:spPr>
          <a:xfrm rot="16200000">
            <a:off x="2675289" y="4007471"/>
            <a:ext cx="349108"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Hepatic</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23" name="Google Shape;425;p7">
            <a:extLst>
              <a:ext uri="{FF2B5EF4-FFF2-40B4-BE49-F238E27FC236}">
                <a16:creationId xmlns:a16="http://schemas.microsoft.com/office/drawing/2014/main" id="{4EAF6870-82E7-4705-8A38-808F3644F2A8}"/>
              </a:ext>
            </a:extLst>
          </p:cNvPr>
          <p:cNvSpPr txBox="1"/>
          <p:nvPr/>
        </p:nvSpPr>
        <p:spPr>
          <a:xfrm rot="16200000">
            <a:off x="2680544" y="4153473"/>
            <a:ext cx="641109"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Neurol or ocul</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24" name="Google Shape;426;p7">
            <a:extLst>
              <a:ext uri="{FF2B5EF4-FFF2-40B4-BE49-F238E27FC236}">
                <a16:creationId xmlns:a16="http://schemas.microsoft.com/office/drawing/2014/main" id="{41AC26B6-E60D-4735-AF84-02B4BF809C9E}"/>
              </a:ext>
            </a:extLst>
          </p:cNvPr>
          <p:cNvSpPr txBox="1"/>
          <p:nvPr/>
        </p:nvSpPr>
        <p:spPr>
          <a:xfrm rot="16200000">
            <a:off x="3126238" y="3933124"/>
            <a:ext cx="200414"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Skin</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25" name="Google Shape;427;p7">
            <a:extLst>
              <a:ext uri="{FF2B5EF4-FFF2-40B4-BE49-F238E27FC236}">
                <a16:creationId xmlns:a16="http://schemas.microsoft.com/office/drawing/2014/main" id="{3C9F337A-2473-4200-B8DA-1E3CE5B24642}"/>
              </a:ext>
            </a:extLst>
          </p:cNvPr>
          <p:cNvSpPr txBox="1"/>
          <p:nvPr/>
        </p:nvSpPr>
        <p:spPr>
          <a:xfrm rot="16200000">
            <a:off x="3318732" y="3887869"/>
            <a:ext cx="109905"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GI</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26" name="Google Shape;428;p7">
            <a:extLst>
              <a:ext uri="{FF2B5EF4-FFF2-40B4-BE49-F238E27FC236}">
                <a16:creationId xmlns:a16="http://schemas.microsoft.com/office/drawing/2014/main" id="{B50F928C-964D-40A0-8F2C-2870912A179F}"/>
              </a:ext>
            </a:extLst>
          </p:cNvPr>
          <p:cNvSpPr txBox="1"/>
          <p:nvPr/>
        </p:nvSpPr>
        <p:spPr>
          <a:xfrm rot="16200000">
            <a:off x="3403478" y="3950366"/>
            <a:ext cx="234896"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Pulm</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27" name="Google Shape;429;p7">
            <a:extLst>
              <a:ext uri="{FF2B5EF4-FFF2-40B4-BE49-F238E27FC236}">
                <a16:creationId xmlns:a16="http://schemas.microsoft.com/office/drawing/2014/main" id="{54C2A1B3-AF97-42CD-9BD0-2D3F20FC70B2}"/>
              </a:ext>
            </a:extLst>
          </p:cNvPr>
          <p:cNvSpPr txBox="1"/>
          <p:nvPr/>
        </p:nvSpPr>
        <p:spPr>
          <a:xfrm rot="16200000">
            <a:off x="3447817" y="4053266"/>
            <a:ext cx="440695"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Arthralgia</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28" name="Google Shape;430;p7">
            <a:extLst>
              <a:ext uri="{FF2B5EF4-FFF2-40B4-BE49-F238E27FC236}">
                <a16:creationId xmlns:a16="http://schemas.microsoft.com/office/drawing/2014/main" id="{89EFB83D-602E-4E7C-85E3-1DCC4CF06366}"/>
              </a:ext>
            </a:extLst>
          </p:cNvPr>
          <p:cNvSpPr txBox="1"/>
          <p:nvPr/>
        </p:nvSpPr>
        <p:spPr>
          <a:xfrm rot="16200000">
            <a:off x="3669402" y="3978920"/>
            <a:ext cx="292003"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Endoc</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29" name="Google Shape;431;p7">
            <a:extLst>
              <a:ext uri="{FF2B5EF4-FFF2-40B4-BE49-F238E27FC236}">
                <a16:creationId xmlns:a16="http://schemas.microsoft.com/office/drawing/2014/main" id="{7EA2FEF2-46CC-4531-AE19-C16F9AE4C371}"/>
              </a:ext>
            </a:extLst>
          </p:cNvPr>
          <p:cNvSpPr txBox="1"/>
          <p:nvPr/>
        </p:nvSpPr>
        <p:spPr>
          <a:xfrm rot="16200000">
            <a:off x="3788088" y="4007471"/>
            <a:ext cx="349108"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Hepatic</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30" name="Google Shape;432;p7">
            <a:extLst>
              <a:ext uri="{FF2B5EF4-FFF2-40B4-BE49-F238E27FC236}">
                <a16:creationId xmlns:a16="http://schemas.microsoft.com/office/drawing/2014/main" id="{5B926003-4F04-4BCD-AB24-98B720F57B6D}"/>
              </a:ext>
            </a:extLst>
          </p:cNvPr>
          <p:cNvSpPr txBox="1"/>
          <p:nvPr/>
        </p:nvSpPr>
        <p:spPr>
          <a:xfrm rot="16200000">
            <a:off x="3789328" y="4153473"/>
            <a:ext cx="641109" cy="123111"/>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Neurol or </a:t>
            </a:r>
            <a:r>
              <a:rPr kumimoji="0" lang="en-US" sz="8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ocul</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31" name="Google Shape;434;p7">
            <a:extLst>
              <a:ext uri="{FF2B5EF4-FFF2-40B4-BE49-F238E27FC236}">
                <a16:creationId xmlns:a16="http://schemas.microsoft.com/office/drawing/2014/main" id="{2A402549-AD36-408E-BB04-CDC09C4BA17D}"/>
              </a:ext>
            </a:extLst>
          </p:cNvPr>
          <p:cNvSpPr/>
          <p:nvPr/>
        </p:nvSpPr>
        <p:spPr>
          <a:xfrm>
            <a:off x="3337906" y="3457339"/>
            <a:ext cx="91734" cy="401309"/>
          </a:xfrm>
          <a:prstGeom prst="rect">
            <a:avLst/>
          </a:prstGeom>
          <a:solidFill>
            <a:schemeClr val="accent3">
              <a:lumMod val="20000"/>
              <a:lumOff val="80000"/>
            </a:schemeClr>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32" name="Google Shape;435;p7">
            <a:extLst>
              <a:ext uri="{FF2B5EF4-FFF2-40B4-BE49-F238E27FC236}">
                <a16:creationId xmlns:a16="http://schemas.microsoft.com/office/drawing/2014/main" id="{CEBBE8B9-3E4F-4A4C-9ABB-0EB30E1CF5B8}"/>
              </a:ext>
            </a:extLst>
          </p:cNvPr>
          <p:cNvSpPr/>
          <p:nvPr/>
        </p:nvSpPr>
        <p:spPr>
          <a:xfrm>
            <a:off x="3486867" y="3754569"/>
            <a:ext cx="91734" cy="104080"/>
          </a:xfrm>
          <a:prstGeom prst="rect">
            <a:avLst/>
          </a:prstGeom>
          <a:solidFill>
            <a:schemeClr val="accent3">
              <a:lumMod val="20000"/>
              <a:lumOff val="80000"/>
            </a:schemeClr>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7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33" name="Google Shape;436;p7">
            <a:extLst>
              <a:ext uri="{FF2B5EF4-FFF2-40B4-BE49-F238E27FC236}">
                <a16:creationId xmlns:a16="http://schemas.microsoft.com/office/drawing/2014/main" id="{C0280CB0-9986-48DF-948B-C8564C53EFD0}"/>
              </a:ext>
            </a:extLst>
          </p:cNvPr>
          <p:cNvSpPr/>
          <p:nvPr/>
        </p:nvSpPr>
        <p:spPr>
          <a:xfrm>
            <a:off x="3632007" y="3505136"/>
            <a:ext cx="91734" cy="353513"/>
          </a:xfrm>
          <a:prstGeom prst="rect">
            <a:avLst/>
          </a:prstGeom>
          <a:solidFill>
            <a:schemeClr val="accent3">
              <a:lumMod val="20000"/>
              <a:lumOff val="80000"/>
            </a:schemeClr>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34" name="Google Shape;437;p7">
            <a:extLst>
              <a:ext uri="{FF2B5EF4-FFF2-40B4-BE49-F238E27FC236}">
                <a16:creationId xmlns:a16="http://schemas.microsoft.com/office/drawing/2014/main" id="{6DD40F78-2B97-443B-88DE-16178CE0184B}"/>
              </a:ext>
            </a:extLst>
          </p:cNvPr>
          <p:cNvSpPr/>
          <p:nvPr/>
        </p:nvSpPr>
        <p:spPr>
          <a:xfrm>
            <a:off x="3774192" y="3705280"/>
            <a:ext cx="91734" cy="153368"/>
          </a:xfrm>
          <a:prstGeom prst="rect">
            <a:avLst/>
          </a:prstGeom>
          <a:solidFill>
            <a:schemeClr val="accent3">
              <a:lumMod val="20000"/>
              <a:lumOff val="80000"/>
            </a:schemeClr>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35" name="Google Shape;438;p7">
            <a:extLst>
              <a:ext uri="{FF2B5EF4-FFF2-40B4-BE49-F238E27FC236}">
                <a16:creationId xmlns:a16="http://schemas.microsoft.com/office/drawing/2014/main" id="{F6D21D0F-9C26-4850-B65F-6AED4815E8EB}"/>
              </a:ext>
            </a:extLst>
          </p:cNvPr>
          <p:cNvSpPr/>
          <p:nvPr/>
        </p:nvSpPr>
        <p:spPr>
          <a:xfrm>
            <a:off x="4070340" y="3754570"/>
            <a:ext cx="91734" cy="104079"/>
          </a:xfrm>
          <a:prstGeom prst="rect">
            <a:avLst/>
          </a:prstGeom>
          <a:solidFill>
            <a:schemeClr val="accent3">
              <a:lumMod val="20000"/>
              <a:lumOff val="80000"/>
            </a:schemeClr>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7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36" name="Google Shape;439;p7">
            <a:extLst>
              <a:ext uri="{FF2B5EF4-FFF2-40B4-BE49-F238E27FC236}">
                <a16:creationId xmlns:a16="http://schemas.microsoft.com/office/drawing/2014/main" id="{39CB658B-0C90-4832-AF8E-E8A3DA8BDB19}"/>
              </a:ext>
            </a:extLst>
          </p:cNvPr>
          <p:cNvSpPr/>
          <p:nvPr/>
        </p:nvSpPr>
        <p:spPr>
          <a:xfrm>
            <a:off x="1138017" y="2159390"/>
            <a:ext cx="32106" cy="651216"/>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37" name="Google Shape;440;p7">
            <a:extLst>
              <a:ext uri="{FF2B5EF4-FFF2-40B4-BE49-F238E27FC236}">
                <a16:creationId xmlns:a16="http://schemas.microsoft.com/office/drawing/2014/main" id="{7FB0FFF2-173A-47C9-8FE2-0C8C3B95487C}"/>
              </a:ext>
            </a:extLst>
          </p:cNvPr>
          <p:cNvSpPr/>
          <p:nvPr/>
        </p:nvSpPr>
        <p:spPr>
          <a:xfrm>
            <a:off x="1285350" y="3243754"/>
            <a:ext cx="32106" cy="492077"/>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38" name="Google Shape;441;p7">
            <a:extLst>
              <a:ext uri="{FF2B5EF4-FFF2-40B4-BE49-F238E27FC236}">
                <a16:creationId xmlns:a16="http://schemas.microsoft.com/office/drawing/2014/main" id="{45F06C2F-1856-47E1-947F-E9F808DC0086}"/>
              </a:ext>
            </a:extLst>
          </p:cNvPr>
          <p:cNvSpPr/>
          <p:nvPr/>
        </p:nvSpPr>
        <p:spPr>
          <a:xfrm>
            <a:off x="1416896" y="3428962"/>
            <a:ext cx="33444" cy="29872"/>
          </a:xfrm>
          <a:prstGeom prst="ellipse">
            <a:avLst/>
          </a:prstGeom>
          <a:solidFill>
            <a:schemeClr val="dk1"/>
          </a:solid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39" name="Google Shape;442;p7">
            <a:extLst>
              <a:ext uri="{FF2B5EF4-FFF2-40B4-BE49-F238E27FC236}">
                <a16:creationId xmlns:a16="http://schemas.microsoft.com/office/drawing/2014/main" id="{D0138B32-DE4C-418D-9FAD-193572DE59F8}"/>
              </a:ext>
            </a:extLst>
          </p:cNvPr>
          <p:cNvSpPr/>
          <p:nvPr/>
        </p:nvSpPr>
        <p:spPr>
          <a:xfrm>
            <a:off x="1580151" y="3184009"/>
            <a:ext cx="32106" cy="525595"/>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40" name="Google Shape;443;p7">
            <a:extLst>
              <a:ext uri="{FF2B5EF4-FFF2-40B4-BE49-F238E27FC236}">
                <a16:creationId xmlns:a16="http://schemas.microsoft.com/office/drawing/2014/main" id="{09976EFE-A1FD-4C50-96A0-FCB938F7A3C1}"/>
              </a:ext>
            </a:extLst>
          </p:cNvPr>
          <p:cNvSpPr/>
          <p:nvPr/>
        </p:nvSpPr>
        <p:spPr>
          <a:xfrm>
            <a:off x="1728540" y="3596246"/>
            <a:ext cx="66271" cy="176899"/>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41" name="Google Shape;444;p7">
            <a:extLst>
              <a:ext uri="{FF2B5EF4-FFF2-40B4-BE49-F238E27FC236}">
                <a16:creationId xmlns:a16="http://schemas.microsoft.com/office/drawing/2014/main" id="{2F376196-B882-4F09-B347-18CCB26E4334}"/>
              </a:ext>
            </a:extLst>
          </p:cNvPr>
          <p:cNvSpPr/>
          <p:nvPr/>
        </p:nvSpPr>
        <p:spPr>
          <a:xfrm>
            <a:off x="1853800" y="3675913"/>
            <a:ext cx="33444" cy="29872"/>
          </a:xfrm>
          <a:prstGeom prst="ellipse">
            <a:avLst/>
          </a:prstGeom>
          <a:solidFill>
            <a:srgbClr val="003366"/>
          </a:solid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42" name="Google Shape;445;p7">
            <a:extLst>
              <a:ext uri="{FF2B5EF4-FFF2-40B4-BE49-F238E27FC236}">
                <a16:creationId xmlns:a16="http://schemas.microsoft.com/office/drawing/2014/main" id="{D7F25995-DC8D-4D0B-A4B2-8BE48C9D825A}"/>
              </a:ext>
            </a:extLst>
          </p:cNvPr>
          <p:cNvSpPr/>
          <p:nvPr/>
        </p:nvSpPr>
        <p:spPr>
          <a:xfrm>
            <a:off x="2110123" y="2063800"/>
            <a:ext cx="93145" cy="1296374"/>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43" name="Google Shape;446;p7">
            <a:extLst>
              <a:ext uri="{FF2B5EF4-FFF2-40B4-BE49-F238E27FC236}">
                <a16:creationId xmlns:a16="http://schemas.microsoft.com/office/drawing/2014/main" id="{6F1DF761-445B-4F5E-B574-69D8CDDB24D4}"/>
              </a:ext>
            </a:extLst>
          </p:cNvPr>
          <p:cNvSpPr/>
          <p:nvPr/>
        </p:nvSpPr>
        <p:spPr>
          <a:xfrm flipH="1">
            <a:off x="2227954" y="2891261"/>
            <a:ext cx="32106" cy="579529"/>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44" name="Google Shape;447;p7">
            <a:extLst>
              <a:ext uri="{FF2B5EF4-FFF2-40B4-BE49-F238E27FC236}">
                <a16:creationId xmlns:a16="http://schemas.microsoft.com/office/drawing/2014/main" id="{73BC0C02-46D2-4F0C-AD8D-218A1823A214}"/>
              </a:ext>
            </a:extLst>
          </p:cNvPr>
          <p:cNvSpPr/>
          <p:nvPr/>
        </p:nvSpPr>
        <p:spPr>
          <a:xfrm flipH="1">
            <a:off x="2375135" y="3473770"/>
            <a:ext cx="32106" cy="251903"/>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45" name="Google Shape;448;p7">
            <a:extLst>
              <a:ext uri="{FF2B5EF4-FFF2-40B4-BE49-F238E27FC236}">
                <a16:creationId xmlns:a16="http://schemas.microsoft.com/office/drawing/2014/main" id="{88A341ED-57EA-4A11-8F0E-B8CD0070CB4A}"/>
              </a:ext>
            </a:extLst>
          </p:cNvPr>
          <p:cNvSpPr/>
          <p:nvPr/>
        </p:nvSpPr>
        <p:spPr>
          <a:xfrm flipH="1">
            <a:off x="2518087" y="3088418"/>
            <a:ext cx="32106" cy="540934"/>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46" name="Google Shape;449;p7">
            <a:extLst>
              <a:ext uri="{FF2B5EF4-FFF2-40B4-BE49-F238E27FC236}">
                <a16:creationId xmlns:a16="http://schemas.microsoft.com/office/drawing/2014/main" id="{F2E27E72-45FA-4568-8BF7-179F39A94127}"/>
              </a:ext>
            </a:extLst>
          </p:cNvPr>
          <p:cNvSpPr/>
          <p:nvPr/>
        </p:nvSpPr>
        <p:spPr>
          <a:xfrm flipH="1">
            <a:off x="2670260" y="3237779"/>
            <a:ext cx="32106" cy="474400"/>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47" name="Google Shape;450;p7">
            <a:extLst>
              <a:ext uri="{FF2B5EF4-FFF2-40B4-BE49-F238E27FC236}">
                <a16:creationId xmlns:a16="http://schemas.microsoft.com/office/drawing/2014/main" id="{C9DB7337-6B81-446D-8426-3D1921EF6658}"/>
              </a:ext>
            </a:extLst>
          </p:cNvPr>
          <p:cNvSpPr/>
          <p:nvPr/>
        </p:nvSpPr>
        <p:spPr>
          <a:xfrm flipH="1">
            <a:off x="2817588" y="3405064"/>
            <a:ext cx="32106" cy="341752"/>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48" name="Google Shape;451;p7">
            <a:extLst>
              <a:ext uri="{FF2B5EF4-FFF2-40B4-BE49-F238E27FC236}">
                <a16:creationId xmlns:a16="http://schemas.microsoft.com/office/drawing/2014/main" id="{0FE5E265-3727-4329-A35A-82AEECA18A93}"/>
              </a:ext>
            </a:extLst>
          </p:cNvPr>
          <p:cNvSpPr/>
          <p:nvPr/>
        </p:nvSpPr>
        <p:spPr>
          <a:xfrm flipH="1">
            <a:off x="2957963" y="3700798"/>
            <a:ext cx="32106" cy="90685"/>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49" name="Google Shape;452;p7">
            <a:extLst>
              <a:ext uri="{FF2B5EF4-FFF2-40B4-BE49-F238E27FC236}">
                <a16:creationId xmlns:a16="http://schemas.microsoft.com/office/drawing/2014/main" id="{A88A846E-152B-4336-A051-4EDDDB770353}"/>
              </a:ext>
            </a:extLst>
          </p:cNvPr>
          <p:cNvSpPr/>
          <p:nvPr/>
        </p:nvSpPr>
        <p:spPr>
          <a:xfrm flipH="1">
            <a:off x="3198917" y="3378179"/>
            <a:ext cx="32106" cy="344363"/>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50" name="Google Shape;453;p7">
            <a:extLst>
              <a:ext uri="{FF2B5EF4-FFF2-40B4-BE49-F238E27FC236}">
                <a16:creationId xmlns:a16="http://schemas.microsoft.com/office/drawing/2014/main" id="{BDF3D44A-60EF-41E8-8FBF-354001F6E504}"/>
              </a:ext>
            </a:extLst>
          </p:cNvPr>
          <p:cNvSpPr/>
          <p:nvPr/>
        </p:nvSpPr>
        <p:spPr>
          <a:xfrm flipH="1">
            <a:off x="3352343" y="3384153"/>
            <a:ext cx="32106" cy="396567"/>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51" name="Google Shape;454;p7">
            <a:extLst>
              <a:ext uri="{FF2B5EF4-FFF2-40B4-BE49-F238E27FC236}">
                <a16:creationId xmlns:a16="http://schemas.microsoft.com/office/drawing/2014/main" id="{C861CD05-E695-42DF-8C5A-F1A6A9DB8BD2}"/>
              </a:ext>
            </a:extLst>
          </p:cNvPr>
          <p:cNvSpPr/>
          <p:nvPr/>
        </p:nvSpPr>
        <p:spPr>
          <a:xfrm flipH="1">
            <a:off x="3496112" y="3608195"/>
            <a:ext cx="32106" cy="193261"/>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52" name="Google Shape;455;p7">
            <a:extLst>
              <a:ext uri="{FF2B5EF4-FFF2-40B4-BE49-F238E27FC236}">
                <a16:creationId xmlns:a16="http://schemas.microsoft.com/office/drawing/2014/main" id="{27B39515-3946-47B1-AB16-68DAAEEBB295}"/>
              </a:ext>
            </a:extLst>
          </p:cNvPr>
          <p:cNvSpPr/>
          <p:nvPr/>
        </p:nvSpPr>
        <p:spPr>
          <a:xfrm flipH="1">
            <a:off x="3638430" y="3428962"/>
            <a:ext cx="39271" cy="257633"/>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53" name="Google Shape;456;p7">
            <a:extLst>
              <a:ext uri="{FF2B5EF4-FFF2-40B4-BE49-F238E27FC236}">
                <a16:creationId xmlns:a16="http://schemas.microsoft.com/office/drawing/2014/main" id="{1310C578-1D5D-4933-A341-5C8B120D1E8B}"/>
              </a:ext>
            </a:extLst>
          </p:cNvPr>
          <p:cNvSpPr/>
          <p:nvPr/>
        </p:nvSpPr>
        <p:spPr>
          <a:xfrm flipH="1">
            <a:off x="3787110" y="3605207"/>
            <a:ext cx="37744" cy="168646"/>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54" name="Google Shape;457;p7">
            <a:extLst>
              <a:ext uri="{FF2B5EF4-FFF2-40B4-BE49-F238E27FC236}">
                <a16:creationId xmlns:a16="http://schemas.microsoft.com/office/drawing/2014/main" id="{E03A2528-1D62-4182-BEBE-45B14A3B662F}"/>
              </a:ext>
            </a:extLst>
          </p:cNvPr>
          <p:cNvSpPr/>
          <p:nvPr/>
        </p:nvSpPr>
        <p:spPr>
          <a:xfrm flipH="1">
            <a:off x="3924160" y="3754569"/>
            <a:ext cx="37815" cy="64043"/>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7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55" name="Google Shape;458;p7">
            <a:extLst>
              <a:ext uri="{FF2B5EF4-FFF2-40B4-BE49-F238E27FC236}">
                <a16:creationId xmlns:a16="http://schemas.microsoft.com/office/drawing/2014/main" id="{313F7D39-B7CB-4E44-9C3E-7B0A70762692}"/>
              </a:ext>
            </a:extLst>
          </p:cNvPr>
          <p:cNvSpPr/>
          <p:nvPr/>
        </p:nvSpPr>
        <p:spPr>
          <a:xfrm flipH="1">
            <a:off x="4077576" y="3676901"/>
            <a:ext cx="34896" cy="123716"/>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56" name="Google Shape;459;p7">
            <a:extLst>
              <a:ext uri="{FF2B5EF4-FFF2-40B4-BE49-F238E27FC236}">
                <a16:creationId xmlns:a16="http://schemas.microsoft.com/office/drawing/2014/main" id="{20A69C1D-564B-48DB-8D72-1610CB2B7800}"/>
              </a:ext>
            </a:extLst>
          </p:cNvPr>
          <p:cNvSpPr txBox="1"/>
          <p:nvPr/>
        </p:nvSpPr>
        <p:spPr>
          <a:xfrm>
            <a:off x="1056978" y="1661451"/>
            <a:ext cx="275691" cy="123111"/>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57</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57" name="Google Shape;460;p7">
            <a:extLst>
              <a:ext uri="{FF2B5EF4-FFF2-40B4-BE49-F238E27FC236}">
                <a16:creationId xmlns:a16="http://schemas.microsoft.com/office/drawing/2014/main" id="{D5699111-8973-47A8-B923-C4F7B1BD2AFE}"/>
              </a:ext>
            </a:extLst>
          </p:cNvPr>
          <p:cNvSpPr/>
          <p:nvPr/>
        </p:nvSpPr>
        <p:spPr>
          <a:xfrm>
            <a:off x="3924424" y="3829972"/>
            <a:ext cx="91734" cy="28677"/>
          </a:xfrm>
          <a:prstGeom prst="rect">
            <a:avLst/>
          </a:prstGeom>
          <a:solidFill>
            <a:schemeClr val="accent3">
              <a:lumMod val="20000"/>
              <a:lumOff val="80000"/>
            </a:schemeClr>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7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58" name="Google Shape;461;p7">
            <a:extLst>
              <a:ext uri="{FF2B5EF4-FFF2-40B4-BE49-F238E27FC236}">
                <a16:creationId xmlns:a16="http://schemas.microsoft.com/office/drawing/2014/main" id="{104B0A9B-F951-483B-9DC6-55D9845A569C}"/>
              </a:ext>
            </a:extLst>
          </p:cNvPr>
          <p:cNvSpPr/>
          <p:nvPr/>
        </p:nvSpPr>
        <p:spPr>
          <a:xfrm>
            <a:off x="997160" y="1719272"/>
            <a:ext cx="0" cy="1226754"/>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grpSp>
        <p:nvGrpSpPr>
          <p:cNvPr id="259" name="Google Shape;462;p7">
            <a:extLst>
              <a:ext uri="{FF2B5EF4-FFF2-40B4-BE49-F238E27FC236}">
                <a16:creationId xmlns:a16="http://schemas.microsoft.com/office/drawing/2014/main" id="{2A3C6F3C-25B2-44B8-B273-2C9445900497}"/>
              </a:ext>
            </a:extLst>
          </p:cNvPr>
          <p:cNvGrpSpPr/>
          <p:nvPr/>
        </p:nvGrpSpPr>
        <p:grpSpPr>
          <a:xfrm>
            <a:off x="3556425" y="1692276"/>
            <a:ext cx="631472" cy="490188"/>
            <a:chOff x="4869878" y="2008710"/>
            <a:chExt cx="878270" cy="781502"/>
          </a:xfrm>
        </p:grpSpPr>
        <p:sp>
          <p:nvSpPr>
            <p:cNvPr id="260" name="Google Shape;463;p7">
              <a:extLst>
                <a:ext uri="{FF2B5EF4-FFF2-40B4-BE49-F238E27FC236}">
                  <a16:creationId xmlns:a16="http://schemas.microsoft.com/office/drawing/2014/main" id="{5A950F09-C0D1-48F2-81C2-DC3EDF763E23}"/>
                </a:ext>
              </a:extLst>
            </p:cNvPr>
            <p:cNvSpPr/>
            <p:nvPr/>
          </p:nvSpPr>
          <p:spPr>
            <a:xfrm>
              <a:off x="4869878" y="2047852"/>
              <a:ext cx="133963" cy="137160"/>
            </a:xfrm>
            <a:prstGeom prst="rect">
              <a:avLst/>
            </a:prstGeom>
            <a:solidFill>
              <a:schemeClr val="accent1"/>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61" name="Google Shape;464;p7">
              <a:extLst>
                <a:ext uri="{FF2B5EF4-FFF2-40B4-BE49-F238E27FC236}">
                  <a16:creationId xmlns:a16="http://schemas.microsoft.com/office/drawing/2014/main" id="{7826532D-F313-4D26-BD9C-BCBF23F7BAAA}"/>
                </a:ext>
              </a:extLst>
            </p:cNvPr>
            <p:cNvSpPr/>
            <p:nvPr/>
          </p:nvSpPr>
          <p:spPr>
            <a:xfrm>
              <a:off x="4869878" y="2340465"/>
              <a:ext cx="133963" cy="137160"/>
            </a:xfrm>
            <a:prstGeom prst="rect">
              <a:avLst/>
            </a:prstGeom>
            <a:solidFill>
              <a:schemeClr val="dk2"/>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62" name="Google Shape;465;p7">
              <a:extLst>
                <a:ext uri="{FF2B5EF4-FFF2-40B4-BE49-F238E27FC236}">
                  <a16:creationId xmlns:a16="http://schemas.microsoft.com/office/drawing/2014/main" id="{8EFFA73E-0C21-4426-97FC-F3EA5EAFA5F3}"/>
                </a:ext>
              </a:extLst>
            </p:cNvPr>
            <p:cNvSpPr/>
            <p:nvPr/>
          </p:nvSpPr>
          <p:spPr>
            <a:xfrm>
              <a:off x="4869878" y="2633078"/>
              <a:ext cx="133963" cy="137160"/>
            </a:xfrm>
            <a:prstGeom prst="rect">
              <a:avLst/>
            </a:prstGeom>
            <a:solidFill>
              <a:schemeClr val="accent3">
                <a:lumMod val="20000"/>
                <a:lumOff val="80000"/>
              </a:schemeClr>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63" name="Google Shape;466;p7">
              <a:extLst>
                <a:ext uri="{FF2B5EF4-FFF2-40B4-BE49-F238E27FC236}">
                  <a16:creationId xmlns:a16="http://schemas.microsoft.com/office/drawing/2014/main" id="{6B9912FA-236C-4577-9776-A8C93D12AC40}"/>
                </a:ext>
              </a:extLst>
            </p:cNvPr>
            <p:cNvSpPr txBox="1"/>
            <p:nvPr/>
          </p:nvSpPr>
          <p:spPr>
            <a:xfrm>
              <a:off x="5130991" y="2008710"/>
              <a:ext cx="617157" cy="19627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CTLA-4</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64" name="Google Shape;467;p7">
              <a:extLst>
                <a:ext uri="{FF2B5EF4-FFF2-40B4-BE49-F238E27FC236}">
                  <a16:creationId xmlns:a16="http://schemas.microsoft.com/office/drawing/2014/main" id="{EE726002-4625-4375-8E13-D263E6064222}"/>
                </a:ext>
              </a:extLst>
            </p:cNvPr>
            <p:cNvSpPr txBox="1"/>
            <p:nvPr/>
          </p:nvSpPr>
          <p:spPr>
            <a:xfrm>
              <a:off x="5130991" y="2301323"/>
              <a:ext cx="408766" cy="19627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PD-1</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65" name="Google Shape;468;p7">
              <a:extLst>
                <a:ext uri="{FF2B5EF4-FFF2-40B4-BE49-F238E27FC236}">
                  <a16:creationId xmlns:a16="http://schemas.microsoft.com/office/drawing/2014/main" id="{38D6E694-95B0-4D76-92F7-51537CA4EF8D}"/>
                </a:ext>
              </a:extLst>
            </p:cNvPr>
            <p:cNvSpPr txBox="1"/>
            <p:nvPr/>
          </p:nvSpPr>
          <p:spPr>
            <a:xfrm>
              <a:off x="5130991" y="2593937"/>
              <a:ext cx="508152" cy="196275"/>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PD-L1</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grpSp>
      <p:grpSp>
        <p:nvGrpSpPr>
          <p:cNvPr id="266" name="Google Shape;469;p7">
            <a:extLst>
              <a:ext uri="{FF2B5EF4-FFF2-40B4-BE49-F238E27FC236}">
                <a16:creationId xmlns:a16="http://schemas.microsoft.com/office/drawing/2014/main" id="{592FBFAF-3839-4556-9520-BB48536C84B0}"/>
              </a:ext>
            </a:extLst>
          </p:cNvPr>
          <p:cNvGrpSpPr/>
          <p:nvPr/>
        </p:nvGrpSpPr>
        <p:grpSpPr>
          <a:xfrm>
            <a:off x="951260" y="1785694"/>
            <a:ext cx="86003" cy="74864"/>
            <a:chOff x="1246534" y="2134785"/>
            <a:chExt cx="119616" cy="119355"/>
          </a:xfrm>
        </p:grpSpPr>
        <p:sp>
          <p:nvSpPr>
            <p:cNvPr id="267" name="Google Shape;470;p7">
              <a:extLst>
                <a:ext uri="{FF2B5EF4-FFF2-40B4-BE49-F238E27FC236}">
                  <a16:creationId xmlns:a16="http://schemas.microsoft.com/office/drawing/2014/main" id="{C469CE58-340F-4D2E-86FB-BD62A72E6BE6}"/>
                </a:ext>
              </a:extLst>
            </p:cNvPr>
            <p:cNvSpPr/>
            <p:nvPr/>
          </p:nvSpPr>
          <p:spPr>
            <a:xfrm rot="-2376886">
              <a:off x="1254370" y="2175239"/>
              <a:ext cx="101588" cy="45719"/>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cxnSp>
          <p:nvCxnSpPr>
            <p:cNvPr id="268" name="Google Shape;471;p7">
              <a:extLst>
                <a:ext uri="{FF2B5EF4-FFF2-40B4-BE49-F238E27FC236}">
                  <a16:creationId xmlns:a16="http://schemas.microsoft.com/office/drawing/2014/main" id="{8C2C4823-AED5-478D-AF1B-DCD7974DECC5}"/>
                </a:ext>
              </a:extLst>
            </p:cNvPr>
            <p:cNvCxnSpPr/>
            <p:nvPr/>
          </p:nvCxnSpPr>
          <p:spPr>
            <a:xfrm rot="10800000" flipH="1">
              <a:off x="1246534" y="2134785"/>
              <a:ext cx="99744" cy="76231"/>
            </a:xfrm>
            <a:prstGeom prst="straightConnector1">
              <a:avLst/>
            </a:prstGeom>
            <a:noFill/>
            <a:ln w="9525" cap="flat" cmpd="sng">
              <a:solidFill>
                <a:schemeClr val="dk2"/>
              </a:solidFill>
              <a:prstDash val="solid"/>
              <a:round/>
              <a:headEnd type="none" w="sm" len="sm"/>
              <a:tailEnd type="none" w="sm" len="sm"/>
            </a:ln>
          </p:spPr>
        </p:cxnSp>
        <p:cxnSp>
          <p:nvCxnSpPr>
            <p:cNvPr id="269" name="Google Shape;472;p7">
              <a:extLst>
                <a:ext uri="{FF2B5EF4-FFF2-40B4-BE49-F238E27FC236}">
                  <a16:creationId xmlns:a16="http://schemas.microsoft.com/office/drawing/2014/main" id="{12FC1E81-7589-4078-BDDB-08E99EC15EEB}"/>
                </a:ext>
              </a:extLst>
            </p:cNvPr>
            <p:cNvCxnSpPr/>
            <p:nvPr/>
          </p:nvCxnSpPr>
          <p:spPr>
            <a:xfrm rot="10800000" flipH="1">
              <a:off x="1266406" y="2177909"/>
              <a:ext cx="99744" cy="76231"/>
            </a:xfrm>
            <a:prstGeom prst="straightConnector1">
              <a:avLst/>
            </a:prstGeom>
            <a:noFill/>
            <a:ln w="9525" cap="flat" cmpd="sng">
              <a:solidFill>
                <a:schemeClr val="dk2"/>
              </a:solidFill>
              <a:prstDash val="solid"/>
              <a:round/>
              <a:headEnd type="none" w="sm" len="sm"/>
              <a:tailEnd type="none" w="sm" len="sm"/>
            </a:ln>
          </p:spPr>
        </p:cxnSp>
      </p:grpSp>
      <p:sp>
        <p:nvSpPr>
          <p:cNvPr id="270" name="Google Shape;473;p7">
            <a:extLst>
              <a:ext uri="{FF2B5EF4-FFF2-40B4-BE49-F238E27FC236}">
                <a16:creationId xmlns:a16="http://schemas.microsoft.com/office/drawing/2014/main" id="{1DBEB642-3C02-4DD8-B894-5B9D52E67869}"/>
              </a:ext>
            </a:extLst>
          </p:cNvPr>
          <p:cNvSpPr/>
          <p:nvPr/>
        </p:nvSpPr>
        <p:spPr>
          <a:xfrm>
            <a:off x="871091" y="1826016"/>
            <a:ext cx="3360441" cy="2028128"/>
          </a:xfrm>
          <a:custGeom>
            <a:avLst/>
            <a:gdLst/>
            <a:ahLst/>
            <a:cxnLst/>
            <a:rect l="l" t="t" r="r" b="b"/>
            <a:pathLst>
              <a:path w="4785360" h="3238500" extrusionOk="0">
                <a:moveTo>
                  <a:pt x="0" y="0"/>
                </a:moveTo>
                <a:lnTo>
                  <a:pt x="0" y="3238500"/>
                </a:lnTo>
                <a:lnTo>
                  <a:pt x="4785360" y="3238500"/>
                </a:lnTo>
              </a:path>
            </a:pathLst>
          </a:custGeom>
          <a:noFill/>
          <a:ln w="9525" cap="flat" cmpd="sng">
            <a:solidFill>
              <a:srgbClr val="868686"/>
            </a:solidFill>
            <a:prstDash val="solid"/>
            <a:round/>
            <a:headEnd type="none" w="sm" len="sm"/>
            <a:tailEnd type="none"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dirty="0">
              <a:ln>
                <a:noFill/>
              </a:ln>
              <a:solidFill>
                <a:srgbClr val="FFFFFF"/>
              </a:solidFill>
              <a:effectLst/>
              <a:uLnTx/>
              <a:uFillTx/>
              <a:latin typeface="Gene Sans Light" panose="00000400000000000000" pitchFamily="50" charset="0"/>
              <a:cs typeface="Arial"/>
              <a:sym typeface="Arial"/>
            </a:endParaRPr>
          </a:p>
        </p:txBody>
      </p:sp>
      <p:sp>
        <p:nvSpPr>
          <p:cNvPr id="272" name="Google Shape;306;p7">
            <a:extLst>
              <a:ext uri="{FF2B5EF4-FFF2-40B4-BE49-F238E27FC236}">
                <a16:creationId xmlns:a16="http://schemas.microsoft.com/office/drawing/2014/main" id="{F8EDDD97-7F36-408D-B47F-7EF9BF49E893}"/>
              </a:ext>
            </a:extLst>
          </p:cNvPr>
          <p:cNvSpPr/>
          <p:nvPr/>
        </p:nvSpPr>
        <p:spPr>
          <a:xfrm>
            <a:off x="5478737" y="1768133"/>
            <a:ext cx="3170504" cy="2076832"/>
          </a:xfrm>
          <a:custGeom>
            <a:avLst/>
            <a:gdLst/>
            <a:ahLst/>
            <a:cxnLst/>
            <a:rect l="l" t="t" r="r" b="b"/>
            <a:pathLst>
              <a:path w="4785360" h="3238500" extrusionOk="0">
                <a:moveTo>
                  <a:pt x="0" y="0"/>
                </a:moveTo>
                <a:lnTo>
                  <a:pt x="0" y="3238500"/>
                </a:lnTo>
                <a:lnTo>
                  <a:pt x="4785360" y="3238500"/>
                </a:lnTo>
              </a:path>
            </a:pathLst>
          </a:custGeom>
          <a:noFill/>
          <a:ln w="9525" cap="flat" cmpd="sng">
            <a:solidFill>
              <a:srgbClr val="868686"/>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73" name="Google Shape;310;p7">
            <a:extLst>
              <a:ext uri="{FF2B5EF4-FFF2-40B4-BE49-F238E27FC236}">
                <a16:creationId xmlns:a16="http://schemas.microsoft.com/office/drawing/2014/main" id="{2FCA80EF-E519-4592-9B8A-9B46DBBF6E14}"/>
              </a:ext>
            </a:extLst>
          </p:cNvPr>
          <p:cNvSpPr/>
          <p:nvPr/>
        </p:nvSpPr>
        <p:spPr>
          <a:xfrm>
            <a:off x="5551894" y="3571698"/>
            <a:ext cx="86550" cy="274026"/>
          </a:xfrm>
          <a:prstGeom prst="rect">
            <a:avLst/>
          </a:prstGeom>
          <a:solidFill>
            <a:schemeClr val="accent1"/>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74" name="Google Shape;311;p7">
            <a:extLst>
              <a:ext uri="{FF2B5EF4-FFF2-40B4-BE49-F238E27FC236}">
                <a16:creationId xmlns:a16="http://schemas.microsoft.com/office/drawing/2014/main" id="{AE493EBC-5CE6-4468-A91F-479178281A6D}"/>
              </a:ext>
            </a:extLst>
          </p:cNvPr>
          <p:cNvSpPr/>
          <p:nvPr/>
        </p:nvSpPr>
        <p:spPr>
          <a:xfrm>
            <a:off x="5959344" y="3707821"/>
            <a:ext cx="86550" cy="137902"/>
          </a:xfrm>
          <a:prstGeom prst="rect">
            <a:avLst/>
          </a:prstGeom>
          <a:solidFill>
            <a:schemeClr val="accent1"/>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75" name="Google Shape;312;p7">
            <a:extLst>
              <a:ext uri="{FF2B5EF4-FFF2-40B4-BE49-F238E27FC236}">
                <a16:creationId xmlns:a16="http://schemas.microsoft.com/office/drawing/2014/main" id="{F217167F-EFE4-4ED3-A52A-D2C6D2408E51}"/>
              </a:ext>
            </a:extLst>
          </p:cNvPr>
          <p:cNvSpPr txBox="1"/>
          <p:nvPr/>
        </p:nvSpPr>
        <p:spPr>
          <a:xfrm>
            <a:off x="5200998" y="1696685"/>
            <a:ext cx="254044" cy="105433"/>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15</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76" name="Google Shape;313;p7">
            <a:extLst>
              <a:ext uri="{FF2B5EF4-FFF2-40B4-BE49-F238E27FC236}">
                <a16:creationId xmlns:a16="http://schemas.microsoft.com/office/drawing/2014/main" id="{153A065C-F340-4AA6-A2A6-D026F7C1B5AD}"/>
              </a:ext>
            </a:extLst>
          </p:cNvPr>
          <p:cNvSpPr txBox="1"/>
          <p:nvPr/>
        </p:nvSpPr>
        <p:spPr>
          <a:xfrm>
            <a:off x="5248770" y="3092837"/>
            <a:ext cx="200542" cy="105433"/>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5</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77" name="Google Shape;314;p7">
            <a:extLst>
              <a:ext uri="{FF2B5EF4-FFF2-40B4-BE49-F238E27FC236}">
                <a16:creationId xmlns:a16="http://schemas.microsoft.com/office/drawing/2014/main" id="{C5166A3E-3687-41B1-815C-6258B66B3ACD}"/>
              </a:ext>
            </a:extLst>
          </p:cNvPr>
          <p:cNvSpPr txBox="1"/>
          <p:nvPr/>
        </p:nvSpPr>
        <p:spPr>
          <a:xfrm>
            <a:off x="5218184" y="2405899"/>
            <a:ext cx="254044" cy="105433"/>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10</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78" name="Google Shape;315;p7">
            <a:extLst>
              <a:ext uri="{FF2B5EF4-FFF2-40B4-BE49-F238E27FC236}">
                <a16:creationId xmlns:a16="http://schemas.microsoft.com/office/drawing/2014/main" id="{8CD1384D-4615-49BE-9BB3-CBD01AA95A5A}"/>
              </a:ext>
            </a:extLst>
          </p:cNvPr>
          <p:cNvSpPr txBox="1"/>
          <p:nvPr/>
        </p:nvSpPr>
        <p:spPr>
          <a:xfrm>
            <a:off x="5266845" y="3747603"/>
            <a:ext cx="188196" cy="105433"/>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0</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79" name="Google Shape;316;p7">
            <a:extLst>
              <a:ext uri="{FF2B5EF4-FFF2-40B4-BE49-F238E27FC236}">
                <a16:creationId xmlns:a16="http://schemas.microsoft.com/office/drawing/2014/main" id="{3879D53A-2AE4-443D-8649-6E4991CEA91F}"/>
              </a:ext>
            </a:extLst>
          </p:cNvPr>
          <p:cNvSpPr txBox="1"/>
          <p:nvPr/>
        </p:nvSpPr>
        <p:spPr>
          <a:xfrm rot="16200000">
            <a:off x="4669665" y="2750920"/>
            <a:ext cx="874347" cy="111257"/>
          </a:xfrm>
          <a:prstGeom prst="rect">
            <a:avLst/>
          </a:prstGeom>
          <a:noFill/>
          <a:ln>
            <a:noFill/>
          </a:ln>
        </p:spPr>
        <p:txBody>
          <a:bodyPr spcFirstLastPara="1" wrap="square" lIns="0" tIns="0" rIns="0" bIns="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Patients (%)</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80" name="Google Shape;317;p7">
            <a:extLst>
              <a:ext uri="{FF2B5EF4-FFF2-40B4-BE49-F238E27FC236}">
                <a16:creationId xmlns:a16="http://schemas.microsoft.com/office/drawing/2014/main" id="{0F7E9BB9-D88E-4F6E-937A-82FDF0C1A58F}"/>
              </a:ext>
            </a:extLst>
          </p:cNvPr>
          <p:cNvSpPr txBox="1"/>
          <p:nvPr/>
        </p:nvSpPr>
        <p:spPr>
          <a:xfrm rot="16200000">
            <a:off x="5471524" y="3938994"/>
            <a:ext cx="232110" cy="137794"/>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Skin</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81" name="Google Shape;318;p7">
            <a:extLst>
              <a:ext uri="{FF2B5EF4-FFF2-40B4-BE49-F238E27FC236}">
                <a16:creationId xmlns:a16="http://schemas.microsoft.com/office/drawing/2014/main" id="{4F0C42F0-C4FF-4302-B968-C475BD973BCD}"/>
              </a:ext>
            </a:extLst>
          </p:cNvPr>
          <p:cNvSpPr txBox="1"/>
          <p:nvPr/>
        </p:nvSpPr>
        <p:spPr>
          <a:xfrm rot="16200000">
            <a:off x="5664983" y="3886581"/>
            <a:ext cx="127287" cy="137796"/>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GI</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82" name="Google Shape;319;p7">
            <a:extLst>
              <a:ext uri="{FF2B5EF4-FFF2-40B4-BE49-F238E27FC236}">
                <a16:creationId xmlns:a16="http://schemas.microsoft.com/office/drawing/2014/main" id="{D0456125-CD9D-4068-9320-89B7A7D76CA0}"/>
              </a:ext>
            </a:extLst>
          </p:cNvPr>
          <p:cNvSpPr txBox="1"/>
          <p:nvPr/>
        </p:nvSpPr>
        <p:spPr>
          <a:xfrm rot="16200000">
            <a:off x="5733650" y="3958960"/>
            <a:ext cx="272045" cy="137796"/>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Pulm</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83" name="Google Shape;320;p7">
            <a:extLst>
              <a:ext uri="{FF2B5EF4-FFF2-40B4-BE49-F238E27FC236}">
                <a16:creationId xmlns:a16="http://schemas.microsoft.com/office/drawing/2014/main" id="{188C9051-8CEF-442D-A1E4-AF65071DD552}"/>
              </a:ext>
            </a:extLst>
          </p:cNvPr>
          <p:cNvSpPr txBox="1"/>
          <p:nvPr/>
        </p:nvSpPr>
        <p:spPr>
          <a:xfrm rot="16200000">
            <a:off x="5755522" y="4078136"/>
            <a:ext cx="510394" cy="137794"/>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Arthralgia</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84" name="Google Shape;321;p7">
            <a:extLst>
              <a:ext uri="{FF2B5EF4-FFF2-40B4-BE49-F238E27FC236}">
                <a16:creationId xmlns:a16="http://schemas.microsoft.com/office/drawing/2014/main" id="{3F1ABAA3-731D-4294-8807-788C81257722}"/>
              </a:ext>
            </a:extLst>
          </p:cNvPr>
          <p:cNvSpPr txBox="1"/>
          <p:nvPr/>
        </p:nvSpPr>
        <p:spPr>
          <a:xfrm rot="16200000">
            <a:off x="5982672" y="3992030"/>
            <a:ext cx="338185" cy="137796"/>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Endoc</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85" name="Google Shape;322;p7">
            <a:extLst>
              <a:ext uri="{FF2B5EF4-FFF2-40B4-BE49-F238E27FC236}">
                <a16:creationId xmlns:a16="http://schemas.microsoft.com/office/drawing/2014/main" id="{E865B7A7-A363-4A2F-865C-266683558D92}"/>
              </a:ext>
            </a:extLst>
          </p:cNvPr>
          <p:cNvSpPr txBox="1"/>
          <p:nvPr/>
        </p:nvSpPr>
        <p:spPr>
          <a:xfrm rot="16200000">
            <a:off x="6090648" y="4025100"/>
            <a:ext cx="404324" cy="137796"/>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Hepatic</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86" name="Google Shape;323;p7">
            <a:extLst>
              <a:ext uri="{FF2B5EF4-FFF2-40B4-BE49-F238E27FC236}">
                <a16:creationId xmlns:a16="http://schemas.microsoft.com/office/drawing/2014/main" id="{F29FB340-344E-4BBB-9B27-BA78D3B7EF1C}"/>
              </a:ext>
            </a:extLst>
          </p:cNvPr>
          <p:cNvSpPr txBox="1"/>
          <p:nvPr/>
        </p:nvSpPr>
        <p:spPr>
          <a:xfrm rot="16200000">
            <a:off x="6062605" y="4194190"/>
            <a:ext cx="742507" cy="137798"/>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Neurol or ocul</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87" name="Google Shape;324;p7">
            <a:extLst>
              <a:ext uri="{FF2B5EF4-FFF2-40B4-BE49-F238E27FC236}">
                <a16:creationId xmlns:a16="http://schemas.microsoft.com/office/drawing/2014/main" id="{17F271FE-CEB4-404F-95BB-15C7BD0AF32F}"/>
              </a:ext>
            </a:extLst>
          </p:cNvPr>
          <p:cNvSpPr txBox="1"/>
          <p:nvPr/>
        </p:nvSpPr>
        <p:spPr>
          <a:xfrm rot="16200000">
            <a:off x="6541676" y="3938994"/>
            <a:ext cx="232110" cy="137794"/>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Skin</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88" name="Google Shape;325;p7">
            <a:extLst>
              <a:ext uri="{FF2B5EF4-FFF2-40B4-BE49-F238E27FC236}">
                <a16:creationId xmlns:a16="http://schemas.microsoft.com/office/drawing/2014/main" id="{A4BE9AAF-C207-4C25-9EF5-135A0851B5D8}"/>
              </a:ext>
            </a:extLst>
          </p:cNvPr>
          <p:cNvSpPr txBox="1"/>
          <p:nvPr/>
        </p:nvSpPr>
        <p:spPr>
          <a:xfrm rot="16200000">
            <a:off x="6731692" y="3886581"/>
            <a:ext cx="127287" cy="137796"/>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GI</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89" name="Google Shape;326;p7">
            <a:extLst>
              <a:ext uri="{FF2B5EF4-FFF2-40B4-BE49-F238E27FC236}">
                <a16:creationId xmlns:a16="http://schemas.microsoft.com/office/drawing/2014/main" id="{F149676D-365F-4DF9-A0A6-C90F8BAEC4D8}"/>
              </a:ext>
            </a:extLst>
          </p:cNvPr>
          <p:cNvSpPr txBox="1"/>
          <p:nvPr/>
        </p:nvSpPr>
        <p:spPr>
          <a:xfrm rot="16200000">
            <a:off x="6796918" y="3958960"/>
            <a:ext cx="272045" cy="137796"/>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Pulm</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90" name="Google Shape;327;p7">
            <a:extLst>
              <a:ext uri="{FF2B5EF4-FFF2-40B4-BE49-F238E27FC236}">
                <a16:creationId xmlns:a16="http://schemas.microsoft.com/office/drawing/2014/main" id="{AB56FDF5-E9B4-4777-832C-CAA9BBCEF6A3}"/>
              </a:ext>
            </a:extLst>
          </p:cNvPr>
          <p:cNvSpPr txBox="1"/>
          <p:nvPr/>
        </p:nvSpPr>
        <p:spPr>
          <a:xfrm rot="16200000">
            <a:off x="6815345" y="4078136"/>
            <a:ext cx="510394" cy="137794"/>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Arthralgia</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91" name="Google Shape;328;p7">
            <a:extLst>
              <a:ext uri="{FF2B5EF4-FFF2-40B4-BE49-F238E27FC236}">
                <a16:creationId xmlns:a16="http://schemas.microsoft.com/office/drawing/2014/main" id="{C6FBE100-59A4-4306-8A5B-23C79B097DD3}"/>
              </a:ext>
            </a:extLst>
          </p:cNvPr>
          <p:cNvSpPr txBox="1"/>
          <p:nvPr/>
        </p:nvSpPr>
        <p:spPr>
          <a:xfrm rot="16200000">
            <a:off x="7039054" y="3992030"/>
            <a:ext cx="338185" cy="137796"/>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Endoc</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92" name="Google Shape;329;p7">
            <a:extLst>
              <a:ext uri="{FF2B5EF4-FFF2-40B4-BE49-F238E27FC236}">
                <a16:creationId xmlns:a16="http://schemas.microsoft.com/office/drawing/2014/main" id="{A85D7A0D-29E4-40F5-924C-34F88F95E9B3}"/>
              </a:ext>
            </a:extLst>
          </p:cNvPr>
          <p:cNvSpPr txBox="1"/>
          <p:nvPr/>
        </p:nvSpPr>
        <p:spPr>
          <a:xfrm rot="16200000">
            <a:off x="7143587" y="4025100"/>
            <a:ext cx="404324" cy="137796"/>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Hepatic</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93" name="Google Shape;330;p7">
            <a:extLst>
              <a:ext uri="{FF2B5EF4-FFF2-40B4-BE49-F238E27FC236}">
                <a16:creationId xmlns:a16="http://schemas.microsoft.com/office/drawing/2014/main" id="{B5A12720-2DB2-41C6-9F02-76D7EDF23BA2}"/>
              </a:ext>
            </a:extLst>
          </p:cNvPr>
          <p:cNvSpPr txBox="1"/>
          <p:nvPr/>
        </p:nvSpPr>
        <p:spPr>
          <a:xfrm rot="16200000">
            <a:off x="7112099" y="4194192"/>
            <a:ext cx="742507" cy="137795"/>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Neurol or </a:t>
            </a:r>
            <a:r>
              <a:rPr kumimoji="0" lang="en-US" sz="8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ocul</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94" name="Google Shape;331;p7">
            <a:extLst>
              <a:ext uri="{FF2B5EF4-FFF2-40B4-BE49-F238E27FC236}">
                <a16:creationId xmlns:a16="http://schemas.microsoft.com/office/drawing/2014/main" id="{93362BB5-6DEA-494D-82F4-B69FBEEFEDC3}"/>
              </a:ext>
            </a:extLst>
          </p:cNvPr>
          <p:cNvSpPr txBox="1"/>
          <p:nvPr/>
        </p:nvSpPr>
        <p:spPr>
          <a:xfrm rot="16200000">
            <a:off x="7591680" y="3938994"/>
            <a:ext cx="232110" cy="137794"/>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Skin</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95" name="Google Shape;332;p7">
            <a:extLst>
              <a:ext uri="{FF2B5EF4-FFF2-40B4-BE49-F238E27FC236}">
                <a16:creationId xmlns:a16="http://schemas.microsoft.com/office/drawing/2014/main" id="{1C8CA1DB-6A89-41C4-9490-96F1C2CF565F}"/>
              </a:ext>
            </a:extLst>
          </p:cNvPr>
          <p:cNvSpPr txBox="1"/>
          <p:nvPr/>
        </p:nvSpPr>
        <p:spPr>
          <a:xfrm rot="16200000">
            <a:off x="7780692" y="3886581"/>
            <a:ext cx="127287" cy="137796"/>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GI</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96" name="Google Shape;333;p7">
            <a:extLst>
              <a:ext uri="{FF2B5EF4-FFF2-40B4-BE49-F238E27FC236}">
                <a16:creationId xmlns:a16="http://schemas.microsoft.com/office/drawing/2014/main" id="{B5417320-CC75-425C-9C47-EBE76C45CCF3}"/>
              </a:ext>
            </a:extLst>
          </p:cNvPr>
          <p:cNvSpPr txBox="1"/>
          <p:nvPr/>
        </p:nvSpPr>
        <p:spPr>
          <a:xfrm rot="16200000">
            <a:off x="7844911" y="3958960"/>
            <a:ext cx="272045" cy="137796"/>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Pulm</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97" name="Google Shape;334;p7">
            <a:extLst>
              <a:ext uri="{FF2B5EF4-FFF2-40B4-BE49-F238E27FC236}">
                <a16:creationId xmlns:a16="http://schemas.microsoft.com/office/drawing/2014/main" id="{3CB5891F-28BD-4CAB-BF44-4F692BAE31E5}"/>
              </a:ext>
            </a:extLst>
          </p:cNvPr>
          <p:cNvSpPr txBox="1"/>
          <p:nvPr/>
        </p:nvSpPr>
        <p:spPr>
          <a:xfrm rot="16200000">
            <a:off x="7862336" y="4078136"/>
            <a:ext cx="510394" cy="137794"/>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Arthralgia</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98" name="Google Shape;335;p7">
            <a:extLst>
              <a:ext uri="{FF2B5EF4-FFF2-40B4-BE49-F238E27FC236}">
                <a16:creationId xmlns:a16="http://schemas.microsoft.com/office/drawing/2014/main" id="{E4B1CED8-AC4E-4DD6-A472-90BD2E28C96F}"/>
              </a:ext>
            </a:extLst>
          </p:cNvPr>
          <p:cNvSpPr txBox="1"/>
          <p:nvPr/>
        </p:nvSpPr>
        <p:spPr>
          <a:xfrm rot="16200000">
            <a:off x="8085041" y="3992030"/>
            <a:ext cx="338185" cy="137796"/>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Endoc</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99" name="Google Shape;336;p7">
            <a:extLst>
              <a:ext uri="{FF2B5EF4-FFF2-40B4-BE49-F238E27FC236}">
                <a16:creationId xmlns:a16="http://schemas.microsoft.com/office/drawing/2014/main" id="{8C7D4209-D5F4-471D-BDD9-C50241BA02BB}"/>
              </a:ext>
            </a:extLst>
          </p:cNvPr>
          <p:cNvSpPr txBox="1"/>
          <p:nvPr/>
        </p:nvSpPr>
        <p:spPr>
          <a:xfrm rot="16200000">
            <a:off x="8188569" y="4025099"/>
            <a:ext cx="404324" cy="137796"/>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Hepatic</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300" name="Google Shape;337;p7">
            <a:extLst>
              <a:ext uri="{FF2B5EF4-FFF2-40B4-BE49-F238E27FC236}">
                <a16:creationId xmlns:a16="http://schemas.microsoft.com/office/drawing/2014/main" id="{9835DBFB-5148-42AA-A8EF-84680F71B983}"/>
              </a:ext>
            </a:extLst>
          </p:cNvPr>
          <p:cNvSpPr txBox="1"/>
          <p:nvPr/>
        </p:nvSpPr>
        <p:spPr>
          <a:xfrm rot="16200000">
            <a:off x="8156076" y="4194190"/>
            <a:ext cx="742507" cy="137798"/>
          </a:xfrm>
          <a:prstGeom prst="rect">
            <a:avLst/>
          </a:prstGeom>
          <a:noFill/>
          <a:ln>
            <a:noFill/>
          </a:ln>
        </p:spPr>
        <p:txBody>
          <a:bodyPr spcFirstLastPara="1" wrap="square" lIns="0" tIns="0" rIns="0" bIns="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Neurol or </a:t>
            </a:r>
            <a:r>
              <a:rPr kumimoji="0" lang="en-US" sz="8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ocul</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301" name="Google Shape;339;p7">
            <a:extLst>
              <a:ext uri="{FF2B5EF4-FFF2-40B4-BE49-F238E27FC236}">
                <a16:creationId xmlns:a16="http://schemas.microsoft.com/office/drawing/2014/main" id="{26FF5040-F1D6-40A9-86FF-CA8767C603C9}"/>
              </a:ext>
            </a:extLst>
          </p:cNvPr>
          <p:cNvSpPr/>
          <p:nvPr/>
        </p:nvSpPr>
        <p:spPr>
          <a:xfrm>
            <a:off x="5685043" y="2360349"/>
            <a:ext cx="86550" cy="1485375"/>
          </a:xfrm>
          <a:prstGeom prst="rect">
            <a:avLst/>
          </a:prstGeom>
          <a:solidFill>
            <a:schemeClr val="accent1"/>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302" name="Google Shape;340;p7">
            <a:extLst>
              <a:ext uri="{FF2B5EF4-FFF2-40B4-BE49-F238E27FC236}">
                <a16:creationId xmlns:a16="http://schemas.microsoft.com/office/drawing/2014/main" id="{7D35B78C-74CE-4CB5-8DDC-D0182085FED0}"/>
              </a:ext>
            </a:extLst>
          </p:cNvPr>
          <p:cNvSpPr/>
          <p:nvPr/>
        </p:nvSpPr>
        <p:spPr>
          <a:xfrm>
            <a:off x="5823549" y="3570168"/>
            <a:ext cx="86550" cy="275556"/>
          </a:xfrm>
          <a:prstGeom prst="rect">
            <a:avLst/>
          </a:prstGeom>
          <a:solidFill>
            <a:schemeClr val="accent1"/>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303" name="Google Shape;341;p7">
            <a:extLst>
              <a:ext uri="{FF2B5EF4-FFF2-40B4-BE49-F238E27FC236}">
                <a16:creationId xmlns:a16="http://schemas.microsoft.com/office/drawing/2014/main" id="{9AD49BCE-51D2-45E3-87FF-BFA28E02BFDE}"/>
              </a:ext>
            </a:extLst>
          </p:cNvPr>
          <p:cNvSpPr/>
          <p:nvPr/>
        </p:nvSpPr>
        <p:spPr>
          <a:xfrm>
            <a:off x="6098183" y="3305568"/>
            <a:ext cx="86550" cy="540155"/>
          </a:xfrm>
          <a:prstGeom prst="rect">
            <a:avLst/>
          </a:prstGeom>
          <a:solidFill>
            <a:schemeClr val="accent1"/>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304" name="Google Shape;342;p7">
            <a:extLst>
              <a:ext uri="{FF2B5EF4-FFF2-40B4-BE49-F238E27FC236}">
                <a16:creationId xmlns:a16="http://schemas.microsoft.com/office/drawing/2014/main" id="{B7949FB7-2D24-47C0-B8B6-369CF68B4F65}"/>
              </a:ext>
            </a:extLst>
          </p:cNvPr>
          <p:cNvSpPr/>
          <p:nvPr/>
        </p:nvSpPr>
        <p:spPr>
          <a:xfrm>
            <a:off x="6233618" y="3707821"/>
            <a:ext cx="86550" cy="137902"/>
          </a:xfrm>
          <a:prstGeom prst="rect">
            <a:avLst/>
          </a:prstGeom>
          <a:solidFill>
            <a:schemeClr val="accent1"/>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305" name="Google Shape;343;p7">
            <a:extLst>
              <a:ext uri="{FF2B5EF4-FFF2-40B4-BE49-F238E27FC236}">
                <a16:creationId xmlns:a16="http://schemas.microsoft.com/office/drawing/2014/main" id="{F59B9E86-4DF2-4A8B-A2B9-B81489A7D1AA}"/>
              </a:ext>
            </a:extLst>
          </p:cNvPr>
          <p:cNvSpPr/>
          <p:nvPr/>
        </p:nvSpPr>
        <p:spPr>
          <a:xfrm>
            <a:off x="6375610" y="3707821"/>
            <a:ext cx="86550" cy="137902"/>
          </a:xfrm>
          <a:prstGeom prst="rect">
            <a:avLst/>
          </a:prstGeom>
          <a:solidFill>
            <a:schemeClr val="accent1"/>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486" name="Google Shape;344;p7">
            <a:extLst>
              <a:ext uri="{FF2B5EF4-FFF2-40B4-BE49-F238E27FC236}">
                <a16:creationId xmlns:a16="http://schemas.microsoft.com/office/drawing/2014/main" id="{6F04E382-0735-4F0E-A756-41F96B0576F1}"/>
              </a:ext>
            </a:extLst>
          </p:cNvPr>
          <p:cNvSpPr/>
          <p:nvPr/>
        </p:nvSpPr>
        <p:spPr>
          <a:xfrm>
            <a:off x="6606158" y="3787355"/>
            <a:ext cx="86550" cy="58369"/>
          </a:xfrm>
          <a:prstGeom prst="rect">
            <a:avLst/>
          </a:prstGeom>
          <a:solidFill>
            <a:schemeClr val="dk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487" name="Google Shape;345;p7">
            <a:extLst>
              <a:ext uri="{FF2B5EF4-FFF2-40B4-BE49-F238E27FC236}">
                <a16:creationId xmlns:a16="http://schemas.microsoft.com/office/drawing/2014/main" id="{4A5EC13B-FE54-40BF-87A0-3209DCDEF5F9}"/>
              </a:ext>
            </a:extLst>
          </p:cNvPr>
          <p:cNvSpPr/>
          <p:nvPr/>
        </p:nvSpPr>
        <p:spPr>
          <a:xfrm>
            <a:off x="6743167" y="3706294"/>
            <a:ext cx="86550" cy="139431"/>
          </a:xfrm>
          <a:prstGeom prst="rect">
            <a:avLst/>
          </a:prstGeom>
          <a:solidFill>
            <a:schemeClr val="dk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488" name="Google Shape;346;p7">
            <a:extLst>
              <a:ext uri="{FF2B5EF4-FFF2-40B4-BE49-F238E27FC236}">
                <a16:creationId xmlns:a16="http://schemas.microsoft.com/office/drawing/2014/main" id="{60629A20-92D5-4E55-9FB2-9E40BAB06A18}"/>
              </a:ext>
            </a:extLst>
          </p:cNvPr>
          <p:cNvSpPr/>
          <p:nvPr/>
        </p:nvSpPr>
        <p:spPr>
          <a:xfrm>
            <a:off x="6881081" y="3787355"/>
            <a:ext cx="86550" cy="58369"/>
          </a:xfrm>
          <a:prstGeom prst="rect">
            <a:avLst/>
          </a:prstGeom>
          <a:solidFill>
            <a:schemeClr val="dk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489" name="Google Shape;347;p7">
            <a:extLst>
              <a:ext uri="{FF2B5EF4-FFF2-40B4-BE49-F238E27FC236}">
                <a16:creationId xmlns:a16="http://schemas.microsoft.com/office/drawing/2014/main" id="{C72B6A7B-F77A-4522-9CA4-64D33B22BD46}"/>
              </a:ext>
            </a:extLst>
          </p:cNvPr>
          <p:cNvSpPr/>
          <p:nvPr/>
        </p:nvSpPr>
        <p:spPr>
          <a:xfrm>
            <a:off x="7156512" y="3706294"/>
            <a:ext cx="86550" cy="139431"/>
          </a:xfrm>
          <a:prstGeom prst="rect">
            <a:avLst/>
          </a:prstGeom>
          <a:solidFill>
            <a:schemeClr val="dk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490" name="Google Shape;348;p7">
            <a:extLst>
              <a:ext uri="{FF2B5EF4-FFF2-40B4-BE49-F238E27FC236}">
                <a16:creationId xmlns:a16="http://schemas.microsoft.com/office/drawing/2014/main" id="{CB2EFC3C-D269-45F6-A401-5D2D7A3C722C}"/>
              </a:ext>
            </a:extLst>
          </p:cNvPr>
          <p:cNvSpPr/>
          <p:nvPr/>
        </p:nvSpPr>
        <p:spPr>
          <a:xfrm>
            <a:off x="7294000" y="3713940"/>
            <a:ext cx="86550" cy="131784"/>
          </a:xfrm>
          <a:prstGeom prst="rect">
            <a:avLst/>
          </a:prstGeom>
          <a:solidFill>
            <a:schemeClr val="dk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491" name="Google Shape;349;p7">
            <a:extLst>
              <a:ext uri="{FF2B5EF4-FFF2-40B4-BE49-F238E27FC236}">
                <a16:creationId xmlns:a16="http://schemas.microsoft.com/office/drawing/2014/main" id="{FF237CF0-9740-40B5-8A6A-F78124AA97CB}"/>
              </a:ext>
            </a:extLst>
          </p:cNvPr>
          <p:cNvSpPr/>
          <p:nvPr/>
        </p:nvSpPr>
        <p:spPr>
          <a:xfrm>
            <a:off x="7432197" y="3787355"/>
            <a:ext cx="86550" cy="58369"/>
          </a:xfrm>
          <a:prstGeom prst="rect">
            <a:avLst/>
          </a:prstGeom>
          <a:solidFill>
            <a:schemeClr val="dk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492" name="Google Shape;350;p7">
            <a:extLst>
              <a:ext uri="{FF2B5EF4-FFF2-40B4-BE49-F238E27FC236}">
                <a16:creationId xmlns:a16="http://schemas.microsoft.com/office/drawing/2014/main" id="{D5AB1116-6762-4B76-9A04-4A587327B453}"/>
              </a:ext>
            </a:extLst>
          </p:cNvPr>
          <p:cNvSpPr/>
          <p:nvPr/>
        </p:nvSpPr>
        <p:spPr>
          <a:xfrm>
            <a:off x="7803536" y="3707822"/>
            <a:ext cx="86550" cy="137901"/>
          </a:xfrm>
          <a:prstGeom prst="rect">
            <a:avLst/>
          </a:prstGeom>
          <a:solidFill>
            <a:schemeClr val="accent3">
              <a:lumMod val="20000"/>
              <a:lumOff val="80000"/>
            </a:schemeClr>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493" name="Google Shape;351;p7">
            <a:extLst>
              <a:ext uri="{FF2B5EF4-FFF2-40B4-BE49-F238E27FC236}">
                <a16:creationId xmlns:a16="http://schemas.microsoft.com/office/drawing/2014/main" id="{E46710A0-57A6-49BD-91D9-42FDABF0C943}"/>
              </a:ext>
            </a:extLst>
          </p:cNvPr>
          <p:cNvSpPr/>
          <p:nvPr/>
        </p:nvSpPr>
        <p:spPr>
          <a:xfrm>
            <a:off x="7936678" y="3784297"/>
            <a:ext cx="86550" cy="61427"/>
          </a:xfrm>
          <a:prstGeom prst="rect">
            <a:avLst/>
          </a:prstGeom>
          <a:solidFill>
            <a:schemeClr val="accent3">
              <a:lumMod val="20000"/>
              <a:lumOff val="80000"/>
            </a:schemeClr>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494" name="Google Shape;352;p7">
            <a:extLst>
              <a:ext uri="{FF2B5EF4-FFF2-40B4-BE49-F238E27FC236}">
                <a16:creationId xmlns:a16="http://schemas.microsoft.com/office/drawing/2014/main" id="{27BBAAD0-8599-4A8F-ABA6-0C8C5E52CDA8}"/>
              </a:ext>
            </a:extLst>
          </p:cNvPr>
          <p:cNvSpPr/>
          <p:nvPr/>
        </p:nvSpPr>
        <p:spPr>
          <a:xfrm>
            <a:off x="8349773" y="3784297"/>
            <a:ext cx="86550" cy="61427"/>
          </a:xfrm>
          <a:prstGeom prst="rect">
            <a:avLst/>
          </a:prstGeom>
          <a:solidFill>
            <a:schemeClr val="accent3">
              <a:lumMod val="20000"/>
              <a:lumOff val="80000"/>
            </a:schemeClr>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495" name="Google Shape;353;p7">
            <a:extLst>
              <a:ext uri="{FF2B5EF4-FFF2-40B4-BE49-F238E27FC236}">
                <a16:creationId xmlns:a16="http://schemas.microsoft.com/office/drawing/2014/main" id="{9A258F17-5218-4FE6-B9AA-78687F16D1D3}"/>
              </a:ext>
            </a:extLst>
          </p:cNvPr>
          <p:cNvSpPr/>
          <p:nvPr/>
        </p:nvSpPr>
        <p:spPr>
          <a:xfrm flipH="1">
            <a:off x="5560976" y="3559462"/>
            <a:ext cx="30881" cy="256953"/>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496" name="Google Shape;354;p7">
            <a:extLst>
              <a:ext uri="{FF2B5EF4-FFF2-40B4-BE49-F238E27FC236}">
                <a16:creationId xmlns:a16="http://schemas.microsoft.com/office/drawing/2014/main" id="{20E42A04-5524-4EC5-94C3-DA8E03D3431B}"/>
              </a:ext>
            </a:extLst>
          </p:cNvPr>
          <p:cNvSpPr/>
          <p:nvPr/>
        </p:nvSpPr>
        <p:spPr>
          <a:xfrm flipH="1">
            <a:off x="5834418" y="3318823"/>
            <a:ext cx="30291" cy="312014"/>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grpSp>
        <p:nvGrpSpPr>
          <p:cNvPr id="497" name="Google Shape;355;p7">
            <a:extLst>
              <a:ext uri="{FF2B5EF4-FFF2-40B4-BE49-F238E27FC236}">
                <a16:creationId xmlns:a16="http://schemas.microsoft.com/office/drawing/2014/main" id="{2503D555-0524-4FF9-877C-8D6BCD74A64B}"/>
              </a:ext>
            </a:extLst>
          </p:cNvPr>
          <p:cNvGrpSpPr/>
          <p:nvPr/>
        </p:nvGrpSpPr>
        <p:grpSpPr>
          <a:xfrm>
            <a:off x="5986785" y="3687189"/>
            <a:ext cx="31554" cy="48283"/>
            <a:chOff x="7904331" y="4926431"/>
            <a:chExt cx="47625" cy="75173"/>
          </a:xfrm>
          <a:solidFill>
            <a:schemeClr val="accent5"/>
          </a:solidFill>
        </p:grpSpPr>
        <p:sp>
          <p:nvSpPr>
            <p:cNvPr id="498" name="Google Shape;356;p7">
              <a:extLst>
                <a:ext uri="{FF2B5EF4-FFF2-40B4-BE49-F238E27FC236}">
                  <a16:creationId xmlns:a16="http://schemas.microsoft.com/office/drawing/2014/main" id="{8CB3002F-3E7E-4513-8281-B71B212158A6}"/>
                </a:ext>
              </a:extLst>
            </p:cNvPr>
            <p:cNvSpPr/>
            <p:nvPr/>
          </p:nvSpPr>
          <p:spPr>
            <a:xfrm>
              <a:off x="7904331" y="4926431"/>
              <a:ext cx="47625" cy="47625"/>
            </a:xfrm>
            <a:prstGeom prst="ellipse">
              <a:avLst/>
            </a:prstGeom>
            <a:grpFill/>
            <a:ln w="6350"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499" name="Google Shape;357;p7">
              <a:extLst>
                <a:ext uri="{FF2B5EF4-FFF2-40B4-BE49-F238E27FC236}">
                  <a16:creationId xmlns:a16="http://schemas.microsoft.com/office/drawing/2014/main" id="{C4D9B402-493E-4352-ABA3-7AA0B7A0DBE3}"/>
                </a:ext>
              </a:extLst>
            </p:cNvPr>
            <p:cNvSpPr/>
            <p:nvPr/>
          </p:nvSpPr>
          <p:spPr>
            <a:xfrm>
              <a:off x="7904331" y="4953979"/>
              <a:ext cx="47625" cy="47625"/>
            </a:xfrm>
            <a:prstGeom prst="ellipse">
              <a:avLst/>
            </a:prstGeom>
            <a:grpFill/>
            <a:ln w="6350"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grpSp>
      <p:sp>
        <p:nvSpPr>
          <p:cNvPr id="500" name="Google Shape;358;p7">
            <a:extLst>
              <a:ext uri="{FF2B5EF4-FFF2-40B4-BE49-F238E27FC236}">
                <a16:creationId xmlns:a16="http://schemas.microsoft.com/office/drawing/2014/main" id="{CB8EA242-F4E5-4DB2-87CF-F2652FADFE57}"/>
              </a:ext>
            </a:extLst>
          </p:cNvPr>
          <p:cNvSpPr/>
          <p:nvPr/>
        </p:nvSpPr>
        <p:spPr>
          <a:xfrm flipH="1">
            <a:off x="6112089" y="3296391"/>
            <a:ext cx="30291" cy="420098"/>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01" name="Google Shape;359;p7">
            <a:extLst>
              <a:ext uri="{FF2B5EF4-FFF2-40B4-BE49-F238E27FC236}">
                <a16:creationId xmlns:a16="http://schemas.microsoft.com/office/drawing/2014/main" id="{487B9304-1A42-4AB2-8411-512D694E8F90}"/>
              </a:ext>
            </a:extLst>
          </p:cNvPr>
          <p:cNvSpPr/>
          <p:nvPr/>
        </p:nvSpPr>
        <p:spPr>
          <a:xfrm flipH="1">
            <a:off x="5696654" y="1666984"/>
            <a:ext cx="30291" cy="976759"/>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02" name="Google Shape;360;p7">
            <a:extLst>
              <a:ext uri="{FF2B5EF4-FFF2-40B4-BE49-F238E27FC236}">
                <a16:creationId xmlns:a16="http://schemas.microsoft.com/office/drawing/2014/main" id="{82156741-439D-4F1C-8389-F25C4BFDA0E3}"/>
              </a:ext>
            </a:extLst>
          </p:cNvPr>
          <p:cNvSpPr/>
          <p:nvPr/>
        </p:nvSpPr>
        <p:spPr>
          <a:xfrm flipH="1">
            <a:off x="6246825" y="3600248"/>
            <a:ext cx="30291" cy="224197"/>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grpSp>
        <p:nvGrpSpPr>
          <p:cNvPr id="503" name="Google Shape;361;p7">
            <a:extLst>
              <a:ext uri="{FF2B5EF4-FFF2-40B4-BE49-F238E27FC236}">
                <a16:creationId xmlns:a16="http://schemas.microsoft.com/office/drawing/2014/main" id="{61644B2A-EA57-415B-AD5B-1FE0A30519C2}"/>
              </a:ext>
            </a:extLst>
          </p:cNvPr>
          <p:cNvGrpSpPr/>
          <p:nvPr/>
        </p:nvGrpSpPr>
        <p:grpSpPr>
          <a:xfrm>
            <a:off x="6401843" y="3687189"/>
            <a:ext cx="31554" cy="48283"/>
            <a:chOff x="7904331" y="4926431"/>
            <a:chExt cx="47625" cy="75173"/>
          </a:xfrm>
          <a:solidFill>
            <a:schemeClr val="accent5"/>
          </a:solidFill>
        </p:grpSpPr>
        <p:sp>
          <p:nvSpPr>
            <p:cNvPr id="504" name="Google Shape;362;p7">
              <a:extLst>
                <a:ext uri="{FF2B5EF4-FFF2-40B4-BE49-F238E27FC236}">
                  <a16:creationId xmlns:a16="http://schemas.microsoft.com/office/drawing/2014/main" id="{4505AFD0-611A-4C85-8FCC-364B274737C7}"/>
                </a:ext>
              </a:extLst>
            </p:cNvPr>
            <p:cNvSpPr/>
            <p:nvPr/>
          </p:nvSpPr>
          <p:spPr>
            <a:xfrm>
              <a:off x="7904331" y="4926431"/>
              <a:ext cx="47625" cy="47625"/>
            </a:xfrm>
            <a:prstGeom prst="ellipse">
              <a:avLst/>
            </a:prstGeom>
            <a:grpFill/>
            <a:ln w="6350"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05" name="Google Shape;363;p7">
              <a:extLst>
                <a:ext uri="{FF2B5EF4-FFF2-40B4-BE49-F238E27FC236}">
                  <a16:creationId xmlns:a16="http://schemas.microsoft.com/office/drawing/2014/main" id="{24030AB4-E191-4669-87F8-9541BCD2BDBA}"/>
                </a:ext>
              </a:extLst>
            </p:cNvPr>
            <p:cNvSpPr/>
            <p:nvPr/>
          </p:nvSpPr>
          <p:spPr>
            <a:xfrm>
              <a:off x="7904331" y="4953979"/>
              <a:ext cx="47625" cy="47625"/>
            </a:xfrm>
            <a:prstGeom prst="ellipse">
              <a:avLst/>
            </a:prstGeom>
            <a:grpFill/>
            <a:ln w="6350"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grpSp>
      <p:sp>
        <p:nvSpPr>
          <p:cNvPr id="506" name="Google Shape;364;p7">
            <a:extLst>
              <a:ext uri="{FF2B5EF4-FFF2-40B4-BE49-F238E27FC236}">
                <a16:creationId xmlns:a16="http://schemas.microsoft.com/office/drawing/2014/main" id="{884C9288-81AA-4557-8885-877486786912}"/>
              </a:ext>
            </a:extLst>
          </p:cNvPr>
          <p:cNvSpPr/>
          <p:nvPr/>
        </p:nvSpPr>
        <p:spPr>
          <a:xfrm flipH="1">
            <a:off x="6618248" y="3606367"/>
            <a:ext cx="35517" cy="218078"/>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07" name="Google Shape;365;p7">
            <a:extLst>
              <a:ext uri="{FF2B5EF4-FFF2-40B4-BE49-F238E27FC236}">
                <a16:creationId xmlns:a16="http://schemas.microsoft.com/office/drawing/2014/main" id="{A7185933-4C13-4BD2-8FE0-3A9E3389E10A}"/>
              </a:ext>
            </a:extLst>
          </p:cNvPr>
          <p:cNvSpPr/>
          <p:nvPr/>
        </p:nvSpPr>
        <p:spPr>
          <a:xfrm flipH="1">
            <a:off x="6754568" y="3614523"/>
            <a:ext cx="35531" cy="155255"/>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08" name="Google Shape;366;p7">
            <a:extLst>
              <a:ext uri="{FF2B5EF4-FFF2-40B4-BE49-F238E27FC236}">
                <a16:creationId xmlns:a16="http://schemas.microsoft.com/office/drawing/2014/main" id="{F12FE8BB-C444-4D56-882A-C1F8A1F74B22}"/>
              </a:ext>
            </a:extLst>
          </p:cNvPr>
          <p:cNvSpPr/>
          <p:nvPr/>
        </p:nvSpPr>
        <p:spPr>
          <a:xfrm flipH="1">
            <a:off x="6892766" y="3601263"/>
            <a:ext cx="34066" cy="221272"/>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09" name="Google Shape;367;p7">
            <a:extLst>
              <a:ext uri="{FF2B5EF4-FFF2-40B4-BE49-F238E27FC236}">
                <a16:creationId xmlns:a16="http://schemas.microsoft.com/office/drawing/2014/main" id="{85E0DF7C-E525-40CF-A1EB-30AE4B887789}"/>
              </a:ext>
            </a:extLst>
          </p:cNvPr>
          <p:cNvSpPr/>
          <p:nvPr/>
        </p:nvSpPr>
        <p:spPr>
          <a:xfrm flipH="1">
            <a:off x="7166816" y="3605822"/>
            <a:ext cx="34066" cy="221272"/>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grpSp>
        <p:nvGrpSpPr>
          <p:cNvPr id="510" name="Google Shape;368;p7">
            <a:extLst>
              <a:ext uri="{FF2B5EF4-FFF2-40B4-BE49-F238E27FC236}">
                <a16:creationId xmlns:a16="http://schemas.microsoft.com/office/drawing/2014/main" id="{D8175D57-2B15-4208-BC92-401ACA263EA7}"/>
              </a:ext>
            </a:extLst>
          </p:cNvPr>
          <p:cNvGrpSpPr/>
          <p:nvPr/>
        </p:nvGrpSpPr>
        <p:grpSpPr>
          <a:xfrm>
            <a:off x="7047329" y="3808027"/>
            <a:ext cx="31554" cy="48283"/>
            <a:chOff x="7904331" y="4926431"/>
            <a:chExt cx="47625" cy="75173"/>
          </a:xfrm>
          <a:solidFill>
            <a:schemeClr val="accent5"/>
          </a:solidFill>
        </p:grpSpPr>
        <p:sp>
          <p:nvSpPr>
            <p:cNvPr id="511" name="Google Shape;369;p7">
              <a:extLst>
                <a:ext uri="{FF2B5EF4-FFF2-40B4-BE49-F238E27FC236}">
                  <a16:creationId xmlns:a16="http://schemas.microsoft.com/office/drawing/2014/main" id="{05DC3E47-9C42-40C3-AB7A-0D61FA5B8B9B}"/>
                </a:ext>
              </a:extLst>
            </p:cNvPr>
            <p:cNvSpPr/>
            <p:nvPr/>
          </p:nvSpPr>
          <p:spPr>
            <a:xfrm>
              <a:off x="7904331" y="4926431"/>
              <a:ext cx="47625" cy="47625"/>
            </a:xfrm>
            <a:prstGeom prst="ellipse">
              <a:avLst/>
            </a:prstGeom>
            <a:grpFill/>
            <a:ln w="6350"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12" name="Google Shape;370;p7">
              <a:extLst>
                <a:ext uri="{FF2B5EF4-FFF2-40B4-BE49-F238E27FC236}">
                  <a16:creationId xmlns:a16="http://schemas.microsoft.com/office/drawing/2014/main" id="{12AFE0D4-8BE0-4C82-B210-D3B1F6603C1A}"/>
                </a:ext>
              </a:extLst>
            </p:cNvPr>
            <p:cNvSpPr/>
            <p:nvPr/>
          </p:nvSpPr>
          <p:spPr>
            <a:xfrm>
              <a:off x="7904331" y="4953979"/>
              <a:ext cx="47625" cy="47625"/>
            </a:xfrm>
            <a:prstGeom prst="ellipse">
              <a:avLst/>
            </a:prstGeom>
            <a:grpFill/>
            <a:ln w="6350"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grpSp>
      <p:grpSp>
        <p:nvGrpSpPr>
          <p:cNvPr id="513" name="Google Shape;371;p7">
            <a:extLst>
              <a:ext uri="{FF2B5EF4-FFF2-40B4-BE49-F238E27FC236}">
                <a16:creationId xmlns:a16="http://schemas.microsoft.com/office/drawing/2014/main" id="{DDB6E7A3-7FC8-4FE2-AF14-58BE8601492E}"/>
              </a:ext>
            </a:extLst>
          </p:cNvPr>
          <p:cNvGrpSpPr/>
          <p:nvPr/>
        </p:nvGrpSpPr>
        <p:grpSpPr>
          <a:xfrm>
            <a:off x="7319184" y="3683741"/>
            <a:ext cx="31554" cy="48283"/>
            <a:chOff x="7904331" y="4926431"/>
            <a:chExt cx="47625" cy="75173"/>
          </a:xfrm>
          <a:solidFill>
            <a:schemeClr val="accent5"/>
          </a:solidFill>
        </p:grpSpPr>
        <p:sp>
          <p:nvSpPr>
            <p:cNvPr id="514" name="Google Shape;372;p7">
              <a:extLst>
                <a:ext uri="{FF2B5EF4-FFF2-40B4-BE49-F238E27FC236}">
                  <a16:creationId xmlns:a16="http://schemas.microsoft.com/office/drawing/2014/main" id="{6DA9E043-ABCE-461D-9333-74EF089A18F5}"/>
                </a:ext>
              </a:extLst>
            </p:cNvPr>
            <p:cNvSpPr/>
            <p:nvPr/>
          </p:nvSpPr>
          <p:spPr>
            <a:xfrm>
              <a:off x="7904331" y="4926431"/>
              <a:ext cx="47625" cy="47625"/>
            </a:xfrm>
            <a:prstGeom prst="ellipse">
              <a:avLst/>
            </a:prstGeom>
            <a:grpFill/>
            <a:ln w="6350"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15" name="Google Shape;373;p7">
              <a:extLst>
                <a:ext uri="{FF2B5EF4-FFF2-40B4-BE49-F238E27FC236}">
                  <a16:creationId xmlns:a16="http://schemas.microsoft.com/office/drawing/2014/main" id="{0C83D897-9432-4645-926D-16B42897F585}"/>
                </a:ext>
              </a:extLst>
            </p:cNvPr>
            <p:cNvSpPr/>
            <p:nvPr/>
          </p:nvSpPr>
          <p:spPr>
            <a:xfrm>
              <a:off x="7904331" y="4953979"/>
              <a:ext cx="47625" cy="47625"/>
            </a:xfrm>
            <a:prstGeom prst="ellipse">
              <a:avLst/>
            </a:prstGeom>
            <a:grpFill/>
            <a:ln w="6350"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grpSp>
      <p:sp>
        <p:nvSpPr>
          <p:cNvPr id="516" name="Google Shape;374;p7">
            <a:extLst>
              <a:ext uri="{FF2B5EF4-FFF2-40B4-BE49-F238E27FC236}">
                <a16:creationId xmlns:a16="http://schemas.microsoft.com/office/drawing/2014/main" id="{DDD4B07F-E237-48C1-B673-38D76AE68677}"/>
              </a:ext>
            </a:extLst>
          </p:cNvPr>
          <p:cNvSpPr/>
          <p:nvPr/>
        </p:nvSpPr>
        <p:spPr>
          <a:xfrm flipH="1">
            <a:off x="7444154" y="3700174"/>
            <a:ext cx="30291" cy="137840"/>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17" name="Google Shape;375;p7">
            <a:extLst>
              <a:ext uri="{FF2B5EF4-FFF2-40B4-BE49-F238E27FC236}">
                <a16:creationId xmlns:a16="http://schemas.microsoft.com/office/drawing/2014/main" id="{9B62A999-0AF3-4CD9-B006-EC302F627D9F}"/>
              </a:ext>
            </a:extLst>
          </p:cNvPr>
          <p:cNvSpPr/>
          <p:nvPr/>
        </p:nvSpPr>
        <p:spPr>
          <a:xfrm flipH="1">
            <a:off x="7813975" y="3708793"/>
            <a:ext cx="30291" cy="125975"/>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grpSp>
        <p:nvGrpSpPr>
          <p:cNvPr id="518" name="Google Shape;376;p7">
            <a:extLst>
              <a:ext uri="{FF2B5EF4-FFF2-40B4-BE49-F238E27FC236}">
                <a16:creationId xmlns:a16="http://schemas.microsoft.com/office/drawing/2014/main" id="{4C5D802E-9871-491E-96DB-528DA8E80B91}"/>
              </a:ext>
            </a:extLst>
          </p:cNvPr>
          <p:cNvGrpSpPr/>
          <p:nvPr/>
        </p:nvGrpSpPr>
        <p:grpSpPr>
          <a:xfrm>
            <a:off x="7686226" y="3808027"/>
            <a:ext cx="31554" cy="48283"/>
            <a:chOff x="7904331" y="4926431"/>
            <a:chExt cx="47625" cy="75173"/>
          </a:xfrm>
          <a:solidFill>
            <a:schemeClr val="accent5"/>
          </a:solidFill>
        </p:grpSpPr>
        <p:sp>
          <p:nvSpPr>
            <p:cNvPr id="519" name="Google Shape;377;p7">
              <a:extLst>
                <a:ext uri="{FF2B5EF4-FFF2-40B4-BE49-F238E27FC236}">
                  <a16:creationId xmlns:a16="http://schemas.microsoft.com/office/drawing/2014/main" id="{E0314E12-9B22-42D0-9589-7F1533A1BA5D}"/>
                </a:ext>
              </a:extLst>
            </p:cNvPr>
            <p:cNvSpPr/>
            <p:nvPr/>
          </p:nvSpPr>
          <p:spPr>
            <a:xfrm>
              <a:off x="7904331" y="4926431"/>
              <a:ext cx="47625" cy="47625"/>
            </a:xfrm>
            <a:prstGeom prst="ellipse">
              <a:avLst/>
            </a:prstGeom>
            <a:grpFill/>
            <a:ln w="6350"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20" name="Google Shape;378;p7">
              <a:extLst>
                <a:ext uri="{FF2B5EF4-FFF2-40B4-BE49-F238E27FC236}">
                  <a16:creationId xmlns:a16="http://schemas.microsoft.com/office/drawing/2014/main" id="{5A526FCB-97E0-42C3-9AE5-48229A328403}"/>
                </a:ext>
              </a:extLst>
            </p:cNvPr>
            <p:cNvSpPr/>
            <p:nvPr/>
          </p:nvSpPr>
          <p:spPr>
            <a:xfrm>
              <a:off x="7904331" y="4953979"/>
              <a:ext cx="47625" cy="47625"/>
            </a:xfrm>
            <a:prstGeom prst="ellipse">
              <a:avLst/>
            </a:prstGeom>
            <a:grpFill/>
            <a:ln w="6350"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grpSp>
      <p:grpSp>
        <p:nvGrpSpPr>
          <p:cNvPr id="521" name="Google Shape;379;p7">
            <a:extLst>
              <a:ext uri="{FF2B5EF4-FFF2-40B4-BE49-F238E27FC236}">
                <a16:creationId xmlns:a16="http://schemas.microsoft.com/office/drawing/2014/main" id="{C7C39D25-320B-45F3-834A-660A7107E765}"/>
              </a:ext>
            </a:extLst>
          </p:cNvPr>
          <p:cNvGrpSpPr/>
          <p:nvPr/>
        </p:nvGrpSpPr>
        <p:grpSpPr>
          <a:xfrm>
            <a:off x="8105521" y="3808027"/>
            <a:ext cx="31554" cy="48283"/>
            <a:chOff x="7904331" y="4926431"/>
            <a:chExt cx="47625" cy="75173"/>
          </a:xfrm>
          <a:solidFill>
            <a:schemeClr val="accent5"/>
          </a:solidFill>
        </p:grpSpPr>
        <p:sp>
          <p:nvSpPr>
            <p:cNvPr id="522" name="Google Shape;380;p7">
              <a:extLst>
                <a:ext uri="{FF2B5EF4-FFF2-40B4-BE49-F238E27FC236}">
                  <a16:creationId xmlns:a16="http://schemas.microsoft.com/office/drawing/2014/main" id="{D905BC34-F446-4018-BFB4-08E5E0D9CBFF}"/>
                </a:ext>
              </a:extLst>
            </p:cNvPr>
            <p:cNvSpPr/>
            <p:nvPr/>
          </p:nvSpPr>
          <p:spPr>
            <a:xfrm>
              <a:off x="7904331" y="4926431"/>
              <a:ext cx="47625" cy="47625"/>
            </a:xfrm>
            <a:prstGeom prst="ellipse">
              <a:avLst/>
            </a:prstGeom>
            <a:grpFill/>
            <a:ln w="6350"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23" name="Google Shape;381;p7">
              <a:extLst>
                <a:ext uri="{FF2B5EF4-FFF2-40B4-BE49-F238E27FC236}">
                  <a16:creationId xmlns:a16="http://schemas.microsoft.com/office/drawing/2014/main" id="{E1964170-FA7B-42B5-910D-9B57D8995A7A}"/>
                </a:ext>
              </a:extLst>
            </p:cNvPr>
            <p:cNvSpPr/>
            <p:nvPr/>
          </p:nvSpPr>
          <p:spPr>
            <a:xfrm>
              <a:off x="7904331" y="4953979"/>
              <a:ext cx="47625" cy="47625"/>
            </a:xfrm>
            <a:prstGeom prst="ellipse">
              <a:avLst/>
            </a:prstGeom>
            <a:grpFill/>
            <a:ln w="6350"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grpSp>
      <p:grpSp>
        <p:nvGrpSpPr>
          <p:cNvPr id="524" name="Google Shape;382;p7">
            <a:extLst>
              <a:ext uri="{FF2B5EF4-FFF2-40B4-BE49-F238E27FC236}">
                <a16:creationId xmlns:a16="http://schemas.microsoft.com/office/drawing/2014/main" id="{996563F6-D2E1-421A-AC8A-AA4FFE101F3D}"/>
              </a:ext>
            </a:extLst>
          </p:cNvPr>
          <p:cNvGrpSpPr/>
          <p:nvPr/>
        </p:nvGrpSpPr>
        <p:grpSpPr>
          <a:xfrm>
            <a:off x="8238477" y="3808027"/>
            <a:ext cx="31554" cy="48283"/>
            <a:chOff x="7904331" y="4926431"/>
            <a:chExt cx="47625" cy="75173"/>
          </a:xfrm>
          <a:solidFill>
            <a:schemeClr val="accent5"/>
          </a:solidFill>
        </p:grpSpPr>
        <p:sp>
          <p:nvSpPr>
            <p:cNvPr id="525" name="Google Shape;383;p7">
              <a:extLst>
                <a:ext uri="{FF2B5EF4-FFF2-40B4-BE49-F238E27FC236}">
                  <a16:creationId xmlns:a16="http://schemas.microsoft.com/office/drawing/2014/main" id="{C079A59F-26CD-480D-BA6D-AFBAB0FA6A83}"/>
                </a:ext>
              </a:extLst>
            </p:cNvPr>
            <p:cNvSpPr/>
            <p:nvPr/>
          </p:nvSpPr>
          <p:spPr>
            <a:xfrm>
              <a:off x="7904331" y="4926431"/>
              <a:ext cx="47625" cy="47625"/>
            </a:xfrm>
            <a:prstGeom prst="ellipse">
              <a:avLst/>
            </a:prstGeom>
            <a:grpFill/>
            <a:ln w="6350"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26" name="Google Shape;384;p7">
              <a:extLst>
                <a:ext uri="{FF2B5EF4-FFF2-40B4-BE49-F238E27FC236}">
                  <a16:creationId xmlns:a16="http://schemas.microsoft.com/office/drawing/2014/main" id="{1E158FAA-51E0-4A18-BF4C-A511EC8DFF94}"/>
                </a:ext>
              </a:extLst>
            </p:cNvPr>
            <p:cNvSpPr/>
            <p:nvPr/>
          </p:nvSpPr>
          <p:spPr>
            <a:xfrm>
              <a:off x="7904331" y="4953979"/>
              <a:ext cx="47625" cy="47625"/>
            </a:xfrm>
            <a:prstGeom prst="ellipse">
              <a:avLst/>
            </a:prstGeom>
            <a:grpFill/>
            <a:ln w="6350"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grpSp>
      <p:grpSp>
        <p:nvGrpSpPr>
          <p:cNvPr id="527" name="Google Shape;385;p7">
            <a:extLst>
              <a:ext uri="{FF2B5EF4-FFF2-40B4-BE49-F238E27FC236}">
                <a16:creationId xmlns:a16="http://schemas.microsoft.com/office/drawing/2014/main" id="{16C99C51-57DF-4C21-A5ED-8A4F6D74EE68}"/>
              </a:ext>
            </a:extLst>
          </p:cNvPr>
          <p:cNvGrpSpPr/>
          <p:nvPr/>
        </p:nvGrpSpPr>
        <p:grpSpPr>
          <a:xfrm>
            <a:off x="8514090" y="3808027"/>
            <a:ext cx="31554" cy="48283"/>
            <a:chOff x="7904331" y="4926431"/>
            <a:chExt cx="47625" cy="75173"/>
          </a:xfrm>
          <a:solidFill>
            <a:schemeClr val="accent5"/>
          </a:solidFill>
        </p:grpSpPr>
        <p:sp>
          <p:nvSpPr>
            <p:cNvPr id="528" name="Google Shape;386;p7">
              <a:extLst>
                <a:ext uri="{FF2B5EF4-FFF2-40B4-BE49-F238E27FC236}">
                  <a16:creationId xmlns:a16="http://schemas.microsoft.com/office/drawing/2014/main" id="{8E89C0C4-176A-422B-ACEC-BE371A2F4AD2}"/>
                </a:ext>
              </a:extLst>
            </p:cNvPr>
            <p:cNvSpPr/>
            <p:nvPr/>
          </p:nvSpPr>
          <p:spPr>
            <a:xfrm>
              <a:off x="7904331" y="4926431"/>
              <a:ext cx="47625" cy="47625"/>
            </a:xfrm>
            <a:prstGeom prst="ellipse">
              <a:avLst/>
            </a:prstGeom>
            <a:grpFill/>
            <a:ln w="6350"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29" name="Google Shape;387;p7">
              <a:extLst>
                <a:ext uri="{FF2B5EF4-FFF2-40B4-BE49-F238E27FC236}">
                  <a16:creationId xmlns:a16="http://schemas.microsoft.com/office/drawing/2014/main" id="{B6319D53-8938-4F08-B4CC-594633A01516}"/>
                </a:ext>
              </a:extLst>
            </p:cNvPr>
            <p:cNvSpPr/>
            <p:nvPr/>
          </p:nvSpPr>
          <p:spPr>
            <a:xfrm>
              <a:off x="7904331" y="4953979"/>
              <a:ext cx="47625" cy="47625"/>
            </a:xfrm>
            <a:prstGeom prst="ellipse">
              <a:avLst/>
            </a:prstGeom>
            <a:grpFill/>
            <a:ln w="6350"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grpSp>
      <p:sp>
        <p:nvSpPr>
          <p:cNvPr id="530" name="Google Shape;388;p7">
            <a:extLst>
              <a:ext uri="{FF2B5EF4-FFF2-40B4-BE49-F238E27FC236}">
                <a16:creationId xmlns:a16="http://schemas.microsoft.com/office/drawing/2014/main" id="{37BC68FE-0CC4-46BE-8D75-F051C35A775B}"/>
              </a:ext>
            </a:extLst>
          </p:cNvPr>
          <p:cNvSpPr/>
          <p:nvPr/>
        </p:nvSpPr>
        <p:spPr>
          <a:xfrm flipH="1">
            <a:off x="7946706" y="3703743"/>
            <a:ext cx="30291" cy="128477"/>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31" name="Google Shape;389;p7">
            <a:extLst>
              <a:ext uri="{FF2B5EF4-FFF2-40B4-BE49-F238E27FC236}">
                <a16:creationId xmlns:a16="http://schemas.microsoft.com/office/drawing/2014/main" id="{4628B07F-CB8D-4B05-AE74-F7FFC2AD0C18}"/>
              </a:ext>
            </a:extLst>
          </p:cNvPr>
          <p:cNvSpPr/>
          <p:nvPr/>
        </p:nvSpPr>
        <p:spPr>
          <a:xfrm flipH="1">
            <a:off x="8361281" y="3703743"/>
            <a:ext cx="30291" cy="128477"/>
          </a:xfrm>
          <a:custGeom>
            <a:avLst/>
            <a:gdLst/>
            <a:ahLst/>
            <a:cxnLst/>
            <a:rect l="l" t="t" r="r" b="b"/>
            <a:pathLst>
              <a:path w="120000" h="1955800" extrusionOk="0">
                <a:moveTo>
                  <a:pt x="0" y="0"/>
                </a:moveTo>
                <a:lnTo>
                  <a:pt x="0" y="1955800"/>
                </a:lnTo>
              </a:path>
            </a:pathLst>
          </a:custGeom>
          <a:noFill/>
          <a:ln w="6350" cap="flat" cmpd="sng">
            <a:solidFill>
              <a:schemeClr val="accent5"/>
            </a:solidFill>
            <a:prstDash val="solid"/>
            <a:round/>
            <a:headEnd type="oval" w="sm" len="sm"/>
            <a:tailEnd type="oval"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32" name="Google Shape;390;p7">
            <a:extLst>
              <a:ext uri="{FF2B5EF4-FFF2-40B4-BE49-F238E27FC236}">
                <a16:creationId xmlns:a16="http://schemas.microsoft.com/office/drawing/2014/main" id="{927A68B5-617E-4616-A1A8-05396649590C}"/>
              </a:ext>
            </a:extLst>
          </p:cNvPr>
          <p:cNvSpPr txBox="1"/>
          <p:nvPr/>
        </p:nvSpPr>
        <p:spPr>
          <a:xfrm>
            <a:off x="5775494" y="1615084"/>
            <a:ext cx="179261" cy="81601"/>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18</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grpSp>
        <p:nvGrpSpPr>
          <p:cNvPr id="533" name="Google Shape;474;p7">
            <a:extLst>
              <a:ext uri="{FF2B5EF4-FFF2-40B4-BE49-F238E27FC236}">
                <a16:creationId xmlns:a16="http://schemas.microsoft.com/office/drawing/2014/main" id="{977A5734-2619-4C73-84A1-B3EC25211BF8}"/>
              </a:ext>
            </a:extLst>
          </p:cNvPr>
          <p:cNvGrpSpPr/>
          <p:nvPr/>
        </p:nvGrpSpPr>
        <p:grpSpPr>
          <a:xfrm>
            <a:off x="7949299" y="1631563"/>
            <a:ext cx="595280" cy="489131"/>
            <a:chOff x="4869878" y="2008710"/>
            <a:chExt cx="878270" cy="761528"/>
          </a:xfrm>
        </p:grpSpPr>
        <p:sp>
          <p:nvSpPr>
            <p:cNvPr id="534" name="Google Shape;475;p7">
              <a:extLst>
                <a:ext uri="{FF2B5EF4-FFF2-40B4-BE49-F238E27FC236}">
                  <a16:creationId xmlns:a16="http://schemas.microsoft.com/office/drawing/2014/main" id="{05233AC1-4794-4C17-A8D1-3CFCBA0750C8}"/>
                </a:ext>
              </a:extLst>
            </p:cNvPr>
            <p:cNvSpPr/>
            <p:nvPr/>
          </p:nvSpPr>
          <p:spPr>
            <a:xfrm>
              <a:off x="4869878" y="2047852"/>
              <a:ext cx="133963" cy="137160"/>
            </a:xfrm>
            <a:prstGeom prst="rect">
              <a:avLst/>
            </a:prstGeom>
            <a:solidFill>
              <a:schemeClr val="accent1"/>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35" name="Google Shape;476;p7">
              <a:extLst>
                <a:ext uri="{FF2B5EF4-FFF2-40B4-BE49-F238E27FC236}">
                  <a16:creationId xmlns:a16="http://schemas.microsoft.com/office/drawing/2014/main" id="{08DD02D8-9FDC-4525-BE61-EFAC297A7E09}"/>
                </a:ext>
              </a:extLst>
            </p:cNvPr>
            <p:cNvSpPr/>
            <p:nvPr/>
          </p:nvSpPr>
          <p:spPr>
            <a:xfrm>
              <a:off x="4869878" y="2340465"/>
              <a:ext cx="133963" cy="137160"/>
            </a:xfrm>
            <a:prstGeom prst="rect">
              <a:avLst/>
            </a:prstGeom>
            <a:solidFill>
              <a:schemeClr val="dk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36" name="Google Shape;477;p7">
              <a:extLst>
                <a:ext uri="{FF2B5EF4-FFF2-40B4-BE49-F238E27FC236}">
                  <a16:creationId xmlns:a16="http://schemas.microsoft.com/office/drawing/2014/main" id="{8F8E2765-9F7C-478C-8DAC-34A37BFF52DF}"/>
                </a:ext>
              </a:extLst>
            </p:cNvPr>
            <p:cNvSpPr/>
            <p:nvPr/>
          </p:nvSpPr>
          <p:spPr>
            <a:xfrm>
              <a:off x="4869878" y="2633078"/>
              <a:ext cx="133963" cy="137160"/>
            </a:xfrm>
            <a:prstGeom prst="rect">
              <a:avLst/>
            </a:prstGeom>
            <a:solidFill>
              <a:schemeClr val="accent3">
                <a:lumMod val="20000"/>
                <a:lumOff val="80000"/>
              </a:schemeClr>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37" name="Google Shape;478;p7">
              <a:extLst>
                <a:ext uri="{FF2B5EF4-FFF2-40B4-BE49-F238E27FC236}">
                  <a16:creationId xmlns:a16="http://schemas.microsoft.com/office/drawing/2014/main" id="{87949F26-04D0-4F30-A709-FD4EFC7B9D35}"/>
                </a:ext>
              </a:extLst>
            </p:cNvPr>
            <p:cNvSpPr txBox="1"/>
            <p:nvPr/>
          </p:nvSpPr>
          <p:spPr>
            <a:xfrm>
              <a:off x="5130991" y="2008710"/>
              <a:ext cx="617157" cy="164148"/>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CTLA-4</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538" name="Google Shape;479;p7">
              <a:extLst>
                <a:ext uri="{FF2B5EF4-FFF2-40B4-BE49-F238E27FC236}">
                  <a16:creationId xmlns:a16="http://schemas.microsoft.com/office/drawing/2014/main" id="{89B095E5-5E4B-4E98-93CB-9AC01F30BA2D}"/>
                </a:ext>
              </a:extLst>
            </p:cNvPr>
            <p:cNvSpPr txBox="1"/>
            <p:nvPr/>
          </p:nvSpPr>
          <p:spPr>
            <a:xfrm>
              <a:off x="5130991" y="2301323"/>
              <a:ext cx="408766" cy="164148"/>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PD-1</a:t>
              </a:r>
              <a:endParaRPr kumimoji="0" sz="8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539" name="Google Shape;480;p7">
              <a:extLst>
                <a:ext uri="{FF2B5EF4-FFF2-40B4-BE49-F238E27FC236}">
                  <a16:creationId xmlns:a16="http://schemas.microsoft.com/office/drawing/2014/main" id="{B2D8233A-F7A8-4D99-96AE-1D6890600F22}"/>
                </a:ext>
              </a:extLst>
            </p:cNvPr>
            <p:cNvSpPr txBox="1"/>
            <p:nvPr/>
          </p:nvSpPr>
          <p:spPr>
            <a:xfrm>
              <a:off x="5130991" y="2593937"/>
              <a:ext cx="508152" cy="164148"/>
            </a:xfrm>
            <a:prstGeom prst="rect">
              <a:avLst/>
            </a:prstGeom>
            <a:no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PD-L1</a:t>
              </a:r>
              <a:endParaRPr kumimoji="0" sz="8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grpSp>
      <p:grpSp>
        <p:nvGrpSpPr>
          <p:cNvPr id="540" name="Google Shape;469;p7">
            <a:extLst>
              <a:ext uri="{FF2B5EF4-FFF2-40B4-BE49-F238E27FC236}">
                <a16:creationId xmlns:a16="http://schemas.microsoft.com/office/drawing/2014/main" id="{B1308666-B07F-4A90-B355-4BC1F0A94F33}"/>
              </a:ext>
            </a:extLst>
          </p:cNvPr>
          <p:cNvGrpSpPr/>
          <p:nvPr/>
        </p:nvGrpSpPr>
        <p:grpSpPr>
          <a:xfrm>
            <a:off x="5693861" y="1744820"/>
            <a:ext cx="86003" cy="74864"/>
            <a:chOff x="1246534" y="2134785"/>
            <a:chExt cx="119616" cy="119355"/>
          </a:xfrm>
        </p:grpSpPr>
        <p:sp>
          <p:nvSpPr>
            <p:cNvPr id="541" name="Google Shape;470;p7">
              <a:extLst>
                <a:ext uri="{FF2B5EF4-FFF2-40B4-BE49-F238E27FC236}">
                  <a16:creationId xmlns:a16="http://schemas.microsoft.com/office/drawing/2014/main" id="{D2260C49-5DAD-464A-A3BF-C8B91F12F74B}"/>
                </a:ext>
              </a:extLst>
            </p:cNvPr>
            <p:cNvSpPr/>
            <p:nvPr/>
          </p:nvSpPr>
          <p:spPr>
            <a:xfrm rot="-2376886">
              <a:off x="1254370" y="2175239"/>
              <a:ext cx="101588" cy="45719"/>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cxnSp>
          <p:nvCxnSpPr>
            <p:cNvPr id="542" name="Google Shape;471;p7">
              <a:extLst>
                <a:ext uri="{FF2B5EF4-FFF2-40B4-BE49-F238E27FC236}">
                  <a16:creationId xmlns:a16="http://schemas.microsoft.com/office/drawing/2014/main" id="{E616F4D2-082A-425C-827B-4D3D3B65B7D9}"/>
                </a:ext>
              </a:extLst>
            </p:cNvPr>
            <p:cNvCxnSpPr/>
            <p:nvPr/>
          </p:nvCxnSpPr>
          <p:spPr>
            <a:xfrm rot="10800000" flipH="1">
              <a:off x="1246534" y="2134785"/>
              <a:ext cx="99744" cy="76231"/>
            </a:xfrm>
            <a:prstGeom prst="straightConnector1">
              <a:avLst/>
            </a:prstGeom>
            <a:noFill/>
            <a:ln w="9525" cap="flat" cmpd="sng">
              <a:solidFill>
                <a:schemeClr val="dk2"/>
              </a:solidFill>
              <a:prstDash val="solid"/>
              <a:round/>
              <a:headEnd type="none" w="sm" len="sm"/>
              <a:tailEnd type="none" w="sm" len="sm"/>
            </a:ln>
          </p:spPr>
        </p:cxnSp>
        <p:cxnSp>
          <p:nvCxnSpPr>
            <p:cNvPr id="543" name="Google Shape;472;p7">
              <a:extLst>
                <a:ext uri="{FF2B5EF4-FFF2-40B4-BE49-F238E27FC236}">
                  <a16:creationId xmlns:a16="http://schemas.microsoft.com/office/drawing/2014/main" id="{0B21A065-AF2B-4048-B73F-65BC851D7D39}"/>
                </a:ext>
              </a:extLst>
            </p:cNvPr>
            <p:cNvCxnSpPr/>
            <p:nvPr/>
          </p:nvCxnSpPr>
          <p:spPr>
            <a:xfrm rot="10800000" flipH="1">
              <a:off x="1266406" y="2177909"/>
              <a:ext cx="99744" cy="76231"/>
            </a:xfrm>
            <a:prstGeom prst="straightConnector1">
              <a:avLst/>
            </a:prstGeom>
            <a:noFill/>
            <a:ln w="9525" cap="flat" cmpd="sng">
              <a:solidFill>
                <a:schemeClr val="dk2"/>
              </a:solidFill>
              <a:prstDash val="solid"/>
              <a:round/>
              <a:headEnd type="none" w="sm" len="sm"/>
              <a:tailEnd type="none" w="sm" len="sm"/>
            </a:ln>
          </p:spPr>
        </p:cxnSp>
      </p:grpSp>
      <p:cxnSp>
        <p:nvCxnSpPr>
          <p:cNvPr id="10" name="Straight Connector 9">
            <a:extLst>
              <a:ext uri="{FF2B5EF4-FFF2-40B4-BE49-F238E27FC236}">
                <a16:creationId xmlns:a16="http://schemas.microsoft.com/office/drawing/2014/main" id="{256824E7-F4A0-483E-BE5B-7CC9C0210140}"/>
              </a:ext>
            </a:extLst>
          </p:cNvPr>
          <p:cNvCxnSpPr/>
          <p:nvPr/>
        </p:nvCxnSpPr>
        <p:spPr>
          <a:xfrm>
            <a:off x="4572000" y="1238250"/>
            <a:ext cx="0" cy="3390899"/>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77AE421-8368-43F6-9753-A4077DC4DDCF}"/>
              </a:ext>
            </a:extLst>
          </p:cNvPr>
          <p:cNvCxnSpPr/>
          <p:nvPr/>
        </p:nvCxnSpPr>
        <p:spPr>
          <a:xfrm>
            <a:off x="381000" y="4629150"/>
            <a:ext cx="385053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4" name="Straight Connector 543">
            <a:extLst>
              <a:ext uri="{FF2B5EF4-FFF2-40B4-BE49-F238E27FC236}">
                <a16:creationId xmlns:a16="http://schemas.microsoft.com/office/drawing/2014/main" id="{767C3972-8FE4-4E5C-8DEC-E71E68132D88}"/>
              </a:ext>
            </a:extLst>
          </p:cNvPr>
          <p:cNvCxnSpPr/>
          <p:nvPr/>
        </p:nvCxnSpPr>
        <p:spPr>
          <a:xfrm>
            <a:off x="4912891" y="4629150"/>
            <a:ext cx="385053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546" name="Group 545">
            <a:extLst>
              <a:ext uri="{FF2B5EF4-FFF2-40B4-BE49-F238E27FC236}">
                <a16:creationId xmlns:a16="http://schemas.microsoft.com/office/drawing/2014/main" id="{50D16D32-2F3B-4FD8-B385-08008A7A269F}"/>
              </a:ext>
            </a:extLst>
          </p:cNvPr>
          <p:cNvGrpSpPr/>
          <p:nvPr/>
        </p:nvGrpSpPr>
        <p:grpSpPr>
          <a:xfrm>
            <a:off x="5130096" y="1315817"/>
            <a:ext cx="186763" cy="194510"/>
            <a:chOff x="2676525" y="5049838"/>
            <a:chExt cx="344488" cy="358776"/>
          </a:xfrm>
          <a:solidFill>
            <a:schemeClr val="bg1"/>
          </a:solidFill>
        </p:grpSpPr>
        <p:sp>
          <p:nvSpPr>
            <p:cNvPr id="547" name="Freeform 1028">
              <a:extLst>
                <a:ext uri="{FF2B5EF4-FFF2-40B4-BE49-F238E27FC236}">
                  <a16:creationId xmlns:a16="http://schemas.microsoft.com/office/drawing/2014/main" id="{B79696A5-43FE-41CC-8ACD-4265DE1A6BD8}"/>
                </a:ext>
              </a:extLst>
            </p:cNvPr>
            <p:cNvSpPr>
              <a:spLocks noEditPoints="1"/>
            </p:cNvSpPr>
            <p:nvPr/>
          </p:nvSpPr>
          <p:spPr bwMode="auto">
            <a:xfrm>
              <a:off x="2676525" y="5049838"/>
              <a:ext cx="344488" cy="58738"/>
            </a:xfrm>
            <a:custGeom>
              <a:avLst/>
              <a:gdLst>
                <a:gd name="T0" fmla="*/ 1488 w 1521"/>
                <a:gd name="T1" fmla="*/ 265 h 265"/>
                <a:gd name="T2" fmla="*/ 33 w 1521"/>
                <a:gd name="T3" fmla="*/ 265 h 265"/>
                <a:gd name="T4" fmla="*/ 33 w 1521"/>
                <a:gd name="T5" fmla="*/ 265 h 265"/>
                <a:gd name="T6" fmla="*/ 26 w 1521"/>
                <a:gd name="T7" fmla="*/ 264 h 265"/>
                <a:gd name="T8" fmla="*/ 20 w 1521"/>
                <a:gd name="T9" fmla="*/ 262 h 265"/>
                <a:gd name="T10" fmla="*/ 14 w 1521"/>
                <a:gd name="T11" fmla="*/ 259 h 265"/>
                <a:gd name="T12" fmla="*/ 9 w 1521"/>
                <a:gd name="T13" fmla="*/ 255 h 265"/>
                <a:gd name="T14" fmla="*/ 5 w 1521"/>
                <a:gd name="T15" fmla="*/ 251 h 265"/>
                <a:gd name="T16" fmla="*/ 2 w 1521"/>
                <a:gd name="T17" fmla="*/ 244 h 265"/>
                <a:gd name="T18" fmla="*/ 0 w 1521"/>
                <a:gd name="T19" fmla="*/ 238 h 265"/>
                <a:gd name="T20" fmla="*/ 0 w 1521"/>
                <a:gd name="T21" fmla="*/ 232 h 265"/>
                <a:gd name="T22" fmla="*/ 0 w 1521"/>
                <a:gd name="T23" fmla="*/ 33 h 265"/>
                <a:gd name="T24" fmla="*/ 0 w 1521"/>
                <a:gd name="T25" fmla="*/ 33 h 265"/>
                <a:gd name="T26" fmla="*/ 0 w 1521"/>
                <a:gd name="T27" fmla="*/ 27 h 265"/>
                <a:gd name="T28" fmla="*/ 2 w 1521"/>
                <a:gd name="T29" fmla="*/ 21 h 265"/>
                <a:gd name="T30" fmla="*/ 5 w 1521"/>
                <a:gd name="T31" fmla="*/ 15 h 265"/>
                <a:gd name="T32" fmla="*/ 9 w 1521"/>
                <a:gd name="T33" fmla="*/ 11 h 265"/>
                <a:gd name="T34" fmla="*/ 14 w 1521"/>
                <a:gd name="T35" fmla="*/ 6 h 265"/>
                <a:gd name="T36" fmla="*/ 20 w 1521"/>
                <a:gd name="T37" fmla="*/ 3 h 265"/>
                <a:gd name="T38" fmla="*/ 26 w 1521"/>
                <a:gd name="T39" fmla="*/ 1 h 265"/>
                <a:gd name="T40" fmla="*/ 33 w 1521"/>
                <a:gd name="T41" fmla="*/ 0 h 265"/>
                <a:gd name="T42" fmla="*/ 1488 w 1521"/>
                <a:gd name="T43" fmla="*/ 0 h 265"/>
                <a:gd name="T44" fmla="*/ 1488 w 1521"/>
                <a:gd name="T45" fmla="*/ 0 h 265"/>
                <a:gd name="T46" fmla="*/ 1494 w 1521"/>
                <a:gd name="T47" fmla="*/ 1 h 265"/>
                <a:gd name="T48" fmla="*/ 1501 w 1521"/>
                <a:gd name="T49" fmla="*/ 3 h 265"/>
                <a:gd name="T50" fmla="*/ 1507 w 1521"/>
                <a:gd name="T51" fmla="*/ 6 h 265"/>
                <a:gd name="T52" fmla="*/ 1511 w 1521"/>
                <a:gd name="T53" fmla="*/ 11 h 265"/>
                <a:gd name="T54" fmla="*/ 1515 w 1521"/>
                <a:gd name="T55" fmla="*/ 15 h 265"/>
                <a:gd name="T56" fmla="*/ 1518 w 1521"/>
                <a:gd name="T57" fmla="*/ 21 h 265"/>
                <a:gd name="T58" fmla="*/ 1520 w 1521"/>
                <a:gd name="T59" fmla="*/ 27 h 265"/>
                <a:gd name="T60" fmla="*/ 1521 w 1521"/>
                <a:gd name="T61" fmla="*/ 33 h 265"/>
                <a:gd name="T62" fmla="*/ 1521 w 1521"/>
                <a:gd name="T63" fmla="*/ 232 h 265"/>
                <a:gd name="T64" fmla="*/ 1521 w 1521"/>
                <a:gd name="T65" fmla="*/ 232 h 265"/>
                <a:gd name="T66" fmla="*/ 1520 w 1521"/>
                <a:gd name="T67" fmla="*/ 238 h 265"/>
                <a:gd name="T68" fmla="*/ 1518 w 1521"/>
                <a:gd name="T69" fmla="*/ 244 h 265"/>
                <a:gd name="T70" fmla="*/ 1515 w 1521"/>
                <a:gd name="T71" fmla="*/ 251 h 265"/>
                <a:gd name="T72" fmla="*/ 1511 w 1521"/>
                <a:gd name="T73" fmla="*/ 255 h 265"/>
                <a:gd name="T74" fmla="*/ 1507 w 1521"/>
                <a:gd name="T75" fmla="*/ 259 h 265"/>
                <a:gd name="T76" fmla="*/ 1501 w 1521"/>
                <a:gd name="T77" fmla="*/ 262 h 265"/>
                <a:gd name="T78" fmla="*/ 1494 w 1521"/>
                <a:gd name="T79" fmla="*/ 264 h 265"/>
                <a:gd name="T80" fmla="*/ 1488 w 1521"/>
                <a:gd name="T81" fmla="*/ 265 h 265"/>
                <a:gd name="T82" fmla="*/ 1488 w 1521"/>
                <a:gd name="T83" fmla="*/ 265 h 265"/>
                <a:gd name="T84" fmla="*/ 66 w 1521"/>
                <a:gd name="T85" fmla="*/ 199 h 265"/>
                <a:gd name="T86" fmla="*/ 1455 w 1521"/>
                <a:gd name="T87" fmla="*/ 199 h 265"/>
                <a:gd name="T88" fmla="*/ 1455 w 1521"/>
                <a:gd name="T89" fmla="*/ 66 h 265"/>
                <a:gd name="T90" fmla="*/ 66 w 1521"/>
                <a:gd name="T91" fmla="*/ 66 h 265"/>
                <a:gd name="T92" fmla="*/ 66 w 1521"/>
                <a:gd name="T93" fmla="*/ 19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1" h="265">
                  <a:moveTo>
                    <a:pt x="1488" y="265"/>
                  </a:moveTo>
                  <a:lnTo>
                    <a:pt x="33" y="265"/>
                  </a:lnTo>
                  <a:lnTo>
                    <a:pt x="33" y="265"/>
                  </a:lnTo>
                  <a:lnTo>
                    <a:pt x="26" y="264"/>
                  </a:lnTo>
                  <a:lnTo>
                    <a:pt x="20" y="262"/>
                  </a:lnTo>
                  <a:lnTo>
                    <a:pt x="14" y="259"/>
                  </a:lnTo>
                  <a:lnTo>
                    <a:pt x="9" y="255"/>
                  </a:lnTo>
                  <a:lnTo>
                    <a:pt x="5" y="251"/>
                  </a:lnTo>
                  <a:lnTo>
                    <a:pt x="2" y="244"/>
                  </a:lnTo>
                  <a:lnTo>
                    <a:pt x="0" y="238"/>
                  </a:lnTo>
                  <a:lnTo>
                    <a:pt x="0" y="232"/>
                  </a:lnTo>
                  <a:lnTo>
                    <a:pt x="0" y="33"/>
                  </a:lnTo>
                  <a:lnTo>
                    <a:pt x="0" y="33"/>
                  </a:lnTo>
                  <a:lnTo>
                    <a:pt x="0" y="27"/>
                  </a:lnTo>
                  <a:lnTo>
                    <a:pt x="2" y="21"/>
                  </a:lnTo>
                  <a:lnTo>
                    <a:pt x="5" y="15"/>
                  </a:lnTo>
                  <a:lnTo>
                    <a:pt x="9" y="11"/>
                  </a:lnTo>
                  <a:lnTo>
                    <a:pt x="14" y="6"/>
                  </a:lnTo>
                  <a:lnTo>
                    <a:pt x="20" y="3"/>
                  </a:lnTo>
                  <a:lnTo>
                    <a:pt x="26" y="1"/>
                  </a:lnTo>
                  <a:lnTo>
                    <a:pt x="33" y="0"/>
                  </a:lnTo>
                  <a:lnTo>
                    <a:pt x="1488" y="0"/>
                  </a:lnTo>
                  <a:lnTo>
                    <a:pt x="1488" y="0"/>
                  </a:lnTo>
                  <a:lnTo>
                    <a:pt x="1494" y="1"/>
                  </a:lnTo>
                  <a:lnTo>
                    <a:pt x="1501" y="3"/>
                  </a:lnTo>
                  <a:lnTo>
                    <a:pt x="1507" y="6"/>
                  </a:lnTo>
                  <a:lnTo>
                    <a:pt x="1511" y="11"/>
                  </a:lnTo>
                  <a:lnTo>
                    <a:pt x="1515" y="15"/>
                  </a:lnTo>
                  <a:lnTo>
                    <a:pt x="1518" y="21"/>
                  </a:lnTo>
                  <a:lnTo>
                    <a:pt x="1520" y="27"/>
                  </a:lnTo>
                  <a:lnTo>
                    <a:pt x="1521" y="33"/>
                  </a:lnTo>
                  <a:lnTo>
                    <a:pt x="1521" y="232"/>
                  </a:lnTo>
                  <a:lnTo>
                    <a:pt x="1521" y="232"/>
                  </a:lnTo>
                  <a:lnTo>
                    <a:pt x="1520" y="238"/>
                  </a:lnTo>
                  <a:lnTo>
                    <a:pt x="1518" y="244"/>
                  </a:lnTo>
                  <a:lnTo>
                    <a:pt x="1515" y="251"/>
                  </a:lnTo>
                  <a:lnTo>
                    <a:pt x="1511" y="255"/>
                  </a:lnTo>
                  <a:lnTo>
                    <a:pt x="1507" y="259"/>
                  </a:lnTo>
                  <a:lnTo>
                    <a:pt x="1501" y="262"/>
                  </a:lnTo>
                  <a:lnTo>
                    <a:pt x="1494" y="264"/>
                  </a:lnTo>
                  <a:lnTo>
                    <a:pt x="1488" y="265"/>
                  </a:lnTo>
                  <a:lnTo>
                    <a:pt x="1488" y="265"/>
                  </a:lnTo>
                  <a:close/>
                  <a:moveTo>
                    <a:pt x="66" y="199"/>
                  </a:moveTo>
                  <a:lnTo>
                    <a:pt x="1455" y="199"/>
                  </a:lnTo>
                  <a:lnTo>
                    <a:pt x="1455" y="66"/>
                  </a:lnTo>
                  <a:lnTo>
                    <a:pt x="66" y="66"/>
                  </a:lnTo>
                  <a:lnTo>
                    <a:pt x="66" y="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48" name="Freeform 1029">
              <a:extLst>
                <a:ext uri="{FF2B5EF4-FFF2-40B4-BE49-F238E27FC236}">
                  <a16:creationId xmlns:a16="http://schemas.microsoft.com/office/drawing/2014/main" id="{5D754118-1AE8-43C5-BA33-C4159353F9E9}"/>
                </a:ext>
              </a:extLst>
            </p:cNvPr>
            <p:cNvSpPr>
              <a:spLocks/>
            </p:cNvSpPr>
            <p:nvPr/>
          </p:nvSpPr>
          <p:spPr bwMode="auto">
            <a:xfrm>
              <a:off x="2676525" y="5303838"/>
              <a:ext cx="344488" cy="15875"/>
            </a:xfrm>
            <a:custGeom>
              <a:avLst/>
              <a:gdLst>
                <a:gd name="T0" fmla="*/ 1485 w 1518"/>
                <a:gd name="T1" fmla="*/ 66 h 66"/>
                <a:gd name="T2" fmla="*/ 33 w 1518"/>
                <a:gd name="T3" fmla="*/ 66 h 66"/>
                <a:gd name="T4" fmla="*/ 33 w 1518"/>
                <a:gd name="T5" fmla="*/ 66 h 66"/>
                <a:gd name="T6" fmla="*/ 27 w 1518"/>
                <a:gd name="T7" fmla="*/ 66 h 66"/>
                <a:gd name="T8" fmla="*/ 21 w 1518"/>
                <a:gd name="T9" fmla="*/ 64 h 66"/>
                <a:gd name="T10" fmla="*/ 15 w 1518"/>
                <a:gd name="T11" fmla="*/ 60 h 66"/>
                <a:gd name="T12" fmla="*/ 10 w 1518"/>
                <a:gd name="T13" fmla="*/ 56 h 66"/>
                <a:gd name="T14" fmla="*/ 6 w 1518"/>
                <a:gd name="T15" fmla="*/ 51 h 66"/>
                <a:gd name="T16" fmla="*/ 3 w 1518"/>
                <a:gd name="T17" fmla="*/ 46 h 66"/>
                <a:gd name="T18" fmla="*/ 1 w 1518"/>
                <a:gd name="T19" fmla="*/ 40 h 66"/>
                <a:gd name="T20" fmla="*/ 0 w 1518"/>
                <a:gd name="T21" fmla="*/ 33 h 66"/>
                <a:gd name="T22" fmla="*/ 0 w 1518"/>
                <a:gd name="T23" fmla="*/ 33 h 66"/>
                <a:gd name="T24" fmla="*/ 1 w 1518"/>
                <a:gd name="T25" fmla="*/ 26 h 66"/>
                <a:gd name="T26" fmla="*/ 3 w 1518"/>
                <a:gd name="T27" fmla="*/ 20 h 66"/>
                <a:gd name="T28" fmla="*/ 6 w 1518"/>
                <a:gd name="T29" fmla="*/ 15 h 66"/>
                <a:gd name="T30" fmla="*/ 10 w 1518"/>
                <a:gd name="T31" fmla="*/ 10 h 66"/>
                <a:gd name="T32" fmla="*/ 15 w 1518"/>
                <a:gd name="T33" fmla="*/ 6 h 66"/>
                <a:gd name="T34" fmla="*/ 21 w 1518"/>
                <a:gd name="T35" fmla="*/ 2 h 66"/>
                <a:gd name="T36" fmla="*/ 27 w 1518"/>
                <a:gd name="T37" fmla="*/ 0 h 66"/>
                <a:gd name="T38" fmla="*/ 33 w 1518"/>
                <a:gd name="T39" fmla="*/ 0 h 66"/>
                <a:gd name="T40" fmla="*/ 1485 w 1518"/>
                <a:gd name="T41" fmla="*/ 0 h 66"/>
                <a:gd name="T42" fmla="*/ 1485 w 1518"/>
                <a:gd name="T43" fmla="*/ 0 h 66"/>
                <a:gd name="T44" fmla="*/ 1492 w 1518"/>
                <a:gd name="T45" fmla="*/ 0 h 66"/>
                <a:gd name="T46" fmla="*/ 1499 w 1518"/>
                <a:gd name="T47" fmla="*/ 2 h 66"/>
                <a:gd name="T48" fmla="*/ 1504 w 1518"/>
                <a:gd name="T49" fmla="*/ 6 h 66"/>
                <a:gd name="T50" fmla="*/ 1509 w 1518"/>
                <a:gd name="T51" fmla="*/ 10 h 66"/>
                <a:gd name="T52" fmla="*/ 1513 w 1518"/>
                <a:gd name="T53" fmla="*/ 15 h 66"/>
                <a:gd name="T54" fmla="*/ 1516 w 1518"/>
                <a:gd name="T55" fmla="*/ 20 h 66"/>
                <a:gd name="T56" fmla="*/ 1518 w 1518"/>
                <a:gd name="T57" fmla="*/ 26 h 66"/>
                <a:gd name="T58" fmla="*/ 1518 w 1518"/>
                <a:gd name="T59" fmla="*/ 33 h 66"/>
                <a:gd name="T60" fmla="*/ 1518 w 1518"/>
                <a:gd name="T61" fmla="*/ 33 h 66"/>
                <a:gd name="T62" fmla="*/ 1518 w 1518"/>
                <a:gd name="T63" fmla="*/ 40 h 66"/>
                <a:gd name="T64" fmla="*/ 1516 w 1518"/>
                <a:gd name="T65" fmla="*/ 46 h 66"/>
                <a:gd name="T66" fmla="*/ 1513 w 1518"/>
                <a:gd name="T67" fmla="*/ 51 h 66"/>
                <a:gd name="T68" fmla="*/ 1509 w 1518"/>
                <a:gd name="T69" fmla="*/ 56 h 66"/>
                <a:gd name="T70" fmla="*/ 1504 w 1518"/>
                <a:gd name="T71" fmla="*/ 60 h 66"/>
                <a:gd name="T72" fmla="*/ 1499 w 1518"/>
                <a:gd name="T73" fmla="*/ 64 h 66"/>
                <a:gd name="T74" fmla="*/ 1492 w 1518"/>
                <a:gd name="T75" fmla="*/ 66 h 66"/>
                <a:gd name="T76" fmla="*/ 1485 w 1518"/>
                <a:gd name="T77" fmla="*/ 66 h 66"/>
                <a:gd name="T78" fmla="*/ 1485 w 1518"/>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 h="66">
                  <a:moveTo>
                    <a:pt x="1485" y="66"/>
                  </a:moveTo>
                  <a:lnTo>
                    <a:pt x="33" y="66"/>
                  </a:lnTo>
                  <a:lnTo>
                    <a:pt x="33" y="66"/>
                  </a:lnTo>
                  <a:lnTo>
                    <a:pt x="27" y="66"/>
                  </a:lnTo>
                  <a:lnTo>
                    <a:pt x="21" y="64"/>
                  </a:lnTo>
                  <a:lnTo>
                    <a:pt x="15" y="60"/>
                  </a:lnTo>
                  <a:lnTo>
                    <a:pt x="10" y="56"/>
                  </a:lnTo>
                  <a:lnTo>
                    <a:pt x="6" y="51"/>
                  </a:lnTo>
                  <a:lnTo>
                    <a:pt x="3" y="46"/>
                  </a:lnTo>
                  <a:lnTo>
                    <a:pt x="1" y="40"/>
                  </a:lnTo>
                  <a:lnTo>
                    <a:pt x="0" y="33"/>
                  </a:lnTo>
                  <a:lnTo>
                    <a:pt x="0" y="33"/>
                  </a:lnTo>
                  <a:lnTo>
                    <a:pt x="1" y="26"/>
                  </a:lnTo>
                  <a:lnTo>
                    <a:pt x="3" y="20"/>
                  </a:lnTo>
                  <a:lnTo>
                    <a:pt x="6" y="15"/>
                  </a:lnTo>
                  <a:lnTo>
                    <a:pt x="10" y="10"/>
                  </a:lnTo>
                  <a:lnTo>
                    <a:pt x="15" y="6"/>
                  </a:lnTo>
                  <a:lnTo>
                    <a:pt x="21" y="2"/>
                  </a:lnTo>
                  <a:lnTo>
                    <a:pt x="27" y="0"/>
                  </a:lnTo>
                  <a:lnTo>
                    <a:pt x="33" y="0"/>
                  </a:lnTo>
                  <a:lnTo>
                    <a:pt x="1485" y="0"/>
                  </a:lnTo>
                  <a:lnTo>
                    <a:pt x="1485" y="0"/>
                  </a:lnTo>
                  <a:lnTo>
                    <a:pt x="1492" y="0"/>
                  </a:lnTo>
                  <a:lnTo>
                    <a:pt x="1499" y="2"/>
                  </a:lnTo>
                  <a:lnTo>
                    <a:pt x="1504" y="6"/>
                  </a:lnTo>
                  <a:lnTo>
                    <a:pt x="1509" y="10"/>
                  </a:lnTo>
                  <a:lnTo>
                    <a:pt x="1513" y="15"/>
                  </a:lnTo>
                  <a:lnTo>
                    <a:pt x="1516" y="20"/>
                  </a:lnTo>
                  <a:lnTo>
                    <a:pt x="1518" y="26"/>
                  </a:lnTo>
                  <a:lnTo>
                    <a:pt x="1518" y="33"/>
                  </a:lnTo>
                  <a:lnTo>
                    <a:pt x="1518" y="33"/>
                  </a:lnTo>
                  <a:lnTo>
                    <a:pt x="1518" y="40"/>
                  </a:lnTo>
                  <a:lnTo>
                    <a:pt x="1516" y="46"/>
                  </a:lnTo>
                  <a:lnTo>
                    <a:pt x="1513" y="51"/>
                  </a:lnTo>
                  <a:lnTo>
                    <a:pt x="1509" y="56"/>
                  </a:lnTo>
                  <a:lnTo>
                    <a:pt x="1504" y="60"/>
                  </a:lnTo>
                  <a:lnTo>
                    <a:pt x="1499" y="64"/>
                  </a:lnTo>
                  <a:lnTo>
                    <a:pt x="1492" y="66"/>
                  </a:lnTo>
                  <a:lnTo>
                    <a:pt x="1485" y="66"/>
                  </a:lnTo>
                  <a:lnTo>
                    <a:pt x="1485"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49" name="Freeform 1030">
              <a:extLst>
                <a:ext uri="{FF2B5EF4-FFF2-40B4-BE49-F238E27FC236}">
                  <a16:creationId xmlns:a16="http://schemas.microsoft.com/office/drawing/2014/main" id="{685BDF99-42E6-4105-82CF-AB894A2AC626}"/>
                </a:ext>
              </a:extLst>
            </p:cNvPr>
            <p:cNvSpPr>
              <a:spLocks noEditPoints="1"/>
            </p:cNvSpPr>
            <p:nvPr/>
          </p:nvSpPr>
          <p:spPr bwMode="auto">
            <a:xfrm>
              <a:off x="2706688" y="5094288"/>
              <a:ext cx="284163" cy="225425"/>
            </a:xfrm>
            <a:custGeom>
              <a:avLst/>
              <a:gdLst>
                <a:gd name="T0" fmla="*/ 1224 w 1257"/>
                <a:gd name="T1" fmla="*/ 992 h 992"/>
                <a:gd name="T2" fmla="*/ 34 w 1257"/>
                <a:gd name="T3" fmla="*/ 992 h 992"/>
                <a:gd name="T4" fmla="*/ 34 w 1257"/>
                <a:gd name="T5" fmla="*/ 992 h 992"/>
                <a:gd name="T6" fmla="*/ 26 w 1257"/>
                <a:gd name="T7" fmla="*/ 992 h 992"/>
                <a:gd name="T8" fmla="*/ 20 w 1257"/>
                <a:gd name="T9" fmla="*/ 990 h 992"/>
                <a:gd name="T10" fmla="*/ 15 w 1257"/>
                <a:gd name="T11" fmla="*/ 986 h 992"/>
                <a:gd name="T12" fmla="*/ 10 w 1257"/>
                <a:gd name="T13" fmla="*/ 982 h 992"/>
                <a:gd name="T14" fmla="*/ 6 w 1257"/>
                <a:gd name="T15" fmla="*/ 977 h 992"/>
                <a:gd name="T16" fmla="*/ 3 w 1257"/>
                <a:gd name="T17" fmla="*/ 972 h 992"/>
                <a:gd name="T18" fmla="*/ 0 w 1257"/>
                <a:gd name="T19" fmla="*/ 966 h 992"/>
                <a:gd name="T20" fmla="*/ 0 w 1257"/>
                <a:gd name="T21" fmla="*/ 959 h 992"/>
                <a:gd name="T22" fmla="*/ 0 w 1257"/>
                <a:gd name="T23" fmla="*/ 33 h 992"/>
                <a:gd name="T24" fmla="*/ 0 w 1257"/>
                <a:gd name="T25" fmla="*/ 33 h 992"/>
                <a:gd name="T26" fmla="*/ 0 w 1257"/>
                <a:gd name="T27" fmla="*/ 26 h 992"/>
                <a:gd name="T28" fmla="*/ 3 w 1257"/>
                <a:gd name="T29" fmla="*/ 20 h 992"/>
                <a:gd name="T30" fmla="*/ 6 w 1257"/>
                <a:gd name="T31" fmla="*/ 14 h 992"/>
                <a:gd name="T32" fmla="*/ 10 w 1257"/>
                <a:gd name="T33" fmla="*/ 9 h 992"/>
                <a:gd name="T34" fmla="*/ 15 w 1257"/>
                <a:gd name="T35" fmla="*/ 5 h 992"/>
                <a:gd name="T36" fmla="*/ 20 w 1257"/>
                <a:gd name="T37" fmla="*/ 2 h 992"/>
                <a:gd name="T38" fmla="*/ 26 w 1257"/>
                <a:gd name="T39" fmla="*/ 1 h 992"/>
                <a:gd name="T40" fmla="*/ 34 w 1257"/>
                <a:gd name="T41" fmla="*/ 0 h 992"/>
                <a:gd name="T42" fmla="*/ 1224 w 1257"/>
                <a:gd name="T43" fmla="*/ 0 h 992"/>
                <a:gd name="T44" fmla="*/ 1224 w 1257"/>
                <a:gd name="T45" fmla="*/ 0 h 992"/>
                <a:gd name="T46" fmla="*/ 1230 w 1257"/>
                <a:gd name="T47" fmla="*/ 1 h 992"/>
                <a:gd name="T48" fmla="*/ 1236 w 1257"/>
                <a:gd name="T49" fmla="*/ 2 h 992"/>
                <a:gd name="T50" fmla="*/ 1242 w 1257"/>
                <a:gd name="T51" fmla="*/ 5 h 992"/>
                <a:gd name="T52" fmla="*/ 1246 w 1257"/>
                <a:gd name="T53" fmla="*/ 9 h 992"/>
                <a:gd name="T54" fmla="*/ 1251 w 1257"/>
                <a:gd name="T55" fmla="*/ 14 h 992"/>
                <a:gd name="T56" fmla="*/ 1254 w 1257"/>
                <a:gd name="T57" fmla="*/ 20 h 992"/>
                <a:gd name="T58" fmla="*/ 1256 w 1257"/>
                <a:gd name="T59" fmla="*/ 26 h 992"/>
                <a:gd name="T60" fmla="*/ 1257 w 1257"/>
                <a:gd name="T61" fmla="*/ 33 h 992"/>
                <a:gd name="T62" fmla="*/ 1257 w 1257"/>
                <a:gd name="T63" fmla="*/ 959 h 992"/>
                <a:gd name="T64" fmla="*/ 1257 w 1257"/>
                <a:gd name="T65" fmla="*/ 959 h 992"/>
                <a:gd name="T66" fmla="*/ 1256 w 1257"/>
                <a:gd name="T67" fmla="*/ 966 h 992"/>
                <a:gd name="T68" fmla="*/ 1254 w 1257"/>
                <a:gd name="T69" fmla="*/ 972 h 992"/>
                <a:gd name="T70" fmla="*/ 1251 w 1257"/>
                <a:gd name="T71" fmla="*/ 977 h 992"/>
                <a:gd name="T72" fmla="*/ 1246 w 1257"/>
                <a:gd name="T73" fmla="*/ 982 h 992"/>
                <a:gd name="T74" fmla="*/ 1242 w 1257"/>
                <a:gd name="T75" fmla="*/ 986 h 992"/>
                <a:gd name="T76" fmla="*/ 1236 w 1257"/>
                <a:gd name="T77" fmla="*/ 990 h 992"/>
                <a:gd name="T78" fmla="*/ 1230 w 1257"/>
                <a:gd name="T79" fmla="*/ 992 h 992"/>
                <a:gd name="T80" fmla="*/ 1224 w 1257"/>
                <a:gd name="T81" fmla="*/ 992 h 992"/>
                <a:gd name="T82" fmla="*/ 1224 w 1257"/>
                <a:gd name="T83" fmla="*/ 992 h 992"/>
                <a:gd name="T84" fmla="*/ 67 w 1257"/>
                <a:gd name="T85" fmla="*/ 926 h 992"/>
                <a:gd name="T86" fmla="*/ 1191 w 1257"/>
                <a:gd name="T87" fmla="*/ 926 h 992"/>
                <a:gd name="T88" fmla="*/ 1191 w 1257"/>
                <a:gd name="T89" fmla="*/ 66 h 992"/>
                <a:gd name="T90" fmla="*/ 67 w 1257"/>
                <a:gd name="T91" fmla="*/ 66 h 992"/>
                <a:gd name="T92" fmla="*/ 67 w 1257"/>
                <a:gd name="T93" fmla="*/ 92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7" h="992">
                  <a:moveTo>
                    <a:pt x="1224" y="992"/>
                  </a:moveTo>
                  <a:lnTo>
                    <a:pt x="34" y="992"/>
                  </a:lnTo>
                  <a:lnTo>
                    <a:pt x="34" y="992"/>
                  </a:lnTo>
                  <a:lnTo>
                    <a:pt x="26" y="992"/>
                  </a:lnTo>
                  <a:lnTo>
                    <a:pt x="20" y="990"/>
                  </a:lnTo>
                  <a:lnTo>
                    <a:pt x="15" y="986"/>
                  </a:lnTo>
                  <a:lnTo>
                    <a:pt x="10" y="982"/>
                  </a:lnTo>
                  <a:lnTo>
                    <a:pt x="6" y="977"/>
                  </a:lnTo>
                  <a:lnTo>
                    <a:pt x="3" y="972"/>
                  </a:lnTo>
                  <a:lnTo>
                    <a:pt x="0" y="966"/>
                  </a:lnTo>
                  <a:lnTo>
                    <a:pt x="0" y="959"/>
                  </a:lnTo>
                  <a:lnTo>
                    <a:pt x="0" y="33"/>
                  </a:lnTo>
                  <a:lnTo>
                    <a:pt x="0" y="33"/>
                  </a:lnTo>
                  <a:lnTo>
                    <a:pt x="0" y="26"/>
                  </a:lnTo>
                  <a:lnTo>
                    <a:pt x="3" y="20"/>
                  </a:lnTo>
                  <a:lnTo>
                    <a:pt x="6" y="14"/>
                  </a:lnTo>
                  <a:lnTo>
                    <a:pt x="10" y="9"/>
                  </a:lnTo>
                  <a:lnTo>
                    <a:pt x="15" y="5"/>
                  </a:lnTo>
                  <a:lnTo>
                    <a:pt x="20" y="2"/>
                  </a:lnTo>
                  <a:lnTo>
                    <a:pt x="26" y="1"/>
                  </a:lnTo>
                  <a:lnTo>
                    <a:pt x="34" y="0"/>
                  </a:lnTo>
                  <a:lnTo>
                    <a:pt x="1224" y="0"/>
                  </a:lnTo>
                  <a:lnTo>
                    <a:pt x="1224" y="0"/>
                  </a:lnTo>
                  <a:lnTo>
                    <a:pt x="1230" y="1"/>
                  </a:lnTo>
                  <a:lnTo>
                    <a:pt x="1236" y="2"/>
                  </a:lnTo>
                  <a:lnTo>
                    <a:pt x="1242" y="5"/>
                  </a:lnTo>
                  <a:lnTo>
                    <a:pt x="1246" y="9"/>
                  </a:lnTo>
                  <a:lnTo>
                    <a:pt x="1251" y="14"/>
                  </a:lnTo>
                  <a:lnTo>
                    <a:pt x="1254" y="20"/>
                  </a:lnTo>
                  <a:lnTo>
                    <a:pt x="1256" y="26"/>
                  </a:lnTo>
                  <a:lnTo>
                    <a:pt x="1257" y="33"/>
                  </a:lnTo>
                  <a:lnTo>
                    <a:pt x="1257" y="959"/>
                  </a:lnTo>
                  <a:lnTo>
                    <a:pt x="1257" y="959"/>
                  </a:lnTo>
                  <a:lnTo>
                    <a:pt x="1256" y="966"/>
                  </a:lnTo>
                  <a:lnTo>
                    <a:pt x="1254" y="972"/>
                  </a:lnTo>
                  <a:lnTo>
                    <a:pt x="1251" y="977"/>
                  </a:lnTo>
                  <a:lnTo>
                    <a:pt x="1246" y="982"/>
                  </a:lnTo>
                  <a:lnTo>
                    <a:pt x="1242" y="986"/>
                  </a:lnTo>
                  <a:lnTo>
                    <a:pt x="1236" y="990"/>
                  </a:lnTo>
                  <a:lnTo>
                    <a:pt x="1230" y="992"/>
                  </a:lnTo>
                  <a:lnTo>
                    <a:pt x="1224" y="992"/>
                  </a:lnTo>
                  <a:lnTo>
                    <a:pt x="1224" y="992"/>
                  </a:lnTo>
                  <a:close/>
                  <a:moveTo>
                    <a:pt x="67" y="926"/>
                  </a:moveTo>
                  <a:lnTo>
                    <a:pt x="1191" y="926"/>
                  </a:lnTo>
                  <a:lnTo>
                    <a:pt x="1191" y="66"/>
                  </a:lnTo>
                  <a:lnTo>
                    <a:pt x="67" y="66"/>
                  </a:lnTo>
                  <a:lnTo>
                    <a:pt x="67" y="9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50" name="Rectangle 1031">
              <a:extLst>
                <a:ext uri="{FF2B5EF4-FFF2-40B4-BE49-F238E27FC236}">
                  <a16:creationId xmlns:a16="http://schemas.microsoft.com/office/drawing/2014/main" id="{56DF7150-08EB-462C-9D8E-325EFA79BF54}"/>
                </a:ext>
              </a:extLst>
            </p:cNvPr>
            <p:cNvSpPr>
              <a:spLocks noChangeArrowheads="1"/>
            </p:cNvSpPr>
            <p:nvPr/>
          </p:nvSpPr>
          <p:spPr bwMode="auto">
            <a:xfrm>
              <a:off x="2841625" y="5311776"/>
              <a:ext cx="1428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51" name="Freeform 1032">
              <a:extLst>
                <a:ext uri="{FF2B5EF4-FFF2-40B4-BE49-F238E27FC236}">
                  <a16:creationId xmlns:a16="http://schemas.microsoft.com/office/drawing/2014/main" id="{73B1CA9C-DA4E-463D-8EAF-4B764C8AF155}"/>
                </a:ext>
              </a:extLst>
            </p:cNvPr>
            <p:cNvSpPr>
              <a:spLocks noEditPoints="1"/>
            </p:cNvSpPr>
            <p:nvPr/>
          </p:nvSpPr>
          <p:spPr bwMode="auto">
            <a:xfrm>
              <a:off x="2819400" y="5349876"/>
              <a:ext cx="60325" cy="58738"/>
            </a:xfrm>
            <a:custGeom>
              <a:avLst/>
              <a:gdLst>
                <a:gd name="T0" fmla="*/ 119 w 265"/>
                <a:gd name="T1" fmla="*/ 264 h 265"/>
                <a:gd name="T2" fmla="*/ 81 w 265"/>
                <a:gd name="T3" fmla="*/ 255 h 265"/>
                <a:gd name="T4" fmla="*/ 48 w 265"/>
                <a:gd name="T5" fmla="*/ 235 h 265"/>
                <a:gd name="T6" fmla="*/ 23 w 265"/>
                <a:gd name="T7" fmla="*/ 206 h 265"/>
                <a:gd name="T8" fmla="*/ 6 w 265"/>
                <a:gd name="T9" fmla="*/ 172 h 265"/>
                <a:gd name="T10" fmla="*/ 0 w 265"/>
                <a:gd name="T11" fmla="*/ 133 h 265"/>
                <a:gd name="T12" fmla="*/ 3 w 265"/>
                <a:gd name="T13" fmla="*/ 106 h 265"/>
                <a:gd name="T14" fmla="*/ 16 w 265"/>
                <a:gd name="T15" fmla="*/ 69 h 265"/>
                <a:gd name="T16" fmla="*/ 38 w 265"/>
                <a:gd name="T17" fmla="*/ 39 h 265"/>
                <a:gd name="T18" fmla="*/ 69 w 265"/>
                <a:gd name="T19" fmla="*/ 17 h 265"/>
                <a:gd name="T20" fmla="*/ 106 w 265"/>
                <a:gd name="T21" fmla="*/ 3 h 265"/>
                <a:gd name="T22" fmla="*/ 133 w 265"/>
                <a:gd name="T23" fmla="*/ 0 h 265"/>
                <a:gd name="T24" fmla="*/ 172 w 265"/>
                <a:gd name="T25" fmla="*/ 6 h 265"/>
                <a:gd name="T26" fmla="*/ 206 w 265"/>
                <a:gd name="T27" fmla="*/ 23 h 265"/>
                <a:gd name="T28" fmla="*/ 234 w 265"/>
                <a:gd name="T29" fmla="*/ 49 h 265"/>
                <a:gd name="T30" fmla="*/ 254 w 265"/>
                <a:gd name="T31" fmla="*/ 81 h 265"/>
                <a:gd name="T32" fmla="*/ 264 w 265"/>
                <a:gd name="T33" fmla="*/ 119 h 265"/>
                <a:gd name="T34" fmla="*/ 264 w 265"/>
                <a:gd name="T35" fmla="*/ 146 h 265"/>
                <a:gd name="T36" fmla="*/ 254 w 265"/>
                <a:gd name="T37" fmla="*/ 184 h 265"/>
                <a:gd name="T38" fmla="*/ 234 w 265"/>
                <a:gd name="T39" fmla="*/ 216 h 265"/>
                <a:gd name="T40" fmla="*/ 206 w 265"/>
                <a:gd name="T41" fmla="*/ 242 h 265"/>
                <a:gd name="T42" fmla="*/ 172 w 265"/>
                <a:gd name="T43" fmla="*/ 259 h 265"/>
                <a:gd name="T44" fmla="*/ 133 w 265"/>
                <a:gd name="T45" fmla="*/ 265 h 265"/>
                <a:gd name="T46" fmla="*/ 133 w 265"/>
                <a:gd name="T47" fmla="*/ 66 h 265"/>
                <a:gd name="T48" fmla="*/ 113 w 265"/>
                <a:gd name="T49" fmla="*/ 69 h 265"/>
                <a:gd name="T50" fmla="*/ 95 w 265"/>
                <a:gd name="T51" fmla="*/ 78 h 265"/>
                <a:gd name="T52" fmla="*/ 75 w 265"/>
                <a:gd name="T53" fmla="*/ 102 h 265"/>
                <a:gd name="T54" fmla="*/ 67 w 265"/>
                <a:gd name="T55" fmla="*/ 119 h 265"/>
                <a:gd name="T56" fmla="*/ 66 w 265"/>
                <a:gd name="T57" fmla="*/ 133 h 265"/>
                <a:gd name="T58" fmla="*/ 69 w 265"/>
                <a:gd name="T59" fmla="*/ 152 h 265"/>
                <a:gd name="T60" fmla="*/ 78 w 265"/>
                <a:gd name="T61" fmla="*/ 170 h 265"/>
                <a:gd name="T62" fmla="*/ 101 w 265"/>
                <a:gd name="T63" fmla="*/ 191 h 265"/>
                <a:gd name="T64" fmla="*/ 119 w 265"/>
                <a:gd name="T65" fmla="*/ 198 h 265"/>
                <a:gd name="T66" fmla="*/ 133 w 265"/>
                <a:gd name="T67" fmla="*/ 199 h 265"/>
                <a:gd name="T68" fmla="*/ 152 w 265"/>
                <a:gd name="T69" fmla="*/ 196 h 265"/>
                <a:gd name="T70" fmla="*/ 169 w 265"/>
                <a:gd name="T71" fmla="*/ 188 h 265"/>
                <a:gd name="T72" fmla="*/ 191 w 265"/>
                <a:gd name="T73" fmla="*/ 165 h 265"/>
                <a:gd name="T74" fmla="*/ 197 w 265"/>
                <a:gd name="T75" fmla="*/ 146 h 265"/>
                <a:gd name="T76" fmla="*/ 199 w 265"/>
                <a:gd name="T77" fmla="*/ 133 h 265"/>
                <a:gd name="T78" fmla="*/ 196 w 265"/>
                <a:gd name="T79" fmla="*/ 113 h 265"/>
                <a:gd name="T80" fmla="*/ 187 w 265"/>
                <a:gd name="T81" fmla="*/ 95 h 265"/>
                <a:gd name="T82" fmla="*/ 164 w 265"/>
                <a:gd name="T83" fmla="*/ 75 h 265"/>
                <a:gd name="T84" fmla="*/ 146 w 265"/>
                <a:gd name="T85" fmla="*/ 67 h 265"/>
                <a:gd name="T86" fmla="*/ 133 w 265"/>
                <a:gd name="T87" fmla="*/ 6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5" h="265">
                  <a:moveTo>
                    <a:pt x="133" y="265"/>
                  </a:moveTo>
                  <a:lnTo>
                    <a:pt x="133" y="265"/>
                  </a:lnTo>
                  <a:lnTo>
                    <a:pt x="119" y="264"/>
                  </a:lnTo>
                  <a:lnTo>
                    <a:pt x="106" y="262"/>
                  </a:lnTo>
                  <a:lnTo>
                    <a:pt x="93" y="259"/>
                  </a:lnTo>
                  <a:lnTo>
                    <a:pt x="81" y="255"/>
                  </a:lnTo>
                  <a:lnTo>
                    <a:pt x="69" y="249"/>
                  </a:lnTo>
                  <a:lnTo>
                    <a:pt x="58" y="242"/>
                  </a:lnTo>
                  <a:lnTo>
                    <a:pt x="48" y="235"/>
                  </a:lnTo>
                  <a:lnTo>
                    <a:pt x="38" y="226"/>
                  </a:lnTo>
                  <a:lnTo>
                    <a:pt x="30" y="216"/>
                  </a:lnTo>
                  <a:lnTo>
                    <a:pt x="23" y="206"/>
                  </a:lnTo>
                  <a:lnTo>
                    <a:pt x="16" y="196"/>
                  </a:lnTo>
                  <a:lnTo>
                    <a:pt x="11" y="184"/>
                  </a:lnTo>
                  <a:lnTo>
                    <a:pt x="6" y="172"/>
                  </a:lnTo>
                  <a:lnTo>
                    <a:pt x="3" y="160"/>
                  </a:lnTo>
                  <a:lnTo>
                    <a:pt x="1" y="146"/>
                  </a:lnTo>
                  <a:lnTo>
                    <a:pt x="0" y="133"/>
                  </a:lnTo>
                  <a:lnTo>
                    <a:pt x="0" y="133"/>
                  </a:lnTo>
                  <a:lnTo>
                    <a:pt x="1" y="119"/>
                  </a:lnTo>
                  <a:lnTo>
                    <a:pt x="3" y="106"/>
                  </a:lnTo>
                  <a:lnTo>
                    <a:pt x="6" y="93"/>
                  </a:lnTo>
                  <a:lnTo>
                    <a:pt x="11" y="81"/>
                  </a:lnTo>
                  <a:lnTo>
                    <a:pt x="16" y="69"/>
                  </a:lnTo>
                  <a:lnTo>
                    <a:pt x="23" y="59"/>
                  </a:lnTo>
                  <a:lnTo>
                    <a:pt x="30" y="49"/>
                  </a:lnTo>
                  <a:lnTo>
                    <a:pt x="38" y="39"/>
                  </a:lnTo>
                  <a:lnTo>
                    <a:pt x="48" y="30"/>
                  </a:lnTo>
                  <a:lnTo>
                    <a:pt x="58" y="23"/>
                  </a:lnTo>
                  <a:lnTo>
                    <a:pt x="69" y="17"/>
                  </a:lnTo>
                  <a:lnTo>
                    <a:pt x="81" y="10"/>
                  </a:lnTo>
                  <a:lnTo>
                    <a:pt x="93" y="6"/>
                  </a:lnTo>
                  <a:lnTo>
                    <a:pt x="106" y="3"/>
                  </a:lnTo>
                  <a:lnTo>
                    <a:pt x="119" y="1"/>
                  </a:lnTo>
                  <a:lnTo>
                    <a:pt x="133" y="0"/>
                  </a:lnTo>
                  <a:lnTo>
                    <a:pt x="133" y="0"/>
                  </a:lnTo>
                  <a:lnTo>
                    <a:pt x="146" y="1"/>
                  </a:lnTo>
                  <a:lnTo>
                    <a:pt x="158" y="3"/>
                  </a:lnTo>
                  <a:lnTo>
                    <a:pt x="172" y="6"/>
                  </a:lnTo>
                  <a:lnTo>
                    <a:pt x="183" y="10"/>
                  </a:lnTo>
                  <a:lnTo>
                    <a:pt x="196" y="17"/>
                  </a:lnTo>
                  <a:lnTo>
                    <a:pt x="206" y="23"/>
                  </a:lnTo>
                  <a:lnTo>
                    <a:pt x="216" y="30"/>
                  </a:lnTo>
                  <a:lnTo>
                    <a:pt x="226" y="39"/>
                  </a:lnTo>
                  <a:lnTo>
                    <a:pt x="234" y="49"/>
                  </a:lnTo>
                  <a:lnTo>
                    <a:pt x="242" y="59"/>
                  </a:lnTo>
                  <a:lnTo>
                    <a:pt x="249" y="69"/>
                  </a:lnTo>
                  <a:lnTo>
                    <a:pt x="254" y="81"/>
                  </a:lnTo>
                  <a:lnTo>
                    <a:pt x="259" y="93"/>
                  </a:lnTo>
                  <a:lnTo>
                    <a:pt x="262" y="106"/>
                  </a:lnTo>
                  <a:lnTo>
                    <a:pt x="264" y="119"/>
                  </a:lnTo>
                  <a:lnTo>
                    <a:pt x="265" y="133"/>
                  </a:lnTo>
                  <a:lnTo>
                    <a:pt x="265" y="133"/>
                  </a:lnTo>
                  <a:lnTo>
                    <a:pt x="264" y="146"/>
                  </a:lnTo>
                  <a:lnTo>
                    <a:pt x="262" y="160"/>
                  </a:lnTo>
                  <a:lnTo>
                    <a:pt x="259" y="172"/>
                  </a:lnTo>
                  <a:lnTo>
                    <a:pt x="254" y="184"/>
                  </a:lnTo>
                  <a:lnTo>
                    <a:pt x="249" y="196"/>
                  </a:lnTo>
                  <a:lnTo>
                    <a:pt x="242" y="206"/>
                  </a:lnTo>
                  <a:lnTo>
                    <a:pt x="234" y="216"/>
                  </a:lnTo>
                  <a:lnTo>
                    <a:pt x="226" y="226"/>
                  </a:lnTo>
                  <a:lnTo>
                    <a:pt x="216" y="235"/>
                  </a:lnTo>
                  <a:lnTo>
                    <a:pt x="206" y="242"/>
                  </a:lnTo>
                  <a:lnTo>
                    <a:pt x="196" y="249"/>
                  </a:lnTo>
                  <a:lnTo>
                    <a:pt x="183" y="255"/>
                  </a:lnTo>
                  <a:lnTo>
                    <a:pt x="172" y="259"/>
                  </a:lnTo>
                  <a:lnTo>
                    <a:pt x="158" y="262"/>
                  </a:lnTo>
                  <a:lnTo>
                    <a:pt x="146" y="264"/>
                  </a:lnTo>
                  <a:lnTo>
                    <a:pt x="133" y="265"/>
                  </a:lnTo>
                  <a:lnTo>
                    <a:pt x="133" y="265"/>
                  </a:lnTo>
                  <a:close/>
                  <a:moveTo>
                    <a:pt x="133" y="66"/>
                  </a:moveTo>
                  <a:lnTo>
                    <a:pt x="133" y="66"/>
                  </a:lnTo>
                  <a:lnTo>
                    <a:pt x="125" y="66"/>
                  </a:lnTo>
                  <a:lnTo>
                    <a:pt x="119" y="67"/>
                  </a:lnTo>
                  <a:lnTo>
                    <a:pt x="113" y="69"/>
                  </a:lnTo>
                  <a:lnTo>
                    <a:pt x="107" y="72"/>
                  </a:lnTo>
                  <a:lnTo>
                    <a:pt x="101" y="75"/>
                  </a:lnTo>
                  <a:lnTo>
                    <a:pt x="95" y="78"/>
                  </a:lnTo>
                  <a:lnTo>
                    <a:pt x="86" y="86"/>
                  </a:lnTo>
                  <a:lnTo>
                    <a:pt x="78" y="95"/>
                  </a:lnTo>
                  <a:lnTo>
                    <a:pt x="75" y="102"/>
                  </a:lnTo>
                  <a:lnTo>
                    <a:pt x="72" y="107"/>
                  </a:lnTo>
                  <a:lnTo>
                    <a:pt x="69" y="113"/>
                  </a:lnTo>
                  <a:lnTo>
                    <a:pt x="67" y="119"/>
                  </a:lnTo>
                  <a:lnTo>
                    <a:pt x="66" y="126"/>
                  </a:lnTo>
                  <a:lnTo>
                    <a:pt x="66" y="133"/>
                  </a:lnTo>
                  <a:lnTo>
                    <a:pt x="66" y="133"/>
                  </a:lnTo>
                  <a:lnTo>
                    <a:pt x="66" y="140"/>
                  </a:lnTo>
                  <a:lnTo>
                    <a:pt x="67" y="146"/>
                  </a:lnTo>
                  <a:lnTo>
                    <a:pt x="69" y="152"/>
                  </a:lnTo>
                  <a:lnTo>
                    <a:pt x="72" y="159"/>
                  </a:lnTo>
                  <a:lnTo>
                    <a:pt x="75" y="165"/>
                  </a:lnTo>
                  <a:lnTo>
                    <a:pt x="78" y="170"/>
                  </a:lnTo>
                  <a:lnTo>
                    <a:pt x="86" y="179"/>
                  </a:lnTo>
                  <a:lnTo>
                    <a:pt x="95" y="188"/>
                  </a:lnTo>
                  <a:lnTo>
                    <a:pt x="101" y="191"/>
                  </a:lnTo>
                  <a:lnTo>
                    <a:pt x="107" y="194"/>
                  </a:lnTo>
                  <a:lnTo>
                    <a:pt x="113" y="196"/>
                  </a:lnTo>
                  <a:lnTo>
                    <a:pt x="119" y="198"/>
                  </a:lnTo>
                  <a:lnTo>
                    <a:pt x="125" y="199"/>
                  </a:lnTo>
                  <a:lnTo>
                    <a:pt x="133" y="199"/>
                  </a:lnTo>
                  <a:lnTo>
                    <a:pt x="133" y="199"/>
                  </a:lnTo>
                  <a:lnTo>
                    <a:pt x="139" y="199"/>
                  </a:lnTo>
                  <a:lnTo>
                    <a:pt x="146" y="198"/>
                  </a:lnTo>
                  <a:lnTo>
                    <a:pt x="152" y="196"/>
                  </a:lnTo>
                  <a:lnTo>
                    <a:pt x="158" y="194"/>
                  </a:lnTo>
                  <a:lnTo>
                    <a:pt x="164" y="191"/>
                  </a:lnTo>
                  <a:lnTo>
                    <a:pt x="169" y="188"/>
                  </a:lnTo>
                  <a:lnTo>
                    <a:pt x="179" y="179"/>
                  </a:lnTo>
                  <a:lnTo>
                    <a:pt x="187" y="170"/>
                  </a:lnTo>
                  <a:lnTo>
                    <a:pt x="191" y="165"/>
                  </a:lnTo>
                  <a:lnTo>
                    <a:pt x="194" y="159"/>
                  </a:lnTo>
                  <a:lnTo>
                    <a:pt x="196" y="152"/>
                  </a:lnTo>
                  <a:lnTo>
                    <a:pt x="197" y="146"/>
                  </a:lnTo>
                  <a:lnTo>
                    <a:pt x="198" y="140"/>
                  </a:lnTo>
                  <a:lnTo>
                    <a:pt x="199" y="133"/>
                  </a:lnTo>
                  <a:lnTo>
                    <a:pt x="199" y="133"/>
                  </a:lnTo>
                  <a:lnTo>
                    <a:pt x="198" y="126"/>
                  </a:lnTo>
                  <a:lnTo>
                    <a:pt x="197" y="119"/>
                  </a:lnTo>
                  <a:lnTo>
                    <a:pt x="196" y="113"/>
                  </a:lnTo>
                  <a:lnTo>
                    <a:pt x="194" y="107"/>
                  </a:lnTo>
                  <a:lnTo>
                    <a:pt x="191" y="102"/>
                  </a:lnTo>
                  <a:lnTo>
                    <a:pt x="187" y="95"/>
                  </a:lnTo>
                  <a:lnTo>
                    <a:pt x="179" y="86"/>
                  </a:lnTo>
                  <a:lnTo>
                    <a:pt x="169" y="78"/>
                  </a:lnTo>
                  <a:lnTo>
                    <a:pt x="164" y="75"/>
                  </a:lnTo>
                  <a:lnTo>
                    <a:pt x="158" y="72"/>
                  </a:lnTo>
                  <a:lnTo>
                    <a:pt x="152" y="69"/>
                  </a:lnTo>
                  <a:lnTo>
                    <a:pt x="146" y="67"/>
                  </a:lnTo>
                  <a:lnTo>
                    <a:pt x="139" y="66"/>
                  </a:lnTo>
                  <a:lnTo>
                    <a:pt x="133" y="66"/>
                  </a:lnTo>
                  <a:lnTo>
                    <a:pt x="13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52" name="Freeform 1033">
              <a:extLst>
                <a:ext uri="{FF2B5EF4-FFF2-40B4-BE49-F238E27FC236}">
                  <a16:creationId xmlns:a16="http://schemas.microsoft.com/office/drawing/2014/main" id="{B5F13239-43B3-4B77-8C4D-E21DCB7C9F42}"/>
                </a:ext>
              </a:extLst>
            </p:cNvPr>
            <p:cNvSpPr>
              <a:spLocks noEditPoints="1"/>
            </p:cNvSpPr>
            <p:nvPr/>
          </p:nvSpPr>
          <p:spPr bwMode="auto">
            <a:xfrm>
              <a:off x="2736850" y="5138738"/>
              <a:ext cx="134938" cy="134938"/>
            </a:xfrm>
            <a:custGeom>
              <a:avLst/>
              <a:gdLst>
                <a:gd name="T0" fmla="*/ 268 w 596"/>
                <a:gd name="T1" fmla="*/ 593 h 595"/>
                <a:gd name="T2" fmla="*/ 210 w 596"/>
                <a:gd name="T3" fmla="*/ 581 h 595"/>
                <a:gd name="T4" fmla="*/ 156 w 596"/>
                <a:gd name="T5" fmla="*/ 559 h 595"/>
                <a:gd name="T6" fmla="*/ 109 w 596"/>
                <a:gd name="T7" fmla="*/ 527 h 595"/>
                <a:gd name="T8" fmla="*/ 68 w 596"/>
                <a:gd name="T9" fmla="*/ 486 h 595"/>
                <a:gd name="T10" fmla="*/ 36 w 596"/>
                <a:gd name="T11" fmla="*/ 439 h 595"/>
                <a:gd name="T12" fmla="*/ 13 w 596"/>
                <a:gd name="T13" fmla="*/ 386 h 595"/>
                <a:gd name="T14" fmla="*/ 2 w 596"/>
                <a:gd name="T15" fmla="*/ 328 h 595"/>
                <a:gd name="T16" fmla="*/ 1 w 596"/>
                <a:gd name="T17" fmla="*/ 281 h 595"/>
                <a:gd name="T18" fmla="*/ 10 w 596"/>
                <a:gd name="T19" fmla="*/ 222 h 595"/>
                <a:gd name="T20" fmla="*/ 30 w 596"/>
                <a:gd name="T21" fmla="*/ 168 h 595"/>
                <a:gd name="T22" fmla="*/ 60 w 596"/>
                <a:gd name="T23" fmla="*/ 119 h 595"/>
                <a:gd name="T24" fmla="*/ 98 w 596"/>
                <a:gd name="T25" fmla="*/ 76 h 595"/>
                <a:gd name="T26" fmla="*/ 144 w 596"/>
                <a:gd name="T27" fmla="*/ 42 h 595"/>
                <a:gd name="T28" fmla="*/ 195 w 596"/>
                <a:gd name="T29" fmla="*/ 17 h 595"/>
                <a:gd name="T30" fmla="*/ 252 w 596"/>
                <a:gd name="T31" fmla="*/ 3 h 595"/>
                <a:gd name="T32" fmla="*/ 298 w 596"/>
                <a:gd name="T33" fmla="*/ 0 h 595"/>
                <a:gd name="T34" fmla="*/ 358 w 596"/>
                <a:gd name="T35" fmla="*/ 5 h 595"/>
                <a:gd name="T36" fmla="*/ 414 w 596"/>
                <a:gd name="T37" fmla="*/ 22 h 595"/>
                <a:gd name="T38" fmla="*/ 465 w 596"/>
                <a:gd name="T39" fmla="*/ 50 h 595"/>
                <a:gd name="T40" fmla="*/ 508 w 596"/>
                <a:gd name="T41" fmla="*/ 87 h 595"/>
                <a:gd name="T42" fmla="*/ 544 w 596"/>
                <a:gd name="T43" fmla="*/ 130 h 595"/>
                <a:gd name="T44" fmla="*/ 572 w 596"/>
                <a:gd name="T45" fmla="*/ 181 h 595"/>
                <a:gd name="T46" fmla="*/ 590 w 596"/>
                <a:gd name="T47" fmla="*/ 237 h 595"/>
                <a:gd name="T48" fmla="*/ 596 w 596"/>
                <a:gd name="T49" fmla="*/ 297 h 595"/>
                <a:gd name="T50" fmla="*/ 592 w 596"/>
                <a:gd name="T51" fmla="*/ 342 h 595"/>
                <a:gd name="T52" fmla="*/ 577 w 596"/>
                <a:gd name="T53" fmla="*/ 399 h 595"/>
                <a:gd name="T54" fmla="*/ 553 w 596"/>
                <a:gd name="T55" fmla="*/ 451 h 595"/>
                <a:gd name="T56" fmla="*/ 518 w 596"/>
                <a:gd name="T57" fmla="*/ 497 h 595"/>
                <a:gd name="T58" fmla="*/ 476 w 596"/>
                <a:gd name="T59" fmla="*/ 536 h 595"/>
                <a:gd name="T60" fmla="*/ 427 w 596"/>
                <a:gd name="T61" fmla="*/ 565 h 595"/>
                <a:gd name="T62" fmla="*/ 372 w 596"/>
                <a:gd name="T63" fmla="*/ 586 h 595"/>
                <a:gd name="T64" fmla="*/ 313 w 596"/>
                <a:gd name="T65" fmla="*/ 594 h 595"/>
                <a:gd name="T66" fmla="*/ 298 w 596"/>
                <a:gd name="T67" fmla="*/ 66 h 595"/>
                <a:gd name="T68" fmla="*/ 208 w 596"/>
                <a:gd name="T69" fmla="*/ 84 h 595"/>
                <a:gd name="T70" fmla="*/ 134 w 596"/>
                <a:gd name="T71" fmla="*/ 133 h 595"/>
                <a:gd name="T72" fmla="*/ 85 w 596"/>
                <a:gd name="T73" fmla="*/ 207 h 595"/>
                <a:gd name="T74" fmla="*/ 66 w 596"/>
                <a:gd name="T75" fmla="*/ 297 h 595"/>
                <a:gd name="T76" fmla="*/ 76 w 596"/>
                <a:gd name="T77" fmla="*/ 366 h 595"/>
                <a:gd name="T78" fmla="*/ 120 w 596"/>
                <a:gd name="T79" fmla="*/ 444 h 595"/>
                <a:gd name="T80" fmla="*/ 188 w 596"/>
                <a:gd name="T81" fmla="*/ 501 h 595"/>
                <a:gd name="T82" fmla="*/ 274 w 596"/>
                <a:gd name="T83" fmla="*/ 528 h 595"/>
                <a:gd name="T84" fmla="*/ 345 w 596"/>
                <a:gd name="T85" fmla="*/ 523 h 595"/>
                <a:gd name="T86" fmla="*/ 427 w 596"/>
                <a:gd name="T87" fmla="*/ 489 h 595"/>
                <a:gd name="T88" fmla="*/ 489 w 596"/>
                <a:gd name="T89" fmla="*/ 426 h 595"/>
                <a:gd name="T90" fmla="*/ 525 w 596"/>
                <a:gd name="T91" fmla="*/ 343 h 595"/>
                <a:gd name="T92" fmla="*/ 529 w 596"/>
                <a:gd name="T93" fmla="*/ 273 h 595"/>
                <a:gd name="T94" fmla="*/ 502 w 596"/>
                <a:gd name="T95" fmla="*/ 187 h 595"/>
                <a:gd name="T96" fmla="*/ 445 w 596"/>
                <a:gd name="T97" fmla="*/ 119 h 595"/>
                <a:gd name="T98" fmla="*/ 366 w 596"/>
                <a:gd name="T99" fmla="*/ 76 h 595"/>
                <a:gd name="T100" fmla="*/ 298 w 596"/>
                <a:gd name="T101" fmla="*/ 66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6" h="595">
                  <a:moveTo>
                    <a:pt x="298" y="595"/>
                  </a:moveTo>
                  <a:lnTo>
                    <a:pt x="298" y="595"/>
                  </a:lnTo>
                  <a:lnTo>
                    <a:pt x="282" y="594"/>
                  </a:lnTo>
                  <a:lnTo>
                    <a:pt x="268" y="593"/>
                  </a:lnTo>
                  <a:lnTo>
                    <a:pt x="252" y="591"/>
                  </a:lnTo>
                  <a:lnTo>
                    <a:pt x="238" y="589"/>
                  </a:lnTo>
                  <a:lnTo>
                    <a:pt x="223" y="586"/>
                  </a:lnTo>
                  <a:lnTo>
                    <a:pt x="210" y="581"/>
                  </a:lnTo>
                  <a:lnTo>
                    <a:pt x="195" y="576"/>
                  </a:lnTo>
                  <a:lnTo>
                    <a:pt x="182" y="571"/>
                  </a:lnTo>
                  <a:lnTo>
                    <a:pt x="169" y="565"/>
                  </a:lnTo>
                  <a:lnTo>
                    <a:pt x="156" y="559"/>
                  </a:lnTo>
                  <a:lnTo>
                    <a:pt x="144" y="551"/>
                  </a:lnTo>
                  <a:lnTo>
                    <a:pt x="131" y="544"/>
                  </a:lnTo>
                  <a:lnTo>
                    <a:pt x="120" y="536"/>
                  </a:lnTo>
                  <a:lnTo>
                    <a:pt x="109" y="527"/>
                  </a:lnTo>
                  <a:lnTo>
                    <a:pt x="98" y="517"/>
                  </a:lnTo>
                  <a:lnTo>
                    <a:pt x="88" y="507"/>
                  </a:lnTo>
                  <a:lnTo>
                    <a:pt x="78" y="497"/>
                  </a:lnTo>
                  <a:lnTo>
                    <a:pt x="68" y="486"/>
                  </a:lnTo>
                  <a:lnTo>
                    <a:pt x="60" y="475"/>
                  </a:lnTo>
                  <a:lnTo>
                    <a:pt x="52" y="463"/>
                  </a:lnTo>
                  <a:lnTo>
                    <a:pt x="43" y="451"/>
                  </a:lnTo>
                  <a:lnTo>
                    <a:pt x="36" y="439"/>
                  </a:lnTo>
                  <a:lnTo>
                    <a:pt x="30" y="426"/>
                  </a:lnTo>
                  <a:lnTo>
                    <a:pt x="24" y="413"/>
                  </a:lnTo>
                  <a:lnTo>
                    <a:pt x="19" y="399"/>
                  </a:lnTo>
                  <a:lnTo>
                    <a:pt x="13" y="386"/>
                  </a:lnTo>
                  <a:lnTo>
                    <a:pt x="10" y="371"/>
                  </a:lnTo>
                  <a:lnTo>
                    <a:pt x="6" y="357"/>
                  </a:lnTo>
                  <a:lnTo>
                    <a:pt x="4" y="342"/>
                  </a:lnTo>
                  <a:lnTo>
                    <a:pt x="2" y="328"/>
                  </a:lnTo>
                  <a:lnTo>
                    <a:pt x="1" y="312"/>
                  </a:lnTo>
                  <a:lnTo>
                    <a:pt x="0" y="297"/>
                  </a:lnTo>
                  <a:lnTo>
                    <a:pt x="0" y="297"/>
                  </a:lnTo>
                  <a:lnTo>
                    <a:pt x="1" y="281"/>
                  </a:lnTo>
                  <a:lnTo>
                    <a:pt x="2" y="267"/>
                  </a:lnTo>
                  <a:lnTo>
                    <a:pt x="4" y="251"/>
                  </a:lnTo>
                  <a:lnTo>
                    <a:pt x="6" y="237"/>
                  </a:lnTo>
                  <a:lnTo>
                    <a:pt x="10" y="222"/>
                  </a:lnTo>
                  <a:lnTo>
                    <a:pt x="13" y="209"/>
                  </a:lnTo>
                  <a:lnTo>
                    <a:pt x="19" y="194"/>
                  </a:lnTo>
                  <a:lnTo>
                    <a:pt x="24" y="181"/>
                  </a:lnTo>
                  <a:lnTo>
                    <a:pt x="30" y="168"/>
                  </a:lnTo>
                  <a:lnTo>
                    <a:pt x="36" y="155"/>
                  </a:lnTo>
                  <a:lnTo>
                    <a:pt x="43" y="143"/>
                  </a:lnTo>
                  <a:lnTo>
                    <a:pt x="52" y="130"/>
                  </a:lnTo>
                  <a:lnTo>
                    <a:pt x="60" y="119"/>
                  </a:lnTo>
                  <a:lnTo>
                    <a:pt x="68" y="107"/>
                  </a:lnTo>
                  <a:lnTo>
                    <a:pt x="78" y="97"/>
                  </a:lnTo>
                  <a:lnTo>
                    <a:pt x="88" y="87"/>
                  </a:lnTo>
                  <a:lnTo>
                    <a:pt x="98" y="76"/>
                  </a:lnTo>
                  <a:lnTo>
                    <a:pt x="109" y="67"/>
                  </a:lnTo>
                  <a:lnTo>
                    <a:pt x="120" y="59"/>
                  </a:lnTo>
                  <a:lnTo>
                    <a:pt x="131" y="50"/>
                  </a:lnTo>
                  <a:lnTo>
                    <a:pt x="144" y="42"/>
                  </a:lnTo>
                  <a:lnTo>
                    <a:pt x="156" y="35"/>
                  </a:lnTo>
                  <a:lnTo>
                    <a:pt x="169" y="29"/>
                  </a:lnTo>
                  <a:lnTo>
                    <a:pt x="182" y="22"/>
                  </a:lnTo>
                  <a:lnTo>
                    <a:pt x="195" y="17"/>
                  </a:lnTo>
                  <a:lnTo>
                    <a:pt x="210" y="13"/>
                  </a:lnTo>
                  <a:lnTo>
                    <a:pt x="223" y="9"/>
                  </a:lnTo>
                  <a:lnTo>
                    <a:pt x="238" y="5"/>
                  </a:lnTo>
                  <a:lnTo>
                    <a:pt x="252" y="3"/>
                  </a:lnTo>
                  <a:lnTo>
                    <a:pt x="268" y="1"/>
                  </a:lnTo>
                  <a:lnTo>
                    <a:pt x="282" y="0"/>
                  </a:lnTo>
                  <a:lnTo>
                    <a:pt x="298" y="0"/>
                  </a:lnTo>
                  <a:lnTo>
                    <a:pt x="298" y="0"/>
                  </a:lnTo>
                  <a:lnTo>
                    <a:pt x="313" y="0"/>
                  </a:lnTo>
                  <a:lnTo>
                    <a:pt x="328" y="1"/>
                  </a:lnTo>
                  <a:lnTo>
                    <a:pt x="343" y="3"/>
                  </a:lnTo>
                  <a:lnTo>
                    <a:pt x="358" y="5"/>
                  </a:lnTo>
                  <a:lnTo>
                    <a:pt x="372" y="9"/>
                  </a:lnTo>
                  <a:lnTo>
                    <a:pt x="386" y="13"/>
                  </a:lnTo>
                  <a:lnTo>
                    <a:pt x="400" y="17"/>
                  </a:lnTo>
                  <a:lnTo>
                    <a:pt x="414" y="22"/>
                  </a:lnTo>
                  <a:lnTo>
                    <a:pt x="427" y="29"/>
                  </a:lnTo>
                  <a:lnTo>
                    <a:pt x="440" y="35"/>
                  </a:lnTo>
                  <a:lnTo>
                    <a:pt x="452" y="42"/>
                  </a:lnTo>
                  <a:lnTo>
                    <a:pt x="465" y="50"/>
                  </a:lnTo>
                  <a:lnTo>
                    <a:pt x="476" y="59"/>
                  </a:lnTo>
                  <a:lnTo>
                    <a:pt x="487" y="67"/>
                  </a:lnTo>
                  <a:lnTo>
                    <a:pt x="498" y="76"/>
                  </a:lnTo>
                  <a:lnTo>
                    <a:pt x="508" y="87"/>
                  </a:lnTo>
                  <a:lnTo>
                    <a:pt x="518" y="97"/>
                  </a:lnTo>
                  <a:lnTo>
                    <a:pt x="528" y="107"/>
                  </a:lnTo>
                  <a:lnTo>
                    <a:pt x="536" y="119"/>
                  </a:lnTo>
                  <a:lnTo>
                    <a:pt x="544" y="130"/>
                  </a:lnTo>
                  <a:lnTo>
                    <a:pt x="553" y="143"/>
                  </a:lnTo>
                  <a:lnTo>
                    <a:pt x="560" y="155"/>
                  </a:lnTo>
                  <a:lnTo>
                    <a:pt x="566" y="168"/>
                  </a:lnTo>
                  <a:lnTo>
                    <a:pt x="572" y="181"/>
                  </a:lnTo>
                  <a:lnTo>
                    <a:pt x="577" y="194"/>
                  </a:lnTo>
                  <a:lnTo>
                    <a:pt x="583" y="209"/>
                  </a:lnTo>
                  <a:lnTo>
                    <a:pt x="587" y="222"/>
                  </a:lnTo>
                  <a:lnTo>
                    <a:pt x="590" y="237"/>
                  </a:lnTo>
                  <a:lnTo>
                    <a:pt x="592" y="251"/>
                  </a:lnTo>
                  <a:lnTo>
                    <a:pt x="594" y="267"/>
                  </a:lnTo>
                  <a:lnTo>
                    <a:pt x="595" y="281"/>
                  </a:lnTo>
                  <a:lnTo>
                    <a:pt x="596" y="297"/>
                  </a:lnTo>
                  <a:lnTo>
                    <a:pt x="596" y="297"/>
                  </a:lnTo>
                  <a:lnTo>
                    <a:pt x="595" y="312"/>
                  </a:lnTo>
                  <a:lnTo>
                    <a:pt x="594" y="328"/>
                  </a:lnTo>
                  <a:lnTo>
                    <a:pt x="592" y="342"/>
                  </a:lnTo>
                  <a:lnTo>
                    <a:pt x="590" y="357"/>
                  </a:lnTo>
                  <a:lnTo>
                    <a:pt x="587" y="371"/>
                  </a:lnTo>
                  <a:lnTo>
                    <a:pt x="583" y="386"/>
                  </a:lnTo>
                  <a:lnTo>
                    <a:pt x="577" y="399"/>
                  </a:lnTo>
                  <a:lnTo>
                    <a:pt x="572" y="413"/>
                  </a:lnTo>
                  <a:lnTo>
                    <a:pt x="566" y="426"/>
                  </a:lnTo>
                  <a:lnTo>
                    <a:pt x="560" y="439"/>
                  </a:lnTo>
                  <a:lnTo>
                    <a:pt x="553" y="451"/>
                  </a:lnTo>
                  <a:lnTo>
                    <a:pt x="544" y="463"/>
                  </a:lnTo>
                  <a:lnTo>
                    <a:pt x="536" y="475"/>
                  </a:lnTo>
                  <a:lnTo>
                    <a:pt x="528" y="486"/>
                  </a:lnTo>
                  <a:lnTo>
                    <a:pt x="518" y="497"/>
                  </a:lnTo>
                  <a:lnTo>
                    <a:pt x="508" y="507"/>
                  </a:lnTo>
                  <a:lnTo>
                    <a:pt x="498" y="517"/>
                  </a:lnTo>
                  <a:lnTo>
                    <a:pt x="487" y="527"/>
                  </a:lnTo>
                  <a:lnTo>
                    <a:pt x="476" y="536"/>
                  </a:lnTo>
                  <a:lnTo>
                    <a:pt x="465" y="544"/>
                  </a:lnTo>
                  <a:lnTo>
                    <a:pt x="452" y="551"/>
                  </a:lnTo>
                  <a:lnTo>
                    <a:pt x="440" y="559"/>
                  </a:lnTo>
                  <a:lnTo>
                    <a:pt x="427" y="565"/>
                  </a:lnTo>
                  <a:lnTo>
                    <a:pt x="414" y="571"/>
                  </a:lnTo>
                  <a:lnTo>
                    <a:pt x="400" y="576"/>
                  </a:lnTo>
                  <a:lnTo>
                    <a:pt x="386" y="581"/>
                  </a:lnTo>
                  <a:lnTo>
                    <a:pt x="372" y="586"/>
                  </a:lnTo>
                  <a:lnTo>
                    <a:pt x="358" y="589"/>
                  </a:lnTo>
                  <a:lnTo>
                    <a:pt x="343" y="591"/>
                  </a:lnTo>
                  <a:lnTo>
                    <a:pt x="328" y="593"/>
                  </a:lnTo>
                  <a:lnTo>
                    <a:pt x="313" y="594"/>
                  </a:lnTo>
                  <a:lnTo>
                    <a:pt x="298" y="595"/>
                  </a:lnTo>
                  <a:lnTo>
                    <a:pt x="298" y="595"/>
                  </a:lnTo>
                  <a:close/>
                  <a:moveTo>
                    <a:pt x="298" y="66"/>
                  </a:moveTo>
                  <a:lnTo>
                    <a:pt x="298" y="66"/>
                  </a:lnTo>
                  <a:lnTo>
                    <a:pt x="274" y="67"/>
                  </a:lnTo>
                  <a:lnTo>
                    <a:pt x="251" y="70"/>
                  </a:lnTo>
                  <a:lnTo>
                    <a:pt x="230" y="76"/>
                  </a:lnTo>
                  <a:lnTo>
                    <a:pt x="208" y="84"/>
                  </a:lnTo>
                  <a:lnTo>
                    <a:pt x="188" y="94"/>
                  </a:lnTo>
                  <a:lnTo>
                    <a:pt x="169" y="105"/>
                  </a:lnTo>
                  <a:lnTo>
                    <a:pt x="151" y="119"/>
                  </a:lnTo>
                  <a:lnTo>
                    <a:pt x="134" y="133"/>
                  </a:lnTo>
                  <a:lnTo>
                    <a:pt x="120" y="150"/>
                  </a:lnTo>
                  <a:lnTo>
                    <a:pt x="106" y="167"/>
                  </a:lnTo>
                  <a:lnTo>
                    <a:pt x="94" y="187"/>
                  </a:lnTo>
                  <a:lnTo>
                    <a:pt x="85" y="207"/>
                  </a:lnTo>
                  <a:lnTo>
                    <a:pt x="76" y="228"/>
                  </a:lnTo>
                  <a:lnTo>
                    <a:pt x="71" y="250"/>
                  </a:lnTo>
                  <a:lnTo>
                    <a:pt x="68" y="273"/>
                  </a:lnTo>
                  <a:lnTo>
                    <a:pt x="66" y="297"/>
                  </a:lnTo>
                  <a:lnTo>
                    <a:pt x="66" y="297"/>
                  </a:lnTo>
                  <a:lnTo>
                    <a:pt x="68" y="321"/>
                  </a:lnTo>
                  <a:lnTo>
                    <a:pt x="71" y="343"/>
                  </a:lnTo>
                  <a:lnTo>
                    <a:pt x="76" y="366"/>
                  </a:lnTo>
                  <a:lnTo>
                    <a:pt x="85" y="387"/>
                  </a:lnTo>
                  <a:lnTo>
                    <a:pt x="94" y="408"/>
                  </a:lnTo>
                  <a:lnTo>
                    <a:pt x="106" y="426"/>
                  </a:lnTo>
                  <a:lnTo>
                    <a:pt x="120" y="444"/>
                  </a:lnTo>
                  <a:lnTo>
                    <a:pt x="134" y="460"/>
                  </a:lnTo>
                  <a:lnTo>
                    <a:pt x="151" y="476"/>
                  </a:lnTo>
                  <a:lnTo>
                    <a:pt x="169" y="489"/>
                  </a:lnTo>
                  <a:lnTo>
                    <a:pt x="188" y="501"/>
                  </a:lnTo>
                  <a:lnTo>
                    <a:pt x="208" y="510"/>
                  </a:lnTo>
                  <a:lnTo>
                    <a:pt x="230" y="518"/>
                  </a:lnTo>
                  <a:lnTo>
                    <a:pt x="251" y="523"/>
                  </a:lnTo>
                  <a:lnTo>
                    <a:pt x="274" y="528"/>
                  </a:lnTo>
                  <a:lnTo>
                    <a:pt x="298" y="529"/>
                  </a:lnTo>
                  <a:lnTo>
                    <a:pt x="298" y="529"/>
                  </a:lnTo>
                  <a:lnTo>
                    <a:pt x="322" y="528"/>
                  </a:lnTo>
                  <a:lnTo>
                    <a:pt x="345" y="523"/>
                  </a:lnTo>
                  <a:lnTo>
                    <a:pt x="366" y="518"/>
                  </a:lnTo>
                  <a:lnTo>
                    <a:pt x="388" y="510"/>
                  </a:lnTo>
                  <a:lnTo>
                    <a:pt x="409" y="501"/>
                  </a:lnTo>
                  <a:lnTo>
                    <a:pt x="427" y="489"/>
                  </a:lnTo>
                  <a:lnTo>
                    <a:pt x="445" y="476"/>
                  </a:lnTo>
                  <a:lnTo>
                    <a:pt x="461" y="460"/>
                  </a:lnTo>
                  <a:lnTo>
                    <a:pt x="477" y="444"/>
                  </a:lnTo>
                  <a:lnTo>
                    <a:pt x="489" y="426"/>
                  </a:lnTo>
                  <a:lnTo>
                    <a:pt x="502" y="408"/>
                  </a:lnTo>
                  <a:lnTo>
                    <a:pt x="511" y="387"/>
                  </a:lnTo>
                  <a:lnTo>
                    <a:pt x="519" y="366"/>
                  </a:lnTo>
                  <a:lnTo>
                    <a:pt x="525" y="343"/>
                  </a:lnTo>
                  <a:lnTo>
                    <a:pt x="529" y="321"/>
                  </a:lnTo>
                  <a:lnTo>
                    <a:pt x="530" y="297"/>
                  </a:lnTo>
                  <a:lnTo>
                    <a:pt x="530" y="297"/>
                  </a:lnTo>
                  <a:lnTo>
                    <a:pt x="529" y="273"/>
                  </a:lnTo>
                  <a:lnTo>
                    <a:pt x="525" y="250"/>
                  </a:lnTo>
                  <a:lnTo>
                    <a:pt x="519" y="228"/>
                  </a:lnTo>
                  <a:lnTo>
                    <a:pt x="511" y="207"/>
                  </a:lnTo>
                  <a:lnTo>
                    <a:pt x="502" y="187"/>
                  </a:lnTo>
                  <a:lnTo>
                    <a:pt x="489" y="167"/>
                  </a:lnTo>
                  <a:lnTo>
                    <a:pt x="477" y="150"/>
                  </a:lnTo>
                  <a:lnTo>
                    <a:pt x="461" y="133"/>
                  </a:lnTo>
                  <a:lnTo>
                    <a:pt x="445" y="119"/>
                  </a:lnTo>
                  <a:lnTo>
                    <a:pt x="427" y="105"/>
                  </a:lnTo>
                  <a:lnTo>
                    <a:pt x="409" y="94"/>
                  </a:lnTo>
                  <a:lnTo>
                    <a:pt x="388" y="84"/>
                  </a:lnTo>
                  <a:lnTo>
                    <a:pt x="366" y="76"/>
                  </a:lnTo>
                  <a:lnTo>
                    <a:pt x="345" y="70"/>
                  </a:lnTo>
                  <a:lnTo>
                    <a:pt x="322" y="67"/>
                  </a:lnTo>
                  <a:lnTo>
                    <a:pt x="298" y="66"/>
                  </a:lnTo>
                  <a:lnTo>
                    <a:pt x="298"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53" name="Freeform 1034">
              <a:extLst>
                <a:ext uri="{FF2B5EF4-FFF2-40B4-BE49-F238E27FC236}">
                  <a16:creationId xmlns:a16="http://schemas.microsoft.com/office/drawing/2014/main" id="{08175654-A674-4579-A381-6F304AA1A0B9}"/>
                </a:ext>
              </a:extLst>
            </p:cNvPr>
            <p:cNvSpPr>
              <a:spLocks/>
            </p:cNvSpPr>
            <p:nvPr/>
          </p:nvSpPr>
          <p:spPr bwMode="auto">
            <a:xfrm>
              <a:off x="2767013" y="5146676"/>
              <a:ext cx="104775" cy="68263"/>
            </a:xfrm>
            <a:custGeom>
              <a:avLst/>
              <a:gdLst>
                <a:gd name="T0" fmla="*/ 430 w 463"/>
                <a:gd name="T1" fmla="*/ 296 h 296"/>
                <a:gd name="T2" fmla="*/ 165 w 463"/>
                <a:gd name="T3" fmla="*/ 296 h 296"/>
                <a:gd name="T4" fmla="*/ 165 w 463"/>
                <a:gd name="T5" fmla="*/ 296 h 296"/>
                <a:gd name="T6" fmla="*/ 157 w 463"/>
                <a:gd name="T7" fmla="*/ 295 h 296"/>
                <a:gd name="T8" fmla="*/ 148 w 463"/>
                <a:gd name="T9" fmla="*/ 292 h 296"/>
                <a:gd name="T10" fmla="*/ 141 w 463"/>
                <a:gd name="T11" fmla="*/ 287 h 296"/>
                <a:gd name="T12" fmla="*/ 136 w 463"/>
                <a:gd name="T13" fmla="*/ 279 h 296"/>
                <a:gd name="T14" fmla="*/ 5 w 463"/>
                <a:gd name="T15" fmla="*/ 50 h 296"/>
                <a:gd name="T16" fmla="*/ 5 w 463"/>
                <a:gd name="T17" fmla="*/ 50 h 296"/>
                <a:gd name="T18" fmla="*/ 2 w 463"/>
                <a:gd name="T19" fmla="*/ 43 h 296"/>
                <a:gd name="T20" fmla="*/ 0 w 463"/>
                <a:gd name="T21" fmla="*/ 37 h 296"/>
                <a:gd name="T22" fmla="*/ 0 w 463"/>
                <a:gd name="T23" fmla="*/ 31 h 296"/>
                <a:gd name="T24" fmla="*/ 1 w 463"/>
                <a:gd name="T25" fmla="*/ 25 h 296"/>
                <a:gd name="T26" fmla="*/ 5 w 463"/>
                <a:gd name="T27" fmla="*/ 18 h 296"/>
                <a:gd name="T28" fmla="*/ 8 w 463"/>
                <a:gd name="T29" fmla="*/ 13 h 296"/>
                <a:gd name="T30" fmla="*/ 12 w 463"/>
                <a:gd name="T31" fmla="*/ 8 h 296"/>
                <a:gd name="T32" fmla="*/ 17 w 463"/>
                <a:gd name="T33" fmla="*/ 4 h 296"/>
                <a:gd name="T34" fmla="*/ 17 w 463"/>
                <a:gd name="T35" fmla="*/ 4 h 296"/>
                <a:gd name="T36" fmla="*/ 23 w 463"/>
                <a:gd name="T37" fmla="*/ 2 h 296"/>
                <a:gd name="T38" fmla="*/ 29 w 463"/>
                <a:gd name="T39" fmla="*/ 0 h 296"/>
                <a:gd name="T40" fmla="*/ 37 w 463"/>
                <a:gd name="T41" fmla="*/ 0 h 296"/>
                <a:gd name="T42" fmla="*/ 43 w 463"/>
                <a:gd name="T43" fmla="*/ 1 h 296"/>
                <a:gd name="T44" fmla="*/ 48 w 463"/>
                <a:gd name="T45" fmla="*/ 4 h 296"/>
                <a:gd name="T46" fmla="*/ 54 w 463"/>
                <a:gd name="T47" fmla="*/ 7 h 296"/>
                <a:gd name="T48" fmla="*/ 58 w 463"/>
                <a:gd name="T49" fmla="*/ 11 h 296"/>
                <a:gd name="T50" fmla="*/ 62 w 463"/>
                <a:gd name="T51" fmla="*/ 16 h 296"/>
                <a:gd name="T52" fmla="*/ 185 w 463"/>
                <a:gd name="T53" fmla="*/ 230 h 296"/>
                <a:gd name="T54" fmla="*/ 430 w 463"/>
                <a:gd name="T55" fmla="*/ 230 h 296"/>
                <a:gd name="T56" fmla="*/ 430 w 463"/>
                <a:gd name="T57" fmla="*/ 230 h 296"/>
                <a:gd name="T58" fmla="*/ 436 w 463"/>
                <a:gd name="T59" fmla="*/ 231 h 296"/>
                <a:gd name="T60" fmla="*/ 442 w 463"/>
                <a:gd name="T61" fmla="*/ 233 h 296"/>
                <a:gd name="T62" fmla="*/ 448 w 463"/>
                <a:gd name="T63" fmla="*/ 236 h 296"/>
                <a:gd name="T64" fmla="*/ 453 w 463"/>
                <a:gd name="T65" fmla="*/ 240 h 296"/>
                <a:gd name="T66" fmla="*/ 457 w 463"/>
                <a:gd name="T67" fmla="*/ 244 h 296"/>
                <a:gd name="T68" fmla="*/ 460 w 463"/>
                <a:gd name="T69" fmla="*/ 250 h 296"/>
                <a:gd name="T70" fmla="*/ 462 w 463"/>
                <a:gd name="T71" fmla="*/ 257 h 296"/>
                <a:gd name="T72" fmla="*/ 463 w 463"/>
                <a:gd name="T73" fmla="*/ 263 h 296"/>
                <a:gd name="T74" fmla="*/ 463 w 463"/>
                <a:gd name="T75" fmla="*/ 263 h 296"/>
                <a:gd name="T76" fmla="*/ 462 w 463"/>
                <a:gd name="T77" fmla="*/ 270 h 296"/>
                <a:gd name="T78" fmla="*/ 460 w 463"/>
                <a:gd name="T79" fmla="*/ 276 h 296"/>
                <a:gd name="T80" fmla="*/ 457 w 463"/>
                <a:gd name="T81" fmla="*/ 281 h 296"/>
                <a:gd name="T82" fmla="*/ 453 w 463"/>
                <a:gd name="T83" fmla="*/ 287 h 296"/>
                <a:gd name="T84" fmla="*/ 448 w 463"/>
                <a:gd name="T85" fmla="*/ 291 h 296"/>
                <a:gd name="T86" fmla="*/ 442 w 463"/>
                <a:gd name="T87" fmla="*/ 294 h 296"/>
                <a:gd name="T88" fmla="*/ 436 w 463"/>
                <a:gd name="T89" fmla="*/ 295 h 296"/>
                <a:gd name="T90" fmla="*/ 430 w 463"/>
                <a:gd name="T91" fmla="*/ 296 h 296"/>
                <a:gd name="T92" fmla="*/ 430 w 463"/>
                <a:gd name="T93" fmla="*/ 29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3" h="296">
                  <a:moveTo>
                    <a:pt x="430" y="296"/>
                  </a:moveTo>
                  <a:lnTo>
                    <a:pt x="165" y="296"/>
                  </a:lnTo>
                  <a:lnTo>
                    <a:pt x="165" y="296"/>
                  </a:lnTo>
                  <a:lnTo>
                    <a:pt x="157" y="295"/>
                  </a:lnTo>
                  <a:lnTo>
                    <a:pt x="148" y="292"/>
                  </a:lnTo>
                  <a:lnTo>
                    <a:pt x="141" y="287"/>
                  </a:lnTo>
                  <a:lnTo>
                    <a:pt x="136" y="279"/>
                  </a:lnTo>
                  <a:lnTo>
                    <a:pt x="5" y="50"/>
                  </a:lnTo>
                  <a:lnTo>
                    <a:pt x="5" y="50"/>
                  </a:lnTo>
                  <a:lnTo>
                    <a:pt x="2" y="43"/>
                  </a:lnTo>
                  <a:lnTo>
                    <a:pt x="0" y="37"/>
                  </a:lnTo>
                  <a:lnTo>
                    <a:pt x="0" y="31"/>
                  </a:lnTo>
                  <a:lnTo>
                    <a:pt x="1" y="25"/>
                  </a:lnTo>
                  <a:lnTo>
                    <a:pt x="5" y="18"/>
                  </a:lnTo>
                  <a:lnTo>
                    <a:pt x="8" y="13"/>
                  </a:lnTo>
                  <a:lnTo>
                    <a:pt x="12" y="8"/>
                  </a:lnTo>
                  <a:lnTo>
                    <a:pt x="17" y="4"/>
                  </a:lnTo>
                  <a:lnTo>
                    <a:pt x="17" y="4"/>
                  </a:lnTo>
                  <a:lnTo>
                    <a:pt x="23" y="2"/>
                  </a:lnTo>
                  <a:lnTo>
                    <a:pt x="29" y="0"/>
                  </a:lnTo>
                  <a:lnTo>
                    <a:pt x="37" y="0"/>
                  </a:lnTo>
                  <a:lnTo>
                    <a:pt x="43" y="1"/>
                  </a:lnTo>
                  <a:lnTo>
                    <a:pt x="48" y="4"/>
                  </a:lnTo>
                  <a:lnTo>
                    <a:pt x="54" y="7"/>
                  </a:lnTo>
                  <a:lnTo>
                    <a:pt x="58" y="11"/>
                  </a:lnTo>
                  <a:lnTo>
                    <a:pt x="62" y="16"/>
                  </a:lnTo>
                  <a:lnTo>
                    <a:pt x="185" y="230"/>
                  </a:lnTo>
                  <a:lnTo>
                    <a:pt x="430" y="230"/>
                  </a:lnTo>
                  <a:lnTo>
                    <a:pt x="430" y="230"/>
                  </a:lnTo>
                  <a:lnTo>
                    <a:pt x="436" y="231"/>
                  </a:lnTo>
                  <a:lnTo>
                    <a:pt x="442" y="233"/>
                  </a:lnTo>
                  <a:lnTo>
                    <a:pt x="448" y="236"/>
                  </a:lnTo>
                  <a:lnTo>
                    <a:pt x="453" y="240"/>
                  </a:lnTo>
                  <a:lnTo>
                    <a:pt x="457" y="244"/>
                  </a:lnTo>
                  <a:lnTo>
                    <a:pt x="460" y="250"/>
                  </a:lnTo>
                  <a:lnTo>
                    <a:pt x="462" y="257"/>
                  </a:lnTo>
                  <a:lnTo>
                    <a:pt x="463" y="263"/>
                  </a:lnTo>
                  <a:lnTo>
                    <a:pt x="463" y="263"/>
                  </a:lnTo>
                  <a:lnTo>
                    <a:pt x="462" y="270"/>
                  </a:lnTo>
                  <a:lnTo>
                    <a:pt x="460" y="276"/>
                  </a:lnTo>
                  <a:lnTo>
                    <a:pt x="457" y="281"/>
                  </a:lnTo>
                  <a:lnTo>
                    <a:pt x="453" y="287"/>
                  </a:lnTo>
                  <a:lnTo>
                    <a:pt x="448" y="291"/>
                  </a:lnTo>
                  <a:lnTo>
                    <a:pt x="442" y="294"/>
                  </a:lnTo>
                  <a:lnTo>
                    <a:pt x="436" y="295"/>
                  </a:lnTo>
                  <a:lnTo>
                    <a:pt x="430" y="296"/>
                  </a:lnTo>
                  <a:lnTo>
                    <a:pt x="430" y="2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54" name="Freeform 1035">
              <a:extLst>
                <a:ext uri="{FF2B5EF4-FFF2-40B4-BE49-F238E27FC236}">
                  <a16:creationId xmlns:a16="http://schemas.microsoft.com/office/drawing/2014/main" id="{DF06EA3D-CF4B-4FFA-947D-87628EE00E9B}"/>
                </a:ext>
              </a:extLst>
            </p:cNvPr>
            <p:cNvSpPr>
              <a:spLocks/>
            </p:cNvSpPr>
            <p:nvPr/>
          </p:nvSpPr>
          <p:spPr bwMode="auto">
            <a:xfrm>
              <a:off x="2797175" y="5199063"/>
              <a:ext cx="23813" cy="74613"/>
            </a:xfrm>
            <a:custGeom>
              <a:avLst/>
              <a:gdLst>
                <a:gd name="T0" fmla="*/ 76 w 110"/>
                <a:gd name="T1" fmla="*/ 327 h 327"/>
                <a:gd name="T2" fmla="*/ 76 w 110"/>
                <a:gd name="T3" fmla="*/ 327 h 327"/>
                <a:gd name="T4" fmla="*/ 70 w 110"/>
                <a:gd name="T5" fmla="*/ 327 h 327"/>
                <a:gd name="T6" fmla="*/ 65 w 110"/>
                <a:gd name="T7" fmla="*/ 325 h 327"/>
                <a:gd name="T8" fmla="*/ 60 w 110"/>
                <a:gd name="T9" fmla="*/ 323 h 327"/>
                <a:gd name="T10" fmla="*/ 56 w 110"/>
                <a:gd name="T11" fmla="*/ 320 h 327"/>
                <a:gd name="T12" fmla="*/ 52 w 110"/>
                <a:gd name="T13" fmla="*/ 315 h 327"/>
                <a:gd name="T14" fmla="*/ 48 w 110"/>
                <a:gd name="T15" fmla="*/ 310 h 327"/>
                <a:gd name="T16" fmla="*/ 45 w 110"/>
                <a:gd name="T17" fmla="*/ 305 h 327"/>
                <a:gd name="T18" fmla="*/ 44 w 110"/>
                <a:gd name="T19" fmla="*/ 300 h 327"/>
                <a:gd name="T20" fmla="*/ 1 w 110"/>
                <a:gd name="T21" fmla="*/ 38 h 327"/>
                <a:gd name="T22" fmla="*/ 1 w 110"/>
                <a:gd name="T23" fmla="*/ 38 h 327"/>
                <a:gd name="T24" fmla="*/ 0 w 110"/>
                <a:gd name="T25" fmla="*/ 32 h 327"/>
                <a:gd name="T26" fmla="*/ 1 w 110"/>
                <a:gd name="T27" fmla="*/ 26 h 327"/>
                <a:gd name="T28" fmla="*/ 3 w 110"/>
                <a:gd name="T29" fmla="*/ 19 h 327"/>
                <a:gd name="T30" fmla="*/ 6 w 110"/>
                <a:gd name="T31" fmla="*/ 14 h 327"/>
                <a:gd name="T32" fmla="*/ 10 w 110"/>
                <a:gd name="T33" fmla="*/ 9 h 327"/>
                <a:gd name="T34" fmla="*/ 15 w 110"/>
                <a:gd name="T35" fmla="*/ 5 h 327"/>
                <a:gd name="T36" fmla="*/ 22 w 110"/>
                <a:gd name="T37" fmla="*/ 2 h 327"/>
                <a:gd name="T38" fmla="*/ 28 w 110"/>
                <a:gd name="T39" fmla="*/ 1 h 327"/>
                <a:gd name="T40" fmla="*/ 28 w 110"/>
                <a:gd name="T41" fmla="*/ 1 h 327"/>
                <a:gd name="T42" fmla="*/ 34 w 110"/>
                <a:gd name="T43" fmla="*/ 0 h 327"/>
                <a:gd name="T44" fmla="*/ 40 w 110"/>
                <a:gd name="T45" fmla="*/ 1 h 327"/>
                <a:gd name="T46" fmla="*/ 46 w 110"/>
                <a:gd name="T47" fmla="*/ 3 h 327"/>
                <a:gd name="T48" fmla="*/ 53 w 110"/>
                <a:gd name="T49" fmla="*/ 6 h 327"/>
                <a:gd name="T50" fmla="*/ 57 w 110"/>
                <a:gd name="T51" fmla="*/ 10 h 327"/>
                <a:gd name="T52" fmla="*/ 61 w 110"/>
                <a:gd name="T53" fmla="*/ 15 h 327"/>
                <a:gd name="T54" fmla="*/ 64 w 110"/>
                <a:gd name="T55" fmla="*/ 21 h 327"/>
                <a:gd name="T56" fmla="*/ 66 w 110"/>
                <a:gd name="T57" fmla="*/ 28 h 327"/>
                <a:gd name="T58" fmla="*/ 110 w 110"/>
                <a:gd name="T59" fmla="*/ 288 h 327"/>
                <a:gd name="T60" fmla="*/ 110 w 110"/>
                <a:gd name="T61" fmla="*/ 288 h 327"/>
                <a:gd name="T62" fmla="*/ 110 w 110"/>
                <a:gd name="T63" fmla="*/ 296 h 327"/>
                <a:gd name="T64" fmla="*/ 108 w 110"/>
                <a:gd name="T65" fmla="*/ 302 h 327"/>
                <a:gd name="T66" fmla="*/ 106 w 110"/>
                <a:gd name="T67" fmla="*/ 308 h 327"/>
                <a:gd name="T68" fmla="*/ 103 w 110"/>
                <a:gd name="T69" fmla="*/ 313 h 327"/>
                <a:gd name="T70" fmla="*/ 99 w 110"/>
                <a:gd name="T71" fmla="*/ 317 h 327"/>
                <a:gd name="T72" fmla="*/ 94 w 110"/>
                <a:gd name="T73" fmla="*/ 322 h 327"/>
                <a:gd name="T74" fmla="*/ 89 w 110"/>
                <a:gd name="T75" fmla="*/ 325 h 327"/>
                <a:gd name="T76" fmla="*/ 82 w 110"/>
                <a:gd name="T77" fmla="*/ 327 h 327"/>
                <a:gd name="T78" fmla="*/ 82 w 110"/>
                <a:gd name="T79" fmla="*/ 327 h 327"/>
                <a:gd name="T80" fmla="*/ 76 w 110"/>
                <a:gd name="T81" fmla="*/ 327 h 327"/>
                <a:gd name="T82" fmla="*/ 76 w 110"/>
                <a:gd name="T8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0" h="327">
                  <a:moveTo>
                    <a:pt x="76" y="327"/>
                  </a:moveTo>
                  <a:lnTo>
                    <a:pt x="76" y="327"/>
                  </a:lnTo>
                  <a:lnTo>
                    <a:pt x="70" y="327"/>
                  </a:lnTo>
                  <a:lnTo>
                    <a:pt x="65" y="325"/>
                  </a:lnTo>
                  <a:lnTo>
                    <a:pt x="60" y="323"/>
                  </a:lnTo>
                  <a:lnTo>
                    <a:pt x="56" y="320"/>
                  </a:lnTo>
                  <a:lnTo>
                    <a:pt x="52" y="315"/>
                  </a:lnTo>
                  <a:lnTo>
                    <a:pt x="48" y="310"/>
                  </a:lnTo>
                  <a:lnTo>
                    <a:pt x="45" y="305"/>
                  </a:lnTo>
                  <a:lnTo>
                    <a:pt x="44" y="300"/>
                  </a:lnTo>
                  <a:lnTo>
                    <a:pt x="1" y="38"/>
                  </a:lnTo>
                  <a:lnTo>
                    <a:pt x="1" y="38"/>
                  </a:lnTo>
                  <a:lnTo>
                    <a:pt x="0" y="32"/>
                  </a:lnTo>
                  <a:lnTo>
                    <a:pt x="1" y="26"/>
                  </a:lnTo>
                  <a:lnTo>
                    <a:pt x="3" y="19"/>
                  </a:lnTo>
                  <a:lnTo>
                    <a:pt x="6" y="14"/>
                  </a:lnTo>
                  <a:lnTo>
                    <a:pt x="10" y="9"/>
                  </a:lnTo>
                  <a:lnTo>
                    <a:pt x="15" y="5"/>
                  </a:lnTo>
                  <a:lnTo>
                    <a:pt x="22" y="2"/>
                  </a:lnTo>
                  <a:lnTo>
                    <a:pt x="28" y="1"/>
                  </a:lnTo>
                  <a:lnTo>
                    <a:pt x="28" y="1"/>
                  </a:lnTo>
                  <a:lnTo>
                    <a:pt x="34" y="0"/>
                  </a:lnTo>
                  <a:lnTo>
                    <a:pt x="40" y="1"/>
                  </a:lnTo>
                  <a:lnTo>
                    <a:pt x="46" y="3"/>
                  </a:lnTo>
                  <a:lnTo>
                    <a:pt x="53" y="6"/>
                  </a:lnTo>
                  <a:lnTo>
                    <a:pt x="57" y="10"/>
                  </a:lnTo>
                  <a:lnTo>
                    <a:pt x="61" y="15"/>
                  </a:lnTo>
                  <a:lnTo>
                    <a:pt x="64" y="21"/>
                  </a:lnTo>
                  <a:lnTo>
                    <a:pt x="66" y="28"/>
                  </a:lnTo>
                  <a:lnTo>
                    <a:pt x="110" y="288"/>
                  </a:lnTo>
                  <a:lnTo>
                    <a:pt x="110" y="288"/>
                  </a:lnTo>
                  <a:lnTo>
                    <a:pt x="110" y="296"/>
                  </a:lnTo>
                  <a:lnTo>
                    <a:pt x="108" y="302"/>
                  </a:lnTo>
                  <a:lnTo>
                    <a:pt x="106" y="308"/>
                  </a:lnTo>
                  <a:lnTo>
                    <a:pt x="103" y="313"/>
                  </a:lnTo>
                  <a:lnTo>
                    <a:pt x="99" y="317"/>
                  </a:lnTo>
                  <a:lnTo>
                    <a:pt x="94" y="322"/>
                  </a:lnTo>
                  <a:lnTo>
                    <a:pt x="89" y="325"/>
                  </a:lnTo>
                  <a:lnTo>
                    <a:pt x="82" y="327"/>
                  </a:lnTo>
                  <a:lnTo>
                    <a:pt x="82" y="327"/>
                  </a:lnTo>
                  <a:lnTo>
                    <a:pt x="76" y="327"/>
                  </a:lnTo>
                  <a:lnTo>
                    <a:pt x="76" y="3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55" name="Freeform 1036">
              <a:extLst>
                <a:ext uri="{FF2B5EF4-FFF2-40B4-BE49-F238E27FC236}">
                  <a16:creationId xmlns:a16="http://schemas.microsoft.com/office/drawing/2014/main" id="{267E64CE-E2A6-4602-B71A-E686A07CFE0E}"/>
                </a:ext>
              </a:extLst>
            </p:cNvPr>
            <p:cNvSpPr>
              <a:spLocks/>
            </p:cNvSpPr>
            <p:nvPr/>
          </p:nvSpPr>
          <p:spPr bwMode="auto">
            <a:xfrm>
              <a:off x="2901950" y="5138738"/>
              <a:ext cx="58738" cy="15875"/>
            </a:xfrm>
            <a:custGeom>
              <a:avLst/>
              <a:gdLst>
                <a:gd name="T0" fmla="*/ 227 w 260"/>
                <a:gd name="T1" fmla="*/ 66 h 66"/>
                <a:gd name="T2" fmla="*/ 34 w 260"/>
                <a:gd name="T3" fmla="*/ 66 h 66"/>
                <a:gd name="T4" fmla="*/ 34 w 260"/>
                <a:gd name="T5" fmla="*/ 66 h 66"/>
                <a:gd name="T6" fmla="*/ 26 w 260"/>
                <a:gd name="T7" fmla="*/ 65 h 66"/>
                <a:gd name="T8" fmla="*/ 20 w 260"/>
                <a:gd name="T9" fmla="*/ 63 h 66"/>
                <a:gd name="T10" fmla="*/ 15 w 260"/>
                <a:gd name="T11" fmla="*/ 60 h 66"/>
                <a:gd name="T12" fmla="*/ 10 w 260"/>
                <a:gd name="T13" fmla="*/ 56 h 66"/>
                <a:gd name="T14" fmla="*/ 6 w 260"/>
                <a:gd name="T15" fmla="*/ 50 h 66"/>
                <a:gd name="T16" fmla="*/ 3 w 260"/>
                <a:gd name="T17" fmla="*/ 45 h 66"/>
                <a:gd name="T18" fmla="*/ 0 w 260"/>
                <a:gd name="T19" fmla="*/ 39 h 66"/>
                <a:gd name="T20" fmla="*/ 0 w 260"/>
                <a:gd name="T21" fmla="*/ 33 h 66"/>
                <a:gd name="T22" fmla="*/ 0 w 260"/>
                <a:gd name="T23" fmla="*/ 33 h 66"/>
                <a:gd name="T24" fmla="*/ 0 w 260"/>
                <a:gd name="T25" fmla="*/ 26 h 66"/>
                <a:gd name="T26" fmla="*/ 3 w 260"/>
                <a:gd name="T27" fmla="*/ 19 h 66"/>
                <a:gd name="T28" fmla="*/ 6 w 260"/>
                <a:gd name="T29" fmla="*/ 14 h 66"/>
                <a:gd name="T30" fmla="*/ 10 w 260"/>
                <a:gd name="T31" fmla="*/ 9 h 66"/>
                <a:gd name="T32" fmla="*/ 15 w 260"/>
                <a:gd name="T33" fmla="*/ 5 h 66"/>
                <a:gd name="T34" fmla="*/ 20 w 260"/>
                <a:gd name="T35" fmla="*/ 2 h 66"/>
                <a:gd name="T36" fmla="*/ 26 w 260"/>
                <a:gd name="T37" fmla="*/ 0 h 66"/>
                <a:gd name="T38" fmla="*/ 34 w 260"/>
                <a:gd name="T39" fmla="*/ 0 h 66"/>
                <a:gd name="T40" fmla="*/ 227 w 260"/>
                <a:gd name="T41" fmla="*/ 0 h 66"/>
                <a:gd name="T42" fmla="*/ 227 w 260"/>
                <a:gd name="T43" fmla="*/ 0 h 66"/>
                <a:gd name="T44" fmla="*/ 234 w 260"/>
                <a:gd name="T45" fmla="*/ 0 h 66"/>
                <a:gd name="T46" fmla="*/ 241 w 260"/>
                <a:gd name="T47" fmla="*/ 2 h 66"/>
                <a:gd name="T48" fmla="*/ 246 w 260"/>
                <a:gd name="T49" fmla="*/ 5 h 66"/>
                <a:gd name="T50" fmla="*/ 251 w 260"/>
                <a:gd name="T51" fmla="*/ 9 h 66"/>
                <a:gd name="T52" fmla="*/ 255 w 260"/>
                <a:gd name="T53" fmla="*/ 14 h 66"/>
                <a:gd name="T54" fmla="*/ 258 w 260"/>
                <a:gd name="T55" fmla="*/ 19 h 66"/>
                <a:gd name="T56" fmla="*/ 260 w 260"/>
                <a:gd name="T57" fmla="*/ 26 h 66"/>
                <a:gd name="T58" fmla="*/ 260 w 260"/>
                <a:gd name="T59" fmla="*/ 33 h 66"/>
                <a:gd name="T60" fmla="*/ 260 w 260"/>
                <a:gd name="T61" fmla="*/ 33 h 66"/>
                <a:gd name="T62" fmla="*/ 260 w 260"/>
                <a:gd name="T63" fmla="*/ 39 h 66"/>
                <a:gd name="T64" fmla="*/ 258 w 260"/>
                <a:gd name="T65" fmla="*/ 45 h 66"/>
                <a:gd name="T66" fmla="*/ 255 w 260"/>
                <a:gd name="T67" fmla="*/ 50 h 66"/>
                <a:gd name="T68" fmla="*/ 251 w 260"/>
                <a:gd name="T69" fmla="*/ 56 h 66"/>
                <a:gd name="T70" fmla="*/ 246 w 260"/>
                <a:gd name="T71" fmla="*/ 60 h 66"/>
                <a:gd name="T72" fmla="*/ 241 w 260"/>
                <a:gd name="T73" fmla="*/ 63 h 66"/>
                <a:gd name="T74" fmla="*/ 234 w 260"/>
                <a:gd name="T75" fmla="*/ 65 h 66"/>
                <a:gd name="T76" fmla="*/ 227 w 260"/>
                <a:gd name="T77" fmla="*/ 66 h 66"/>
                <a:gd name="T78" fmla="*/ 227 w 260"/>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0" h="66">
                  <a:moveTo>
                    <a:pt x="227" y="66"/>
                  </a:moveTo>
                  <a:lnTo>
                    <a:pt x="34" y="66"/>
                  </a:lnTo>
                  <a:lnTo>
                    <a:pt x="34" y="66"/>
                  </a:lnTo>
                  <a:lnTo>
                    <a:pt x="26" y="65"/>
                  </a:lnTo>
                  <a:lnTo>
                    <a:pt x="20" y="63"/>
                  </a:lnTo>
                  <a:lnTo>
                    <a:pt x="15" y="60"/>
                  </a:lnTo>
                  <a:lnTo>
                    <a:pt x="10" y="56"/>
                  </a:lnTo>
                  <a:lnTo>
                    <a:pt x="6" y="50"/>
                  </a:lnTo>
                  <a:lnTo>
                    <a:pt x="3" y="45"/>
                  </a:lnTo>
                  <a:lnTo>
                    <a:pt x="0" y="39"/>
                  </a:lnTo>
                  <a:lnTo>
                    <a:pt x="0" y="33"/>
                  </a:lnTo>
                  <a:lnTo>
                    <a:pt x="0" y="33"/>
                  </a:lnTo>
                  <a:lnTo>
                    <a:pt x="0" y="26"/>
                  </a:lnTo>
                  <a:lnTo>
                    <a:pt x="3" y="19"/>
                  </a:lnTo>
                  <a:lnTo>
                    <a:pt x="6" y="14"/>
                  </a:lnTo>
                  <a:lnTo>
                    <a:pt x="10" y="9"/>
                  </a:lnTo>
                  <a:lnTo>
                    <a:pt x="15" y="5"/>
                  </a:lnTo>
                  <a:lnTo>
                    <a:pt x="20" y="2"/>
                  </a:lnTo>
                  <a:lnTo>
                    <a:pt x="26" y="0"/>
                  </a:lnTo>
                  <a:lnTo>
                    <a:pt x="34" y="0"/>
                  </a:lnTo>
                  <a:lnTo>
                    <a:pt x="227" y="0"/>
                  </a:lnTo>
                  <a:lnTo>
                    <a:pt x="227" y="0"/>
                  </a:lnTo>
                  <a:lnTo>
                    <a:pt x="234" y="0"/>
                  </a:lnTo>
                  <a:lnTo>
                    <a:pt x="241" y="2"/>
                  </a:lnTo>
                  <a:lnTo>
                    <a:pt x="246" y="5"/>
                  </a:lnTo>
                  <a:lnTo>
                    <a:pt x="251" y="9"/>
                  </a:lnTo>
                  <a:lnTo>
                    <a:pt x="255" y="14"/>
                  </a:lnTo>
                  <a:lnTo>
                    <a:pt x="258" y="19"/>
                  </a:lnTo>
                  <a:lnTo>
                    <a:pt x="260" y="26"/>
                  </a:lnTo>
                  <a:lnTo>
                    <a:pt x="260" y="33"/>
                  </a:lnTo>
                  <a:lnTo>
                    <a:pt x="260" y="33"/>
                  </a:lnTo>
                  <a:lnTo>
                    <a:pt x="260" y="39"/>
                  </a:lnTo>
                  <a:lnTo>
                    <a:pt x="258" y="45"/>
                  </a:lnTo>
                  <a:lnTo>
                    <a:pt x="255" y="50"/>
                  </a:lnTo>
                  <a:lnTo>
                    <a:pt x="251" y="56"/>
                  </a:lnTo>
                  <a:lnTo>
                    <a:pt x="246" y="60"/>
                  </a:lnTo>
                  <a:lnTo>
                    <a:pt x="241" y="63"/>
                  </a:lnTo>
                  <a:lnTo>
                    <a:pt x="234" y="65"/>
                  </a:lnTo>
                  <a:lnTo>
                    <a:pt x="227" y="66"/>
                  </a:lnTo>
                  <a:lnTo>
                    <a:pt x="22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56" name="Freeform 1037">
              <a:extLst>
                <a:ext uri="{FF2B5EF4-FFF2-40B4-BE49-F238E27FC236}">
                  <a16:creationId xmlns:a16="http://schemas.microsoft.com/office/drawing/2014/main" id="{870C08ED-3535-41EF-B45A-E59E442B92D5}"/>
                </a:ext>
              </a:extLst>
            </p:cNvPr>
            <p:cNvSpPr>
              <a:spLocks/>
            </p:cNvSpPr>
            <p:nvPr/>
          </p:nvSpPr>
          <p:spPr bwMode="auto">
            <a:xfrm>
              <a:off x="2901950" y="5168901"/>
              <a:ext cx="58738" cy="15875"/>
            </a:xfrm>
            <a:custGeom>
              <a:avLst/>
              <a:gdLst>
                <a:gd name="T0" fmla="*/ 227 w 260"/>
                <a:gd name="T1" fmla="*/ 66 h 66"/>
                <a:gd name="T2" fmla="*/ 34 w 260"/>
                <a:gd name="T3" fmla="*/ 66 h 66"/>
                <a:gd name="T4" fmla="*/ 34 w 260"/>
                <a:gd name="T5" fmla="*/ 66 h 66"/>
                <a:gd name="T6" fmla="*/ 26 w 260"/>
                <a:gd name="T7" fmla="*/ 66 h 66"/>
                <a:gd name="T8" fmla="*/ 20 w 260"/>
                <a:gd name="T9" fmla="*/ 64 h 66"/>
                <a:gd name="T10" fmla="*/ 15 w 260"/>
                <a:gd name="T11" fmla="*/ 61 h 66"/>
                <a:gd name="T12" fmla="*/ 10 w 260"/>
                <a:gd name="T13" fmla="*/ 57 h 66"/>
                <a:gd name="T14" fmla="*/ 6 w 260"/>
                <a:gd name="T15" fmla="*/ 52 h 66"/>
                <a:gd name="T16" fmla="*/ 3 w 260"/>
                <a:gd name="T17" fmla="*/ 47 h 66"/>
                <a:gd name="T18" fmla="*/ 0 w 260"/>
                <a:gd name="T19" fmla="*/ 41 h 66"/>
                <a:gd name="T20" fmla="*/ 0 w 260"/>
                <a:gd name="T21" fmla="*/ 33 h 66"/>
                <a:gd name="T22" fmla="*/ 0 w 260"/>
                <a:gd name="T23" fmla="*/ 33 h 66"/>
                <a:gd name="T24" fmla="*/ 0 w 260"/>
                <a:gd name="T25" fmla="*/ 27 h 66"/>
                <a:gd name="T26" fmla="*/ 3 w 260"/>
                <a:gd name="T27" fmla="*/ 21 h 66"/>
                <a:gd name="T28" fmla="*/ 6 w 260"/>
                <a:gd name="T29" fmla="*/ 15 h 66"/>
                <a:gd name="T30" fmla="*/ 10 w 260"/>
                <a:gd name="T31" fmla="*/ 11 h 66"/>
                <a:gd name="T32" fmla="*/ 15 w 260"/>
                <a:gd name="T33" fmla="*/ 6 h 66"/>
                <a:gd name="T34" fmla="*/ 20 w 260"/>
                <a:gd name="T35" fmla="*/ 3 h 66"/>
                <a:gd name="T36" fmla="*/ 26 w 260"/>
                <a:gd name="T37" fmla="*/ 1 h 66"/>
                <a:gd name="T38" fmla="*/ 34 w 260"/>
                <a:gd name="T39" fmla="*/ 0 h 66"/>
                <a:gd name="T40" fmla="*/ 227 w 260"/>
                <a:gd name="T41" fmla="*/ 0 h 66"/>
                <a:gd name="T42" fmla="*/ 227 w 260"/>
                <a:gd name="T43" fmla="*/ 0 h 66"/>
                <a:gd name="T44" fmla="*/ 234 w 260"/>
                <a:gd name="T45" fmla="*/ 1 h 66"/>
                <a:gd name="T46" fmla="*/ 241 w 260"/>
                <a:gd name="T47" fmla="*/ 3 h 66"/>
                <a:gd name="T48" fmla="*/ 246 w 260"/>
                <a:gd name="T49" fmla="*/ 6 h 66"/>
                <a:gd name="T50" fmla="*/ 251 w 260"/>
                <a:gd name="T51" fmla="*/ 11 h 66"/>
                <a:gd name="T52" fmla="*/ 255 w 260"/>
                <a:gd name="T53" fmla="*/ 15 h 66"/>
                <a:gd name="T54" fmla="*/ 258 w 260"/>
                <a:gd name="T55" fmla="*/ 21 h 66"/>
                <a:gd name="T56" fmla="*/ 260 w 260"/>
                <a:gd name="T57" fmla="*/ 27 h 66"/>
                <a:gd name="T58" fmla="*/ 260 w 260"/>
                <a:gd name="T59" fmla="*/ 33 h 66"/>
                <a:gd name="T60" fmla="*/ 260 w 260"/>
                <a:gd name="T61" fmla="*/ 33 h 66"/>
                <a:gd name="T62" fmla="*/ 260 w 260"/>
                <a:gd name="T63" fmla="*/ 41 h 66"/>
                <a:gd name="T64" fmla="*/ 258 w 260"/>
                <a:gd name="T65" fmla="*/ 47 h 66"/>
                <a:gd name="T66" fmla="*/ 255 w 260"/>
                <a:gd name="T67" fmla="*/ 52 h 66"/>
                <a:gd name="T68" fmla="*/ 251 w 260"/>
                <a:gd name="T69" fmla="*/ 57 h 66"/>
                <a:gd name="T70" fmla="*/ 246 w 260"/>
                <a:gd name="T71" fmla="*/ 61 h 66"/>
                <a:gd name="T72" fmla="*/ 241 w 260"/>
                <a:gd name="T73" fmla="*/ 64 h 66"/>
                <a:gd name="T74" fmla="*/ 234 w 260"/>
                <a:gd name="T75" fmla="*/ 66 h 66"/>
                <a:gd name="T76" fmla="*/ 227 w 260"/>
                <a:gd name="T77" fmla="*/ 66 h 66"/>
                <a:gd name="T78" fmla="*/ 227 w 260"/>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0" h="66">
                  <a:moveTo>
                    <a:pt x="227" y="66"/>
                  </a:moveTo>
                  <a:lnTo>
                    <a:pt x="34" y="66"/>
                  </a:lnTo>
                  <a:lnTo>
                    <a:pt x="34" y="66"/>
                  </a:lnTo>
                  <a:lnTo>
                    <a:pt x="26" y="66"/>
                  </a:lnTo>
                  <a:lnTo>
                    <a:pt x="20" y="64"/>
                  </a:lnTo>
                  <a:lnTo>
                    <a:pt x="15" y="61"/>
                  </a:lnTo>
                  <a:lnTo>
                    <a:pt x="10" y="57"/>
                  </a:lnTo>
                  <a:lnTo>
                    <a:pt x="6" y="52"/>
                  </a:lnTo>
                  <a:lnTo>
                    <a:pt x="3" y="47"/>
                  </a:lnTo>
                  <a:lnTo>
                    <a:pt x="0" y="41"/>
                  </a:lnTo>
                  <a:lnTo>
                    <a:pt x="0" y="33"/>
                  </a:lnTo>
                  <a:lnTo>
                    <a:pt x="0" y="33"/>
                  </a:lnTo>
                  <a:lnTo>
                    <a:pt x="0" y="27"/>
                  </a:lnTo>
                  <a:lnTo>
                    <a:pt x="3" y="21"/>
                  </a:lnTo>
                  <a:lnTo>
                    <a:pt x="6" y="15"/>
                  </a:lnTo>
                  <a:lnTo>
                    <a:pt x="10" y="11"/>
                  </a:lnTo>
                  <a:lnTo>
                    <a:pt x="15" y="6"/>
                  </a:lnTo>
                  <a:lnTo>
                    <a:pt x="20" y="3"/>
                  </a:lnTo>
                  <a:lnTo>
                    <a:pt x="26" y="1"/>
                  </a:lnTo>
                  <a:lnTo>
                    <a:pt x="34" y="0"/>
                  </a:lnTo>
                  <a:lnTo>
                    <a:pt x="227" y="0"/>
                  </a:lnTo>
                  <a:lnTo>
                    <a:pt x="227" y="0"/>
                  </a:lnTo>
                  <a:lnTo>
                    <a:pt x="234" y="1"/>
                  </a:lnTo>
                  <a:lnTo>
                    <a:pt x="241" y="3"/>
                  </a:lnTo>
                  <a:lnTo>
                    <a:pt x="246" y="6"/>
                  </a:lnTo>
                  <a:lnTo>
                    <a:pt x="251" y="11"/>
                  </a:lnTo>
                  <a:lnTo>
                    <a:pt x="255" y="15"/>
                  </a:lnTo>
                  <a:lnTo>
                    <a:pt x="258" y="21"/>
                  </a:lnTo>
                  <a:lnTo>
                    <a:pt x="260" y="27"/>
                  </a:lnTo>
                  <a:lnTo>
                    <a:pt x="260" y="33"/>
                  </a:lnTo>
                  <a:lnTo>
                    <a:pt x="260" y="33"/>
                  </a:lnTo>
                  <a:lnTo>
                    <a:pt x="260" y="41"/>
                  </a:lnTo>
                  <a:lnTo>
                    <a:pt x="258" y="47"/>
                  </a:lnTo>
                  <a:lnTo>
                    <a:pt x="255" y="52"/>
                  </a:lnTo>
                  <a:lnTo>
                    <a:pt x="251" y="57"/>
                  </a:lnTo>
                  <a:lnTo>
                    <a:pt x="246" y="61"/>
                  </a:lnTo>
                  <a:lnTo>
                    <a:pt x="241" y="64"/>
                  </a:lnTo>
                  <a:lnTo>
                    <a:pt x="234" y="66"/>
                  </a:lnTo>
                  <a:lnTo>
                    <a:pt x="227" y="66"/>
                  </a:lnTo>
                  <a:lnTo>
                    <a:pt x="22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57" name="Freeform 1038">
              <a:extLst>
                <a:ext uri="{FF2B5EF4-FFF2-40B4-BE49-F238E27FC236}">
                  <a16:creationId xmlns:a16="http://schemas.microsoft.com/office/drawing/2014/main" id="{B9A3E862-C109-43F5-AADE-04F5CE4E4250}"/>
                </a:ext>
              </a:extLst>
            </p:cNvPr>
            <p:cNvSpPr>
              <a:spLocks/>
            </p:cNvSpPr>
            <p:nvPr/>
          </p:nvSpPr>
          <p:spPr bwMode="auto">
            <a:xfrm>
              <a:off x="2901950" y="5199063"/>
              <a:ext cx="58738" cy="15875"/>
            </a:xfrm>
            <a:custGeom>
              <a:avLst/>
              <a:gdLst>
                <a:gd name="T0" fmla="*/ 227 w 260"/>
                <a:gd name="T1" fmla="*/ 66 h 66"/>
                <a:gd name="T2" fmla="*/ 34 w 260"/>
                <a:gd name="T3" fmla="*/ 66 h 66"/>
                <a:gd name="T4" fmla="*/ 34 w 260"/>
                <a:gd name="T5" fmla="*/ 66 h 66"/>
                <a:gd name="T6" fmla="*/ 26 w 260"/>
                <a:gd name="T7" fmla="*/ 65 h 66"/>
                <a:gd name="T8" fmla="*/ 20 w 260"/>
                <a:gd name="T9" fmla="*/ 64 h 66"/>
                <a:gd name="T10" fmla="*/ 15 w 260"/>
                <a:gd name="T11" fmla="*/ 61 h 66"/>
                <a:gd name="T12" fmla="*/ 10 w 260"/>
                <a:gd name="T13" fmla="*/ 57 h 66"/>
                <a:gd name="T14" fmla="*/ 6 w 260"/>
                <a:gd name="T15" fmla="*/ 51 h 66"/>
                <a:gd name="T16" fmla="*/ 3 w 260"/>
                <a:gd name="T17" fmla="*/ 46 h 66"/>
                <a:gd name="T18" fmla="*/ 0 w 260"/>
                <a:gd name="T19" fmla="*/ 40 h 66"/>
                <a:gd name="T20" fmla="*/ 0 w 260"/>
                <a:gd name="T21" fmla="*/ 33 h 66"/>
                <a:gd name="T22" fmla="*/ 0 w 260"/>
                <a:gd name="T23" fmla="*/ 33 h 66"/>
                <a:gd name="T24" fmla="*/ 0 w 260"/>
                <a:gd name="T25" fmla="*/ 27 h 66"/>
                <a:gd name="T26" fmla="*/ 3 w 260"/>
                <a:gd name="T27" fmla="*/ 20 h 66"/>
                <a:gd name="T28" fmla="*/ 6 w 260"/>
                <a:gd name="T29" fmla="*/ 14 h 66"/>
                <a:gd name="T30" fmla="*/ 10 w 260"/>
                <a:gd name="T31" fmla="*/ 10 h 66"/>
                <a:gd name="T32" fmla="*/ 15 w 260"/>
                <a:gd name="T33" fmla="*/ 6 h 66"/>
                <a:gd name="T34" fmla="*/ 20 w 260"/>
                <a:gd name="T35" fmla="*/ 3 h 66"/>
                <a:gd name="T36" fmla="*/ 26 w 260"/>
                <a:gd name="T37" fmla="*/ 1 h 66"/>
                <a:gd name="T38" fmla="*/ 34 w 260"/>
                <a:gd name="T39" fmla="*/ 0 h 66"/>
                <a:gd name="T40" fmla="*/ 227 w 260"/>
                <a:gd name="T41" fmla="*/ 0 h 66"/>
                <a:gd name="T42" fmla="*/ 227 w 260"/>
                <a:gd name="T43" fmla="*/ 0 h 66"/>
                <a:gd name="T44" fmla="*/ 234 w 260"/>
                <a:gd name="T45" fmla="*/ 1 h 66"/>
                <a:gd name="T46" fmla="*/ 241 w 260"/>
                <a:gd name="T47" fmla="*/ 3 h 66"/>
                <a:gd name="T48" fmla="*/ 246 w 260"/>
                <a:gd name="T49" fmla="*/ 6 h 66"/>
                <a:gd name="T50" fmla="*/ 251 w 260"/>
                <a:gd name="T51" fmla="*/ 10 h 66"/>
                <a:gd name="T52" fmla="*/ 255 w 260"/>
                <a:gd name="T53" fmla="*/ 14 h 66"/>
                <a:gd name="T54" fmla="*/ 258 w 260"/>
                <a:gd name="T55" fmla="*/ 20 h 66"/>
                <a:gd name="T56" fmla="*/ 260 w 260"/>
                <a:gd name="T57" fmla="*/ 27 h 66"/>
                <a:gd name="T58" fmla="*/ 260 w 260"/>
                <a:gd name="T59" fmla="*/ 33 h 66"/>
                <a:gd name="T60" fmla="*/ 260 w 260"/>
                <a:gd name="T61" fmla="*/ 33 h 66"/>
                <a:gd name="T62" fmla="*/ 260 w 260"/>
                <a:gd name="T63" fmla="*/ 40 h 66"/>
                <a:gd name="T64" fmla="*/ 258 w 260"/>
                <a:gd name="T65" fmla="*/ 46 h 66"/>
                <a:gd name="T66" fmla="*/ 255 w 260"/>
                <a:gd name="T67" fmla="*/ 51 h 66"/>
                <a:gd name="T68" fmla="*/ 251 w 260"/>
                <a:gd name="T69" fmla="*/ 57 h 66"/>
                <a:gd name="T70" fmla="*/ 246 w 260"/>
                <a:gd name="T71" fmla="*/ 61 h 66"/>
                <a:gd name="T72" fmla="*/ 241 w 260"/>
                <a:gd name="T73" fmla="*/ 64 h 66"/>
                <a:gd name="T74" fmla="*/ 234 w 260"/>
                <a:gd name="T75" fmla="*/ 65 h 66"/>
                <a:gd name="T76" fmla="*/ 227 w 260"/>
                <a:gd name="T77" fmla="*/ 66 h 66"/>
                <a:gd name="T78" fmla="*/ 227 w 260"/>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0" h="66">
                  <a:moveTo>
                    <a:pt x="227" y="66"/>
                  </a:moveTo>
                  <a:lnTo>
                    <a:pt x="34" y="66"/>
                  </a:lnTo>
                  <a:lnTo>
                    <a:pt x="34" y="66"/>
                  </a:lnTo>
                  <a:lnTo>
                    <a:pt x="26" y="65"/>
                  </a:lnTo>
                  <a:lnTo>
                    <a:pt x="20" y="64"/>
                  </a:lnTo>
                  <a:lnTo>
                    <a:pt x="15" y="61"/>
                  </a:lnTo>
                  <a:lnTo>
                    <a:pt x="10" y="57"/>
                  </a:lnTo>
                  <a:lnTo>
                    <a:pt x="6" y="51"/>
                  </a:lnTo>
                  <a:lnTo>
                    <a:pt x="3" y="46"/>
                  </a:lnTo>
                  <a:lnTo>
                    <a:pt x="0" y="40"/>
                  </a:lnTo>
                  <a:lnTo>
                    <a:pt x="0" y="33"/>
                  </a:lnTo>
                  <a:lnTo>
                    <a:pt x="0" y="33"/>
                  </a:lnTo>
                  <a:lnTo>
                    <a:pt x="0" y="27"/>
                  </a:lnTo>
                  <a:lnTo>
                    <a:pt x="3" y="20"/>
                  </a:lnTo>
                  <a:lnTo>
                    <a:pt x="6" y="14"/>
                  </a:lnTo>
                  <a:lnTo>
                    <a:pt x="10" y="10"/>
                  </a:lnTo>
                  <a:lnTo>
                    <a:pt x="15" y="6"/>
                  </a:lnTo>
                  <a:lnTo>
                    <a:pt x="20" y="3"/>
                  </a:lnTo>
                  <a:lnTo>
                    <a:pt x="26" y="1"/>
                  </a:lnTo>
                  <a:lnTo>
                    <a:pt x="34" y="0"/>
                  </a:lnTo>
                  <a:lnTo>
                    <a:pt x="227" y="0"/>
                  </a:lnTo>
                  <a:lnTo>
                    <a:pt x="227" y="0"/>
                  </a:lnTo>
                  <a:lnTo>
                    <a:pt x="234" y="1"/>
                  </a:lnTo>
                  <a:lnTo>
                    <a:pt x="241" y="3"/>
                  </a:lnTo>
                  <a:lnTo>
                    <a:pt x="246" y="6"/>
                  </a:lnTo>
                  <a:lnTo>
                    <a:pt x="251" y="10"/>
                  </a:lnTo>
                  <a:lnTo>
                    <a:pt x="255" y="14"/>
                  </a:lnTo>
                  <a:lnTo>
                    <a:pt x="258" y="20"/>
                  </a:lnTo>
                  <a:lnTo>
                    <a:pt x="260" y="27"/>
                  </a:lnTo>
                  <a:lnTo>
                    <a:pt x="260" y="33"/>
                  </a:lnTo>
                  <a:lnTo>
                    <a:pt x="260" y="33"/>
                  </a:lnTo>
                  <a:lnTo>
                    <a:pt x="260" y="40"/>
                  </a:lnTo>
                  <a:lnTo>
                    <a:pt x="258" y="46"/>
                  </a:lnTo>
                  <a:lnTo>
                    <a:pt x="255" y="51"/>
                  </a:lnTo>
                  <a:lnTo>
                    <a:pt x="251" y="57"/>
                  </a:lnTo>
                  <a:lnTo>
                    <a:pt x="246" y="61"/>
                  </a:lnTo>
                  <a:lnTo>
                    <a:pt x="241" y="64"/>
                  </a:lnTo>
                  <a:lnTo>
                    <a:pt x="234" y="65"/>
                  </a:lnTo>
                  <a:lnTo>
                    <a:pt x="227" y="66"/>
                  </a:lnTo>
                  <a:lnTo>
                    <a:pt x="22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558" name="Group 557">
            <a:extLst>
              <a:ext uri="{FF2B5EF4-FFF2-40B4-BE49-F238E27FC236}">
                <a16:creationId xmlns:a16="http://schemas.microsoft.com/office/drawing/2014/main" id="{70310CA0-334F-4630-B423-19AC8C831CE7}"/>
              </a:ext>
            </a:extLst>
          </p:cNvPr>
          <p:cNvGrpSpPr/>
          <p:nvPr/>
        </p:nvGrpSpPr>
        <p:grpSpPr>
          <a:xfrm>
            <a:off x="462011" y="1315818"/>
            <a:ext cx="187623" cy="194509"/>
            <a:chOff x="3395663" y="5049838"/>
            <a:chExt cx="346075" cy="358776"/>
          </a:xfrm>
          <a:solidFill>
            <a:schemeClr val="bg1"/>
          </a:solidFill>
        </p:grpSpPr>
        <p:sp>
          <p:nvSpPr>
            <p:cNvPr id="559" name="Freeform 1174">
              <a:extLst>
                <a:ext uri="{FF2B5EF4-FFF2-40B4-BE49-F238E27FC236}">
                  <a16:creationId xmlns:a16="http://schemas.microsoft.com/office/drawing/2014/main" id="{CC51BB31-5FA6-4718-870F-FD9332C80B9C}"/>
                </a:ext>
              </a:extLst>
            </p:cNvPr>
            <p:cNvSpPr>
              <a:spLocks noEditPoints="1"/>
            </p:cNvSpPr>
            <p:nvPr/>
          </p:nvSpPr>
          <p:spPr bwMode="auto">
            <a:xfrm>
              <a:off x="3395663" y="5049838"/>
              <a:ext cx="346075" cy="58738"/>
            </a:xfrm>
            <a:custGeom>
              <a:avLst/>
              <a:gdLst>
                <a:gd name="T0" fmla="*/ 1488 w 1521"/>
                <a:gd name="T1" fmla="*/ 265 h 265"/>
                <a:gd name="T2" fmla="*/ 33 w 1521"/>
                <a:gd name="T3" fmla="*/ 265 h 265"/>
                <a:gd name="T4" fmla="*/ 33 w 1521"/>
                <a:gd name="T5" fmla="*/ 265 h 265"/>
                <a:gd name="T6" fmla="*/ 27 w 1521"/>
                <a:gd name="T7" fmla="*/ 264 h 265"/>
                <a:gd name="T8" fmla="*/ 21 w 1521"/>
                <a:gd name="T9" fmla="*/ 262 h 265"/>
                <a:gd name="T10" fmla="*/ 14 w 1521"/>
                <a:gd name="T11" fmla="*/ 259 h 265"/>
                <a:gd name="T12" fmla="*/ 10 w 1521"/>
                <a:gd name="T13" fmla="*/ 255 h 265"/>
                <a:gd name="T14" fmla="*/ 6 w 1521"/>
                <a:gd name="T15" fmla="*/ 251 h 265"/>
                <a:gd name="T16" fmla="*/ 3 w 1521"/>
                <a:gd name="T17" fmla="*/ 244 h 265"/>
                <a:gd name="T18" fmla="*/ 1 w 1521"/>
                <a:gd name="T19" fmla="*/ 238 h 265"/>
                <a:gd name="T20" fmla="*/ 0 w 1521"/>
                <a:gd name="T21" fmla="*/ 232 h 265"/>
                <a:gd name="T22" fmla="*/ 0 w 1521"/>
                <a:gd name="T23" fmla="*/ 33 h 265"/>
                <a:gd name="T24" fmla="*/ 0 w 1521"/>
                <a:gd name="T25" fmla="*/ 33 h 265"/>
                <a:gd name="T26" fmla="*/ 1 w 1521"/>
                <a:gd name="T27" fmla="*/ 27 h 265"/>
                <a:gd name="T28" fmla="*/ 3 w 1521"/>
                <a:gd name="T29" fmla="*/ 21 h 265"/>
                <a:gd name="T30" fmla="*/ 6 w 1521"/>
                <a:gd name="T31" fmla="*/ 15 h 265"/>
                <a:gd name="T32" fmla="*/ 10 w 1521"/>
                <a:gd name="T33" fmla="*/ 11 h 265"/>
                <a:gd name="T34" fmla="*/ 14 w 1521"/>
                <a:gd name="T35" fmla="*/ 6 h 265"/>
                <a:gd name="T36" fmla="*/ 21 w 1521"/>
                <a:gd name="T37" fmla="*/ 3 h 265"/>
                <a:gd name="T38" fmla="*/ 27 w 1521"/>
                <a:gd name="T39" fmla="*/ 1 h 265"/>
                <a:gd name="T40" fmla="*/ 33 w 1521"/>
                <a:gd name="T41" fmla="*/ 0 h 265"/>
                <a:gd name="T42" fmla="*/ 1488 w 1521"/>
                <a:gd name="T43" fmla="*/ 0 h 265"/>
                <a:gd name="T44" fmla="*/ 1488 w 1521"/>
                <a:gd name="T45" fmla="*/ 0 h 265"/>
                <a:gd name="T46" fmla="*/ 1495 w 1521"/>
                <a:gd name="T47" fmla="*/ 1 h 265"/>
                <a:gd name="T48" fmla="*/ 1502 w 1521"/>
                <a:gd name="T49" fmla="*/ 3 h 265"/>
                <a:gd name="T50" fmla="*/ 1507 w 1521"/>
                <a:gd name="T51" fmla="*/ 6 h 265"/>
                <a:gd name="T52" fmla="*/ 1512 w 1521"/>
                <a:gd name="T53" fmla="*/ 11 h 265"/>
                <a:gd name="T54" fmla="*/ 1516 w 1521"/>
                <a:gd name="T55" fmla="*/ 15 h 265"/>
                <a:gd name="T56" fmla="*/ 1519 w 1521"/>
                <a:gd name="T57" fmla="*/ 21 h 265"/>
                <a:gd name="T58" fmla="*/ 1520 w 1521"/>
                <a:gd name="T59" fmla="*/ 27 h 265"/>
                <a:gd name="T60" fmla="*/ 1521 w 1521"/>
                <a:gd name="T61" fmla="*/ 33 h 265"/>
                <a:gd name="T62" fmla="*/ 1521 w 1521"/>
                <a:gd name="T63" fmla="*/ 232 h 265"/>
                <a:gd name="T64" fmla="*/ 1521 w 1521"/>
                <a:gd name="T65" fmla="*/ 232 h 265"/>
                <a:gd name="T66" fmla="*/ 1520 w 1521"/>
                <a:gd name="T67" fmla="*/ 238 h 265"/>
                <a:gd name="T68" fmla="*/ 1519 w 1521"/>
                <a:gd name="T69" fmla="*/ 244 h 265"/>
                <a:gd name="T70" fmla="*/ 1516 w 1521"/>
                <a:gd name="T71" fmla="*/ 251 h 265"/>
                <a:gd name="T72" fmla="*/ 1512 w 1521"/>
                <a:gd name="T73" fmla="*/ 255 h 265"/>
                <a:gd name="T74" fmla="*/ 1507 w 1521"/>
                <a:gd name="T75" fmla="*/ 259 h 265"/>
                <a:gd name="T76" fmla="*/ 1502 w 1521"/>
                <a:gd name="T77" fmla="*/ 262 h 265"/>
                <a:gd name="T78" fmla="*/ 1495 w 1521"/>
                <a:gd name="T79" fmla="*/ 264 h 265"/>
                <a:gd name="T80" fmla="*/ 1488 w 1521"/>
                <a:gd name="T81" fmla="*/ 265 h 265"/>
                <a:gd name="T82" fmla="*/ 1488 w 1521"/>
                <a:gd name="T83" fmla="*/ 265 h 265"/>
                <a:gd name="T84" fmla="*/ 66 w 1521"/>
                <a:gd name="T85" fmla="*/ 199 h 265"/>
                <a:gd name="T86" fmla="*/ 1455 w 1521"/>
                <a:gd name="T87" fmla="*/ 199 h 265"/>
                <a:gd name="T88" fmla="*/ 1455 w 1521"/>
                <a:gd name="T89" fmla="*/ 66 h 265"/>
                <a:gd name="T90" fmla="*/ 66 w 1521"/>
                <a:gd name="T91" fmla="*/ 66 h 265"/>
                <a:gd name="T92" fmla="*/ 66 w 1521"/>
                <a:gd name="T93" fmla="*/ 19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21" h="265">
                  <a:moveTo>
                    <a:pt x="1488" y="265"/>
                  </a:moveTo>
                  <a:lnTo>
                    <a:pt x="33" y="265"/>
                  </a:lnTo>
                  <a:lnTo>
                    <a:pt x="33" y="265"/>
                  </a:lnTo>
                  <a:lnTo>
                    <a:pt x="27" y="264"/>
                  </a:lnTo>
                  <a:lnTo>
                    <a:pt x="21" y="262"/>
                  </a:lnTo>
                  <a:lnTo>
                    <a:pt x="14" y="259"/>
                  </a:lnTo>
                  <a:lnTo>
                    <a:pt x="10" y="255"/>
                  </a:lnTo>
                  <a:lnTo>
                    <a:pt x="6" y="251"/>
                  </a:lnTo>
                  <a:lnTo>
                    <a:pt x="3" y="244"/>
                  </a:lnTo>
                  <a:lnTo>
                    <a:pt x="1" y="238"/>
                  </a:lnTo>
                  <a:lnTo>
                    <a:pt x="0" y="232"/>
                  </a:lnTo>
                  <a:lnTo>
                    <a:pt x="0" y="33"/>
                  </a:lnTo>
                  <a:lnTo>
                    <a:pt x="0" y="33"/>
                  </a:lnTo>
                  <a:lnTo>
                    <a:pt x="1" y="27"/>
                  </a:lnTo>
                  <a:lnTo>
                    <a:pt x="3" y="21"/>
                  </a:lnTo>
                  <a:lnTo>
                    <a:pt x="6" y="15"/>
                  </a:lnTo>
                  <a:lnTo>
                    <a:pt x="10" y="11"/>
                  </a:lnTo>
                  <a:lnTo>
                    <a:pt x="14" y="6"/>
                  </a:lnTo>
                  <a:lnTo>
                    <a:pt x="21" y="3"/>
                  </a:lnTo>
                  <a:lnTo>
                    <a:pt x="27" y="1"/>
                  </a:lnTo>
                  <a:lnTo>
                    <a:pt x="33" y="0"/>
                  </a:lnTo>
                  <a:lnTo>
                    <a:pt x="1488" y="0"/>
                  </a:lnTo>
                  <a:lnTo>
                    <a:pt x="1488" y="0"/>
                  </a:lnTo>
                  <a:lnTo>
                    <a:pt x="1495" y="1"/>
                  </a:lnTo>
                  <a:lnTo>
                    <a:pt x="1502" y="3"/>
                  </a:lnTo>
                  <a:lnTo>
                    <a:pt x="1507" y="6"/>
                  </a:lnTo>
                  <a:lnTo>
                    <a:pt x="1512" y="11"/>
                  </a:lnTo>
                  <a:lnTo>
                    <a:pt x="1516" y="15"/>
                  </a:lnTo>
                  <a:lnTo>
                    <a:pt x="1519" y="21"/>
                  </a:lnTo>
                  <a:lnTo>
                    <a:pt x="1520" y="27"/>
                  </a:lnTo>
                  <a:lnTo>
                    <a:pt x="1521" y="33"/>
                  </a:lnTo>
                  <a:lnTo>
                    <a:pt x="1521" y="232"/>
                  </a:lnTo>
                  <a:lnTo>
                    <a:pt x="1521" y="232"/>
                  </a:lnTo>
                  <a:lnTo>
                    <a:pt x="1520" y="238"/>
                  </a:lnTo>
                  <a:lnTo>
                    <a:pt x="1519" y="244"/>
                  </a:lnTo>
                  <a:lnTo>
                    <a:pt x="1516" y="251"/>
                  </a:lnTo>
                  <a:lnTo>
                    <a:pt x="1512" y="255"/>
                  </a:lnTo>
                  <a:lnTo>
                    <a:pt x="1507" y="259"/>
                  </a:lnTo>
                  <a:lnTo>
                    <a:pt x="1502" y="262"/>
                  </a:lnTo>
                  <a:lnTo>
                    <a:pt x="1495" y="264"/>
                  </a:lnTo>
                  <a:lnTo>
                    <a:pt x="1488" y="265"/>
                  </a:lnTo>
                  <a:lnTo>
                    <a:pt x="1488" y="265"/>
                  </a:lnTo>
                  <a:close/>
                  <a:moveTo>
                    <a:pt x="66" y="199"/>
                  </a:moveTo>
                  <a:lnTo>
                    <a:pt x="1455" y="199"/>
                  </a:lnTo>
                  <a:lnTo>
                    <a:pt x="1455" y="66"/>
                  </a:lnTo>
                  <a:lnTo>
                    <a:pt x="66" y="66"/>
                  </a:lnTo>
                  <a:lnTo>
                    <a:pt x="66" y="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60" name="Freeform 1175">
              <a:extLst>
                <a:ext uri="{FF2B5EF4-FFF2-40B4-BE49-F238E27FC236}">
                  <a16:creationId xmlns:a16="http://schemas.microsoft.com/office/drawing/2014/main" id="{88F9A958-583C-442D-BF87-C6D450A25ED0}"/>
                </a:ext>
              </a:extLst>
            </p:cNvPr>
            <p:cNvSpPr>
              <a:spLocks/>
            </p:cNvSpPr>
            <p:nvPr/>
          </p:nvSpPr>
          <p:spPr bwMode="auto">
            <a:xfrm>
              <a:off x="3397250" y="5303838"/>
              <a:ext cx="344488" cy="15875"/>
            </a:xfrm>
            <a:custGeom>
              <a:avLst/>
              <a:gdLst>
                <a:gd name="T0" fmla="*/ 1485 w 1518"/>
                <a:gd name="T1" fmla="*/ 66 h 66"/>
                <a:gd name="T2" fmla="*/ 32 w 1518"/>
                <a:gd name="T3" fmla="*/ 66 h 66"/>
                <a:gd name="T4" fmla="*/ 32 w 1518"/>
                <a:gd name="T5" fmla="*/ 66 h 66"/>
                <a:gd name="T6" fmla="*/ 26 w 1518"/>
                <a:gd name="T7" fmla="*/ 66 h 66"/>
                <a:gd name="T8" fmla="*/ 20 w 1518"/>
                <a:gd name="T9" fmla="*/ 64 h 66"/>
                <a:gd name="T10" fmla="*/ 14 w 1518"/>
                <a:gd name="T11" fmla="*/ 60 h 66"/>
                <a:gd name="T12" fmla="*/ 9 w 1518"/>
                <a:gd name="T13" fmla="*/ 56 h 66"/>
                <a:gd name="T14" fmla="*/ 5 w 1518"/>
                <a:gd name="T15" fmla="*/ 51 h 66"/>
                <a:gd name="T16" fmla="*/ 2 w 1518"/>
                <a:gd name="T17" fmla="*/ 46 h 66"/>
                <a:gd name="T18" fmla="*/ 0 w 1518"/>
                <a:gd name="T19" fmla="*/ 40 h 66"/>
                <a:gd name="T20" fmla="*/ 0 w 1518"/>
                <a:gd name="T21" fmla="*/ 33 h 66"/>
                <a:gd name="T22" fmla="*/ 0 w 1518"/>
                <a:gd name="T23" fmla="*/ 33 h 66"/>
                <a:gd name="T24" fmla="*/ 0 w 1518"/>
                <a:gd name="T25" fmla="*/ 26 h 66"/>
                <a:gd name="T26" fmla="*/ 2 w 1518"/>
                <a:gd name="T27" fmla="*/ 20 h 66"/>
                <a:gd name="T28" fmla="*/ 5 w 1518"/>
                <a:gd name="T29" fmla="*/ 15 h 66"/>
                <a:gd name="T30" fmla="*/ 9 w 1518"/>
                <a:gd name="T31" fmla="*/ 10 h 66"/>
                <a:gd name="T32" fmla="*/ 14 w 1518"/>
                <a:gd name="T33" fmla="*/ 6 h 66"/>
                <a:gd name="T34" fmla="*/ 20 w 1518"/>
                <a:gd name="T35" fmla="*/ 2 h 66"/>
                <a:gd name="T36" fmla="*/ 26 w 1518"/>
                <a:gd name="T37" fmla="*/ 0 h 66"/>
                <a:gd name="T38" fmla="*/ 32 w 1518"/>
                <a:gd name="T39" fmla="*/ 0 h 66"/>
                <a:gd name="T40" fmla="*/ 1485 w 1518"/>
                <a:gd name="T41" fmla="*/ 0 h 66"/>
                <a:gd name="T42" fmla="*/ 1485 w 1518"/>
                <a:gd name="T43" fmla="*/ 0 h 66"/>
                <a:gd name="T44" fmla="*/ 1491 w 1518"/>
                <a:gd name="T45" fmla="*/ 0 h 66"/>
                <a:gd name="T46" fmla="*/ 1497 w 1518"/>
                <a:gd name="T47" fmla="*/ 2 h 66"/>
                <a:gd name="T48" fmla="*/ 1504 w 1518"/>
                <a:gd name="T49" fmla="*/ 6 h 66"/>
                <a:gd name="T50" fmla="*/ 1508 w 1518"/>
                <a:gd name="T51" fmla="*/ 10 h 66"/>
                <a:gd name="T52" fmla="*/ 1512 w 1518"/>
                <a:gd name="T53" fmla="*/ 15 h 66"/>
                <a:gd name="T54" fmla="*/ 1515 w 1518"/>
                <a:gd name="T55" fmla="*/ 20 h 66"/>
                <a:gd name="T56" fmla="*/ 1517 w 1518"/>
                <a:gd name="T57" fmla="*/ 26 h 66"/>
                <a:gd name="T58" fmla="*/ 1518 w 1518"/>
                <a:gd name="T59" fmla="*/ 33 h 66"/>
                <a:gd name="T60" fmla="*/ 1518 w 1518"/>
                <a:gd name="T61" fmla="*/ 33 h 66"/>
                <a:gd name="T62" fmla="*/ 1517 w 1518"/>
                <a:gd name="T63" fmla="*/ 40 h 66"/>
                <a:gd name="T64" fmla="*/ 1515 w 1518"/>
                <a:gd name="T65" fmla="*/ 46 h 66"/>
                <a:gd name="T66" fmla="*/ 1512 w 1518"/>
                <a:gd name="T67" fmla="*/ 51 h 66"/>
                <a:gd name="T68" fmla="*/ 1508 w 1518"/>
                <a:gd name="T69" fmla="*/ 56 h 66"/>
                <a:gd name="T70" fmla="*/ 1504 w 1518"/>
                <a:gd name="T71" fmla="*/ 60 h 66"/>
                <a:gd name="T72" fmla="*/ 1497 w 1518"/>
                <a:gd name="T73" fmla="*/ 64 h 66"/>
                <a:gd name="T74" fmla="*/ 1491 w 1518"/>
                <a:gd name="T75" fmla="*/ 66 h 66"/>
                <a:gd name="T76" fmla="*/ 1485 w 1518"/>
                <a:gd name="T77" fmla="*/ 66 h 66"/>
                <a:gd name="T78" fmla="*/ 1485 w 1518"/>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8" h="66">
                  <a:moveTo>
                    <a:pt x="1485" y="66"/>
                  </a:moveTo>
                  <a:lnTo>
                    <a:pt x="32" y="66"/>
                  </a:lnTo>
                  <a:lnTo>
                    <a:pt x="32" y="66"/>
                  </a:lnTo>
                  <a:lnTo>
                    <a:pt x="26" y="66"/>
                  </a:lnTo>
                  <a:lnTo>
                    <a:pt x="20" y="64"/>
                  </a:lnTo>
                  <a:lnTo>
                    <a:pt x="14" y="60"/>
                  </a:lnTo>
                  <a:lnTo>
                    <a:pt x="9" y="56"/>
                  </a:lnTo>
                  <a:lnTo>
                    <a:pt x="5" y="51"/>
                  </a:lnTo>
                  <a:lnTo>
                    <a:pt x="2" y="46"/>
                  </a:lnTo>
                  <a:lnTo>
                    <a:pt x="0" y="40"/>
                  </a:lnTo>
                  <a:lnTo>
                    <a:pt x="0" y="33"/>
                  </a:lnTo>
                  <a:lnTo>
                    <a:pt x="0" y="33"/>
                  </a:lnTo>
                  <a:lnTo>
                    <a:pt x="0" y="26"/>
                  </a:lnTo>
                  <a:lnTo>
                    <a:pt x="2" y="20"/>
                  </a:lnTo>
                  <a:lnTo>
                    <a:pt x="5" y="15"/>
                  </a:lnTo>
                  <a:lnTo>
                    <a:pt x="9" y="10"/>
                  </a:lnTo>
                  <a:lnTo>
                    <a:pt x="14" y="6"/>
                  </a:lnTo>
                  <a:lnTo>
                    <a:pt x="20" y="2"/>
                  </a:lnTo>
                  <a:lnTo>
                    <a:pt x="26" y="0"/>
                  </a:lnTo>
                  <a:lnTo>
                    <a:pt x="32" y="0"/>
                  </a:lnTo>
                  <a:lnTo>
                    <a:pt x="1485" y="0"/>
                  </a:lnTo>
                  <a:lnTo>
                    <a:pt x="1485" y="0"/>
                  </a:lnTo>
                  <a:lnTo>
                    <a:pt x="1491" y="0"/>
                  </a:lnTo>
                  <a:lnTo>
                    <a:pt x="1497" y="2"/>
                  </a:lnTo>
                  <a:lnTo>
                    <a:pt x="1504" y="6"/>
                  </a:lnTo>
                  <a:lnTo>
                    <a:pt x="1508" y="10"/>
                  </a:lnTo>
                  <a:lnTo>
                    <a:pt x="1512" y="15"/>
                  </a:lnTo>
                  <a:lnTo>
                    <a:pt x="1515" y="20"/>
                  </a:lnTo>
                  <a:lnTo>
                    <a:pt x="1517" y="26"/>
                  </a:lnTo>
                  <a:lnTo>
                    <a:pt x="1518" y="33"/>
                  </a:lnTo>
                  <a:lnTo>
                    <a:pt x="1518" y="33"/>
                  </a:lnTo>
                  <a:lnTo>
                    <a:pt x="1517" y="40"/>
                  </a:lnTo>
                  <a:lnTo>
                    <a:pt x="1515" y="46"/>
                  </a:lnTo>
                  <a:lnTo>
                    <a:pt x="1512" y="51"/>
                  </a:lnTo>
                  <a:lnTo>
                    <a:pt x="1508" y="56"/>
                  </a:lnTo>
                  <a:lnTo>
                    <a:pt x="1504" y="60"/>
                  </a:lnTo>
                  <a:lnTo>
                    <a:pt x="1497" y="64"/>
                  </a:lnTo>
                  <a:lnTo>
                    <a:pt x="1491" y="66"/>
                  </a:lnTo>
                  <a:lnTo>
                    <a:pt x="1485" y="66"/>
                  </a:lnTo>
                  <a:lnTo>
                    <a:pt x="1485"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61" name="Freeform 1176">
              <a:extLst>
                <a:ext uri="{FF2B5EF4-FFF2-40B4-BE49-F238E27FC236}">
                  <a16:creationId xmlns:a16="http://schemas.microsoft.com/office/drawing/2014/main" id="{2187CC6B-6EBB-42A6-B6FE-B3E9B4CE408C}"/>
                </a:ext>
              </a:extLst>
            </p:cNvPr>
            <p:cNvSpPr>
              <a:spLocks noEditPoints="1"/>
            </p:cNvSpPr>
            <p:nvPr/>
          </p:nvSpPr>
          <p:spPr bwMode="auto">
            <a:xfrm>
              <a:off x="3425825" y="5094288"/>
              <a:ext cx="285750" cy="225425"/>
            </a:xfrm>
            <a:custGeom>
              <a:avLst/>
              <a:gdLst>
                <a:gd name="T0" fmla="*/ 1224 w 1257"/>
                <a:gd name="T1" fmla="*/ 992 h 992"/>
                <a:gd name="T2" fmla="*/ 34 w 1257"/>
                <a:gd name="T3" fmla="*/ 992 h 992"/>
                <a:gd name="T4" fmla="*/ 34 w 1257"/>
                <a:gd name="T5" fmla="*/ 992 h 992"/>
                <a:gd name="T6" fmla="*/ 27 w 1257"/>
                <a:gd name="T7" fmla="*/ 992 h 992"/>
                <a:gd name="T8" fmla="*/ 21 w 1257"/>
                <a:gd name="T9" fmla="*/ 990 h 992"/>
                <a:gd name="T10" fmla="*/ 15 w 1257"/>
                <a:gd name="T11" fmla="*/ 986 h 992"/>
                <a:gd name="T12" fmla="*/ 10 w 1257"/>
                <a:gd name="T13" fmla="*/ 982 h 992"/>
                <a:gd name="T14" fmla="*/ 6 w 1257"/>
                <a:gd name="T15" fmla="*/ 977 h 992"/>
                <a:gd name="T16" fmla="*/ 4 w 1257"/>
                <a:gd name="T17" fmla="*/ 972 h 992"/>
                <a:gd name="T18" fmla="*/ 1 w 1257"/>
                <a:gd name="T19" fmla="*/ 966 h 992"/>
                <a:gd name="T20" fmla="*/ 0 w 1257"/>
                <a:gd name="T21" fmla="*/ 959 h 992"/>
                <a:gd name="T22" fmla="*/ 0 w 1257"/>
                <a:gd name="T23" fmla="*/ 33 h 992"/>
                <a:gd name="T24" fmla="*/ 0 w 1257"/>
                <a:gd name="T25" fmla="*/ 33 h 992"/>
                <a:gd name="T26" fmla="*/ 1 w 1257"/>
                <a:gd name="T27" fmla="*/ 26 h 992"/>
                <a:gd name="T28" fmla="*/ 4 w 1257"/>
                <a:gd name="T29" fmla="*/ 20 h 992"/>
                <a:gd name="T30" fmla="*/ 6 w 1257"/>
                <a:gd name="T31" fmla="*/ 14 h 992"/>
                <a:gd name="T32" fmla="*/ 10 w 1257"/>
                <a:gd name="T33" fmla="*/ 9 h 992"/>
                <a:gd name="T34" fmla="*/ 15 w 1257"/>
                <a:gd name="T35" fmla="*/ 5 h 992"/>
                <a:gd name="T36" fmla="*/ 21 w 1257"/>
                <a:gd name="T37" fmla="*/ 2 h 992"/>
                <a:gd name="T38" fmla="*/ 27 w 1257"/>
                <a:gd name="T39" fmla="*/ 1 h 992"/>
                <a:gd name="T40" fmla="*/ 34 w 1257"/>
                <a:gd name="T41" fmla="*/ 0 h 992"/>
                <a:gd name="T42" fmla="*/ 1224 w 1257"/>
                <a:gd name="T43" fmla="*/ 0 h 992"/>
                <a:gd name="T44" fmla="*/ 1224 w 1257"/>
                <a:gd name="T45" fmla="*/ 0 h 992"/>
                <a:gd name="T46" fmla="*/ 1231 w 1257"/>
                <a:gd name="T47" fmla="*/ 1 h 992"/>
                <a:gd name="T48" fmla="*/ 1237 w 1257"/>
                <a:gd name="T49" fmla="*/ 2 h 992"/>
                <a:gd name="T50" fmla="*/ 1242 w 1257"/>
                <a:gd name="T51" fmla="*/ 5 h 992"/>
                <a:gd name="T52" fmla="*/ 1247 w 1257"/>
                <a:gd name="T53" fmla="*/ 9 h 992"/>
                <a:gd name="T54" fmla="*/ 1252 w 1257"/>
                <a:gd name="T55" fmla="*/ 14 h 992"/>
                <a:gd name="T56" fmla="*/ 1255 w 1257"/>
                <a:gd name="T57" fmla="*/ 20 h 992"/>
                <a:gd name="T58" fmla="*/ 1257 w 1257"/>
                <a:gd name="T59" fmla="*/ 26 h 992"/>
                <a:gd name="T60" fmla="*/ 1257 w 1257"/>
                <a:gd name="T61" fmla="*/ 33 h 992"/>
                <a:gd name="T62" fmla="*/ 1257 w 1257"/>
                <a:gd name="T63" fmla="*/ 959 h 992"/>
                <a:gd name="T64" fmla="*/ 1257 w 1257"/>
                <a:gd name="T65" fmla="*/ 959 h 992"/>
                <a:gd name="T66" fmla="*/ 1257 w 1257"/>
                <a:gd name="T67" fmla="*/ 966 h 992"/>
                <a:gd name="T68" fmla="*/ 1255 w 1257"/>
                <a:gd name="T69" fmla="*/ 972 h 992"/>
                <a:gd name="T70" fmla="*/ 1252 w 1257"/>
                <a:gd name="T71" fmla="*/ 977 h 992"/>
                <a:gd name="T72" fmla="*/ 1247 w 1257"/>
                <a:gd name="T73" fmla="*/ 982 h 992"/>
                <a:gd name="T74" fmla="*/ 1242 w 1257"/>
                <a:gd name="T75" fmla="*/ 986 h 992"/>
                <a:gd name="T76" fmla="*/ 1237 w 1257"/>
                <a:gd name="T77" fmla="*/ 990 h 992"/>
                <a:gd name="T78" fmla="*/ 1231 w 1257"/>
                <a:gd name="T79" fmla="*/ 992 h 992"/>
                <a:gd name="T80" fmla="*/ 1224 w 1257"/>
                <a:gd name="T81" fmla="*/ 992 h 992"/>
                <a:gd name="T82" fmla="*/ 1224 w 1257"/>
                <a:gd name="T83" fmla="*/ 992 h 992"/>
                <a:gd name="T84" fmla="*/ 67 w 1257"/>
                <a:gd name="T85" fmla="*/ 926 h 992"/>
                <a:gd name="T86" fmla="*/ 1190 w 1257"/>
                <a:gd name="T87" fmla="*/ 926 h 992"/>
                <a:gd name="T88" fmla="*/ 1190 w 1257"/>
                <a:gd name="T89" fmla="*/ 66 h 992"/>
                <a:gd name="T90" fmla="*/ 67 w 1257"/>
                <a:gd name="T91" fmla="*/ 66 h 992"/>
                <a:gd name="T92" fmla="*/ 67 w 1257"/>
                <a:gd name="T93" fmla="*/ 926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7" h="992">
                  <a:moveTo>
                    <a:pt x="1224" y="992"/>
                  </a:moveTo>
                  <a:lnTo>
                    <a:pt x="34" y="992"/>
                  </a:lnTo>
                  <a:lnTo>
                    <a:pt x="34" y="992"/>
                  </a:lnTo>
                  <a:lnTo>
                    <a:pt x="27" y="992"/>
                  </a:lnTo>
                  <a:lnTo>
                    <a:pt x="21" y="990"/>
                  </a:lnTo>
                  <a:lnTo>
                    <a:pt x="15" y="986"/>
                  </a:lnTo>
                  <a:lnTo>
                    <a:pt x="10" y="982"/>
                  </a:lnTo>
                  <a:lnTo>
                    <a:pt x="6" y="977"/>
                  </a:lnTo>
                  <a:lnTo>
                    <a:pt x="4" y="972"/>
                  </a:lnTo>
                  <a:lnTo>
                    <a:pt x="1" y="966"/>
                  </a:lnTo>
                  <a:lnTo>
                    <a:pt x="0" y="959"/>
                  </a:lnTo>
                  <a:lnTo>
                    <a:pt x="0" y="33"/>
                  </a:lnTo>
                  <a:lnTo>
                    <a:pt x="0" y="33"/>
                  </a:lnTo>
                  <a:lnTo>
                    <a:pt x="1" y="26"/>
                  </a:lnTo>
                  <a:lnTo>
                    <a:pt x="4" y="20"/>
                  </a:lnTo>
                  <a:lnTo>
                    <a:pt x="6" y="14"/>
                  </a:lnTo>
                  <a:lnTo>
                    <a:pt x="10" y="9"/>
                  </a:lnTo>
                  <a:lnTo>
                    <a:pt x="15" y="5"/>
                  </a:lnTo>
                  <a:lnTo>
                    <a:pt x="21" y="2"/>
                  </a:lnTo>
                  <a:lnTo>
                    <a:pt x="27" y="1"/>
                  </a:lnTo>
                  <a:lnTo>
                    <a:pt x="34" y="0"/>
                  </a:lnTo>
                  <a:lnTo>
                    <a:pt x="1224" y="0"/>
                  </a:lnTo>
                  <a:lnTo>
                    <a:pt x="1224" y="0"/>
                  </a:lnTo>
                  <a:lnTo>
                    <a:pt x="1231" y="1"/>
                  </a:lnTo>
                  <a:lnTo>
                    <a:pt x="1237" y="2"/>
                  </a:lnTo>
                  <a:lnTo>
                    <a:pt x="1242" y="5"/>
                  </a:lnTo>
                  <a:lnTo>
                    <a:pt x="1247" y="9"/>
                  </a:lnTo>
                  <a:lnTo>
                    <a:pt x="1252" y="14"/>
                  </a:lnTo>
                  <a:lnTo>
                    <a:pt x="1255" y="20"/>
                  </a:lnTo>
                  <a:lnTo>
                    <a:pt x="1257" y="26"/>
                  </a:lnTo>
                  <a:lnTo>
                    <a:pt x="1257" y="33"/>
                  </a:lnTo>
                  <a:lnTo>
                    <a:pt x="1257" y="959"/>
                  </a:lnTo>
                  <a:lnTo>
                    <a:pt x="1257" y="959"/>
                  </a:lnTo>
                  <a:lnTo>
                    <a:pt x="1257" y="966"/>
                  </a:lnTo>
                  <a:lnTo>
                    <a:pt x="1255" y="972"/>
                  </a:lnTo>
                  <a:lnTo>
                    <a:pt x="1252" y="977"/>
                  </a:lnTo>
                  <a:lnTo>
                    <a:pt x="1247" y="982"/>
                  </a:lnTo>
                  <a:lnTo>
                    <a:pt x="1242" y="986"/>
                  </a:lnTo>
                  <a:lnTo>
                    <a:pt x="1237" y="990"/>
                  </a:lnTo>
                  <a:lnTo>
                    <a:pt x="1231" y="992"/>
                  </a:lnTo>
                  <a:lnTo>
                    <a:pt x="1224" y="992"/>
                  </a:lnTo>
                  <a:lnTo>
                    <a:pt x="1224" y="992"/>
                  </a:lnTo>
                  <a:close/>
                  <a:moveTo>
                    <a:pt x="67" y="926"/>
                  </a:moveTo>
                  <a:lnTo>
                    <a:pt x="1190" y="926"/>
                  </a:lnTo>
                  <a:lnTo>
                    <a:pt x="1190" y="66"/>
                  </a:lnTo>
                  <a:lnTo>
                    <a:pt x="67" y="66"/>
                  </a:lnTo>
                  <a:lnTo>
                    <a:pt x="67" y="9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62" name="Rectangle 1177">
              <a:extLst>
                <a:ext uri="{FF2B5EF4-FFF2-40B4-BE49-F238E27FC236}">
                  <a16:creationId xmlns:a16="http://schemas.microsoft.com/office/drawing/2014/main" id="{1A3AB978-22F4-424E-9C13-A506DBDF4BD1}"/>
                </a:ext>
              </a:extLst>
            </p:cNvPr>
            <p:cNvSpPr>
              <a:spLocks noChangeArrowheads="1"/>
            </p:cNvSpPr>
            <p:nvPr/>
          </p:nvSpPr>
          <p:spPr bwMode="auto">
            <a:xfrm>
              <a:off x="3560763" y="5311776"/>
              <a:ext cx="15875"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63" name="Freeform 1178">
              <a:extLst>
                <a:ext uri="{FF2B5EF4-FFF2-40B4-BE49-F238E27FC236}">
                  <a16:creationId xmlns:a16="http://schemas.microsoft.com/office/drawing/2014/main" id="{55C6395F-F359-4F3A-9849-4C7FCF27474A}"/>
                </a:ext>
              </a:extLst>
            </p:cNvPr>
            <p:cNvSpPr>
              <a:spLocks noEditPoints="1"/>
            </p:cNvSpPr>
            <p:nvPr/>
          </p:nvSpPr>
          <p:spPr bwMode="auto">
            <a:xfrm>
              <a:off x="3538538" y="5349876"/>
              <a:ext cx="60325" cy="58738"/>
            </a:xfrm>
            <a:custGeom>
              <a:avLst/>
              <a:gdLst>
                <a:gd name="T0" fmla="*/ 119 w 265"/>
                <a:gd name="T1" fmla="*/ 264 h 265"/>
                <a:gd name="T2" fmla="*/ 81 w 265"/>
                <a:gd name="T3" fmla="*/ 255 h 265"/>
                <a:gd name="T4" fmla="*/ 49 w 265"/>
                <a:gd name="T5" fmla="*/ 235 h 265"/>
                <a:gd name="T6" fmla="*/ 23 w 265"/>
                <a:gd name="T7" fmla="*/ 206 h 265"/>
                <a:gd name="T8" fmla="*/ 6 w 265"/>
                <a:gd name="T9" fmla="*/ 172 h 265"/>
                <a:gd name="T10" fmla="*/ 0 w 265"/>
                <a:gd name="T11" fmla="*/ 133 h 265"/>
                <a:gd name="T12" fmla="*/ 3 w 265"/>
                <a:gd name="T13" fmla="*/ 106 h 265"/>
                <a:gd name="T14" fmla="*/ 17 w 265"/>
                <a:gd name="T15" fmla="*/ 69 h 265"/>
                <a:gd name="T16" fmla="*/ 39 w 265"/>
                <a:gd name="T17" fmla="*/ 39 h 265"/>
                <a:gd name="T18" fmla="*/ 69 w 265"/>
                <a:gd name="T19" fmla="*/ 17 h 265"/>
                <a:gd name="T20" fmla="*/ 106 w 265"/>
                <a:gd name="T21" fmla="*/ 3 h 265"/>
                <a:gd name="T22" fmla="*/ 133 w 265"/>
                <a:gd name="T23" fmla="*/ 0 h 265"/>
                <a:gd name="T24" fmla="*/ 172 w 265"/>
                <a:gd name="T25" fmla="*/ 6 h 265"/>
                <a:gd name="T26" fmla="*/ 207 w 265"/>
                <a:gd name="T27" fmla="*/ 23 h 265"/>
                <a:gd name="T28" fmla="*/ 235 w 265"/>
                <a:gd name="T29" fmla="*/ 49 h 265"/>
                <a:gd name="T30" fmla="*/ 255 w 265"/>
                <a:gd name="T31" fmla="*/ 81 h 265"/>
                <a:gd name="T32" fmla="*/ 264 w 265"/>
                <a:gd name="T33" fmla="*/ 119 h 265"/>
                <a:gd name="T34" fmla="*/ 264 w 265"/>
                <a:gd name="T35" fmla="*/ 146 h 265"/>
                <a:gd name="T36" fmla="*/ 255 w 265"/>
                <a:gd name="T37" fmla="*/ 184 h 265"/>
                <a:gd name="T38" fmla="*/ 235 w 265"/>
                <a:gd name="T39" fmla="*/ 216 h 265"/>
                <a:gd name="T40" fmla="*/ 207 w 265"/>
                <a:gd name="T41" fmla="*/ 242 h 265"/>
                <a:gd name="T42" fmla="*/ 172 w 265"/>
                <a:gd name="T43" fmla="*/ 259 h 265"/>
                <a:gd name="T44" fmla="*/ 133 w 265"/>
                <a:gd name="T45" fmla="*/ 265 h 265"/>
                <a:gd name="T46" fmla="*/ 133 w 265"/>
                <a:gd name="T47" fmla="*/ 66 h 265"/>
                <a:gd name="T48" fmla="*/ 113 w 265"/>
                <a:gd name="T49" fmla="*/ 69 h 265"/>
                <a:gd name="T50" fmla="*/ 95 w 265"/>
                <a:gd name="T51" fmla="*/ 78 h 265"/>
                <a:gd name="T52" fmla="*/ 75 w 265"/>
                <a:gd name="T53" fmla="*/ 102 h 265"/>
                <a:gd name="T54" fmla="*/ 68 w 265"/>
                <a:gd name="T55" fmla="*/ 119 h 265"/>
                <a:gd name="T56" fmla="*/ 66 w 265"/>
                <a:gd name="T57" fmla="*/ 133 h 265"/>
                <a:gd name="T58" fmla="*/ 69 w 265"/>
                <a:gd name="T59" fmla="*/ 152 h 265"/>
                <a:gd name="T60" fmla="*/ 78 w 265"/>
                <a:gd name="T61" fmla="*/ 170 h 265"/>
                <a:gd name="T62" fmla="*/ 102 w 265"/>
                <a:gd name="T63" fmla="*/ 191 h 265"/>
                <a:gd name="T64" fmla="*/ 119 w 265"/>
                <a:gd name="T65" fmla="*/ 198 h 265"/>
                <a:gd name="T66" fmla="*/ 133 w 265"/>
                <a:gd name="T67" fmla="*/ 199 h 265"/>
                <a:gd name="T68" fmla="*/ 152 w 265"/>
                <a:gd name="T69" fmla="*/ 196 h 265"/>
                <a:gd name="T70" fmla="*/ 170 w 265"/>
                <a:gd name="T71" fmla="*/ 188 h 265"/>
                <a:gd name="T72" fmla="*/ 191 w 265"/>
                <a:gd name="T73" fmla="*/ 165 h 265"/>
                <a:gd name="T74" fmla="*/ 198 w 265"/>
                <a:gd name="T75" fmla="*/ 146 h 265"/>
                <a:gd name="T76" fmla="*/ 199 w 265"/>
                <a:gd name="T77" fmla="*/ 133 h 265"/>
                <a:gd name="T78" fmla="*/ 196 w 265"/>
                <a:gd name="T79" fmla="*/ 113 h 265"/>
                <a:gd name="T80" fmla="*/ 187 w 265"/>
                <a:gd name="T81" fmla="*/ 95 h 265"/>
                <a:gd name="T82" fmla="*/ 165 w 265"/>
                <a:gd name="T83" fmla="*/ 75 h 265"/>
                <a:gd name="T84" fmla="*/ 146 w 265"/>
                <a:gd name="T85" fmla="*/ 67 h 265"/>
                <a:gd name="T86" fmla="*/ 133 w 265"/>
                <a:gd name="T87" fmla="*/ 66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5" h="265">
                  <a:moveTo>
                    <a:pt x="133" y="265"/>
                  </a:moveTo>
                  <a:lnTo>
                    <a:pt x="133" y="265"/>
                  </a:lnTo>
                  <a:lnTo>
                    <a:pt x="119" y="264"/>
                  </a:lnTo>
                  <a:lnTo>
                    <a:pt x="106" y="262"/>
                  </a:lnTo>
                  <a:lnTo>
                    <a:pt x="93" y="259"/>
                  </a:lnTo>
                  <a:lnTo>
                    <a:pt x="81" y="255"/>
                  </a:lnTo>
                  <a:lnTo>
                    <a:pt x="69" y="249"/>
                  </a:lnTo>
                  <a:lnTo>
                    <a:pt x="59" y="242"/>
                  </a:lnTo>
                  <a:lnTo>
                    <a:pt x="49" y="235"/>
                  </a:lnTo>
                  <a:lnTo>
                    <a:pt x="39" y="226"/>
                  </a:lnTo>
                  <a:lnTo>
                    <a:pt x="31" y="216"/>
                  </a:lnTo>
                  <a:lnTo>
                    <a:pt x="23" y="206"/>
                  </a:lnTo>
                  <a:lnTo>
                    <a:pt x="17" y="196"/>
                  </a:lnTo>
                  <a:lnTo>
                    <a:pt x="10" y="184"/>
                  </a:lnTo>
                  <a:lnTo>
                    <a:pt x="6" y="172"/>
                  </a:lnTo>
                  <a:lnTo>
                    <a:pt x="3" y="160"/>
                  </a:lnTo>
                  <a:lnTo>
                    <a:pt x="1" y="146"/>
                  </a:lnTo>
                  <a:lnTo>
                    <a:pt x="0" y="133"/>
                  </a:lnTo>
                  <a:lnTo>
                    <a:pt x="0" y="133"/>
                  </a:lnTo>
                  <a:lnTo>
                    <a:pt x="1" y="119"/>
                  </a:lnTo>
                  <a:lnTo>
                    <a:pt x="3" y="106"/>
                  </a:lnTo>
                  <a:lnTo>
                    <a:pt x="6" y="93"/>
                  </a:lnTo>
                  <a:lnTo>
                    <a:pt x="10" y="81"/>
                  </a:lnTo>
                  <a:lnTo>
                    <a:pt x="17" y="69"/>
                  </a:lnTo>
                  <a:lnTo>
                    <a:pt x="23" y="59"/>
                  </a:lnTo>
                  <a:lnTo>
                    <a:pt x="31" y="49"/>
                  </a:lnTo>
                  <a:lnTo>
                    <a:pt x="39" y="39"/>
                  </a:lnTo>
                  <a:lnTo>
                    <a:pt x="49" y="30"/>
                  </a:lnTo>
                  <a:lnTo>
                    <a:pt x="59" y="23"/>
                  </a:lnTo>
                  <a:lnTo>
                    <a:pt x="69" y="17"/>
                  </a:lnTo>
                  <a:lnTo>
                    <a:pt x="81" y="10"/>
                  </a:lnTo>
                  <a:lnTo>
                    <a:pt x="93" y="6"/>
                  </a:lnTo>
                  <a:lnTo>
                    <a:pt x="106" y="3"/>
                  </a:lnTo>
                  <a:lnTo>
                    <a:pt x="119" y="1"/>
                  </a:lnTo>
                  <a:lnTo>
                    <a:pt x="133" y="0"/>
                  </a:lnTo>
                  <a:lnTo>
                    <a:pt x="133" y="0"/>
                  </a:lnTo>
                  <a:lnTo>
                    <a:pt x="146" y="1"/>
                  </a:lnTo>
                  <a:lnTo>
                    <a:pt x="159" y="3"/>
                  </a:lnTo>
                  <a:lnTo>
                    <a:pt x="172" y="6"/>
                  </a:lnTo>
                  <a:lnTo>
                    <a:pt x="184" y="10"/>
                  </a:lnTo>
                  <a:lnTo>
                    <a:pt x="196" y="17"/>
                  </a:lnTo>
                  <a:lnTo>
                    <a:pt x="207" y="23"/>
                  </a:lnTo>
                  <a:lnTo>
                    <a:pt x="216" y="30"/>
                  </a:lnTo>
                  <a:lnTo>
                    <a:pt x="226" y="39"/>
                  </a:lnTo>
                  <a:lnTo>
                    <a:pt x="235" y="49"/>
                  </a:lnTo>
                  <a:lnTo>
                    <a:pt x="242" y="59"/>
                  </a:lnTo>
                  <a:lnTo>
                    <a:pt x="248" y="69"/>
                  </a:lnTo>
                  <a:lnTo>
                    <a:pt x="255" y="81"/>
                  </a:lnTo>
                  <a:lnTo>
                    <a:pt x="259" y="93"/>
                  </a:lnTo>
                  <a:lnTo>
                    <a:pt x="262" y="106"/>
                  </a:lnTo>
                  <a:lnTo>
                    <a:pt x="264" y="119"/>
                  </a:lnTo>
                  <a:lnTo>
                    <a:pt x="265" y="133"/>
                  </a:lnTo>
                  <a:lnTo>
                    <a:pt x="265" y="133"/>
                  </a:lnTo>
                  <a:lnTo>
                    <a:pt x="264" y="146"/>
                  </a:lnTo>
                  <a:lnTo>
                    <a:pt x="262" y="160"/>
                  </a:lnTo>
                  <a:lnTo>
                    <a:pt x="259" y="172"/>
                  </a:lnTo>
                  <a:lnTo>
                    <a:pt x="255" y="184"/>
                  </a:lnTo>
                  <a:lnTo>
                    <a:pt x="248" y="196"/>
                  </a:lnTo>
                  <a:lnTo>
                    <a:pt x="242" y="206"/>
                  </a:lnTo>
                  <a:lnTo>
                    <a:pt x="235" y="216"/>
                  </a:lnTo>
                  <a:lnTo>
                    <a:pt x="226" y="226"/>
                  </a:lnTo>
                  <a:lnTo>
                    <a:pt x="216" y="235"/>
                  </a:lnTo>
                  <a:lnTo>
                    <a:pt x="207" y="242"/>
                  </a:lnTo>
                  <a:lnTo>
                    <a:pt x="196" y="249"/>
                  </a:lnTo>
                  <a:lnTo>
                    <a:pt x="184" y="255"/>
                  </a:lnTo>
                  <a:lnTo>
                    <a:pt x="172" y="259"/>
                  </a:lnTo>
                  <a:lnTo>
                    <a:pt x="159" y="262"/>
                  </a:lnTo>
                  <a:lnTo>
                    <a:pt x="146" y="264"/>
                  </a:lnTo>
                  <a:lnTo>
                    <a:pt x="133" y="265"/>
                  </a:lnTo>
                  <a:lnTo>
                    <a:pt x="133" y="265"/>
                  </a:lnTo>
                  <a:close/>
                  <a:moveTo>
                    <a:pt x="133" y="66"/>
                  </a:moveTo>
                  <a:lnTo>
                    <a:pt x="133" y="66"/>
                  </a:lnTo>
                  <a:lnTo>
                    <a:pt x="126" y="66"/>
                  </a:lnTo>
                  <a:lnTo>
                    <a:pt x="119" y="67"/>
                  </a:lnTo>
                  <a:lnTo>
                    <a:pt x="113" y="69"/>
                  </a:lnTo>
                  <a:lnTo>
                    <a:pt x="107" y="72"/>
                  </a:lnTo>
                  <a:lnTo>
                    <a:pt x="102" y="75"/>
                  </a:lnTo>
                  <a:lnTo>
                    <a:pt x="95" y="78"/>
                  </a:lnTo>
                  <a:lnTo>
                    <a:pt x="86" y="86"/>
                  </a:lnTo>
                  <a:lnTo>
                    <a:pt x="78" y="95"/>
                  </a:lnTo>
                  <a:lnTo>
                    <a:pt x="75" y="102"/>
                  </a:lnTo>
                  <a:lnTo>
                    <a:pt x="72" y="107"/>
                  </a:lnTo>
                  <a:lnTo>
                    <a:pt x="69" y="113"/>
                  </a:lnTo>
                  <a:lnTo>
                    <a:pt x="68" y="119"/>
                  </a:lnTo>
                  <a:lnTo>
                    <a:pt x="67" y="126"/>
                  </a:lnTo>
                  <a:lnTo>
                    <a:pt x="66" y="133"/>
                  </a:lnTo>
                  <a:lnTo>
                    <a:pt x="66" y="133"/>
                  </a:lnTo>
                  <a:lnTo>
                    <a:pt x="67" y="140"/>
                  </a:lnTo>
                  <a:lnTo>
                    <a:pt x="68" y="146"/>
                  </a:lnTo>
                  <a:lnTo>
                    <a:pt x="69" y="152"/>
                  </a:lnTo>
                  <a:lnTo>
                    <a:pt x="72" y="159"/>
                  </a:lnTo>
                  <a:lnTo>
                    <a:pt x="75" y="165"/>
                  </a:lnTo>
                  <a:lnTo>
                    <a:pt x="78" y="170"/>
                  </a:lnTo>
                  <a:lnTo>
                    <a:pt x="86" y="179"/>
                  </a:lnTo>
                  <a:lnTo>
                    <a:pt x="95" y="188"/>
                  </a:lnTo>
                  <a:lnTo>
                    <a:pt x="102" y="191"/>
                  </a:lnTo>
                  <a:lnTo>
                    <a:pt x="107" y="194"/>
                  </a:lnTo>
                  <a:lnTo>
                    <a:pt x="113" y="196"/>
                  </a:lnTo>
                  <a:lnTo>
                    <a:pt x="119" y="198"/>
                  </a:lnTo>
                  <a:lnTo>
                    <a:pt x="126" y="199"/>
                  </a:lnTo>
                  <a:lnTo>
                    <a:pt x="133" y="199"/>
                  </a:lnTo>
                  <a:lnTo>
                    <a:pt x="133" y="199"/>
                  </a:lnTo>
                  <a:lnTo>
                    <a:pt x="140" y="199"/>
                  </a:lnTo>
                  <a:lnTo>
                    <a:pt x="146" y="198"/>
                  </a:lnTo>
                  <a:lnTo>
                    <a:pt x="152" y="196"/>
                  </a:lnTo>
                  <a:lnTo>
                    <a:pt x="158" y="194"/>
                  </a:lnTo>
                  <a:lnTo>
                    <a:pt x="165" y="191"/>
                  </a:lnTo>
                  <a:lnTo>
                    <a:pt x="170" y="188"/>
                  </a:lnTo>
                  <a:lnTo>
                    <a:pt x="179" y="179"/>
                  </a:lnTo>
                  <a:lnTo>
                    <a:pt x="187" y="170"/>
                  </a:lnTo>
                  <a:lnTo>
                    <a:pt x="191" y="165"/>
                  </a:lnTo>
                  <a:lnTo>
                    <a:pt x="194" y="159"/>
                  </a:lnTo>
                  <a:lnTo>
                    <a:pt x="196" y="152"/>
                  </a:lnTo>
                  <a:lnTo>
                    <a:pt x="198" y="146"/>
                  </a:lnTo>
                  <a:lnTo>
                    <a:pt x="199" y="140"/>
                  </a:lnTo>
                  <a:lnTo>
                    <a:pt x="199" y="133"/>
                  </a:lnTo>
                  <a:lnTo>
                    <a:pt x="199" y="133"/>
                  </a:lnTo>
                  <a:lnTo>
                    <a:pt x="199" y="126"/>
                  </a:lnTo>
                  <a:lnTo>
                    <a:pt x="198" y="119"/>
                  </a:lnTo>
                  <a:lnTo>
                    <a:pt x="196" y="113"/>
                  </a:lnTo>
                  <a:lnTo>
                    <a:pt x="194" y="107"/>
                  </a:lnTo>
                  <a:lnTo>
                    <a:pt x="191" y="102"/>
                  </a:lnTo>
                  <a:lnTo>
                    <a:pt x="187" y="95"/>
                  </a:lnTo>
                  <a:lnTo>
                    <a:pt x="179" y="86"/>
                  </a:lnTo>
                  <a:lnTo>
                    <a:pt x="170" y="78"/>
                  </a:lnTo>
                  <a:lnTo>
                    <a:pt x="165" y="75"/>
                  </a:lnTo>
                  <a:lnTo>
                    <a:pt x="158" y="72"/>
                  </a:lnTo>
                  <a:lnTo>
                    <a:pt x="152" y="69"/>
                  </a:lnTo>
                  <a:lnTo>
                    <a:pt x="146" y="67"/>
                  </a:lnTo>
                  <a:lnTo>
                    <a:pt x="140" y="66"/>
                  </a:lnTo>
                  <a:lnTo>
                    <a:pt x="133" y="66"/>
                  </a:lnTo>
                  <a:lnTo>
                    <a:pt x="13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64" name="Freeform 1179">
              <a:extLst>
                <a:ext uri="{FF2B5EF4-FFF2-40B4-BE49-F238E27FC236}">
                  <a16:creationId xmlns:a16="http://schemas.microsoft.com/office/drawing/2014/main" id="{508EB0D5-4926-4030-A069-11B1B93FB154}"/>
                </a:ext>
              </a:extLst>
            </p:cNvPr>
            <p:cNvSpPr>
              <a:spLocks noEditPoints="1"/>
            </p:cNvSpPr>
            <p:nvPr/>
          </p:nvSpPr>
          <p:spPr bwMode="auto">
            <a:xfrm>
              <a:off x="3486150" y="5184776"/>
              <a:ext cx="44450" cy="104775"/>
            </a:xfrm>
            <a:custGeom>
              <a:avLst/>
              <a:gdLst>
                <a:gd name="T0" fmla="*/ 165 w 198"/>
                <a:gd name="T1" fmla="*/ 464 h 464"/>
                <a:gd name="T2" fmla="*/ 33 w 198"/>
                <a:gd name="T3" fmla="*/ 464 h 464"/>
                <a:gd name="T4" fmla="*/ 33 w 198"/>
                <a:gd name="T5" fmla="*/ 464 h 464"/>
                <a:gd name="T6" fmla="*/ 26 w 198"/>
                <a:gd name="T7" fmla="*/ 463 h 464"/>
                <a:gd name="T8" fmla="*/ 20 w 198"/>
                <a:gd name="T9" fmla="*/ 461 h 464"/>
                <a:gd name="T10" fmla="*/ 15 w 198"/>
                <a:gd name="T11" fmla="*/ 458 h 464"/>
                <a:gd name="T12" fmla="*/ 10 w 198"/>
                <a:gd name="T13" fmla="*/ 454 h 464"/>
                <a:gd name="T14" fmla="*/ 5 w 198"/>
                <a:gd name="T15" fmla="*/ 450 h 464"/>
                <a:gd name="T16" fmla="*/ 2 w 198"/>
                <a:gd name="T17" fmla="*/ 443 h 464"/>
                <a:gd name="T18" fmla="*/ 0 w 198"/>
                <a:gd name="T19" fmla="*/ 437 h 464"/>
                <a:gd name="T20" fmla="*/ 0 w 198"/>
                <a:gd name="T21" fmla="*/ 431 h 464"/>
                <a:gd name="T22" fmla="*/ 0 w 198"/>
                <a:gd name="T23" fmla="*/ 34 h 464"/>
                <a:gd name="T24" fmla="*/ 0 w 198"/>
                <a:gd name="T25" fmla="*/ 34 h 464"/>
                <a:gd name="T26" fmla="*/ 0 w 198"/>
                <a:gd name="T27" fmla="*/ 27 h 464"/>
                <a:gd name="T28" fmla="*/ 2 w 198"/>
                <a:gd name="T29" fmla="*/ 21 h 464"/>
                <a:gd name="T30" fmla="*/ 5 w 198"/>
                <a:gd name="T31" fmla="*/ 15 h 464"/>
                <a:gd name="T32" fmla="*/ 10 w 198"/>
                <a:gd name="T33" fmla="*/ 11 h 464"/>
                <a:gd name="T34" fmla="*/ 15 w 198"/>
                <a:gd name="T35" fmla="*/ 7 h 464"/>
                <a:gd name="T36" fmla="*/ 20 w 198"/>
                <a:gd name="T37" fmla="*/ 4 h 464"/>
                <a:gd name="T38" fmla="*/ 26 w 198"/>
                <a:gd name="T39" fmla="*/ 1 h 464"/>
                <a:gd name="T40" fmla="*/ 33 w 198"/>
                <a:gd name="T41" fmla="*/ 0 h 464"/>
                <a:gd name="T42" fmla="*/ 165 w 198"/>
                <a:gd name="T43" fmla="*/ 0 h 464"/>
                <a:gd name="T44" fmla="*/ 165 w 198"/>
                <a:gd name="T45" fmla="*/ 0 h 464"/>
                <a:gd name="T46" fmla="*/ 172 w 198"/>
                <a:gd name="T47" fmla="*/ 1 h 464"/>
                <a:gd name="T48" fmla="*/ 178 w 198"/>
                <a:gd name="T49" fmla="*/ 4 h 464"/>
                <a:gd name="T50" fmla="*/ 183 w 198"/>
                <a:gd name="T51" fmla="*/ 7 h 464"/>
                <a:gd name="T52" fmla="*/ 189 w 198"/>
                <a:gd name="T53" fmla="*/ 11 h 464"/>
                <a:gd name="T54" fmla="*/ 193 w 198"/>
                <a:gd name="T55" fmla="*/ 15 h 464"/>
                <a:gd name="T56" fmla="*/ 196 w 198"/>
                <a:gd name="T57" fmla="*/ 21 h 464"/>
                <a:gd name="T58" fmla="*/ 198 w 198"/>
                <a:gd name="T59" fmla="*/ 27 h 464"/>
                <a:gd name="T60" fmla="*/ 198 w 198"/>
                <a:gd name="T61" fmla="*/ 34 h 464"/>
                <a:gd name="T62" fmla="*/ 198 w 198"/>
                <a:gd name="T63" fmla="*/ 431 h 464"/>
                <a:gd name="T64" fmla="*/ 198 w 198"/>
                <a:gd name="T65" fmla="*/ 431 h 464"/>
                <a:gd name="T66" fmla="*/ 198 w 198"/>
                <a:gd name="T67" fmla="*/ 437 h 464"/>
                <a:gd name="T68" fmla="*/ 196 w 198"/>
                <a:gd name="T69" fmla="*/ 443 h 464"/>
                <a:gd name="T70" fmla="*/ 193 w 198"/>
                <a:gd name="T71" fmla="*/ 450 h 464"/>
                <a:gd name="T72" fmla="*/ 189 w 198"/>
                <a:gd name="T73" fmla="*/ 454 h 464"/>
                <a:gd name="T74" fmla="*/ 183 w 198"/>
                <a:gd name="T75" fmla="*/ 458 h 464"/>
                <a:gd name="T76" fmla="*/ 178 w 198"/>
                <a:gd name="T77" fmla="*/ 461 h 464"/>
                <a:gd name="T78" fmla="*/ 172 w 198"/>
                <a:gd name="T79" fmla="*/ 463 h 464"/>
                <a:gd name="T80" fmla="*/ 165 w 198"/>
                <a:gd name="T81" fmla="*/ 464 h 464"/>
                <a:gd name="T82" fmla="*/ 165 w 198"/>
                <a:gd name="T83" fmla="*/ 464 h 464"/>
                <a:gd name="T84" fmla="*/ 67 w 198"/>
                <a:gd name="T85" fmla="*/ 398 h 464"/>
                <a:gd name="T86" fmla="*/ 132 w 198"/>
                <a:gd name="T87" fmla="*/ 398 h 464"/>
                <a:gd name="T88" fmla="*/ 132 w 198"/>
                <a:gd name="T89" fmla="*/ 67 h 464"/>
                <a:gd name="T90" fmla="*/ 67 w 198"/>
                <a:gd name="T91" fmla="*/ 67 h 464"/>
                <a:gd name="T92" fmla="*/ 67 w 198"/>
                <a:gd name="T93" fmla="*/ 398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8" h="464">
                  <a:moveTo>
                    <a:pt x="165" y="464"/>
                  </a:moveTo>
                  <a:lnTo>
                    <a:pt x="33" y="464"/>
                  </a:lnTo>
                  <a:lnTo>
                    <a:pt x="33" y="464"/>
                  </a:lnTo>
                  <a:lnTo>
                    <a:pt x="26" y="463"/>
                  </a:lnTo>
                  <a:lnTo>
                    <a:pt x="20" y="461"/>
                  </a:lnTo>
                  <a:lnTo>
                    <a:pt x="15" y="458"/>
                  </a:lnTo>
                  <a:lnTo>
                    <a:pt x="10" y="454"/>
                  </a:lnTo>
                  <a:lnTo>
                    <a:pt x="5" y="450"/>
                  </a:lnTo>
                  <a:lnTo>
                    <a:pt x="2" y="443"/>
                  </a:lnTo>
                  <a:lnTo>
                    <a:pt x="0" y="437"/>
                  </a:lnTo>
                  <a:lnTo>
                    <a:pt x="0" y="431"/>
                  </a:lnTo>
                  <a:lnTo>
                    <a:pt x="0" y="34"/>
                  </a:lnTo>
                  <a:lnTo>
                    <a:pt x="0" y="34"/>
                  </a:lnTo>
                  <a:lnTo>
                    <a:pt x="0" y="27"/>
                  </a:lnTo>
                  <a:lnTo>
                    <a:pt x="2" y="21"/>
                  </a:lnTo>
                  <a:lnTo>
                    <a:pt x="5" y="15"/>
                  </a:lnTo>
                  <a:lnTo>
                    <a:pt x="10" y="11"/>
                  </a:lnTo>
                  <a:lnTo>
                    <a:pt x="15" y="7"/>
                  </a:lnTo>
                  <a:lnTo>
                    <a:pt x="20" y="4"/>
                  </a:lnTo>
                  <a:lnTo>
                    <a:pt x="26" y="1"/>
                  </a:lnTo>
                  <a:lnTo>
                    <a:pt x="33" y="0"/>
                  </a:lnTo>
                  <a:lnTo>
                    <a:pt x="165" y="0"/>
                  </a:lnTo>
                  <a:lnTo>
                    <a:pt x="165" y="0"/>
                  </a:lnTo>
                  <a:lnTo>
                    <a:pt x="172" y="1"/>
                  </a:lnTo>
                  <a:lnTo>
                    <a:pt x="178" y="4"/>
                  </a:lnTo>
                  <a:lnTo>
                    <a:pt x="183" y="7"/>
                  </a:lnTo>
                  <a:lnTo>
                    <a:pt x="189" y="11"/>
                  </a:lnTo>
                  <a:lnTo>
                    <a:pt x="193" y="15"/>
                  </a:lnTo>
                  <a:lnTo>
                    <a:pt x="196" y="21"/>
                  </a:lnTo>
                  <a:lnTo>
                    <a:pt x="198" y="27"/>
                  </a:lnTo>
                  <a:lnTo>
                    <a:pt x="198" y="34"/>
                  </a:lnTo>
                  <a:lnTo>
                    <a:pt x="198" y="431"/>
                  </a:lnTo>
                  <a:lnTo>
                    <a:pt x="198" y="431"/>
                  </a:lnTo>
                  <a:lnTo>
                    <a:pt x="198" y="437"/>
                  </a:lnTo>
                  <a:lnTo>
                    <a:pt x="196" y="443"/>
                  </a:lnTo>
                  <a:lnTo>
                    <a:pt x="193" y="450"/>
                  </a:lnTo>
                  <a:lnTo>
                    <a:pt x="189" y="454"/>
                  </a:lnTo>
                  <a:lnTo>
                    <a:pt x="183" y="458"/>
                  </a:lnTo>
                  <a:lnTo>
                    <a:pt x="178" y="461"/>
                  </a:lnTo>
                  <a:lnTo>
                    <a:pt x="172" y="463"/>
                  </a:lnTo>
                  <a:lnTo>
                    <a:pt x="165" y="464"/>
                  </a:lnTo>
                  <a:lnTo>
                    <a:pt x="165" y="464"/>
                  </a:lnTo>
                  <a:close/>
                  <a:moveTo>
                    <a:pt x="67" y="398"/>
                  </a:moveTo>
                  <a:lnTo>
                    <a:pt x="132" y="398"/>
                  </a:lnTo>
                  <a:lnTo>
                    <a:pt x="132" y="67"/>
                  </a:lnTo>
                  <a:lnTo>
                    <a:pt x="67" y="67"/>
                  </a:lnTo>
                  <a:lnTo>
                    <a:pt x="67" y="3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65" name="Freeform 1180">
              <a:extLst>
                <a:ext uri="{FF2B5EF4-FFF2-40B4-BE49-F238E27FC236}">
                  <a16:creationId xmlns:a16="http://schemas.microsoft.com/office/drawing/2014/main" id="{96052929-86E9-4297-A2D0-B6230DD14E9A}"/>
                </a:ext>
              </a:extLst>
            </p:cNvPr>
            <p:cNvSpPr>
              <a:spLocks noEditPoints="1"/>
            </p:cNvSpPr>
            <p:nvPr/>
          </p:nvSpPr>
          <p:spPr bwMode="auto">
            <a:xfrm>
              <a:off x="3546475" y="5214938"/>
              <a:ext cx="44450" cy="74613"/>
            </a:xfrm>
            <a:custGeom>
              <a:avLst/>
              <a:gdLst>
                <a:gd name="T0" fmla="*/ 166 w 199"/>
                <a:gd name="T1" fmla="*/ 331 h 331"/>
                <a:gd name="T2" fmla="*/ 33 w 199"/>
                <a:gd name="T3" fmla="*/ 331 h 331"/>
                <a:gd name="T4" fmla="*/ 33 w 199"/>
                <a:gd name="T5" fmla="*/ 331 h 331"/>
                <a:gd name="T6" fmla="*/ 27 w 199"/>
                <a:gd name="T7" fmla="*/ 330 h 331"/>
                <a:gd name="T8" fmla="*/ 21 w 199"/>
                <a:gd name="T9" fmla="*/ 328 h 331"/>
                <a:gd name="T10" fmla="*/ 15 w 199"/>
                <a:gd name="T11" fmla="*/ 325 h 331"/>
                <a:gd name="T12" fmla="*/ 11 w 199"/>
                <a:gd name="T13" fmla="*/ 321 h 331"/>
                <a:gd name="T14" fmla="*/ 6 w 199"/>
                <a:gd name="T15" fmla="*/ 317 h 331"/>
                <a:gd name="T16" fmla="*/ 3 w 199"/>
                <a:gd name="T17" fmla="*/ 310 h 331"/>
                <a:gd name="T18" fmla="*/ 1 w 199"/>
                <a:gd name="T19" fmla="*/ 304 h 331"/>
                <a:gd name="T20" fmla="*/ 0 w 199"/>
                <a:gd name="T21" fmla="*/ 298 h 331"/>
                <a:gd name="T22" fmla="*/ 0 w 199"/>
                <a:gd name="T23" fmla="*/ 33 h 331"/>
                <a:gd name="T24" fmla="*/ 0 w 199"/>
                <a:gd name="T25" fmla="*/ 33 h 331"/>
                <a:gd name="T26" fmla="*/ 1 w 199"/>
                <a:gd name="T27" fmla="*/ 27 h 331"/>
                <a:gd name="T28" fmla="*/ 3 w 199"/>
                <a:gd name="T29" fmla="*/ 21 h 331"/>
                <a:gd name="T30" fmla="*/ 6 w 199"/>
                <a:gd name="T31" fmla="*/ 14 h 331"/>
                <a:gd name="T32" fmla="*/ 11 w 199"/>
                <a:gd name="T33" fmla="*/ 9 h 331"/>
                <a:gd name="T34" fmla="*/ 15 w 199"/>
                <a:gd name="T35" fmla="*/ 6 h 331"/>
                <a:gd name="T36" fmla="*/ 21 w 199"/>
                <a:gd name="T37" fmla="*/ 3 h 331"/>
                <a:gd name="T38" fmla="*/ 27 w 199"/>
                <a:gd name="T39" fmla="*/ 1 h 331"/>
                <a:gd name="T40" fmla="*/ 33 w 199"/>
                <a:gd name="T41" fmla="*/ 0 h 331"/>
                <a:gd name="T42" fmla="*/ 166 w 199"/>
                <a:gd name="T43" fmla="*/ 0 h 331"/>
                <a:gd name="T44" fmla="*/ 166 w 199"/>
                <a:gd name="T45" fmla="*/ 0 h 331"/>
                <a:gd name="T46" fmla="*/ 172 w 199"/>
                <a:gd name="T47" fmla="*/ 1 h 331"/>
                <a:gd name="T48" fmla="*/ 178 w 199"/>
                <a:gd name="T49" fmla="*/ 3 h 331"/>
                <a:gd name="T50" fmla="*/ 184 w 199"/>
                <a:gd name="T51" fmla="*/ 6 h 331"/>
                <a:gd name="T52" fmla="*/ 190 w 199"/>
                <a:gd name="T53" fmla="*/ 9 h 331"/>
                <a:gd name="T54" fmla="*/ 194 w 199"/>
                <a:gd name="T55" fmla="*/ 14 h 331"/>
                <a:gd name="T56" fmla="*/ 196 w 199"/>
                <a:gd name="T57" fmla="*/ 21 h 331"/>
                <a:gd name="T58" fmla="*/ 198 w 199"/>
                <a:gd name="T59" fmla="*/ 27 h 331"/>
                <a:gd name="T60" fmla="*/ 199 w 199"/>
                <a:gd name="T61" fmla="*/ 33 h 331"/>
                <a:gd name="T62" fmla="*/ 199 w 199"/>
                <a:gd name="T63" fmla="*/ 298 h 331"/>
                <a:gd name="T64" fmla="*/ 199 w 199"/>
                <a:gd name="T65" fmla="*/ 298 h 331"/>
                <a:gd name="T66" fmla="*/ 198 w 199"/>
                <a:gd name="T67" fmla="*/ 304 h 331"/>
                <a:gd name="T68" fmla="*/ 196 w 199"/>
                <a:gd name="T69" fmla="*/ 310 h 331"/>
                <a:gd name="T70" fmla="*/ 194 w 199"/>
                <a:gd name="T71" fmla="*/ 317 h 331"/>
                <a:gd name="T72" fmla="*/ 190 w 199"/>
                <a:gd name="T73" fmla="*/ 321 h 331"/>
                <a:gd name="T74" fmla="*/ 184 w 199"/>
                <a:gd name="T75" fmla="*/ 325 h 331"/>
                <a:gd name="T76" fmla="*/ 178 w 199"/>
                <a:gd name="T77" fmla="*/ 328 h 331"/>
                <a:gd name="T78" fmla="*/ 172 w 199"/>
                <a:gd name="T79" fmla="*/ 330 h 331"/>
                <a:gd name="T80" fmla="*/ 166 w 199"/>
                <a:gd name="T81" fmla="*/ 331 h 331"/>
                <a:gd name="T82" fmla="*/ 166 w 199"/>
                <a:gd name="T83" fmla="*/ 331 h 331"/>
                <a:gd name="T84" fmla="*/ 66 w 199"/>
                <a:gd name="T85" fmla="*/ 265 h 331"/>
                <a:gd name="T86" fmla="*/ 133 w 199"/>
                <a:gd name="T87" fmla="*/ 265 h 331"/>
                <a:gd name="T88" fmla="*/ 133 w 199"/>
                <a:gd name="T89" fmla="*/ 66 h 331"/>
                <a:gd name="T90" fmla="*/ 66 w 199"/>
                <a:gd name="T91" fmla="*/ 66 h 331"/>
                <a:gd name="T92" fmla="*/ 66 w 199"/>
                <a:gd name="T93" fmla="*/ 265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9" h="331">
                  <a:moveTo>
                    <a:pt x="166" y="331"/>
                  </a:moveTo>
                  <a:lnTo>
                    <a:pt x="33" y="331"/>
                  </a:lnTo>
                  <a:lnTo>
                    <a:pt x="33" y="331"/>
                  </a:lnTo>
                  <a:lnTo>
                    <a:pt x="27" y="330"/>
                  </a:lnTo>
                  <a:lnTo>
                    <a:pt x="21" y="328"/>
                  </a:lnTo>
                  <a:lnTo>
                    <a:pt x="15" y="325"/>
                  </a:lnTo>
                  <a:lnTo>
                    <a:pt x="11" y="321"/>
                  </a:lnTo>
                  <a:lnTo>
                    <a:pt x="6" y="317"/>
                  </a:lnTo>
                  <a:lnTo>
                    <a:pt x="3" y="310"/>
                  </a:lnTo>
                  <a:lnTo>
                    <a:pt x="1" y="304"/>
                  </a:lnTo>
                  <a:lnTo>
                    <a:pt x="0" y="298"/>
                  </a:lnTo>
                  <a:lnTo>
                    <a:pt x="0" y="33"/>
                  </a:lnTo>
                  <a:lnTo>
                    <a:pt x="0" y="33"/>
                  </a:lnTo>
                  <a:lnTo>
                    <a:pt x="1" y="27"/>
                  </a:lnTo>
                  <a:lnTo>
                    <a:pt x="3" y="21"/>
                  </a:lnTo>
                  <a:lnTo>
                    <a:pt x="6" y="14"/>
                  </a:lnTo>
                  <a:lnTo>
                    <a:pt x="11" y="9"/>
                  </a:lnTo>
                  <a:lnTo>
                    <a:pt x="15" y="6"/>
                  </a:lnTo>
                  <a:lnTo>
                    <a:pt x="21" y="3"/>
                  </a:lnTo>
                  <a:lnTo>
                    <a:pt x="27" y="1"/>
                  </a:lnTo>
                  <a:lnTo>
                    <a:pt x="33" y="0"/>
                  </a:lnTo>
                  <a:lnTo>
                    <a:pt x="166" y="0"/>
                  </a:lnTo>
                  <a:lnTo>
                    <a:pt x="166" y="0"/>
                  </a:lnTo>
                  <a:lnTo>
                    <a:pt x="172" y="1"/>
                  </a:lnTo>
                  <a:lnTo>
                    <a:pt x="178" y="3"/>
                  </a:lnTo>
                  <a:lnTo>
                    <a:pt x="184" y="6"/>
                  </a:lnTo>
                  <a:lnTo>
                    <a:pt x="190" y="9"/>
                  </a:lnTo>
                  <a:lnTo>
                    <a:pt x="194" y="14"/>
                  </a:lnTo>
                  <a:lnTo>
                    <a:pt x="196" y="21"/>
                  </a:lnTo>
                  <a:lnTo>
                    <a:pt x="198" y="27"/>
                  </a:lnTo>
                  <a:lnTo>
                    <a:pt x="199" y="33"/>
                  </a:lnTo>
                  <a:lnTo>
                    <a:pt x="199" y="298"/>
                  </a:lnTo>
                  <a:lnTo>
                    <a:pt x="199" y="298"/>
                  </a:lnTo>
                  <a:lnTo>
                    <a:pt x="198" y="304"/>
                  </a:lnTo>
                  <a:lnTo>
                    <a:pt x="196" y="310"/>
                  </a:lnTo>
                  <a:lnTo>
                    <a:pt x="194" y="317"/>
                  </a:lnTo>
                  <a:lnTo>
                    <a:pt x="190" y="321"/>
                  </a:lnTo>
                  <a:lnTo>
                    <a:pt x="184" y="325"/>
                  </a:lnTo>
                  <a:lnTo>
                    <a:pt x="178" y="328"/>
                  </a:lnTo>
                  <a:lnTo>
                    <a:pt x="172" y="330"/>
                  </a:lnTo>
                  <a:lnTo>
                    <a:pt x="166" y="331"/>
                  </a:lnTo>
                  <a:lnTo>
                    <a:pt x="166" y="331"/>
                  </a:lnTo>
                  <a:close/>
                  <a:moveTo>
                    <a:pt x="66" y="265"/>
                  </a:moveTo>
                  <a:lnTo>
                    <a:pt x="133" y="265"/>
                  </a:lnTo>
                  <a:lnTo>
                    <a:pt x="133" y="66"/>
                  </a:lnTo>
                  <a:lnTo>
                    <a:pt x="66" y="66"/>
                  </a:lnTo>
                  <a:lnTo>
                    <a:pt x="66"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66" name="Freeform 1181">
              <a:extLst>
                <a:ext uri="{FF2B5EF4-FFF2-40B4-BE49-F238E27FC236}">
                  <a16:creationId xmlns:a16="http://schemas.microsoft.com/office/drawing/2014/main" id="{685E9BF8-657B-45C1-BF60-7F166B33F5DD}"/>
                </a:ext>
              </a:extLst>
            </p:cNvPr>
            <p:cNvSpPr>
              <a:spLocks noEditPoints="1"/>
            </p:cNvSpPr>
            <p:nvPr/>
          </p:nvSpPr>
          <p:spPr bwMode="auto">
            <a:xfrm>
              <a:off x="3606800" y="5124451"/>
              <a:ext cx="44450" cy="165100"/>
            </a:xfrm>
            <a:custGeom>
              <a:avLst/>
              <a:gdLst>
                <a:gd name="T0" fmla="*/ 166 w 199"/>
                <a:gd name="T1" fmla="*/ 728 h 728"/>
                <a:gd name="T2" fmla="*/ 33 w 199"/>
                <a:gd name="T3" fmla="*/ 728 h 728"/>
                <a:gd name="T4" fmla="*/ 33 w 199"/>
                <a:gd name="T5" fmla="*/ 728 h 728"/>
                <a:gd name="T6" fmla="*/ 26 w 199"/>
                <a:gd name="T7" fmla="*/ 727 h 728"/>
                <a:gd name="T8" fmla="*/ 20 w 199"/>
                <a:gd name="T9" fmla="*/ 725 h 728"/>
                <a:gd name="T10" fmla="*/ 15 w 199"/>
                <a:gd name="T11" fmla="*/ 722 h 728"/>
                <a:gd name="T12" fmla="*/ 9 w 199"/>
                <a:gd name="T13" fmla="*/ 718 h 728"/>
                <a:gd name="T14" fmla="*/ 5 w 199"/>
                <a:gd name="T15" fmla="*/ 714 h 728"/>
                <a:gd name="T16" fmla="*/ 2 w 199"/>
                <a:gd name="T17" fmla="*/ 707 h 728"/>
                <a:gd name="T18" fmla="*/ 1 w 199"/>
                <a:gd name="T19" fmla="*/ 701 h 728"/>
                <a:gd name="T20" fmla="*/ 0 w 199"/>
                <a:gd name="T21" fmla="*/ 695 h 728"/>
                <a:gd name="T22" fmla="*/ 0 w 199"/>
                <a:gd name="T23" fmla="*/ 34 h 728"/>
                <a:gd name="T24" fmla="*/ 0 w 199"/>
                <a:gd name="T25" fmla="*/ 34 h 728"/>
                <a:gd name="T26" fmla="*/ 1 w 199"/>
                <a:gd name="T27" fmla="*/ 26 h 728"/>
                <a:gd name="T28" fmla="*/ 2 w 199"/>
                <a:gd name="T29" fmla="*/ 20 h 728"/>
                <a:gd name="T30" fmla="*/ 5 w 199"/>
                <a:gd name="T31" fmla="*/ 15 h 728"/>
                <a:gd name="T32" fmla="*/ 9 w 199"/>
                <a:gd name="T33" fmla="*/ 10 h 728"/>
                <a:gd name="T34" fmla="*/ 15 w 199"/>
                <a:gd name="T35" fmla="*/ 6 h 728"/>
                <a:gd name="T36" fmla="*/ 20 w 199"/>
                <a:gd name="T37" fmla="*/ 3 h 728"/>
                <a:gd name="T38" fmla="*/ 26 w 199"/>
                <a:gd name="T39" fmla="*/ 0 h 728"/>
                <a:gd name="T40" fmla="*/ 33 w 199"/>
                <a:gd name="T41" fmla="*/ 0 h 728"/>
                <a:gd name="T42" fmla="*/ 166 w 199"/>
                <a:gd name="T43" fmla="*/ 0 h 728"/>
                <a:gd name="T44" fmla="*/ 166 w 199"/>
                <a:gd name="T45" fmla="*/ 0 h 728"/>
                <a:gd name="T46" fmla="*/ 172 w 199"/>
                <a:gd name="T47" fmla="*/ 0 h 728"/>
                <a:gd name="T48" fmla="*/ 178 w 199"/>
                <a:gd name="T49" fmla="*/ 3 h 728"/>
                <a:gd name="T50" fmla="*/ 184 w 199"/>
                <a:gd name="T51" fmla="*/ 6 h 728"/>
                <a:gd name="T52" fmla="*/ 188 w 199"/>
                <a:gd name="T53" fmla="*/ 10 h 728"/>
                <a:gd name="T54" fmla="*/ 193 w 199"/>
                <a:gd name="T55" fmla="*/ 15 h 728"/>
                <a:gd name="T56" fmla="*/ 196 w 199"/>
                <a:gd name="T57" fmla="*/ 20 h 728"/>
                <a:gd name="T58" fmla="*/ 198 w 199"/>
                <a:gd name="T59" fmla="*/ 26 h 728"/>
                <a:gd name="T60" fmla="*/ 199 w 199"/>
                <a:gd name="T61" fmla="*/ 34 h 728"/>
                <a:gd name="T62" fmla="*/ 199 w 199"/>
                <a:gd name="T63" fmla="*/ 695 h 728"/>
                <a:gd name="T64" fmla="*/ 199 w 199"/>
                <a:gd name="T65" fmla="*/ 695 h 728"/>
                <a:gd name="T66" fmla="*/ 198 w 199"/>
                <a:gd name="T67" fmla="*/ 701 h 728"/>
                <a:gd name="T68" fmla="*/ 196 w 199"/>
                <a:gd name="T69" fmla="*/ 707 h 728"/>
                <a:gd name="T70" fmla="*/ 193 w 199"/>
                <a:gd name="T71" fmla="*/ 714 h 728"/>
                <a:gd name="T72" fmla="*/ 188 w 199"/>
                <a:gd name="T73" fmla="*/ 718 h 728"/>
                <a:gd name="T74" fmla="*/ 184 w 199"/>
                <a:gd name="T75" fmla="*/ 722 h 728"/>
                <a:gd name="T76" fmla="*/ 178 w 199"/>
                <a:gd name="T77" fmla="*/ 725 h 728"/>
                <a:gd name="T78" fmla="*/ 172 w 199"/>
                <a:gd name="T79" fmla="*/ 727 h 728"/>
                <a:gd name="T80" fmla="*/ 166 w 199"/>
                <a:gd name="T81" fmla="*/ 728 h 728"/>
                <a:gd name="T82" fmla="*/ 166 w 199"/>
                <a:gd name="T83" fmla="*/ 728 h 728"/>
                <a:gd name="T84" fmla="*/ 66 w 199"/>
                <a:gd name="T85" fmla="*/ 662 h 728"/>
                <a:gd name="T86" fmla="*/ 133 w 199"/>
                <a:gd name="T87" fmla="*/ 662 h 728"/>
                <a:gd name="T88" fmla="*/ 133 w 199"/>
                <a:gd name="T89" fmla="*/ 67 h 728"/>
                <a:gd name="T90" fmla="*/ 66 w 199"/>
                <a:gd name="T91" fmla="*/ 67 h 728"/>
                <a:gd name="T92" fmla="*/ 66 w 199"/>
                <a:gd name="T93" fmla="*/ 66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9" h="728">
                  <a:moveTo>
                    <a:pt x="166" y="728"/>
                  </a:moveTo>
                  <a:lnTo>
                    <a:pt x="33" y="728"/>
                  </a:lnTo>
                  <a:lnTo>
                    <a:pt x="33" y="728"/>
                  </a:lnTo>
                  <a:lnTo>
                    <a:pt x="26" y="727"/>
                  </a:lnTo>
                  <a:lnTo>
                    <a:pt x="20" y="725"/>
                  </a:lnTo>
                  <a:lnTo>
                    <a:pt x="15" y="722"/>
                  </a:lnTo>
                  <a:lnTo>
                    <a:pt x="9" y="718"/>
                  </a:lnTo>
                  <a:lnTo>
                    <a:pt x="5" y="714"/>
                  </a:lnTo>
                  <a:lnTo>
                    <a:pt x="2" y="707"/>
                  </a:lnTo>
                  <a:lnTo>
                    <a:pt x="1" y="701"/>
                  </a:lnTo>
                  <a:lnTo>
                    <a:pt x="0" y="695"/>
                  </a:lnTo>
                  <a:lnTo>
                    <a:pt x="0" y="34"/>
                  </a:lnTo>
                  <a:lnTo>
                    <a:pt x="0" y="34"/>
                  </a:lnTo>
                  <a:lnTo>
                    <a:pt x="1" y="26"/>
                  </a:lnTo>
                  <a:lnTo>
                    <a:pt x="2" y="20"/>
                  </a:lnTo>
                  <a:lnTo>
                    <a:pt x="5" y="15"/>
                  </a:lnTo>
                  <a:lnTo>
                    <a:pt x="9" y="10"/>
                  </a:lnTo>
                  <a:lnTo>
                    <a:pt x="15" y="6"/>
                  </a:lnTo>
                  <a:lnTo>
                    <a:pt x="20" y="3"/>
                  </a:lnTo>
                  <a:lnTo>
                    <a:pt x="26" y="0"/>
                  </a:lnTo>
                  <a:lnTo>
                    <a:pt x="33" y="0"/>
                  </a:lnTo>
                  <a:lnTo>
                    <a:pt x="166" y="0"/>
                  </a:lnTo>
                  <a:lnTo>
                    <a:pt x="166" y="0"/>
                  </a:lnTo>
                  <a:lnTo>
                    <a:pt x="172" y="0"/>
                  </a:lnTo>
                  <a:lnTo>
                    <a:pt x="178" y="3"/>
                  </a:lnTo>
                  <a:lnTo>
                    <a:pt x="184" y="6"/>
                  </a:lnTo>
                  <a:lnTo>
                    <a:pt x="188" y="10"/>
                  </a:lnTo>
                  <a:lnTo>
                    <a:pt x="193" y="15"/>
                  </a:lnTo>
                  <a:lnTo>
                    <a:pt x="196" y="20"/>
                  </a:lnTo>
                  <a:lnTo>
                    <a:pt x="198" y="26"/>
                  </a:lnTo>
                  <a:lnTo>
                    <a:pt x="199" y="34"/>
                  </a:lnTo>
                  <a:lnTo>
                    <a:pt x="199" y="695"/>
                  </a:lnTo>
                  <a:lnTo>
                    <a:pt x="199" y="695"/>
                  </a:lnTo>
                  <a:lnTo>
                    <a:pt x="198" y="701"/>
                  </a:lnTo>
                  <a:lnTo>
                    <a:pt x="196" y="707"/>
                  </a:lnTo>
                  <a:lnTo>
                    <a:pt x="193" y="714"/>
                  </a:lnTo>
                  <a:lnTo>
                    <a:pt x="188" y="718"/>
                  </a:lnTo>
                  <a:lnTo>
                    <a:pt x="184" y="722"/>
                  </a:lnTo>
                  <a:lnTo>
                    <a:pt x="178" y="725"/>
                  </a:lnTo>
                  <a:lnTo>
                    <a:pt x="172" y="727"/>
                  </a:lnTo>
                  <a:lnTo>
                    <a:pt x="166" y="728"/>
                  </a:lnTo>
                  <a:lnTo>
                    <a:pt x="166" y="728"/>
                  </a:lnTo>
                  <a:close/>
                  <a:moveTo>
                    <a:pt x="66" y="662"/>
                  </a:moveTo>
                  <a:lnTo>
                    <a:pt x="133" y="662"/>
                  </a:lnTo>
                  <a:lnTo>
                    <a:pt x="133" y="67"/>
                  </a:lnTo>
                  <a:lnTo>
                    <a:pt x="66" y="67"/>
                  </a:lnTo>
                  <a:lnTo>
                    <a:pt x="66" y="6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567" name="Freeform 1182">
              <a:extLst>
                <a:ext uri="{FF2B5EF4-FFF2-40B4-BE49-F238E27FC236}">
                  <a16:creationId xmlns:a16="http://schemas.microsoft.com/office/drawing/2014/main" id="{DCD6A35E-557A-4353-96E1-BEB8ECE5EA70}"/>
                </a:ext>
              </a:extLst>
            </p:cNvPr>
            <p:cNvSpPr>
              <a:spLocks/>
            </p:cNvSpPr>
            <p:nvPr/>
          </p:nvSpPr>
          <p:spPr bwMode="auto">
            <a:xfrm>
              <a:off x="3455988" y="5124451"/>
              <a:ext cx="225425" cy="165100"/>
            </a:xfrm>
            <a:custGeom>
              <a:avLst/>
              <a:gdLst>
                <a:gd name="T0" fmla="*/ 958 w 991"/>
                <a:gd name="T1" fmla="*/ 728 h 728"/>
                <a:gd name="T2" fmla="*/ 33 w 991"/>
                <a:gd name="T3" fmla="*/ 728 h 728"/>
                <a:gd name="T4" fmla="*/ 33 w 991"/>
                <a:gd name="T5" fmla="*/ 728 h 728"/>
                <a:gd name="T6" fmla="*/ 26 w 991"/>
                <a:gd name="T7" fmla="*/ 727 h 728"/>
                <a:gd name="T8" fmla="*/ 20 w 991"/>
                <a:gd name="T9" fmla="*/ 725 h 728"/>
                <a:gd name="T10" fmla="*/ 14 w 991"/>
                <a:gd name="T11" fmla="*/ 722 h 728"/>
                <a:gd name="T12" fmla="*/ 9 w 991"/>
                <a:gd name="T13" fmla="*/ 718 h 728"/>
                <a:gd name="T14" fmla="*/ 5 w 991"/>
                <a:gd name="T15" fmla="*/ 714 h 728"/>
                <a:gd name="T16" fmla="*/ 2 w 991"/>
                <a:gd name="T17" fmla="*/ 707 h 728"/>
                <a:gd name="T18" fmla="*/ 0 w 991"/>
                <a:gd name="T19" fmla="*/ 701 h 728"/>
                <a:gd name="T20" fmla="*/ 0 w 991"/>
                <a:gd name="T21" fmla="*/ 695 h 728"/>
                <a:gd name="T22" fmla="*/ 0 w 991"/>
                <a:gd name="T23" fmla="*/ 34 h 728"/>
                <a:gd name="T24" fmla="*/ 0 w 991"/>
                <a:gd name="T25" fmla="*/ 34 h 728"/>
                <a:gd name="T26" fmla="*/ 0 w 991"/>
                <a:gd name="T27" fmla="*/ 26 h 728"/>
                <a:gd name="T28" fmla="*/ 2 w 991"/>
                <a:gd name="T29" fmla="*/ 20 h 728"/>
                <a:gd name="T30" fmla="*/ 5 w 991"/>
                <a:gd name="T31" fmla="*/ 15 h 728"/>
                <a:gd name="T32" fmla="*/ 9 w 991"/>
                <a:gd name="T33" fmla="*/ 10 h 728"/>
                <a:gd name="T34" fmla="*/ 14 w 991"/>
                <a:gd name="T35" fmla="*/ 6 h 728"/>
                <a:gd name="T36" fmla="*/ 20 w 991"/>
                <a:gd name="T37" fmla="*/ 3 h 728"/>
                <a:gd name="T38" fmla="*/ 26 w 991"/>
                <a:gd name="T39" fmla="*/ 0 h 728"/>
                <a:gd name="T40" fmla="*/ 33 w 991"/>
                <a:gd name="T41" fmla="*/ 0 h 728"/>
                <a:gd name="T42" fmla="*/ 33 w 991"/>
                <a:gd name="T43" fmla="*/ 0 h 728"/>
                <a:gd name="T44" fmla="*/ 39 w 991"/>
                <a:gd name="T45" fmla="*/ 0 h 728"/>
                <a:gd name="T46" fmla="*/ 45 w 991"/>
                <a:gd name="T47" fmla="*/ 3 h 728"/>
                <a:gd name="T48" fmla="*/ 52 w 991"/>
                <a:gd name="T49" fmla="*/ 6 h 728"/>
                <a:gd name="T50" fmla="*/ 56 w 991"/>
                <a:gd name="T51" fmla="*/ 10 h 728"/>
                <a:gd name="T52" fmla="*/ 60 w 991"/>
                <a:gd name="T53" fmla="*/ 15 h 728"/>
                <a:gd name="T54" fmla="*/ 63 w 991"/>
                <a:gd name="T55" fmla="*/ 20 h 728"/>
                <a:gd name="T56" fmla="*/ 65 w 991"/>
                <a:gd name="T57" fmla="*/ 26 h 728"/>
                <a:gd name="T58" fmla="*/ 66 w 991"/>
                <a:gd name="T59" fmla="*/ 34 h 728"/>
                <a:gd name="T60" fmla="*/ 66 w 991"/>
                <a:gd name="T61" fmla="*/ 662 h 728"/>
                <a:gd name="T62" fmla="*/ 958 w 991"/>
                <a:gd name="T63" fmla="*/ 662 h 728"/>
                <a:gd name="T64" fmla="*/ 958 w 991"/>
                <a:gd name="T65" fmla="*/ 662 h 728"/>
                <a:gd name="T66" fmla="*/ 965 w 991"/>
                <a:gd name="T67" fmla="*/ 662 h 728"/>
                <a:gd name="T68" fmla="*/ 972 w 991"/>
                <a:gd name="T69" fmla="*/ 664 h 728"/>
                <a:gd name="T70" fmla="*/ 977 w 991"/>
                <a:gd name="T71" fmla="*/ 667 h 728"/>
                <a:gd name="T72" fmla="*/ 982 w 991"/>
                <a:gd name="T73" fmla="*/ 671 h 728"/>
                <a:gd name="T74" fmla="*/ 986 w 991"/>
                <a:gd name="T75" fmla="*/ 676 h 728"/>
                <a:gd name="T76" fmla="*/ 989 w 991"/>
                <a:gd name="T77" fmla="*/ 682 h 728"/>
                <a:gd name="T78" fmla="*/ 991 w 991"/>
                <a:gd name="T79" fmla="*/ 688 h 728"/>
                <a:gd name="T80" fmla="*/ 991 w 991"/>
                <a:gd name="T81" fmla="*/ 695 h 728"/>
                <a:gd name="T82" fmla="*/ 991 w 991"/>
                <a:gd name="T83" fmla="*/ 695 h 728"/>
                <a:gd name="T84" fmla="*/ 991 w 991"/>
                <a:gd name="T85" fmla="*/ 701 h 728"/>
                <a:gd name="T86" fmla="*/ 989 w 991"/>
                <a:gd name="T87" fmla="*/ 707 h 728"/>
                <a:gd name="T88" fmla="*/ 986 w 991"/>
                <a:gd name="T89" fmla="*/ 714 h 728"/>
                <a:gd name="T90" fmla="*/ 982 w 991"/>
                <a:gd name="T91" fmla="*/ 718 h 728"/>
                <a:gd name="T92" fmla="*/ 977 w 991"/>
                <a:gd name="T93" fmla="*/ 722 h 728"/>
                <a:gd name="T94" fmla="*/ 972 w 991"/>
                <a:gd name="T95" fmla="*/ 725 h 728"/>
                <a:gd name="T96" fmla="*/ 965 w 991"/>
                <a:gd name="T97" fmla="*/ 727 h 728"/>
                <a:gd name="T98" fmla="*/ 958 w 991"/>
                <a:gd name="T99" fmla="*/ 728 h 728"/>
                <a:gd name="T100" fmla="*/ 958 w 991"/>
                <a:gd name="T101" fmla="*/ 728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91" h="728">
                  <a:moveTo>
                    <a:pt x="958" y="728"/>
                  </a:moveTo>
                  <a:lnTo>
                    <a:pt x="33" y="728"/>
                  </a:lnTo>
                  <a:lnTo>
                    <a:pt x="33" y="728"/>
                  </a:lnTo>
                  <a:lnTo>
                    <a:pt x="26" y="727"/>
                  </a:lnTo>
                  <a:lnTo>
                    <a:pt x="20" y="725"/>
                  </a:lnTo>
                  <a:lnTo>
                    <a:pt x="14" y="722"/>
                  </a:lnTo>
                  <a:lnTo>
                    <a:pt x="9" y="718"/>
                  </a:lnTo>
                  <a:lnTo>
                    <a:pt x="5" y="714"/>
                  </a:lnTo>
                  <a:lnTo>
                    <a:pt x="2" y="707"/>
                  </a:lnTo>
                  <a:lnTo>
                    <a:pt x="0" y="701"/>
                  </a:lnTo>
                  <a:lnTo>
                    <a:pt x="0" y="695"/>
                  </a:lnTo>
                  <a:lnTo>
                    <a:pt x="0" y="34"/>
                  </a:lnTo>
                  <a:lnTo>
                    <a:pt x="0" y="34"/>
                  </a:lnTo>
                  <a:lnTo>
                    <a:pt x="0" y="26"/>
                  </a:lnTo>
                  <a:lnTo>
                    <a:pt x="2" y="20"/>
                  </a:lnTo>
                  <a:lnTo>
                    <a:pt x="5" y="15"/>
                  </a:lnTo>
                  <a:lnTo>
                    <a:pt x="9" y="10"/>
                  </a:lnTo>
                  <a:lnTo>
                    <a:pt x="14" y="6"/>
                  </a:lnTo>
                  <a:lnTo>
                    <a:pt x="20" y="3"/>
                  </a:lnTo>
                  <a:lnTo>
                    <a:pt x="26" y="0"/>
                  </a:lnTo>
                  <a:lnTo>
                    <a:pt x="33" y="0"/>
                  </a:lnTo>
                  <a:lnTo>
                    <a:pt x="33" y="0"/>
                  </a:lnTo>
                  <a:lnTo>
                    <a:pt x="39" y="0"/>
                  </a:lnTo>
                  <a:lnTo>
                    <a:pt x="45" y="3"/>
                  </a:lnTo>
                  <a:lnTo>
                    <a:pt x="52" y="6"/>
                  </a:lnTo>
                  <a:lnTo>
                    <a:pt x="56" y="10"/>
                  </a:lnTo>
                  <a:lnTo>
                    <a:pt x="60" y="15"/>
                  </a:lnTo>
                  <a:lnTo>
                    <a:pt x="63" y="20"/>
                  </a:lnTo>
                  <a:lnTo>
                    <a:pt x="65" y="26"/>
                  </a:lnTo>
                  <a:lnTo>
                    <a:pt x="66" y="34"/>
                  </a:lnTo>
                  <a:lnTo>
                    <a:pt x="66" y="662"/>
                  </a:lnTo>
                  <a:lnTo>
                    <a:pt x="958" y="662"/>
                  </a:lnTo>
                  <a:lnTo>
                    <a:pt x="958" y="662"/>
                  </a:lnTo>
                  <a:lnTo>
                    <a:pt x="965" y="662"/>
                  </a:lnTo>
                  <a:lnTo>
                    <a:pt x="972" y="664"/>
                  </a:lnTo>
                  <a:lnTo>
                    <a:pt x="977" y="667"/>
                  </a:lnTo>
                  <a:lnTo>
                    <a:pt x="982" y="671"/>
                  </a:lnTo>
                  <a:lnTo>
                    <a:pt x="986" y="676"/>
                  </a:lnTo>
                  <a:lnTo>
                    <a:pt x="989" y="682"/>
                  </a:lnTo>
                  <a:lnTo>
                    <a:pt x="991" y="688"/>
                  </a:lnTo>
                  <a:lnTo>
                    <a:pt x="991" y="695"/>
                  </a:lnTo>
                  <a:lnTo>
                    <a:pt x="991" y="695"/>
                  </a:lnTo>
                  <a:lnTo>
                    <a:pt x="991" y="701"/>
                  </a:lnTo>
                  <a:lnTo>
                    <a:pt x="989" y="707"/>
                  </a:lnTo>
                  <a:lnTo>
                    <a:pt x="986" y="714"/>
                  </a:lnTo>
                  <a:lnTo>
                    <a:pt x="982" y="718"/>
                  </a:lnTo>
                  <a:lnTo>
                    <a:pt x="977" y="722"/>
                  </a:lnTo>
                  <a:lnTo>
                    <a:pt x="972" y="725"/>
                  </a:lnTo>
                  <a:lnTo>
                    <a:pt x="965" y="727"/>
                  </a:lnTo>
                  <a:lnTo>
                    <a:pt x="958" y="728"/>
                  </a:lnTo>
                  <a:lnTo>
                    <a:pt x="958" y="7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71" name="Google Shape;122;p3">
            <a:extLst>
              <a:ext uri="{FF2B5EF4-FFF2-40B4-BE49-F238E27FC236}">
                <a16:creationId xmlns:a16="http://schemas.microsoft.com/office/drawing/2014/main" id="{C4F54617-CE6F-4C90-B741-DAB3114F872D}"/>
              </a:ext>
            </a:extLst>
          </p:cNvPr>
          <p:cNvSpPr txBox="1">
            <a:spLocks/>
          </p:cNvSpPr>
          <p:nvPr/>
        </p:nvSpPr>
        <p:spPr>
          <a:xfrm>
            <a:off x="381000" y="94545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Tree>
    <p:extLst>
      <p:ext uri="{BB962C8B-B14F-4D97-AF65-F5344CB8AC3E}">
        <p14:creationId xmlns:p14="http://schemas.microsoft.com/office/powerpoint/2010/main" val="3985770750"/>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589"/>
        <p:cNvGrpSpPr/>
        <p:nvPr/>
      </p:nvGrpSpPr>
      <p:grpSpPr>
        <a:xfrm>
          <a:off x="0" y="0"/>
          <a:ext cx="0" cy="0"/>
          <a:chOff x="0" y="0"/>
          <a:chExt cx="0" cy="0"/>
        </a:xfrm>
      </p:grpSpPr>
      <p:sp>
        <p:nvSpPr>
          <p:cNvPr id="2" name="Text Placeholder 1">
            <a:extLst>
              <a:ext uri="{FF2B5EF4-FFF2-40B4-BE49-F238E27FC236}">
                <a16:creationId xmlns:a16="http://schemas.microsoft.com/office/drawing/2014/main" id="{D398EBD9-71EE-4AD5-8FB0-21FD4FDA055F}"/>
              </a:ext>
            </a:extLst>
          </p:cNvPr>
          <p:cNvSpPr>
            <a:spLocks noGrp="1"/>
          </p:cNvSpPr>
          <p:nvPr>
            <p:ph type="body" idx="1"/>
          </p:nvPr>
        </p:nvSpPr>
        <p:spPr/>
        <p:txBody>
          <a:bodyPr/>
          <a:lstStyle/>
          <a:p>
            <a:endParaRPr lang="en-ID"/>
          </a:p>
        </p:txBody>
      </p:sp>
      <p:sp>
        <p:nvSpPr>
          <p:cNvPr id="590" name="Google Shape;590;p9"/>
          <p:cNvSpPr txBox="1">
            <a:spLocks noGrp="1"/>
          </p:cNvSpPr>
          <p:nvPr>
            <p:ph type="body" idx="2"/>
          </p:nvPr>
        </p:nvSpPr>
        <p:spPr>
          <a:xfrm>
            <a:off x="381648" y="4745251"/>
            <a:ext cx="8385048" cy="110800"/>
          </a:xfrm>
          <a:prstGeom prst="rect">
            <a:avLst/>
          </a:prstGeom>
          <a:noFill/>
          <a:ln>
            <a:noFill/>
          </a:ln>
        </p:spPr>
        <p:txBody>
          <a:bodyPr spcFirstLastPara="1" wrap="square" lIns="0" tIns="0" rIns="0" bIns="0" anchor="t" anchorCtr="0">
            <a:spAutoFit/>
          </a:bodyPr>
          <a:lstStyle/>
          <a:p>
            <a:pPr marL="0" indent="0">
              <a:spcBef>
                <a:spcPts val="0"/>
              </a:spcBef>
              <a:buClr>
                <a:schemeClr val="accent1"/>
              </a:buClr>
              <a:buSzPts val="2200"/>
            </a:pPr>
            <a:r>
              <a:rPr lang="en-US" dirty="0">
                <a:latin typeface="Gene Sans Light" panose="00000400000000000000" pitchFamily="50" charset="0"/>
              </a:rPr>
              <a:t>1. Wang Y, et al. JAMA Oncol. 2019. </a:t>
            </a:r>
            <a:r>
              <a:rPr lang="en-US" dirty="0" err="1">
                <a:latin typeface="Gene Sans Light" panose="00000400000000000000" pitchFamily="50" charset="0"/>
              </a:rPr>
              <a:t>doi</a:t>
            </a:r>
            <a:r>
              <a:rPr lang="en-US" dirty="0">
                <a:latin typeface="Gene Sans Light" panose="00000400000000000000" pitchFamily="50" charset="0"/>
              </a:rPr>
              <a:t>: 10.1001/jamaoncol.2019.0393. [</a:t>
            </a:r>
            <a:r>
              <a:rPr lang="en-US" dirty="0" err="1">
                <a:latin typeface="Gene Sans Light" panose="00000400000000000000" pitchFamily="50" charset="0"/>
              </a:rPr>
              <a:t>Epub</a:t>
            </a:r>
            <a:r>
              <a:rPr lang="en-US" dirty="0">
                <a:latin typeface="Gene Sans Light" panose="00000400000000000000" pitchFamily="50" charset="0"/>
              </a:rPr>
              <a:t> ahead of print].</a:t>
            </a:r>
          </a:p>
        </p:txBody>
      </p:sp>
      <p:sp>
        <p:nvSpPr>
          <p:cNvPr id="706" name="Google Shape;706;p9"/>
          <p:cNvSpPr txBox="1">
            <a:spLocks noGrp="1"/>
          </p:cNvSpPr>
          <p:nvPr>
            <p:ph type="sldNum" idx="4294967295"/>
          </p:nvPr>
        </p:nvSpPr>
        <p:spPr>
          <a:xfrm>
            <a:off x="8842375" y="6665913"/>
            <a:ext cx="301625" cy="122237"/>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1pPr>
            <a:lvl2pPr marL="0" marR="0" lvl="1"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2pPr>
            <a:lvl3pPr marL="0" marR="0" lvl="2"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3pPr>
            <a:lvl4pPr marL="0" marR="0" lvl="3"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4pPr>
            <a:lvl5pPr marL="0" marR="0" lvl="4"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5pPr>
            <a:lvl6pPr marL="0" marR="0" lvl="5"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6pPr>
            <a:lvl7pPr marL="0" marR="0" lvl="6"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7pPr>
            <a:lvl8pPr marL="0" marR="0" lvl="7"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8pPr>
            <a:lvl9pPr marL="0" marR="0" lvl="8" indent="0" algn="r" rtl="0">
              <a:lnSpc>
                <a:spcPct val="100000"/>
              </a:lnSpc>
              <a:spcBef>
                <a:spcPts val="0"/>
              </a:spcBef>
              <a:spcAft>
                <a:spcPts val="0"/>
              </a:spcAft>
              <a:buClr>
                <a:srgbClr val="000000"/>
              </a:buClr>
              <a:buFont typeface="Arial"/>
              <a:buNone/>
              <a:defRPr sz="800" b="0" i="0" u="none" strike="noStrike" cap="none">
                <a:solidFill>
                  <a:schemeClr val="dk1"/>
                </a:solidFill>
                <a:latin typeface="Arial"/>
                <a:ea typeface="Arial"/>
                <a:cs typeface="Arial"/>
                <a:sym typeface="Arial"/>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800" b="0" i="0" u="none" strike="noStrike" kern="0" cap="none" spc="0" normalizeH="0" baseline="0" noProof="0" smtClean="0">
                <a:ln>
                  <a:noFill/>
                </a:ln>
                <a:solidFill>
                  <a:srgbClr val="545859"/>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3</a:t>
            </a:fld>
            <a:endParaRPr kumimoji="0" sz="800" b="0" i="0" u="none" strike="noStrike" kern="0" cap="none" spc="0" normalizeH="0" baseline="0" noProof="0">
              <a:ln>
                <a:noFill/>
              </a:ln>
              <a:solidFill>
                <a:srgbClr val="545859"/>
              </a:solidFill>
              <a:effectLst/>
              <a:uLnTx/>
              <a:uFillTx/>
              <a:latin typeface="Arial"/>
              <a:cs typeface="Arial"/>
              <a:sym typeface="Arial"/>
            </a:endParaRPr>
          </a:p>
        </p:txBody>
      </p:sp>
      <p:sp>
        <p:nvSpPr>
          <p:cNvPr id="120" name="Google Shape;492;p8">
            <a:extLst>
              <a:ext uri="{FF2B5EF4-FFF2-40B4-BE49-F238E27FC236}">
                <a16:creationId xmlns:a16="http://schemas.microsoft.com/office/drawing/2014/main" id="{B6997441-96AC-44BD-95EA-9C619971DD7F}"/>
              </a:ext>
            </a:extLst>
          </p:cNvPr>
          <p:cNvSpPr txBox="1">
            <a:spLocks/>
          </p:cNvSpPr>
          <p:nvPr/>
        </p:nvSpPr>
        <p:spPr>
          <a:xfrm>
            <a:off x="381648" y="585795"/>
            <a:ext cx="8384400" cy="323165"/>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100" b="1" i="0" u="none" strike="noStrike" cap="none">
                <a:solidFill>
                  <a:srgbClr val="003087"/>
                </a:solidFill>
                <a:latin typeface="Gene Sans" panose="00000500000000000000" pitchFamily="50"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2100" b="1" i="0" u="none" strike="noStrike" kern="0" cap="none" spc="0" normalizeH="0" baseline="0" noProof="0" dirty="0">
                <a:ln>
                  <a:noFill/>
                </a:ln>
                <a:solidFill>
                  <a:srgbClr val="003087"/>
                </a:solidFill>
                <a:effectLst/>
                <a:uLnTx/>
                <a:uFillTx/>
                <a:latin typeface="Gene Sans" panose="00000500000000000000" pitchFamily="50" charset="0"/>
                <a:cs typeface="Arial"/>
                <a:sym typeface="Arial"/>
              </a:rPr>
              <a:t>Incidence of ICI - Induced </a:t>
            </a:r>
            <a:r>
              <a:rPr kumimoji="0" lang="en-US" sz="2100" b="1" i="0" u="none" strike="noStrike" kern="0" cap="none" spc="0" normalizeH="0" baseline="0" noProof="0" dirty="0" err="1">
                <a:ln>
                  <a:noFill/>
                </a:ln>
                <a:solidFill>
                  <a:srgbClr val="004677"/>
                </a:solidFill>
                <a:effectLst/>
                <a:uLnTx/>
                <a:uFillTx/>
                <a:latin typeface="Gene Sans" panose="00000500000000000000" pitchFamily="50" charset="0"/>
                <a:cs typeface="Arial"/>
                <a:sym typeface="Arial"/>
              </a:rPr>
              <a:t>ir</a:t>
            </a:r>
            <a:r>
              <a:rPr kumimoji="0" lang="en-US" sz="2100" b="1" i="0" u="none" strike="noStrike" kern="0" cap="none" spc="0" normalizeH="0" baseline="0" noProof="0" dirty="0">
                <a:ln>
                  <a:noFill/>
                </a:ln>
                <a:solidFill>
                  <a:srgbClr val="003087"/>
                </a:solidFill>
                <a:effectLst/>
                <a:uLnTx/>
                <a:uFillTx/>
                <a:latin typeface="Gene Sans" panose="00000500000000000000" pitchFamily="50" charset="0"/>
                <a:cs typeface="Arial"/>
                <a:sym typeface="Arial"/>
              </a:rPr>
              <a:t>AEs – PD-1/PD-L1 Antagonists</a:t>
            </a:r>
          </a:p>
        </p:txBody>
      </p:sp>
      <p:sp>
        <p:nvSpPr>
          <p:cNvPr id="121" name="Google Shape;122;p3">
            <a:extLst>
              <a:ext uri="{FF2B5EF4-FFF2-40B4-BE49-F238E27FC236}">
                <a16:creationId xmlns:a16="http://schemas.microsoft.com/office/drawing/2014/main" id="{98775EBA-F9A7-4D63-8087-0BA8636C8B85}"/>
              </a:ext>
            </a:extLst>
          </p:cNvPr>
          <p:cNvSpPr txBox="1">
            <a:spLocks/>
          </p:cNvSpPr>
          <p:nvPr/>
        </p:nvSpPr>
        <p:spPr>
          <a:xfrm>
            <a:off x="381000" y="94526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graphicFrame>
        <p:nvGraphicFramePr>
          <p:cNvPr id="125" name="Google Shape;593;p9">
            <a:extLst>
              <a:ext uri="{FF2B5EF4-FFF2-40B4-BE49-F238E27FC236}">
                <a16:creationId xmlns:a16="http://schemas.microsoft.com/office/drawing/2014/main" id="{C1D5AD90-9887-45EA-AEAC-CCE2238AD956}"/>
              </a:ext>
            </a:extLst>
          </p:cNvPr>
          <p:cNvGraphicFramePr/>
          <p:nvPr/>
        </p:nvGraphicFramePr>
        <p:xfrm>
          <a:off x="382318" y="1470038"/>
          <a:ext cx="4015369" cy="2917844"/>
        </p:xfrm>
        <a:graphic>
          <a:graphicData uri="http://schemas.openxmlformats.org/drawingml/2006/table">
            <a:tbl>
              <a:tblPr>
                <a:noFill/>
              </a:tblPr>
              <a:tblGrid>
                <a:gridCol w="1314125">
                  <a:extLst>
                    <a:ext uri="{9D8B030D-6E8A-4147-A177-3AD203B41FA5}">
                      <a16:colId xmlns:a16="http://schemas.microsoft.com/office/drawing/2014/main" val="20000"/>
                    </a:ext>
                  </a:extLst>
                </a:gridCol>
                <a:gridCol w="1095101">
                  <a:extLst>
                    <a:ext uri="{9D8B030D-6E8A-4147-A177-3AD203B41FA5}">
                      <a16:colId xmlns:a16="http://schemas.microsoft.com/office/drawing/2014/main" val="20001"/>
                    </a:ext>
                  </a:extLst>
                </a:gridCol>
                <a:gridCol w="1606143">
                  <a:extLst>
                    <a:ext uri="{9D8B030D-6E8A-4147-A177-3AD203B41FA5}">
                      <a16:colId xmlns:a16="http://schemas.microsoft.com/office/drawing/2014/main" val="20002"/>
                    </a:ext>
                  </a:extLst>
                </a:gridCol>
              </a:tblGrid>
              <a:tr h="380604">
                <a:tc>
                  <a:txBody>
                    <a:bodyPr/>
                    <a:lstStyle/>
                    <a:p>
                      <a:pPr marL="0" marR="0" lvl="0" indent="0" algn="ctr" rtl="0">
                        <a:spcBef>
                          <a:spcPts val="0"/>
                        </a:spcBef>
                        <a:spcAft>
                          <a:spcPts val="0"/>
                        </a:spcAft>
                        <a:buNone/>
                      </a:pPr>
                      <a:r>
                        <a:rPr lang="en-US" sz="700" b="1" dirty="0">
                          <a:solidFill>
                            <a:schemeClr val="accent1"/>
                          </a:solidFill>
                          <a:latin typeface="Gene Sans Light" panose="00000400000000000000" pitchFamily="50" charset="0"/>
                        </a:rPr>
                        <a:t>AE</a:t>
                      </a:r>
                      <a:endParaRPr sz="700" dirty="0">
                        <a:solidFill>
                          <a:schemeClr val="accent1"/>
                        </a:solidFill>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rtl="0">
                        <a:spcBef>
                          <a:spcPts val="0"/>
                        </a:spcBef>
                        <a:spcAft>
                          <a:spcPts val="0"/>
                        </a:spcAft>
                        <a:buNone/>
                      </a:pPr>
                      <a:r>
                        <a:rPr lang="en-US" sz="700" b="1" dirty="0">
                          <a:solidFill>
                            <a:schemeClr val="accent1"/>
                          </a:solidFill>
                          <a:latin typeface="Gene Sans Light" panose="00000400000000000000" pitchFamily="50" charset="0"/>
                        </a:rPr>
                        <a:t>Incidence</a:t>
                      </a:r>
                      <a:br>
                        <a:rPr lang="en-US" sz="700" b="1" dirty="0">
                          <a:solidFill>
                            <a:schemeClr val="accent1"/>
                          </a:solidFill>
                          <a:latin typeface="Gene Sans Light" panose="00000400000000000000" pitchFamily="50" charset="0"/>
                        </a:rPr>
                      </a:br>
                      <a:r>
                        <a:rPr lang="en-US" sz="700" b="1" dirty="0">
                          <a:solidFill>
                            <a:schemeClr val="accent1"/>
                          </a:solidFill>
                          <a:latin typeface="Gene Sans Light" panose="00000400000000000000" pitchFamily="50" charset="0"/>
                        </a:rPr>
                        <a:t>(95% CI)</a:t>
                      </a:r>
                      <a:endParaRPr sz="700" dirty="0">
                        <a:solidFill>
                          <a:schemeClr val="accent1"/>
                        </a:solidFill>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rtl="0">
                        <a:spcBef>
                          <a:spcPts val="0"/>
                        </a:spcBef>
                        <a:spcAft>
                          <a:spcPts val="0"/>
                        </a:spcAft>
                        <a:buNone/>
                      </a:pPr>
                      <a:r>
                        <a:rPr lang="en-US" sz="700" b="1" dirty="0">
                          <a:solidFill>
                            <a:schemeClr val="accent1"/>
                          </a:solidFill>
                          <a:latin typeface="Gene Sans Light" panose="00000400000000000000" pitchFamily="50" charset="0"/>
                        </a:rPr>
                        <a:t>Overall mean </a:t>
                      </a:r>
                      <a:endParaRPr sz="700" dirty="0">
                        <a:solidFill>
                          <a:schemeClr val="accent1"/>
                        </a:solidFill>
                        <a:latin typeface="Gene Sans Light" panose="00000400000000000000" pitchFamily="50" charset="0"/>
                      </a:endParaRPr>
                    </a:p>
                    <a:p>
                      <a:pPr marL="0" marR="0" lvl="0" indent="0" algn="ctr" rtl="0">
                        <a:spcBef>
                          <a:spcPts val="0"/>
                        </a:spcBef>
                        <a:spcAft>
                          <a:spcPts val="0"/>
                        </a:spcAft>
                        <a:buNone/>
                      </a:pPr>
                      <a:r>
                        <a:rPr lang="en-US" sz="700" b="1" dirty="0">
                          <a:solidFill>
                            <a:schemeClr val="accent1"/>
                          </a:solidFill>
                          <a:latin typeface="Gene Sans Light" panose="00000400000000000000" pitchFamily="50" charset="0"/>
                        </a:rPr>
                        <a:t>incidence of all-grade</a:t>
                      </a:r>
                      <a:endParaRPr sz="700" dirty="0">
                        <a:solidFill>
                          <a:schemeClr val="accent1"/>
                        </a:solidFill>
                        <a:latin typeface="Gene Sans Light" panose="00000400000000000000" pitchFamily="50" charset="0"/>
                      </a:endParaRPr>
                    </a:p>
                    <a:p>
                      <a:pPr marL="0" marR="0" lvl="0" indent="0" algn="ctr" rtl="0">
                        <a:spcBef>
                          <a:spcPts val="0"/>
                        </a:spcBef>
                        <a:spcAft>
                          <a:spcPts val="0"/>
                        </a:spcAft>
                        <a:buNone/>
                      </a:pPr>
                      <a:r>
                        <a:rPr lang="en-US" sz="700" b="1" dirty="0">
                          <a:solidFill>
                            <a:schemeClr val="accent1"/>
                          </a:solidFill>
                          <a:latin typeface="Gene Sans Light" panose="00000400000000000000" pitchFamily="50" charset="0"/>
                        </a:rPr>
                        <a:t>AEs (1.66%)</a:t>
                      </a:r>
                      <a:endParaRPr sz="700" dirty="0">
                        <a:solidFill>
                          <a:schemeClr val="accent1"/>
                        </a:solidFill>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12700" cap="flat" cmpd="sng">
                      <a:noFill/>
                      <a:prstDash val="solid"/>
                      <a:round/>
                      <a:headEnd type="none" w="sm" len="sm"/>
                      <a:tailEnd type="none" w="sm" len="sm"/>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126862">
                <a:tc>
                  <a:txBody>
                    <a:bodyPr/>
                    <a:lstStyle/>
                    <a:p>
                      <a:pPr marL="0" marR="0" lvl="0" indent="0" algn="l" rtl="0">
                        <a:spcBef>
                          <a:spcPts val="0"/>
                        </a:spcBef>
                        <a:spcAft>
                          <a:spcPts val="0"/>
                        </a:spcAft>
                        <a:buNone/>
                      </a:pPr>
                      <a:r>
                        <a:rPr lang="en-US" sz="700" b="1" dirty="0">
                          <a:latin typeface="Gene Sans Light" panose="00000400000000000000" pitchFamily="50" charset="0"/>
                        </a:rPr>
                        <a:t>Endocrine dysfunction</a:t>
                      </a:r>
                      <a:endParaRPr sz="700" dirty="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12700" cap="flat" cmpd="sng" algn="ctr">
                      <a:solidFill>
                        <a:schemeClr val="accent1"/>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12700" cap="flat" cmpd="sng" algn="ctr">
                      <a:solidFill>
                        <a:schemeClr val="accent1"/>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accent1"/>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6862">
                <a:tc>
                  <a:txBody>
                    <a:bodyPr/>
                    <a:lstStyle/>
                    <a:p>
                      <a:pPr marL="114300" marR="0" lvl="0" indent="0" algn="l" rtl="0">
                        <a:spcBef>
                          <a:spcPts val="0"/>
                        </a:spcBef>
                        <a:spcAft>
                          <a:spcPts val="0"/>
                        </a:spcAft>
                        <a:buNone/>
                      </a:pPr>
                      <a:r>
                        <a:rPr lang="en-US" sz="700" dirty="0">
                          <a:latin typeface="Gene Sans Light" panose="00000400000000000000" pitchFamily="50" charset="0"/>
                        </a:rPr>
                        <a:t>Hypothyroidism</a:t>
                      </a:r>
                      <a:endParaRPr sz="700" dirty="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US" sz="700" dirty="0">
                          <a:latin typeface="Gene Sans Light" panose="00000400000000000000" pitchFamily="50" charset="0"/>
                        </a:rPr>
                        <a:t>6.07 (5.35-6.85)</a:t>
                      </a: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26862">
                <a:tc>
                  <a:txBody>
                    <a:bodyPr/>
                    <a:lstStyle/>
                    <a:p>
                      <a:pPr marL="114300" marR="0" lvl="0" indent="0" algn="l" rtl="0">
                        <a:spcBef>
                          <a:spcPts val="0"/>
                        </a:spcBef>
                        <a:spcAft>
                          <a:spcPts val="0"/>
                        </a:spcAft>
                        <a:buNone/>
                      </a:pPr>
                      <a:r>
                        <a:rPr lang="en-US" sz="700" dirty="0">
                          <a:latin typeface="Gene Sans Light" panose="00000400000000000000" pitchFamily="50" charset="0"/>
                        </a:rPr>
                        <a:t>Hyperthyroidism</a:t>
                      </a:r>
                      <a:endParaRPr sz="700" dirty="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US" sz="700">
                          <a:latin typeface="Gene Sans Light" panose="00000400000000000000" pitchFamily="50" charset="0"/>
                        </a:rPr>
                        <a:t>2.82 (2.40-3.29)</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26862">
                <a:tc>
                  <a:txBody>
                    <a:bodyPr/>
                    <a:lstStyle/>
                    <a:p>
                      <a:pPr marL="114300" marR="0" lvl="0" indent="0" algn="l" rtl="0">
                        <a:spcBef>
                          <a:spcPts val="0"/>
                        </a:spcBef>
                        <a:spcAft>
                          <a:spcPts val="0"/>
                        </a:spcAft>
                        <a:buNone/>
                      </a:pPr>
                      <a:r>
                        <a:rPr lang="en-US" sz="700">
                          <a:latin typeface="Gene Sans Light" panose="00000400000000000000" pitchFamily="50" charset="0"/>
                        </a:rPr>
                        <a:t>Hyperglycemia</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US" sz="700" dirty="0">
                          <a:latin typeface="Gene Sans Light" panose="00000400000000000000" pitchFamily="50" charset="0"/>
                        </a:rPr>
                        <a:t>1.20 (0.91-1.55)</a:t>
                      </a: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26862">
                <a:tc>
                  <a:txBody>
                    <a:bodyPr/>
                    <a:lstStyle/>
                    <a:p>
                      <a:pPr marL="114300" marR="0" lvl="0" indent="0" algn="l" rtl="0">
                        <a:spcBef>
                          <a:spcPts val="0"/>
                        </a:spcBef>
                        <a:spcAft>
                          <a:spcPts val="0"/>
                        </a:spcAft>
                        <a:buNone/>
                      </a:pPr>
                      <a:r>
                        <a:rPr lang="en-US" sz="700">
                          <a:latin typeface="Gene Sans Light" panose="00000400000000000000" pitchFamily="50" charset="0"/>
                        </a:rPr>
                        <a:t>Thyroiditis</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US" sz="700">
                          <a:latin typeface="Gene Sans Light" panose="00000400000000000000" pitchFamily="50" charset="0"/>
                        </a:rPr>
                        <a:t>0.75 (0.52-1.04)</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26862">
                <a:tc>
                  <a:txBody>
                    <a:bodyPr/>
                    <a:lstStyle/>
                    <a:p>
                      <a:pPr marL="114300" marR="0" lvl="0" indent="0" algn="l" rtl="0">
                        <a:spcBef>
                          <a:spcPts val="0"/>
                        </a:spcBef>
                        <a:spcAft>
                          <a:spcPts val="0"/>
                        </a:spcAft>
                        <a:buNone/>
                      </a:pPr>
                      <a:r>
                        <a:rPr lang="en-US" sz="700">
                          <a:latin typeface="Gene Sans Light" panose="00000400000000000000" pitchFamily="50" charset="0"/>
                        </a:rPr>
                        <a:t>Adrenal insufficiency</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US" sz="700">
                          <a:latin typeface="Gene Sans Light" panose="00000400000000000000" pitchFamily="50" charset="0"/>
                        </a:rPr>
                        <a:t>0.69 (0.50-0.93)</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26862">
                <a:tc>
                  <a:txBody>
                    <a:bodyPr/>
                    <a:lstStyle/>
                    <a:p>
                      <a:pPr marL="114300" marR="0" lvl="0" indent="0" algn="l" rtl="0">
                        <a:spcBef>
                          <a:spcPts val="0"/>
                        </a:spcBef>
                        <a:spcAft>
                          <a:spcPts val="0"/>
                        </a:spcAft>
                        <a:buNone/>
                      </a:pPr>
                      <a:r>
                        <a:rPr lang="en-US" sz="700">
                          <a:latin typeface="Gene Sans Light" panose="00000400000000000000" pitchFamily="50" charset="0"/>
                        </a:rPr>
                        <a:t>Hypophysitis</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US" sz="700">
                          <a:latin typeface="Gene Sans Light" panose="00000400000000000000" pitchFamily="50" charset="0"/>
                        </a:rPr>
                        <a:t>0.60 (0.42-0.82)</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26862">
                <a:tc>
                  <a:txBody>
                    <a:bodyPr/>
                    <a:lstStyle/>
                    <a:p>
                      <a:pPr marL="114300" marR="0" lvl="0" indent="0" algn="l" rtl="0">
                        <a:spcBef>
                          <a:spcPts val="0"/>
                        </a:spcBef>
                        <a:spcAft>
                          <a:spcPts val="0"/>
                        </a:spcAft>
                        <a:buNone/>
                      </a:pPr>
                      <a:r>
                        <a:rPr lang="en-US" sz="700">
                          <a:latin typeface="Gene Sans Light" panose="00000400000000000000" pitchFamily="50" charset="0"/>
                        </a:rPr>
                        <a:t>Type 1 diabetes</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US" sz="700">
                          <a:latin typeface="Gene Sans Light" panose="00000400000000000000" pitchFamily="50" charset="0"/>
                        </a:rPr>
                        <a:t>0.43 (0.27-0.65)</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26862">
                <a:tc>
                  <a:txBody>
                    <a:bodyPr/>
                    <a:lstStyle/>
                    <a:p>
                      <a:pPr marL="114300" marR="0" lvl="0" indent="0" algn="l" rtl="0">
                        <a:spcBef>
                          <a:spcPts val="0"/>
                        </a:spcBef>
                        <a:spcAft>
                          <a:spcPts val="0"/>
                        </a:spcAft>
                        <a:buNone/>
                      </a:pPr>
                      <a:r>
                        <a:rPr lang="en-US" sz="700">
                          <a:latin typeface="Gene Sans Light" panose="00000400000000000000" pitchFamily="50" charset="0"/>
                        </a:rPr>
                        <a:t>Hypopituitarism</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US" sz="700">
                          <a:latin typeface="Gene Sans Light" panose="00000400000000000000" pitchFamily="50" charset="0"/>
                        </a:rPr>
                        <a:t>0.26 (0.12-0.50)</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126862">
                <a:tc>
                  <a:txBody>
                    <a:bodyPr/>
                    <a:lstStyle/>
                    <a:p>
                      <a:pPr marL="114300" marR="0" lvl="0" indent="0" algn="l" rtl="0">
                        <a:spcBef>
                          <a:spcPts val="0"/>
                        </a:spcBef>
                        <a:spcAft>
                          <a:spcPts val="0"/>
                        </a:spcAft>
                        <a:buNone/>
                      </a:pPr>
                      <a:r>
                        <a:rPr lang="en-US" sz="700">
                          <a:latin typeface="Gene Sans Light" panose="00000400000000000000" pitchFamily="50" charset="0"/>
                        </a:rPr>
                        <a:t>Autoimmune thyroiditis</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US" sz="700">
                          <a:latin typeface="Gene Sans Light" panose="00000400000000000000" pitchFamily="50" charset="0"/>
                        </a:rPr>
                        <a:t>0.20 (0.07-0.45)</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126862">
                <a:tc>
                  <a:txBody>
                    <a:bodyPr/>
                    <a:lstStyle/>
                    <a:p>
                      <a:pPr marL="0" marR="0" lvl="0" indent="0" algn="l" rtl="0">
                        <a:lnSpc>
                          <a:spcPct val="100000"/>
                        </a:lnSpc>
                        <a:spcBef>
                          <a:spcPts val="0"/>
                        </a:spcBef>
                        <a:spcAft>
                          <a:spcPts val="0"/>
                        </a:spcAft>
                        <a:buClr>
                          <a:schemeClr val="dk1"/>
                        </a:buClr>
                        <a:buSzPts val="900"/>
                        <a:buFont typeface="Arial"/>
                        <a:buNone/>
                      </a:pPr>
                      <a:r>
                        <a:rPr lang="en-US" sz="700" b="1" dirty="0">
                          <a:latin typeface="Gene Sans Light" panose="00000400000000000000" pitchFamily="50" charset="0"/>
                        </a:rPr>
                        <a:t>Other disorder</a:t>
                      </a:r>
                      <a:endParaRPr sz="700" dirty="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26862">
                <a:tc>
                  <a:txBody>
                    <a:bodyPr/>
                    <a:lstStyle/>
                    <a:p>
                      <a:pPr marL="114300" marR="0" lvl="0" indent="0" algn="l" rtl="0">
                        <a:spcBef>
                          <a:spcPts val="0"/>
                        </a:spcBef>
                        <a:spcAft>
                          <a:spcPts val="0"/>
                        </a:spcAft>
                        <a:buNone/>
                      </a:pPr>
                      <a:r>
                        <a:rPr lang="en-US" sz="700">
                          <a:latin typeface="Gene Sans Light" panose="00000400000000000000" pitchFamily="50" charset="0"/>
                        </a:rPr>
                        <a:t>Diarrhea</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US" sz="700">
                          <a:latin typeface="Gene Sans Light" panose="00000400000000000000" pitchFamily="50" charset="0"/>
                        </a:rPr>
                        <a:t>9.47 (8.43-10.58)</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126862">
                <a:tc>
                  <a:txBody>
                    <a:bodyPr/>
                    <a:lstStyle/>
                    <a:p>
                      <a:pPr marL="114300" marR="0" lvl="0" indent="0" algn="l" rtl="0">
                        <a:spcBef>
                          <a:spcPts val="0"/>
                        </a:spcBef>
                        <a:spcAft>
                          <a:spcPts val="0"/>
                        </a:spcAft>
                        <a:buNone/>
                      </a:pPr>
                      <a:r>
                        <a:rPr lang="en-US" sz="700">
                          <a:latin typeface="Gene Sans Light" panose="00000400000000000000" pitchFamily="50" charset="0"/>
                        </a:rPr>
                        <a:t>AST increased</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US" sz="700">
                          <a:latin typeface="Gene Sans Light" panose="00000400000000000000" pitchFamily="50" charset="0"/>
                        </a:rPr>
                        <a:t>3.39 (2.94-3.89)</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126862">
                <a:tc>
                  <a:txBody>
                    <a:bodyPr/>
                    <a:lstStyle/>
                    <a:p>
                      <a:pPr marL="114300" marR="0" lvl="0" indent="0" algn="l" rtl="0">
                        <a:spcBef>
                          <a:spcPts val="0"/>
                        </a:spcBef>
                        <a:spcAft>
                          <a:spcPts val="0"/>
                        </a:spcAft>
                        <a:buNone/>
                      </a:pPr>
                      <a:r>
                        <a:rPr lang="en-US" sz="700">
                          <a:latin typeface="Gene Sans Light" panose="00000400000000000000" pitchFamily="50" charset="0"/>
                        </a:rPr>
                        <a:t>Vitiligo</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US" sz="700">
                          <a:latin typeface="Gene Sans Light" panose="00000400000000000000" pitchFamily="50" charset="0"/>
                        </a:rPr>
                        <a:t>3.26 (2.80-3.79)</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126862">
                <a:tc>
                  <a:txBody>
                    <a:bodyPr/>
                    <a:lstStyle/>
                    <a:p>
                      <a:pPr marL="114300" marR="0" lvl="0" indent="0" algn="l" rtl="0">
                        <a:spcBef>
                          <a:spcPts val="0"/>
                        </a:spcBef>
                        <a:spcAft>
                          <a:spcPts val="0"/>
                        </a:spcAft>
                        <a:buNone/>
                      </a:pPr>
                      <a:r>
                        <a:rPr lang="en-US" sz="700">
                          <a:latin typeface="Gene Sans Light" panose="00000400000000000000" pitchFamily="50" charset="0"/>
                        </a:rPr>
                        <a:t>ALT increased</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US" sz="700">
                          <a:latin typeface="Gene Sans Light" panose="00000400000000000000" pitchFamily="50" charset="0"/>
                        </a:rPr>
                        <a:t>3.14 (2.71-3.62)</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126862">
                <a:tc>
                  <a:txBody>
                    <a:bodyPr/>
                    <a:lstStyle/>
                    <a:p>
                      <a:pPr marL="114300" marR="0" lvl="0" indent="0" algn="l" rtl="0">
                        <a:spcBef>
                          <a:spcPts val="0"/>
                        </a:spcBef>
                        <a:spcAft>
                          <a:spcPts val="0"/>
                        </a:spcAft>
                        <a:buNone/>
                      </a:pPr>
                      <a:r>
                        <a:rPr lang="en-US" sz="700">
                          <a:latin typeface="Gene Sans Light" panose="00000400000000000000" pitchFamily="50" charset="0"/>
                        </a:rPr>
                        <a:t>Pneumonitis</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US" sz="700" dirty="0">
                          <a:latin typeface="Gene Sans Light" panose="00000400000000000000" pitchFamily="50" charset="0"/>
                        </a:rPr>
                        <a:t>2.79 (2.39-3.23)</a:t>
                      </a: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126862">
                <a:tc>
                  <a:txBody>
                    <a:bodyPr/>
                    <a:lstStyle/>
                    <a:p>
                      <a:pPr marL="114300" marR="0" lvl="0" indent="0" algn="l" rtl="0">
                        <a:spcBef>
                          <a:spcPts val="0"/>
                        </a:spcBef>
                        <a:spcAft>
                          <a:spcPts val="0"/>
                        </a:spcAft>
                        <a:buNone/>
                      </a:pPr>
                      <a:r>
                        <a:rPr lang="en-US" sz="700">
                          <a:latin typeface="Gene Sans Light" panose="00000400000000000000" pitchFamily="50" charset="0"/>
                        </a:rPr>
                        <a:t>Colitis</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US" sz="700" dirty="0">
                          <a:latin typeface="Gene Sans Light" panose="00000400000000000000" pitchFamily="50" charset="0"/>
                        </a:rPr>
                        <a:t>1.24 (0.99-1.54)</a:t>
                      </a: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126862">
                <a:tc>
                  <a:txBody>
                    <a:bodyPr/>
                    <a:lstStyle/>
                    <a:p>
                      <a:pPr marL="114300" marR="0" lvl="0" indent="0" algn="l" rtl="0">
                        <a:spcBef>
                          <a:spcPts val="0"/>
                        </a:spcBef>
                        <a:spcAft>
                          <a:spcPts val="0"/>
                        </a:spcAft>
                        <a:buNone/>
                      </a:pPr>
                      <a:r>
                        <a:rPr lang="en-US" sz="700">
                          <a:latin typeface="Gene Sans Light" panose="00000400000000000000" pitchFamily="50" charset="0"/>
                        </a:rPr>
                        <a:t>Bilirubin increase</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US" sz="700" dirty="0">
                          <a:latin typeface="Gene Sans Light" panose="00000400000000000000" pitchFamily="50" charset="0"/>
                        </a:rPr>
                        <a:t>1.05 (0.75-1.41)</a:t>
                      </a: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r h="126862">
                <a:tc>
                  <a:txBody>
                    <a:bodyPr/>
                    <a:lstStyle/>
                    <a:p>
                      <a:pPr marL="114300" marR="0" lvl="0" indent="0" algn="l" rtl="0">
                        <a:spcBef>
                          <a:spcPts val="0"/>
                        </a:spcBef>
                        <a:spcAft>
                          <a:spcPts val="0"/>
                        </a:spcAft>
                        <a:buNone/>
                      </a:pPr>
                      <a:r>
                        <a:rPr lang="en-US" sz="700">
                          <a:latin typeface="Gene Sans Light" panose="00000400000000000000" pitchFamily="50" charset="0"/>
                        </a:rPr>
                        <a:t>Hepatitis</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US" sz="700">
                          <a:latin typeface="Gene Sans Light" panose="00000400000000000000" pitchFamily="50" charset="0"/>
                        </a:rPr>
                        <a:t>0.85 (0.64-1.10)</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9"/>
                  </a:ext>
                </a:extLst>
              </a:tr>
              <a:tr h="126862">
                <a:tc>
                  <a:txBody>
                    <a:bodyPr/>
                    <a:lstStyle/>
                    <a:p>
                      <a:pPr marL="114300" marR="0" lvl="0" indent="0" algn="l" rtl="0">
                        <a:spcBef>
                          <a:spcPts val="0"/>
                        </a:spcBef>
                        <a:spcAft>
                          <a:spcPts val="0"/>
                        </a:spcAft>
                        <a:buNone/>
                      </a:pPr>
                      <a:r>
                        <a:rPr lang="en-US" sz="700">
                          <a:latin typeface="Gene Sans Light" panose="00000400000000000000" pitchFamily="50" charset="0"/>
                        </a:rPr>
                        <a:t>Uveitis</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ctr" rtl="0">
                        <a:spcBef>
                          <a:spcPts val="0"/>
                        </a:spcBef>
                        <a:spcAft>
                          <a:spcPts val="0"/>
                        </a:spcAft>
                        <a:buNone/>
                      </a:pPr>
                      <a:r>
                        <a:rPr lang="en-US" sz="700" dirty="0">
                          <a:latin typeface="Gene Sans Light" panose="00000400000000000000" pitchFamily="50" charset="0"/>
                        </a:rPr>
                        <a:t>0.29 (0.15-0.51)</a:t>
                      </a: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20"/>
                  </a:ext>
                </a:extLst>
              </a:tr>
            </a:tbl>
          </a:graphicData>
        </a:graphic>
      </p:graphicFrame>
      <p:sp>
        <p:nvSpPr>
          <p:cNvPr id="122" name="Rectangle 121">
            <a:extLst>
              <a:ext uri="{FF2B5EF4-FFF2-40B4-BE49-F238E27FC236}">
                <a16:creationId xmlns:a16="http://schemas.microsoft.com/office/drawing/2014/main" id="{2BEC09DB-70E9-4AB7-91FB-3B8A90AD7DB9}"/>
              </a:ext>
            </a:extLst>
          </p:cNvPr>
          <p:cNvSpPr/>
          <p:nvPr/>
        </p:nvSpPr>
        <p:spPr>
          <a:xfrm>
            <a:off x="380998" y="1238251"/>
            <a:ext cx="4016690" cy="2317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1"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rPr>
              <a:t>All-grade irAEs</a:t>
            </a:r>
            <a:r>
              <a:rPr kumimoji="0" lang="en-US" sz="700" b="1" i="0" u="none" strike="noStrike" kern="0" cap="none" spc="0" normalizeH="0" baseline="30000" noProof="0" dirty="0">
                <a:ln>
                  <a:noFill/>
                </a:ln>
                <a:solidFill>
                  <a:srgbClr val="FFFFFF"/>
                </a:solidFill>
                <a:effectLst/>
                <a:uLnTx/>
                <a:uFillTx/>
                <a:latin typeface="Gene Sans Light" panose="00000400000000000000" pitchFamily="50" charset="0"/>
                <a:ea typeface="+mn-ea"/>
                <a:cs typeface="+mn-cs"/>
                <a:sym typeface="Arial"/>
              </a:rPr>
              <a:t>1</a:t>
            </a:r>
            <a:endParaRPr kumimoji="0" lang="en-US" sz="700" b="0"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endParaRPr>
          </a:p>
        </p:txBody>
      </p:sp>
      <p:sp>
        <p:nvSpPr>
          <p:cNvPr id="184" name="Rectangle 183">
            <a:extLst>
              <a:ext uri="{FF2B5EF4-FFF2-40B4-BE49-F238E27FC236}">
                <a16:creationId xmlns:a16="http://schemas.microsoft.com/office/drawing/2014/main" id="{1EA180F2-E70A-429F-8203-936C3DAB6EB1}"/>
              </a:ext>
            </a:extLst>
          </p:cNvPr>
          <p:cNvSpPr/>
          <p:nvPr/>
        </p:nvSpPr>
        <p:spPr>
          <a:xfrm>
            <a:off x="4745659" y="1238251"/>
            <a:ext cx="4016690" cy="2317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rPr>
              <a:t>Grade 3 or higher irAEs</a:t>
            </a:r>
            <a:r>
              <a:rPr kumimoji="0" lang="en-US" sz="800" b="1" i="0" u="none" strike="noStrike" kern="0" cap="none" spc="0" normalizeH="0" baseline="30000" noProof="0" dirty="0">
                <a:ln>
                  <a:noFill/>
                </a:ln>
                <a:solidFill>
                  <a:srgbClr val="FFFFFF"/>
                </a:solidFill>
                <a:effectLst/>
                <a:uLnTx/>
                <a:uFillTx/>
                <a:latin typeface="Gene Sans Light" panose="00000400000000000000" pitchFamily="50" charset="0"/>
                <a:ea typeface="+mn-ea"/>
                <a:cs typeface="+mn-cs"/>
                <a:sym typeface="Arial"/>
              </a:rPr>
              <a:t>1</a:t>
            </a:r>
            <a:endParaRPr kumimoji="0" lang="en-US" sz="800" b="0"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endParaRPr>
          </a:p>
        </p:txBody>
      </p:sp>
      <p:sp>
        <p:nvSpPr>
          <p:cNvPr id="188" name="Google Shape;595;p9">
            <a:extLst>
              <a:ext uri="{FF2B5EF4-FFF2-40B4-BE49-F238E27FC236}">
                <a16:creationId xmlns:a16="http://schemas.microsoft.com/office/drawing/2014/main" id="{2D5DC1FC-C8AE-4E8D-AB48-D6CA09FB2307}"/>
              </a:ext>
            </a:extLst>
          </p:cNvPr>
          <p:cNvSpPr txBox="1"/>
          <p:nvPr/>
        </p:nvSpPr>
        <p:spPr>
          <a:xfrm>
            <a:off x="3457375" y="4416698"/>
            <a:ext cx="82016" cy="10772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5</a:t>
            </a:r>
            <a:endParaRPr kumimoji="0" sz="7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189" name="Google Shape;596;p9">
            <a:extLst>
              <a:ext uri="{FF2B5EF4-FFF2-40B4-BE49-F238E27FC236}">
                <a16:creationId xmlns:a16="http://schemas.microsoft.com/office/drawing/2014/main" id="{B8C7A1B4-BF4D-49B6-90BD-B37B6FCDD1DF}"/>
              </a:ext>
            </a:extLst>
          </p:cNvPr>
          <p:cNvSpPr txBox="1"/>
          <p:nvPr/>
        </p:nvSpPr>
        <p:spPr>
          <a:xfrm>
            <a:off x="3069236" y="4416698"/>
            <a:ext cx="82016" cy="10772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0</a:t>
            </a:r>
            <a:endParaRPr kumimoji="0" sz="7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90" name="Google Shape;597;p9">
            <a:extLst>
              <a:ext uri="{FF2B5EF4-FFF2-40B4-BE49-F238E27FC236}">
                <a16:creationId xmlns:a16="http://schemas.microsoft.com/office/drawing/2014/main" id="{FB79B81A-5279-4C90-9F01-C54A07D90669}"/>
              </a:ext>
            </a:extLst>
          </p:cNvPr>
          <p:cNvSpPr txBox="1"/>
          <p:nvPr/>
        </p:nvSpPr>
        <p:spPr>
          <a:xfrm>
            <a:off x="4315670" y="4416698"/>
            <a:ext cx="164034" cy="10772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15</a:t>
            </a:r>
            <a:endParaRPr kumimoji="0" sz="7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91" name="Google Shape;598;p9">
            <a:extLst>
              <a:ext uri="{FF2B5EF4-FFF2-40B4-BE49-F238E27FC236}">
                <a16:creationId xmlns:a16="http://schemas.microsoft.com/office/drawing/2014/main" id="{64857DBB-2618-47A3-8D9D-D877760BAFD0}"/>
              </a:ext>
            </a:extLst>
          </p:cNvPr>
          <p:cNvSpPr txBox="1"/>
          <p:nvPr/>
        </p:nvSpPr>
        <p:spPr>
          <a:xfrm>
            <a:off x="3845514" y="4416698"/>
            <a:ext cx="164034" cy="10772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10</a:t>
            </a:r>
            <a:endParaRPr kumimoji="0" sz="7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192" name="Google Shape;599;p9">
            <a:extLst>
              <a:ext uri="{FF2B5EF4-FFF2-40B4-BE49-F238E27FC236}">
                <a16:creationId xmlns:a16="http://schemas.microsoft.com/office/drawing/2014/main" id="{C93B5D7D-5AC0-49C2-9EB9-4AED47D709D4}"/>
              </a:ext>
            </a:extLst>
          </p:cNvPr>
          <p:cNvSpPr txBox="1"/>
          <p:nvPr/>
        </p:nvSpPr>
        <p:spPr>
          <a:xfrm>
            <a:off x="3389496" y="4518604"/>
            <a:ext cx="857634" cy="107722"/>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Incidence (95% CI)</a:t>
            </a:r>
            <a:endParaRPr kumimoji="0" sz="7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194" name="Google Shape;601;p9">
            <a:extLst>
              <a:ext uri="{FF2B5EF4-FFF2-40B4-BE49-F238E27FC236}">
                <a16:creationId xmlns:a16="http://schemas.microsoft.com/office/drawing/2014/main" id="{72BCCF08-0ED5-497D-8C56-6380B26292E8}"/>
              </a:ext>
            </a:extLst>
          </p:cNvPr>
          <p:cNvSpPr/>
          <p:nvPr/>
        </p:nvSpPr>
        <p:spPr>
          <a:xfrm flipH="1">
            <a:off x="3084294" y="1855709"/>
            <a:ext cx="24938" cy="2556000"/>
          </a:xfrm>
          <a:custGeom>
            <a:avLst/>
            <a:gdLst/>
            <a:ahLst/>
            <a:cxnLst/>
            <a:rect l="l" t="t" r="r" b="b"/>
            <a:pathLst>
              <a:path w="120000" h="3667125" extrusionOk="0">
                <a:moveTo>
                  <a:pt x="0" y="0"/>
                </a:moveTo>
                <a:lnTo>
                  <a:pt x="0" y="3667125"/>
                </a:lnTo>
              </a:path>
            </a:pathLst>
          </a:custGeom>
          <a:noFill/>
          <a:ln w="9525" cap="flat" cmpd="sng">
            <a:solidFill>
              <a:schemeClr val="lt2"/>
            </a:solidFill>
            <a:prstDash val="dot"/>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grpSp>
        <p:nvGrpSpPr>
          <p:cNvPr id="7" name="Group 6">
            <a:extLst>
              <a:ext uri="{FF2B5EF4-FFF2-40B4-BE49-F238E27FC236}">
                <a16:creationId xmlns:a16="http://schemas.microsoft.com/office/drawing/2014/main" id="{C7A55E36-C8A6-495A-BE1B-A55C23B0A928}"/>
              </a:ext>
            </a:extLst>
          </p:cNvPr>
          <p:cNvGrpSpPr/>
          <p:nvPr/>
        </p:nvGrpSpPr>
        <p:grpSpPr>
          <a:xfrm>
            <a:off x="3323675" y="2024104"/>
            <a:ext cx="687241" cy="2372020"/>
            <a:chOff x="3323675" y="2024103"/>
            <a:chExt cx="687241" cy="2476193"/>
          </a:xfrm>
        </p:grpSpPr>
        <p:grpSp>
          <p:nvGrpSpPr>
            <p:cNvPr id="195" name="Google Shape;602;p9">
              <a:extLst>
                <a:ext uri="{FF2B5EF4-FFF2-40B4-BE49-F238E27FC236}">
                  <a16:creationId xmlns:a16="http://schemas.microsoft.com/office/drawing/2014/main" id="{C7A35AA7-04F7-43A2-9698-A439C42424DA}"/>
                </a:ext>
              </a:extLst>
            </p:cNvPr>
            <p:cNvGrpSpPr/>
            <p:nvPr/>
          </p:nvGrpSpPr>
          <p:grpSpPr>
            <a:xfrm>
              <a:off x="3323675" y="2024103"/>
              <a:ext cx="450519" cy="1129542"/>
              <a:chOff x="3616187" y="2431900"/>
              <a:chExt cx="806183" cy="1540907"/>
            </a:xfrm>
          </p:grpSpPr>
          <p:sp>
            <p:nvSpPr>
              <p:cNvPr id="220" name="Google Shape;603;p9">
                <a:extLst>
                  <a:ext uri="{FF2B5EF4-FFF2-40B4-BE49-F238E27FC236}">
                    <a16:creationId xmlns:a16="http://schemas.microsoft.com/office/drawing/2014/main" id="{D7540404-EC37-477B-9AE5-B7CC249970BD}"/>
                  </a:ext>
                </a:extLst>
              </p:cNvPr>
              <p:cNvSpPr/>
              <p:nvPr/>
            </p:nvSpPr>
            <p:spPr>
              <a:xfrm>
                <a:off x="3916804" y="2610085"/>
                <a:ext cx="69937" cy="73455"/>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sp>
            <p:nvSpPr>
              <p:cNvPr id="221" name="Google Shape;604;p9">
                <a:extLst>
                  <a:ext uri="{FF2B5EF4-FFF2-40B4-BE49-F238E27FC236}">
                    <a16:creationId xmlns:a16="http://schemas.microsoft.com/office/drawing/2014/main" id="{8251D984-AE2D-44B6-AADF-9EB06324F4B1}"/>
                  </a:ext>
                </a:extLst>
              </p:cNvPr>
              <p:cNvSpPr/>
              <p:nvPr/>
            </p:nvSpPr>
            <p:spPr>
              <a:xfrm>
                <a:off x="3906834" y="2641914"/>
                <a:ext cx="103108" cy="47010"/>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sp>
            <p:nvSpPr>
              <p:cNvPr id="222" name="Google Shape;605;p9">
                <a:extLst>
                  <a:ext uri="{FF2B5EF4-FFF2-40B4-BE49-F238E27FC236}">
                    <a16:creationId xmlns:a16="http://schemas.microsoft.com/office/drawing/2014/main" id="{64A32AE8-DFDA-4D31-86CE-2D22EB3A2917}"/>
                  </a:ext>
                </a:extLst>
              </p:cNvPr>
              <p:cNvSpPr/>
              <p:nvPr/>
            </p:nvSpPr>
            <p:spPr>
              <a:xfrm>
                <a:off x="4290569" y="2431900"/>
                <a:ext cx="69937" cy="73455"/>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sp>
            <p:nvSpPr>
              <p:cNvPr id="223" name="Google Shape;606;p9">
                <a:extLst>
                  <a:ext uri="{FF2B5EF4-FFF2-40B4-BE49-F238E27FC236}">
                    <a16:creationId xmlns:a16="http://schemas.microsoft.com/office/drawing/2014/main" id="{6B82A941-31A1-4D43-A167-2C25BE5ADFB8}"/>
                  </a:ext>
                </a:extLst>
              </p:cNvPr>
              <p:cNvSpPr/>
              <p:nvPr/>
            </p:nvSpPr>
            <p:spPr>
              <a:xfrm>
                <a:off x="4236777" y="2468626"/>
                <a:ext cx="185593" cy="47010"/>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grpSp>
            <p:nvGrpSpPr>
              <p:cNvPr id="224" name="Google Shape;607;p9">
                <a:extLst>
                  <a:ext uri="{FF2B5EF4-FFF2-40B4-BE49-F238E27FC236}">
                    <a16:creationId xmlns:a16="http://schemas.microsoft.com/office/drawing/2014/main" id="{A728846E-8612-47EF-B2AB-5797523FC7A1}"/>
                  </a:ext>
                </a:extLst>
              </p:cNvPr>
              <p:cNvGrpSpPr/>
              <p:nvPr/>
            </p:nvGrpSpPr>
            <p:grpSpPr>
              <a:xfrm>
                <a:off x="3731211" y="2795438"/>
                <a:ext cx="87979" cy="81333"/>
                <a:chOff x="3731211" y="2937678"/>
                <a:chExt cx="87979" cy="81333"/>
              </a:xfrm>
            </p:grpSpPr>
            <p:sp>
              <p:nvSpPr>
                <p:cNvPr id="243" name="Google Shape;608;p9">
                  <a:extLst>
                    <a:ext uri="{FF2B5EF4-FFF2-40B4-BE49-F238E27FC236}">
                      <a16:creationId xmlns:a16="http://schemas.microsoft.com/office/drawing/2014/main" id="{1F2028F6-E0DD-455C-8A71-91568E1A1A59}"/>
                    </a:ext>
                  </a:extLst>
                </p:cNvPr>
                <p:cNvSpPr/>
                <p:nvPr/>
              </p:nvSpPr>
              <p:spPr>
                <a:xfrm>
                  <a:off x="3731211" y="2937678"/>
                  <a:ext cx="69937" cy="73455"/>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sp>
              <p:nvSpPr>
                <p:cNvPr id="244" name="Google Shape;609;p9">
                  <a:extLst>
                    <a:ext uri="{FF2B5EF4-FFF2-40B4-BE49-F238E27FC236}">
                      <a16:creationId xmlns:a16="http://schemas.microsoft.com/office/drawing/2014/main" id="{FCC0B1CA-8D0F-470F-A5F9-89B112A63DCD}"/>
                    </a:ext>
                  </a:extLst>
                </p:cNvPr>
                <p:cNvSpPr/>
                <p:nvPr/>
              </p:nvSpPr>
              <p:spPr>
                <a:xfrm>
                  <a:off x="3732120" y="2972001"/>
                  <a:ext cx="87070" cy="47010"/>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grpSp>
          <p:grpSp>
            <p:nvGrpSpPr>
              <p:cNvPr id="225" name="Google Shape;610;p9">
                <a:extLst>
                  <a:ext uri="{FF2B5EF4-FFF2-40B4-BE49-F238E27FC236}">
                    <a16:creationId xmlns:a16="http://schemas.microsoft.com/office/drawing/2014/main" id="{C2DE0BBF-13FB-4C4B-BF09-91A828D4D769}"/>
                  </a:ext>
                </a:extLst>
              </p:cNvPr>
              <p:cNvGrpSpPr/>
              <p:nvPr/>
            </p:nvGrpSpPr>
            <p:grpSpPr>
              <a:xfrm>
                <a:off x="3679657" y="2983697"/>
                <a:ext cx="87979" cy="81333"/>
                <a:chOff x="3679657" y="3133557"/>
                <a:chExt cx="87979" cy="81333"/>
              </a:xfrm>
            </p:grpSpPr>
            <p:sp>
              <p:nvSpPr>
                <p:cNvPr id="241" name="Google Shape;611;p9">
                  <a:extLst>
                    <a:ext uri="{FF2B5EF4-FFF2-40B4-BE49-F238E27FC236}">
                      <a16:creationId xmlns:a16="http://schemas.microsoft.com/office/drawing/2014/main" id="{0F1AD9D7-7A53-45D5-91DE-FAC8CC108F3D}"/>
                    </a:ext>
                  </a:extLst>
                </p:cNvPr>
                <p:cNvSpPr/>
                <p:nvPr/>
              </p:nvSpPr>
              <p:spPr>
                <a:xfrm>
                  <a:off x="3679657" y="3133557"/>
                  <a:ext cx="69937" cy="73455"/>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sp>
              <p:nvSpPr>
                <p:cNvPr id="242" name="Google Shape;612;p9">
                  <a:extLst>
                    <a:ext uri="{FF2B5EF4-FFF2-40B4-BE49-F238E27FC236}">
                      <a16:creationId xmlns:a16="http://schemas.microsoft.com/office/drawing/2014/main" id="{6948587F-0CBD-4F0E-A826-7BB6A7EAE72D}"/>
                    </a:ext>
                  </a:extLst>
                </p:cNvPr>
                <p:cNvSpPr/>
                <p:nvPr/>
              </p:nvSpPr>
              <p:spPr>
                <a:xfrm>
                  <a:off x="3680566" y="3167880"/>
                  <a:ext cx="87070" cy="47010"/>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grpSp>
          <p:grpSp>
            <p:nvGrpSpPr>
              <p:cNvPr id="226" name="Google Shape;613;p9">
                <a:extLst>
                  <a:ext uri="{FF2B5EF4-FFF2-40B4-BE49-F238E27FC236}">
                    <a16:creationId xmlns:a16="http://schemas.microsoft.com/office/drawing/2014/main" id="{CDE2DEC3-137C-4900-9E01-DCB296463B57}"/>
                  </a:ext>
                </a:extLst>
              </p:cNvPr>
              <p:cNvGrpSpPr/>
              <p:nvPr/>
            </p:nvGrpSpPr>
            <p:grpSpPr>
              <a:xfrm>
                <a:off x="3676932" y="3163568"/>
                <a:ext cx="69937" cy="85700"/>
                <a:chOff x="3676932" y="3336288"/>
                <a:chExt cx="69937" cy="85700"/>
              </a:xfrm>
            </p:grpSpPr>
            <p:sp>
              <p:nvSpPr>
                <p:cNvPr id="239" name="Google Shape;614;p9">
                  <a:extLst>
                    <a:ext uri="{FF2B5EF4-FFF2-40B4-BE49-F238E27FC236}">
                      <a16:creationId xmlns:a16="http://schemas.microsoft.com/office/drawing/2014/main" id="{7C81BF4F-3021-4DDD-813F-368C6785552E}"/>
                    </a:ext>
                  </a:extLst>
                </p:cNvPr>
                <p:cNvSpPr/>
                <p:nvPr/>
              </p:nvSpPr>
              <p:spPr>
                <a:xfrm>
                  <a:off x="3676932" y="3336288"/>
                  <a:ext cx="69937" cy="73455"/>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sp>
              <p:nvSpPr>
                <p:cNvPr id="240" name="Google Shape;615;p9">
                  <a:extLst>
                    <a:ext uri="{FF2B5EF4-FFF2-40B4-BE49-F238E27FC236}">
                      <a16:creationId xmlns:a16="http://schemas.microsoft.com/office/drawing/2014/main" id="{743E0ACB-92A8-4328-A80B-FCAD2B6160E6}"/>
                    </a:ext>
                  </a:extLst>
                </p:cNvPr>
                <p:cNvSpPr/>
                <p:nvPr/>
              </p:nvSpPr>
              <p:spPr>
                <a:xfrm>
                  <a:off x="3687155" y="3374978"/>
                  <a:ext cx="49491" cy="47010"/>
                </a:xfrm>
                <a:custGeom>
                  <a:avLst/>
                  <a:gdLst/>
                  <a:ahLst/>
                  <a:cxnLst/>
                  <a:rect l="l" t="t" r="r" b="b"/>
                  <a:pathLst>
                    <a:path w="238125" h="120000" extrusionOk="0">
                      <a:moveTo>
                        <a:pt x="0" y="0"/>
                      </a:moveTo>
                      <a:lnTo>
                        <a:pt x="238125" y="0"/>
                      </a:lnTo>
                    </a:path>
                  </a:pathLst>
                </a:custGeom>
                <a:noFill/>
                <a:ln w="12700" cap="flat" cmpd="sng">
                  <a:solidFill>
                    <a:schemeClr val="l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grpSp>
          <p:grpSp>
            <p:nvGrpSpPr>
              <p:cNvPr id="227" name="Google Shape;616;p9">
                <a:extLst>
                  <a:ext uri="{FF2B5EF4-FFF2-40B4-BE49-F238E27FC236}">
                    <a16:creationId xmlns:a16="http://schemas.microsoft.com/office/drawing/2014/main" id="{ADCB37EF-33E8-476D-BA46-9F5E8B11F9AF}"/>
                  </a:ext>
                </a:extLst>
              </p:cNvPr>
              <p:cNvGrpSpPr/>
              <p:nvPr/>
            </p:nvGrpSpPr>
            <p:grpSpPr>
              <a:xfrm>
                <a:off x="3665747" y="3346199"/>
                <a:ext cx="70813" cy="86515"/>
                <a:chOff x="3665747" y="3546859"/>
                <a:chExt cx="70813" cy="86515"/>
              </a:xfrm>
            </p:grpSpPr>
            <p:sp>
              <p:nvSpPr>
                <p:cNvPr id="236" name="Google Shape;617;p9">
                  <a:extLst>
                    <a:ext uri="{FF2B5EF4-FFF2-40B4-BE49-F238E27FC236}">
                      <a16:creationId xmlns:a16="http://schemas.microsoft.com/office/drawing/2014/main" id="{1850D568-273F-45E9-B1E8-E2FE4162EE9D}"/>
                    </a:ext>
                  </a:extLst>
                </p:cNvPr>
                <p:cNvSpPr/>
                <p:nvPr/>
              </p:nvSpPr>
              <p:spPr>
                <a:xfrm>
                  <a:off x="3666623" y="3546859"/>
                  <a:ext cx="69937" cy="73455"/>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sp>
              <p:nvSpPr>
                <p:cNvPr id="237" name="Google Shape;618;p9">
                  <a:extLst>
                    <a:ext uri="{FF2B5EF4-FFF2-40B4-BE49-F238E27FC236}">
                      <a16:creationId xmlns:a16="http://schemas.microsoft.com/office/drawing/2014/main" id="{C5F2D98C-F694-4E67-8C49-58C983DE1C88}"/>
                    </a:ext>
                  </a:extLst>
                </p:cNvPr>
                <p:cNvSpPr/>
                <p:nvPr/>
              </p:nvSpPr>
              <p:spPr>
                <a:xfrm>
                  <a:off x="3665747" y="3548329"/>
                  <a:ext cx="69937" cy="73455"/>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sp>
              <p:nvSpPr>
                <p:cNvPr id="238" name="Google Shape;619;p9">
                  <a:extLst>
                    <a:ext uri="{FF2B5EF4-FFF2-40B4-BE49-F238E27FC236}">
                      <a16:creationId xmlns:a16="http://schemas.microsoft.com/office/drawing/2014/main" id="{2E9B868A-C58D-4E8A-B0FE-D621C68F3BDC}"/>
                    </a:ext>
                  </a:extLst>
                </p:cNvPr>
                <p:cNvSpPr/>
                <p:nvPr/>
              </p:nvSpPr>
              <p:spPr>
                <a:xfrm>
                  <a:off x="3675970" y="3586364"/>
                  <a:ext cx="49491" cy="47010"/>
                </a:xfrm>
                <a:custGeom>
                  <a:avLst/>
                  <a:gdLst/>
                  <a:ahLst/>
                  <a:cxnLst/>
                  <a:rect l="l" t="t" r="r" b="b"/>
                  <a:pathLst>
                    <a:path w="238125" h="120000" extrusionOk="0">
                      <a:moveTo>
                        <a:pt x="0" y="0"/>
                      </a:moveTo>
                      <a:lnTo>
                        <a:pt x="238125" y="0"/>
                      </a:lnTo>
                    </a:path>
                  </a:pathLst>
                </a:custGeom>
                <a:noFill/>
                <a:ln w="12700" cap="flat" cmpd="sng">
                  <a:solidFill>
                    <a:schemeClr val="l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grpSp>
          <p:sp>
            <p:nvSpPr>
              <p:cNvPr id="228" name="Google Shape;620;p9">
                <a:extLst>
                  <a:ext uri="{FF2B5EF4-FFF2-40B4-BE49-F238E27FC236}">
                    <a16:creationId xmlns:a16="http://schemas.microsoft.com/office/drawing/2014/main" id="{CBACEEAA-2FCF-4B49-A09B-669F902FA087}"/>
                  </a:ext>
                </a:extLst>
              </p:cNvPr>
              <p:cNvSpPr/>
              <p:nvPr/>
            </p:nvSpPr>
            <p:spPr>
              <a:xfrm>
                <a:off x="3651156" y="3523932"/>
                <a:ext cx="69937" cy="73455"/>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grpSp>
            <p:nvGrpSpPr>
              <p:cNvPr id="229" name="Google Shape;621;p9">
                <a:extLst>
                  <a:ext uri="{FF2B5EF4-FFF2-40B4-BE49-F238E27FC236}">
                    <a16:creationId xmlns:a16="http://schemas.microsoft.com/office/drawing/2014/main" id="{872C18E1-01A4-4899-8BA2-0D7C30A573A2}"/>
                  </a:ext>
                </a:extLst>
              </p:cNvPr>
              <p:cNvGrpSpPr/>
              <p:nvPr/>
            </p:nvGrpSpPr>
            <p:grpSpPr>
              <a:xfrm>
                <a:off x="3624666" y="3704296"/>
                <a:ext cx="73374" cy="85699"/>
                <a:chOff x="3624666" y="3727156"/>
                <a:chExt cx="73374" cy="85699"/>
              </a:xfrm>
            </p:grpSpPr>
            <p:sp>
              <p:nvSpPr>
                <p:cNvPr id="234" name="Google Shape;622;p9">
                  <a:extLst>
                    <a:ext uri="{FF2B5EF4-FFF2-40B4-BE49-F238E27FC236}">
                      <a16:creationId xmlns:a16="http://schemas.microsoft.com/office/drawing/2014/main" id="{4E308F99-A8DA-4493-8E2E-68A25158C6B8}"/>
                    </a:ext>
                  </a:extLst>
                </p:cNvPr>
                <p:cNvSpPr/>
                <p:nvPr/>
              </p:nvSpPr>
              <p:spPr>
                <a:xfrm>
                  <a:off x="3624666" y="3727156"/>
                  <a:ext cx="69937" cy="73455"/>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sp>
              <p:nvSpPr>
                <p:cNvPr id="235" name="Google Shape;623;p9">
                  <a:extLst>
                    <a:ext uri="{FF2B5EF4-FFF2-40B4-BE49-F238E27FC236}">
                      <a16:creationId xmlns:a16="http://schemas.microsoft.com/office/drawing/2014/main" id="{6BE57E43-86D4-4708-BD75-4E3C1CBC70E5}"/>
                    </a:ext>
                  </a:extLst>
                </p:cNvPr>
                <p:cNvSpPr/>
                <p:nvPr/>
              </p:nvSpPr>
              <p:spPr>
                <a:xfrm>
                  <a:off x="3633170" y="3765845"/>
                  <a:ext cx="64870" cy="47010"/>
                </a:xfrm>
                <a:custGeom>
                  <a:avLst/>
                  <a:gdLst/>
                  <a:ahLst/>
                  <a:cxnLst/>
                  <a:rect l="l" t="t" r="r" b="b"/>
                  <a:pathLst>
                    <a:path w="238125" h="120000" extrusionOk="0">
                      <a:moveTo>
                        <a:pt x="0" y="0"/>
                      </a:moveTo>
                      <a:lnTo>
                        <a:pt x="238125" y="0"/>
                      </a:lnTo>
                    </a:path>
                  </a:pathLst>
                </a:custGeom>
                <a:noFill/>
                <a:ln w="12700" cap="flat" cmpd="sng">
                  <a:solidFill>
                    <a:schemeClr val="l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grpSp>
          <p:grpSp>
            <p:nvGrpSpPr>
              <p:cNvPr id="230" name="Google Shape;624;p9">
                <a:extLst>
                  <a:ext uri="{FF2B5EF4-FFF2-40B4-BE49-F238E27FC236}">
                    <a16:creationId xmlns:a16="http://schemas.microsoft.com/office/drawing/2014/main" id="{374A4B38-9C10-48BA-880D-2A998BF820BF}"/>
                  </a:ext>
                </a:extLst>
              </p:cNvPr>
              <p:cNvGrpSpPr/>
              <p:nvPr/>
            </p:nvGrpSpPr>
            <p:grpSpPr>
              <a:xfrm>
                <a:off x="3616187" y="3892172"/>
                <a:ext cx="69937" cy="80635"/>
                <a:chOff x="3616187" y="3937892"/>
                <a:chExt cx="69937" cy="80635"/>
              </a:xfrm>
            </p:grpSpPr>
            <p:sp>
              <p:nvSpPr>
                <p:cNvPr id="232" name="Google Shape;625;p9">
                  <a:extLst>
                    <a:ext uri="{FF2B5EF4-FFF2-40B4-BE49-F238E27FC236}">
                      <a16:creationId xmlns:a16="http://schemas.microsoft.com/office/drawing/2014/main" id="{84594DF5-454E-4502-A4AB-0309CE883337}"/>
                    </a:ext>
                  </a:extLst>
                </p:cNvPr>
                <p:cNvSpPr/>
                <p:nvPr/>
              </p:nvSpPr>
              <p:spPr>
                <a:xfrm>
                  <a:off x="3616187" y="3937892"/>
                  <a:ext cx="69937" cy="73455"/>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sp>
              <p:nvSpPr>
                <p:cNvPr id="233" name="Google Shape;626;p9">
                  <a:extLst>
                    <a:ext uri="{FF2B5EF4-FFF2-40B4-BE49-F238E27FC236}">
                      <a16:creationId xmlns:a16="http://schemas.microsoft.com/office/drawing/2014/main" id="{C927FDED-EAD9-43F8-BB30-820A81709297}"/>
                    </a:ext>
                  </a:extLst>
                </p:cNvPr>
                <p:cNvSpPr/>
                <p:nvPr/>
              </p:nvSpPr>
              <p:spPr>
                <a:xfrm>
                  <a:off x="3635747" y="3971517"/>
                  <a:ext cx="49491" cy="47010"/>
                </a:xfrm>
                <a:custGeom>
                  <a:avLst/>
                  <a:gdLst/>
                  <a:ahLst/>
                  <a:cxnLst/>
                  <a:rect l="l" t="t" r="r" b="b"/>
                  <a:pathLst>
                    <a:path w="238125" h="120000" extrusionOk="0">
                      <a:moveTo>
                        <a:pt x="0" y="0"/>
                      </a:moveTo>
                      <a:lnTo>
                        <a:pt x="238125" y="0"/>
                      </a:lnTo>
                    </a:path>
                  </a:pathLst>
                </a:custGeom>
                <a:noFill/>
                <a:ln w="12700" cap="flat" cmpd="sng">
                  <a:solidFill>
                    <a:schemeClr val="l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grpSp>
          <p:sp>
            <p:nvSpPr>
              <p:cNvPr id="231" name="Google Shape;627;p9">
                <a:extLst>
                  <a:ext uri="{FF2B5EF4-FFF2-40B4-BE49-F238E27FC236}">
                    <a16:creationId xmlns:a16="http://schemas.microsoft.com/office/drawing/2014/main" id="{2FD28784-DD6C-486E-9730-8861C9243AF8}"/>
                  </a:ext>
                </a:extLst>
              </p:cNvPr>
              <p:cNvSpPr/>
              <p:nvPr/>
            </p:nvSpPr>
            <p:spPr>
              <a:xfrm>
                <a:off x="3661379" y="3558863"/>
                <a:ext cx="49491" cy="47010"/>
              </a:xfrm>
              <a:custGeom>
                <a:avLst/>
                <a:gdLst/>
                <a:ahLst/>
                <a:cxnLst/>
                <a:rect l="l" t="t" r="r" b="b"/>
                <a:pathLst>
                  <a:path w="238125" h="120000" extrusionOk="0">
                    <a:moveTo>
                      <a:pt x="0" y="0"/>
                    </a:moveTo>
                    <a:lnTo>
                      <a:pt x="238125" y="0"/>
                    </a:lnTo>
                  </a:path>
                </a:pathLst>
              </a:custGeom>
              <a:noFill/>
              <a:ln w="12700" cap="flat" cmpd="sng">
                <a:solidFill>
                  <a:schemeClr val="l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grpSp>
        <p:grpSp>
          <p:nvGrpSpPr>
            <p:cNvPr id="196" name="Google Shape;628;p9">
              <a:extLst>
                <a:ext uri="{FF2B5EF4-FFF2-40B4-BE49-F238E27FC236}">
                  <a16:creationId xmlns:a16="http://schemas.microsoft.com/office/drawing/2014/main" id="{8A575328-DF12-4D5F-8F6C-103EDDF4F417}"/>
                </a:ext>
              </a:extLst>
            </p:cNvPr>
            <p:cNvGrpSpPr/>
            <p:nvPr/>
          </p:nvGrpSpPr>
          <p:grpSpPr>
            <a:xfrm>
              <a:off x="3865676" y="3367747"/>
              <a:ext cx="145240" cy="61384"/>
              <a:chOff x="4586072" y="4567143"/>
              <a:chExt cx="259900" cy="83738"/>
            </a:xfrm>
          </p:grpSpPr>
          <p:sp>
            <p:nvSpPr>
              <p:cNvPr id="218" name="Google Shape;629;p9">
                <a:extLst>
                  <a:ext uri="{FF2B5EF4-FFF2-40B4-BE49-F238E27FC236}">
                    <a16:creationId xmlns:a16="http://schemas.microsoft.com/office/drawing/2014/main" id="{B2D6BE4B-54AC-49AD-B4D4-36117389AA97}"/>
                  </a:ext>
                </a:extLst>
              </p:cNvPr>
              <p:cNvSpPr/>
              <p:nvPr/>
            </p:nvSpPr>
            <p:spPr>
              <a:xfrm>
                <a:off x="4682869" y="4567143"/>
                <a:ext cx="69937" cy="73455"/>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sp>
            <p:nvSpPr>
              <p:cNvPr id="219" name="Google Shape;630;p9">
                <a:extLst>
                  <a:ext uri="{FF2B5EF4-FFF2-40B4-BE49-F238E27FC236}">
                    <a16:creationId xmlns:a16="http://schemas.microsoft.com/office/drawing/2014/main" id="{E64320ED-E439-4EDD-9840-C761EFFE2E5C}"/>
                  </a:ext>
                </a:extLst>
              </p:cNvPr>
              <p:cNvSpPr/>
              <p:nvPr/>
            </p:nvSpPr>
            <p:spPr>
              <a:xfrm>
                <a:off x="4586072" y="4603871"/>
                <a:ext cx="259900" cy="47010"/>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grpSp>
        <p:sp>
          <p:nvSpPr>
            <p:cNvPr id="197" name="Google Shape;631;p9">
              <a:extLst>
                <a:ext uri="{FF2B5EF4-FFF2-40B4-BE49-F238E27FC236}">
                  <a16:creationId xmlns:a16="http://schemas.microsoft.com/office/drawing/2014/main" id="{F658CF82-C7CA-4137-86D1-2E640147E039}"/>
                </a:ext>
              </a:extLst>
            </p:cNvPr>
            <p:cNvSpPr/>
            <p:nvPr/>
          </p:nvSpPr>
          <p:spPr>
            <a:xfrm>
              <a:off x="3530752" y="3510179"/>
              <a:ext cx="39083" cy="53845"/>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sp>
          <p:nvSpPr>
            <p:cNvPr id="198" name="Google Shape;632;p9">
              <a:extLst>
                <a:ext uri="{FF2B5EF4-FFF2-40B4-BE49-F238E27FC236}">
                  <a16:creationId xmlns:a16="http://schemas.microsoft.com/office/drawing/2014/main" id="{959CF319-3A69-463F-B465-96C9B53F741C}"/>
                </a:ext>
              </a:extLst>
            </p:cNvPr>
            <p:cNvSpPr/>
            <p:nvPr/>
          </p:nvSpPr>
          <p:spPr>
            <a:xfrm>
              <a:off x="3515688" y="3538110"/>
              <a:ext cx="66923" cy="34461"/>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grpSp>
          <p:nvGrpSpPr>
            <p:cNvPr id="199" name="Google Shape;633;p9">
              <a:extLst>
                <a:ext uri="{FF2B5EF4-FFF2-40B4-BE49-F238E27FC236}">
                  <a16:creationId xmlns:a16="http://schemas.microsoft.com/office/drawing/2014/main" id="{80C75FF9-BFF6-4836-A5D3-29637DAD4BEF}"/>
                </a:ext>
              </a:extLst>
            </p:cNvPr>
            <p:cNvGrpSpPr/>
            <p:nvPr/>
          </p:nvGrpSpPr>
          <p:grpSpPr>
            <a:xfrm>
              <a:off x="3509480" y="3634093"/>
              <a:ext cx="69289" cy="61384"/>
              <a:chOff x="3948675" y="4849207"/>
              <a:chExt cx="123989" cy="83739"/>
            </a:xfrm>
          </p:grpSpPr>
          <p:sp>
            <p:nvSpPr>
              <p:cNvPr id="216" name="Google Shape;634;p9">
                <a:extLst>
                  <a:ext uri="{FF2B5EF4-FFF2-40B4-BE49-F238E27FC236}">
                    <a16:creationId xmlns:a16="http://schemas.microsoft.com/office/drawing/2014/main" id="{79017978-D5B9-452A-BAB8-35EBC01704FA}"/>
                  </a:ext>
                </a:extLst>
              </p:cNvPr>
              <p:cNvSpPr/>
              <p:nvPr/>
            </p:nvSpPr>
            <p:spPr>
              <a:xfrm>
                <a:off x="3966283" y="4849207"/>
                <a:ext cx="69937" cy="73455"/>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sp>
            <p:nvSpPr>
              <p:cNvPr id="217" name="Google Shape;635;p9">
                <a:extLst>
                  <a:ext uri="{FF2B5EF4-FFF2-40B4-BE49-F238E27FC236}">
                    <a16:creationId xmlns:a16="http://schemas.microsoft.com/office/drawing/2014/main" id="{4F3CF398-D815-40D3-B95F-DA624F31DD27}"/>
                  </a:ext>
                </a:extLst>
              </p:cNvPr>
              <p:cNvSpPr/>
              <p:nvPr/>
            </p:nvSpPr>
            <p:spPr>
              <a:xfrm>
                <a:off x="3948675" y="4883549"/>
                <a:ext cx="123989" cy="49397"/>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grpSp>
        <p:grpSp>
          <p:nvGrpSpPr>
            <p:cNvPr id="200" name="Google Shape;636;p9">
              <a:extLst>
                <a:ext uri="{FF2B5EF4-FFF2-40B4-BE49-F238E27FC236}">
                  <a16:creationId xmlns:a16="http://schemas.microsoft.com/office/drawing/2014/main" id="{4AF96DF8-586B-4457-8D48-C8DE7C8BB88D}"/>
                </a:ext>
              </a:extLst>
            </p:cNvPr>
            <p:cNvGrpSpPr/>
            <p:nvPr/>
          </p:nvGrpSpPr>
          <p:grpSpPr>
            <a:xfrm>
              <a:off x="3499587" y="3762060"/>
              <a:ext cx="66923" cy="63806"/>
              <a:chOff x="3930973" y="5052330"/>
              <a:chExt cx="119754" cy="87043"/>
            </a:xfrm>
          </p:grpSpPr>
          <p:sp>
            <p:nvSpPr>
              <p:cNvPr id="214" name="Google Shape;637;p9">
                <a:extLst>
                  <a:ext uri="{FF2B5EF4-FFF2-40B4-BE49-F238E27FC236}">
                    <a16:creationId xmlns:a16="http://schemas.microsoft.com/office/drawing/2014/main" id="{7FC3EEA6-B20E-4E68-BB26-98309C48D3F2}"/>
                  </a:ext>
                </a:extLst>
              </p:cNvPr>
              <p:cNvSpPr/>
              <p:nvPr/>
            </p:nvSpPr>
            <p:spPr>
              <a:xfrm>
                <a:off x="3958387" y="5052330"/>
                <a:ext cx="69937" cy="73455"/>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sp>
            <p:nvSpPr>
              <p:cNvPr id="215" name="Google Shape;638;p9">
                <a:extLst>
                  <a:ext uri="{FF2B5EF4-FFF2-40B4-BE49-F238E27FC236}">
                    <a16:creationId xmlns:a16="http://schemas.microsoft.com/office/drawing/2014/main" id="{A62E21A2-9E0B-4D89-9FB5-1556143E0A6E}"/>
                  </a:ext>
                </a:extLst>
              </p:cNvPr>
              <p:cNvSpPr/>
              <p:nvPr/>
            </p:nvSpPr>
            <p:spPr>
              <a:xfrm>
                <a:off x="3930973" y="5092363"/>
                <a:ext cx="119754" cy="47010"/>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grpSp>
        <p:grpSp>
          <p:nvGrpSpPr>
            <p:cNvPr id="201" name="Google Shape;639;p9">
              <a:extLst>
                <a:ext uri="{FF2B5EF4-FFF2-40B4-BE49-F238E27FC236}">
                  <a16:creationId xmlns:a16="http://schemas.microsoft.com/office/drawing/2014/main" id="{2761357F-A139-48BE-A762-976E1FCE8896}"/>
                </a:ext>
              </a:extLst>
            </p:cNvPr>
            <p:cNvGrpSpPr/>
            <p:nvPr/>
          </p:nvGrpSpPr>
          <p:grpSpPr>
            <a:xfrm>
              <a:off x="3476357" y="3902993"/>
              <a:ext cx="66923" cy="65330"/>
              <a:chOff x="3889404" y="5256678"/>
              <a:chExt cx="119754" cy="89122"/>
            </a:xfrm>
          </p:grpSpPr>
          <p:sp>
            <p:nvSpPr>
              <p:cNvPr id="212" name="Google Shape;640;p9">
                <a:extLst>
                  <a:ext uri="{FF2B5EF4-FFF2-40B4-BE49-F238E27FC236}">
                    <a16:creationId xmlns:a16="http://schemas.microsoft.com/office/drawing/2014/main" id="{0FC3C246-8B4D-4787-AAE2-5D04E3543309}"/>
                  </a:ext>
                </a:extLst>
              </p:cNvPr>
              <p:cNvSpPr/>
              <p:nvPr/>
            </p:nvSpPr>
            <p:spPr>
              <a:xfrm>
                <a:off x="3889404" y="5298790"/>
                <a:ext cx="119754" cy="47010"/>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sp>
            <p:nvSpPr>
              <p:cNvPr id="213" name="Google Shape;641;p9">
                <a:extLst>
                  <a:ext uri="{FF2B5EF4-FFF2-40B4-BE49-F238E27FC236}">
                    <a16:creationId xmlns:a16="http://schemas.microsoft.com/office/drawing/2014/main" id="{3C3A70EF-B076-4F14-A699-2B10D32019AD}"/>
                  </a:ext>
                </a:extLst>
              </p:cNvPr>
              <p:cNvSpPr/>
              <p:nvPr/>
            </p:nvSpPr>
            <p:spPr>
              <a:xfrm>
                <a:off x="3913706" y="5256678"/>
                <a:ext cx="69937" cy="73455"/>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grpSp>
        <p:sp>
          <p:nvSpPr>
            <p:cNvPr id="202" name="Google Shape;642;p9">
              <a:extLst>
                <a:ext uri="{FF2B5EF4-FFF2-40B4-BE49-F238E27FC236}">
                  <a16:creationId xmlns:a16="http://schemas.microsoft.com/office/drawing/2014/main" id="{0E3D2D05-4C8E-443F-9FC4-CFB783988638}"/>
                </a:ext>
              </a:extLst>
            </p:cNvPr>
            <p:cNvSpPr/>
            <p:nvPr/>
          </p:nvSpPr>
          <p:spPr>
            <a:xfrm>
              <a:off x="3394151" y="4048588"/>
              <a:ext cx="39083" cy="53845"/>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grpSp>
          <p:nvGrpSpPr>
            <p:cNvPr id="203" name="Google Shape;643;p9">
              <a:extLst>
                <a:ext uri="{FF2B5EF4-FFF2-40B4-BE49-F238E27FC236}">
                  <a16:creationId xmlns:a16="http://schemas.microsoft.com/office/drawing/2014/main" id="{04E0030A-FDAA-42C9-BFE0-EAE0ED822871}"/>
                </a:ext>
              </a:extLst>
            </p:cNvPr>
            <p:cNvGrpSpPr/>
            <p:nvPr/>
          </p:nvGrpSpPr>
          <p:grpSpPr>
            <a:xfrm>
              <a:off x="3373322" y="4175551"/>
              <a:ext cx="55636" cy="62391"/>
              <a:chOff x="3705027" y="5661517"/>
              <a:chExt cx="99557" cy="85113"/>
            </a:xfrm>
          </p:grpSpPr>
          <p:sp>
            <p:nvSpPr>
              <p:cNvPr id="210" name="Google Shape;644;p9">
                <a:extLst>
                  <a:ext uri="{FF2B5EF4-FFF2-40B4-BE49-F238E27FC236}">
                    <a16:creationId xmlns:a16="http://schemas.microsoft.com/office/drawing/2014/main" id="{F6C30DE5-6130-4BA7-8632-2608D3DCCAD5}"/>
                  </a:ext>
                </a:extLst>
              </p:cNvPr>
              <p:cNvSpPr/>
              <p:nvPr/>
            </p:nvSpPr>
            <p:spPr>
              <a:xfrm>
                <a:off x="3721033" y="5661517"/>
                <a:ext cx="69937" cy="73455"/>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sp>
            <p:nvSpPr>
              <p:cNvPr id="211" name="Google Shape;645;p9">
                <a:extLst>
                  <a:ext uri="{FF2B5EF4-FFF2-40B4-BE49-F238E27FC236}">
                    <a16:creationId xmlns:a16="http://schemas.microsoft.com/office/drawing/2014/main" id="{E7C55092-DDDA-4381-B61D-C710DE34BADC}"/>
                  </a:ext>
                </a:extLst>
              </p:cNvPr>
              <p:cNvSpPr/>
              <p:nvPr/>
            </p:nvSpPr>
            <p:spPr>
              <a:xfrm>
                <a:off x="3705027" y="5699620"/>
                <a:ext cx="99557" cy="47010"/>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grpSp>
        <p:grpSp>
          <p:nvGrpSpPr>
            <p:cNvPr id="204" name="Google Shape;646;p9">
              <a:extLst>
                <a:ext uri="{FF2B5EF4-FFF2-40B4-BE49-F238E27FC236}">
                  <a16:creationId xmlns:a16="http://schemas.microsoft.com/office/drawing/2014/main" id="{EFF4BC33-4DDA-47A8-8F44-8EF286114909}"/>
                </a:ext>
              </a:extLst>
            </p:cNvPr>
            <p:cNvGrpSpPr/>
            <p:nvPr/>
          </p:nvGrpSpPr>
          <p:grpSpPr>
            <a:xfrm>
              <a:off x="3362755" y="4299585"/>
              <a:ext cx="41004" cy="62820"/>
              <a:chOff x="3686120" y="5871362"/>
              <a:chExt cx="73374" cy="85699"/>
            </a:xfrm>
          </p:grpSpPr>
          <p:sp>
            <p:nvSpPr>
              <p:cNvPr id="208" name="Google Shape;647;p9">
                <a:extLst>
                  <a:ext uri="{FF2B5EF4-FFF2-40B4-BE49-F238E27FC236}">
                    <a16:creationId xmlns:a16="http://schemas.microsoft.com/office/drawing/2014/main" id="{0ACA92BD-F214-49C6-BE70-EED4FD5B1DF0}"/>
                  </a:ext>
                </a:extLst>
              </p:cNvPr>
              <p:cNvSpPr/>
              <p:nvPr/>
            </p:nvSpPr>
            <p:spPr>
              <a:xfrm>
                <a:off x="3686120" y="5871362"/>
                <a:ext cx="69937" cy="73455"/>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sp>
            <p:nvSpPr>
              <p:cNvPr id="209" name="Google Shape;648;p9">
                <a:extLst>
                  <a:ext uri="{FF2B5EF4-FFF2-40B4-BE49-F238E27FC236}">
                    <a16:creationId xmlns:a16="http://schemas.microsoft.com/office/drawing/2014/main" id="{341D1F8B-5156-4DAE-9EF6-BC6560156575}"/>
                  </a:ext>
                </a:extLst>
              </p:cNvPr>
              <p:cNvSpPr/>
              <p:nvPr/>
            </p:nvSpPr>
            <p:spPr>
              <a:xfrm>
                <a:off x="3694624" y="5910051"/>
                <a:ext cx="64870" cy="47010"/>
              </a:xfrm>
              <a:custGeom>
                <a:avLst/>
                <a:gdLst/>
                <a:ahLst/>
                <a:cxnLst/>
                <a:rect l="l" t="t" r="r" b="b"/>
                <a:pathLst>
                  <a:path w="238125" h="120000" extrusionOk="0">
                    <a:moveTo>
                      <a:pt x="0" y="0"/>
                    </a:moveTo>
                    <a:lnTo>
                      <a:pt x="238125" y="0"/>
                    </a:lnTo>
                  </a:path>
                </a:pathLst>
              </a:custGeom>
              <a:noFill/>
              <a:ln w="12700" cap="flat" cmpd="sng">
                <a:solidFill>
                  <a:schemeClr val="l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noFill/>
                  </a:ln>
                  <a:solidFill>
                    <a:srgbClr val="FFFFFF"/>
                  </a:solidFill>
                  <a:effectLst/>
                  <a:uLnTx/>
                  <a:uFillTx/>
                  <a:latin typeface="Arial"/>
                  <a:cs typeface="Arial"/>
                  <a:sym typeface="Arial"/>
                </a:endParaRPr>
              </a:p>
            </p:txBody>
          </p:sp>
        </p:grpSp>
        <p:grpSp>
          <p:nvGrpSpPr>
            <p:cNvPr id="205" name="Google Shape;649;p9">
              <a:extLst>
                <a:ext uri="{FF2B5EF4-FFF2-40B4-BE49-F238E27FC236}">
                  <a16:creationId xmlns:a16="http://schemas.microsoft.com/office/drawing/2014/main" id="{73BEB309-2C9D-444B-88EF-BDAB51A7B16B}"/>
                </a:ext>
              </a:extLst>
            </p:cNvPr>
            <p:cNvGrpSpPr/>
            <p:nvPr/>
          </p:nvGrpSpPr>
          <p:grpSpPr>
            <a:xfrm>
              <a:off x="3327371" y="4438794"/>
              <a:ext cx="39083" cy="61502"/>
              <a:chOff x="3622801" y="6073970"/>
              <a:chExt cx="69937" cy="83900"/>
            </a:xfrm>
          </p:grpSpPr>
          <p:sp>
            <p:nvSpPr>
              <p:cNvPr id="206" name="Google Shape;650;p9">
                <a:extLst>
                  <a:ext uri="{FF2B5EF4-FFF2-40B4-BE49-F238E27FC236}">
                    <a16:creationId xmlns:a16="http://schemas.microsoft.com/office/drawing/2014/main" id="{1CE58EC5-570B-4FE4-A89B-660C5CDB0E2D}"/>
                  </a:ext>
                </a:extLst>
              </p:cNvPr>
              <p:cNvSpPr/>
              <p:nvPr/>
            </p:nvSpPr>
            <p:spPr>
              <a:xfrm>
                <a:off x="3622801" y="6073970"/>
                <a:ext cx="69937" cy="73455"/>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7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07" name="Google Shape;651;p9">
                <a:extLst>
                  <a:ext uri="{FF2B5EF4-FFF2-40B4-BE49-F238E27FC236}">
                    <a16:creationId xmlns:a16="http://schemas.microsoft.com/office/drawing/2014/main" id="{696026DC-2B9F-4061-8358-39861CEE009F}"/>
                  </a:ext>
                </a:extLst>
              </p:cNvPr>
              <p:cNvSpPr/>
              <p:nvPr/>
            </p:nvSpPr>
            <p:spPr>
              <a:xfrm>
                <a:off x="3642361" y="6110860"/>
                <a:ext cx="49491" cy="47010"/>
              </a:xfrm>
              <a:custGeom>
                <a:avLst/>
                <a:gdLst/>
                <a:ahLst/>
                <a:cxnLst/>
                <a:rect l="l" t="t" r="r" b="b"/>
                <a:pathLst>
                  <a:path w="238125" h="120000" extrusionOk="0">
                    <a:moveTo>
                      <a:pt x="0" y="0"/>
                    </a:moveTo>
                    <a:lnTo>
                      <a:pt x="238125" y="0"/>
                    </a:lnTo>
                  </a:path>
                </a:pathLst>
              </a:custGeom>
              <a:noFill/>
              <a:ln w="12700" cap="flat" cmpd="sng">
                <a:solidFill>
                  <a:schemeClr val="l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7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grpSp>
      </p:grpSp>
      <p:cxnSp>
        <p:nvCxnSpPr>
          <p:cNvPr id="245" name="Straight Connector 244">
            <a:extLst>
              <a:ext uri="{FF2B5EF4-FFF2-40B4-BE49-F238E27FC236}">
                <a16:creationId xmlns:a16="http://schemas.microsoft.com/office/drawing/2014/main" id="{67546B05-DA7C-4625-9F5E-2D01660E276E}"/>
              </a:ext>
            </a:extLst>
          </p:cNvPr>
          <p:cNvCxnSpPr>
            <a:cxnSpLocks/>
          </p:cNvCxnSpPr>
          <p:nvPr/>
        </p:nvCxnSpPr>
        <p:spPr>
          <a:xfrm>
            <a:off x="3109232" y="4412995"/>
            <a:ext cx="1332000" cy="0"/>
          </a:xfrm>
          <a:prstGeom prst="line">
            <a:avLst/>
          </a:prstGeom>
          <a:ln w="6350"/>
        </p:spPr>
        <p:style>
          <a:lnRef idx="1">
            <a:schemeClr val="accent1"/>
          </a:lnRef>
          <a:fillRef idx="0">
            <a:schemeClr val="accent1"/>
          </a:fillRef>
          <a:effectRef idx="0">
            <a:schemeClr val="accent1"/>
          </a:effectRef>
          <a:fontRef idx="minor">
            <a:schemeClr val="tx1"/>
          </a:fontRef>
        </p:style>
      </p:cxnSp>
      <p:graphicFrame>
        <p:nvGraphicFramePr>
          <p:cNvPr id="250" name="Google Shape;652;p9">
            <a:extLst>
              <a:ext uri="{FF2B5EF4-FFF2-40B4-BE49-F238E27FC236}">
                <a16:creationId xmlns:a16="http://schemas.microsoft.com/office/drawing/2014/main" id="{A02843BD-72B0-4C4D-93A1-A1B511B663DB}"/>
              </a:ext>
            </a:extLst>
          </p:cNvPr>
          <p:cNvGraphicFramePr/>
          <p:nvPr/>
        </p:nvGraphicFramePr>
        <p:xfrm>
          <a:off x="4743905" y="1470036"/>
          <a:ext cx="4022141" cy="2926083"/>
        </p:xfrm>
        <a:graphic>
          <a:graphicData uri="http://schemas.openxmlformats.org/drawingml/2006/table">
            <a:tbl>
              <a:tblPr>
                <a:noFill/>
              </a:tblPr>
              <a:tblGrid>
                <a:gridCol w="1316341">
                  <a:extLst>
                    <a:ext uri="{9D8B030D-6E8A-4147-A177-3AD203B41FA5}">
                      <a16:colId xmlns:a16="http://schemas.microsoft.com/office/drawing/2014/main" val="20000"/>
                    </a:ext>
                  </a:extLst>
                </a:gridCol>
                <a:gridCol w="1096948">
                  <a:extLst>
                    <a:ext uri="{9D8B030D-6E8A-4147-A177-3AD203B41FA5}">
                      <a16:colId xmlns:a16="http://schemas.microsoft.com/office/drawing/2014/main" val="20001"/>
                    </a:ext>
                  </a:extLst>
                </a:gridCol>
                <a:gridCol w="1608852">
                  <a:extLst>
                    <a:ext uri="{9D8B030D-6E8A-4147-A177-3AD203B41FA5}">
                      <a16:colId xmlns:a16="http://schemas.microsoft.com/office/drawing/2014/main" val="20002"/>
                    </a:ext>
                  </a:extLst>
                </a:gridCol>
              </a:tblGrid>
              <a:tr h="392163">
                <a:tc>
                  <a:txBody>
                    <a:bodyPr/>
                    <a:lstStyle/>
                    <a:p>
                      <a:pPr marL="0" marR="0" lvl="0" indent="0" algn="ctr" rtl="0">
                        <a:spcBef>
                          <a:spcPts val="0"/>
                        </a:spcBef>
                        <a:spcAft>
                          <a:spcPts val="0"/>
                        </a:spcAft>
                        <a:buNone/>
                      </a:pPr>
                      <a:r>
                        <a:rPr lang="en-US" sz="700" b="0" dirty="0">
                          <a:solidFill>
                            <a:schemeClr val="accent1"/>
                          </a:solidFill>
                          <a:latin typeface="Gene Sans Light" panose="00000400000000000000" pitchFamily="50" charset="0"/>
                        </a:rPr>
                        <a:t>AE</a:t>
                      </a:r>
                      <a:endParaRPr sz="700" b="0" dirty="0">
                        <a:solidFill>
                          <a:schemeClr val="accent1"/>
                        </a:solidFill>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rtl="0">
                        <a:spcBef>
                          <a:spcPts val="0"/>
                        </a:spcBef>
                        <a:spcAft>
                          <a:spcPts val="0"/>
                        </a:spcAft>
                        <a:buNone/>
                      </a:pPr>
                      <a:r>
                        <a:rPr lang="en-US" sz="700" b="0" dirty="0">
                          <a:solidFill>
                            <a:schemeClr val="accent1"/>
                          </a:solidFill>
                          <a:latin typeface="Gene Sans Light" panose="00000400000000000000" pitchFamily="50" charset="0"/>
                        </a:rPr>
                        <a:t>Incidence</a:t>
                      </a:r>
                      <a:br>
                        <a:rPr lang="en-US" sz="700" b="0" dirty="0">
                          <a:solidFill>
                            <a:schemeClr val="accent1"/>
                          </a:solidFill>
                          <a:latin typeface="Gene Sans Light" panose="00000400000000000000" pitchFamily="50" charset="0"/>
                        </a:rPr>
                      </a:br>
                      <a:r>
                        <a:rPr lang="en-US" sz="700" b="0" dirty="0">
                          <a:solidFill>
                            <a:schemeClr val="accent1"/>
                          </a:solidFill>
                          <a:latin typeface="Gene Sans Light" panose="00000400000000000000" pitchFamily="50" charset="0"/>
                        </a:rPr>
                        <a:t>(95% CI)</a:t>
                      </a:r>
                      <a:endParaRPr sz="700" b="0" dirty="0">
                        <a:solidFill>
                          <a:schemeClr val="accent1"/>
                        </a:solidFill>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rtl="0">
                        <a:spcBef>
                          <a:spcPts val="0"/>
                        </a:spcBef>
                        <a:spcAft>
                          <a:spcPts val="0"/>
                        </a:spcAft>
                        <a:buNone/>
                      </a:pPr>
                      <a:r>
                        <a:rPr lang="en-US" sz="700" b="0" dirty="0">
                          <a:solidFill>
                            <a:schemeClr val="accent1"/>
                          </a:solidFill>
                          <a:latin typeface="Gene Sans Light" panose="00000400000000000000" pitchFamily="50" charset="0"/>
                        </a:rPr>
                        <a:t>Overall mean </a:t>
                      </a:r>
                      <a:endParaRPr sz="700" b="0" dirty="0">
                        <a:solidFill>
                          <a:schemeClr val="accent1"/>
                        </a:solidFill>
                        <a:latin typeface="Gene Sans Light" panose="00000400000000000000" pitchFamily="50" charset="0"/>
                      </a:endParaRPr>
                    </a:p>
                    <a:p>
                      <a:pPr marL="0" marR="0" lvl="0" indent="0" algn="ctr" rtl="0">
                        <a:spcBef>
                          <a:spcPts val="0"/>
                        </a:spcBef>
                        <a:spcAft>
                          <a:spcPts val="0"/>
                        </a:spcAft>
                        <a:buNone/>
                      </a:pPr>
                      <a:r>
                        <a:rPr lang="en-US" sz="700" b="0" dirty="0">
                          <a:solidFill>
                            <a:schemeClr val="accent1"/>
                          </a:solidFill>
                          <a:latin typeface="Gene Sans Light" panose="00000400000000000000" pitchFamily="50" charset="0"/>
                        </a:rPr>
                        <a:t>incidence of grade 3 or higher AEs (0.11%)</a:t>
                      </a:r>
                      <a:endParaRPr sz="700" b="0" dirty="0">
                        <a:solidFill>
                          <a:schemeClr val="accent1"/>
                        </a:solidFill>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12700" cap="flat" cmpd="sng">
                      <a:noFill/>
                      <a:prstDash val="solid"/>
                      <a:round/>
                      <a:headEnd type="none" w="sm" len="sm"/>
                      <a:tailEnd type="none" w="sm" len="sm"/>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126696">
                <a:tc>
                  <a:txBody>
                    <a:bodyPr/>
                    <a:lstStyle/>
                    <a:p>
                      <a:pPr marL="0" marR="0" lvl="0" indent="0" algn="l" rtl="0">
                        <a:spcBef>
                          <a:spcPts val="0"/>
                        </a:spcBef>
                        <a:spcAft>
                          <a:spcPts val="0"/>
                        </a:spcAft>
                        <a:buNone/>
                      </a:pPr>
                      <a:r>
                        <a:rPr lang="en-US" sz="700" b="1" dirty="0">
                          <a:latin typeface="Gene Sans Light" panose="00000400000000000000" pitchFamily="50" charset="0"/>
                        </a:rPr>
                        <a:t>Endocrine dysfunction</a:t>
                      </a:r>
                      <a:endParaRPr sz="700" dirty="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12700" cap="flat" cmpd="sng" algn="ctr">
                      <a:solidFill>
                        <a:schemeClr val="accent1"/>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12700" cap="flat" cmpd="sng" algn="ctr">
                      <a:solidFill>
                        <a:schemeClr val="accent1"/>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12700" cap="flat" cmpd="sng" algn="ctr">
                      <a:solidFill>
                        <a:schemeClr val="accent1"/>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01"/>
                  </a:ext>
                </a:extLst>
              </a:tr>
              <a:tr h="126696">
                <a:tc>
                  <a:txBody>
                    <a:bodyPr/>
                    <a:lstStyle/>
                    <a:p>
                      <a:pPr marL="114300" marR="0" lvl="0" indent="0" algn="l" rtl="0">
                        <a:lnSpc>
                          <a:spcPct val="100000"/>
                        </a:lnSpc>
                        <a:spcBef>
                          <a:spcPts val="0"/>
                        </a:spcBef>
                        <a:spcAft>
                          <a:spcPts val="0"/>
                        </a:spcAft>
                        <a:buClr>
                          <a:schemeClr val="dk1"/>
                        </a:buClr>
                        <a:buSzPts val="900"/>
                        <a:buFont typeface="Arial"/>
                        <a:buNone/>
                      </a:pPr>
                      <a:r>
                        <a:rPr lang="en-US" sz="700">
                          <a:latin typeface="Gene Sans Light" panose="00000400000000000000" pitchFamily="50" charset="0"/>
                        </a:rPr>
                        <a:t>Hyperglycemia</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r>
                        <a:rPr lang="en-US" sz="700" dirty="0">
                          <a:latin typeface="Gene Sans Light" panose="00000400000000000000" pitchFamily="50" charset="0"/>
                        </a:rPr>
                        <a:t>0.24 (0.13-0.38)</a:t>
                      </a: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02"/>
                  </a:ext>
                </a:extLst>
              </a:tr>
              <a:tr h="126696">
                <a:tc>
                  <a:txBody>
                    <a:bodyPr/>
                    <a:lstStyle/>
                    <a:p>
                      <a:pPr marL="114300" marR="0" lvl="0" indent="0" algn="l" rtl="0">
                        <a:lnSpc>
                          <a:spcPct val="100000"/>
                        </a:lnSpc>
                        <a:spcBef>
                          <a:spcPts val="0"/>
                        </a:spcBef>
                        <a:spcAft>
                          <a:spcPts val="0"/>
                        </a:spcAft>
                        <a:buClr>
                          <a:schemeClr val="dk1"/>
                        </a:buClr>
                        <a:buSzPts val="900"/>
                        <a:buFont typeface="Arial"/>
                        <a:buNone/>
                      </a:pPr>
                      <a:r>
                        <a:rPr lang="en-US" sz="700">
                          <a:latin typeface="Gene Sans Light" panose="00000400000000000000" pitchFamily="50" charset="0"/>
                        </a:rPr>
                        <a:t>Adrenal insufficiency</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r>
                        <a:rPr lang="en-US" sz="700" dirty="0">
                          <a:latin typeface="Gene Sans Light" panose="00000400000000000000" pitchFamily="50" charset="0"/>
                        </a:rPr>
                        <a:t>0.18 (0.10-0.30)</a:t>
                      </a: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03"/>
                  </a:ext>
                </a:extLst>
              </a:tr>
              <a:tr h="126696">
                <a:tc>
                  <a:txBody>
                    <a:bodyPr/>
                    <a:lstStyle/>
                    <a:p>
                      <a:pPr marL="114300" marR="0" lvl="0" indent="0" algn="l" rtl="0">
                        <a:lnSpc>
                          <a:spcPct val="100000"/>
                        </a:lnSpc>
                        <a:spcBef>
                          <a:spcPts val="0"/>
                        </a:spcBef>
                        <a:spcAft>
                          <a:spcPts val="0"/>
                        </a:spcAft>
                        <a:buClr>
                          <a:schemeClr val="dk1"/>
                        </a:buClr>
                        <a:buSzPts val="900"/>
                        <a:buFont typeface="Arial"/>
                        <a:buNone/>
                      </a:pPr>
                      <a:r>
                        <a:rPr lang="en-US" sz="700" dirty="0">
                          <a:latin typeface="Gene Sans Light" panose="00000400000000000000" pitchFamily="50" charset="0"/>
                        </a:rPr>
                        <a:t>Type 1 diabetes</a:t>
                      </a:r>
                      <a:endParaRPr sz="700" dirty="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r>
                        <a:rPr lang="en-US" sz="700">
                          <a:latin typeface="Gene Sans Light" panose="00000400000000000000" pitchFamily="50" charset="0"/>
                        </a:rPr>
                        <a:t>0.18 (0.10-0.30)</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04"/>
                  </a:ext>
                </a:extLst>
              </a:tr>
              <a:tr h="126696">
                <a:tc>
                  <a:txBody>
                    <a:bodyPr/>
                    <a:lstStyle/>
                    <a:p>
                      <a:pPr marL="114300" marR="0" lvl="0" indent="0" algn="l" rtl="0">
                        <a:spcBef>
                          <a:spcPts val="0"/>
                        </a:spcBef>
                        <a:spcAft>
                          <a:spcPts val="0"/>
                        </a:spcAft>
                        <a:buNone/>
                      </a:pPr>
                      <a:r>
                        <a:rPr lang="en-US" sz="700">
                          <a:latin typeface="Gene Sans Light" panose="00000400000000000000" pitchFamily="50" charset="0"/>
                        </a:rPr>
                        <a:t>Hypophysitis</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r>
                        <a:rPr lang="en-US" sz="700" dirty="0">
                          <a:latin typeface="Gene Sans Light" panose="00000400000000000000" pitchFamily="50" charset="0"/>
                        </a:rPr>
                        <a:t>0.16 (0.09-0.27)</a:t>
                      </a: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05"/>
                  </a:ext>
                </a:extLst>
              </a:tr>
              <a:tr h="126696">
                <a:tc>
                  <a:txBody>
                    <a:bodyPr/>
                    <a:lstStyle/>
                    <a:p>
                      <a:pPr marL="114300" marR="0" lvl="0" indent="0" algn="l" rtl="0">
                        <a:spcBef>
                          <a:spcPts val="0"/>
                        </a:spcBef>
                        <a:spcAft>
                          <a:spcPts val="0"/>
                        </a:spcAft>
                        <a:buNone/>
                      </a:pPr>
                      <a:r>
                        <a:rPr lang="en-US" sz="700">
                          <a:latin typeface="Gene Sans Light" panose="00000400000000000000" pitchFamily="50" charset="0"/>
                        </a:rPr>
                        <a:t>Hyperthyroidism</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r>
                        <a:rPr lang="en-US" sz="700">
                          <a:latin typeface="Gene Sans Light" panose="00000400000000000000" pitchFamily="50" charset="0"/>
                        </a:rPr>
                        <a:t>0.08 (0.04-0.13)</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06"/>
                  </a:ext>
                </a:extLst>
              </a:tr>
              <a:tr h="126696">
                <a:tc>
                  <a:txBody>
                    <a:bodyPr/>
                    <a:lstStyle/>
                    <a:p>
                      <a:pPr marL="114300" marR="0" lvl="0" indent="0" algn="l" rtl="0">
                        <a:spcBef>
                          <a:spcPts val="0"/>
                        </a:spcBef>
                        <a:spcAft>
                          <a:spcPts val="0"/>
                        </a:spcAft>
                        <a:buNone/>
                      </a:pPr>
                      <a:r>
                        <a:rPr lang="en-US" sz="700">
                          <a:latin typeface="Gene Sans Light" panose="00000400000000000000" pitchFamily="50" charset="0"/>
                        </a:rPr>
                        <a:t>Hypopituitarism</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r>
                        <a:rPr lang="en-US" sz="700" dirty="0">
                          <a:latin typeface="Gene Sans Light" panose="00000400000000000000" pitchFamily="50" charset="0"/>
                        </a:rPr>
                        <a:t>0.07 (0.02-0.16)</a:t>
                      </a: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07"/>
                  </a:ext>
                </a:extLst>
              </a:tr>
              <a:tr h="126696">
                <a:tc>
                  <a:txBody>
                    <a:bodyPr/>
                    <a:lstStyle/>
                    <a:p>
                      <a:pPr marL="114300" marR="0" lvl="0" indent="0" algn="l" rtl="0">
                        <a:spcBef>
                          <a:spcPts val="0"/>
                        </a:spcBef>
                        <a:spcAft>
                          <a:spcPts val="0"/>
                        </a:spcAft>
                        <a:buNone/>
                      </a:pPr>
                      <a:r>
                        <a:rPr lang="en-US" sz="700">
                          <a:latin typeface="Gene Sans Light" panose="00000400000000000000" pitchFamily="50" charset="0"/>
                        </a:rPr>
                        <a:t>Thyroiditis</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r>
                        <a:rPr lang="en-US" sz="700">
                          <a:latin typeface="Gene Sans Light" panose="00000400000000000000" pitchFamily="50" charset="0"/>
                        </a:rPr>
                        <a:t>0.04 (0.01-0.10)</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08"/>
                  </a:ext>
                </a:extLst>
              </a:tr>
              <a:tr h="126696">
                <a:tc>
                  <a:txBody>
                    <a:bodyPr/>
                    <a:lstStyle/>
                    <a:p>
                      <a:pPr marL="114300" marR="0" lvl="0" indent="0" algn="l" rtl="0">
                        <a:spcBef>
                          <a:spcPts val="0"/>
                        </a:spcBef>
                        <a:spcAft>
                          <a:spcPts val="0"/>
                        </a:spcAft>
                        <a:buNone/>
                      </a:pPr>
                      <a:r>
                        <a:rPr lang="en-US" sz="700">
                          <a:latin typeface="Gene Sans Light" panose="00000400000000000000" pitchFamily="50" charset="0"/>
                        </a:rPr>
                        <a:t>Hyperthyroidism</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r>
                        <a:rPr lang="en-US" sz="700">
                          <a:latin typeface="Gene Sans Light" panose="00000400000000000000" pitchFamily="50" charset="0"/>
                        </a:rPr>
                        <a:t>0.04 (0.02-0.10)</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09"/>
                  </a:ext>
                </a:extLst>
              </a:tr>
              <a:tr h="126696">
                <a:tc>
                  <a:txBody>
                    <a:bodyPr/>
                    <a:lstStyle/>
                    <a:p>
                      <a:pPr marL="114300" marR="0" lvl="0" indent="0" algn="l" rtl="0">
                        <a:lnSpc>
                          <a:spcPct val="100000"/>
                        </a:lnSpc>
                        <a:spcBef>
                          <a:spcPts val="0"/>
                        </a:spcBef>
                        <a:spcAft>
                          <a:spcPts val="0"/>
                        </a:spcAft>
                        <a:buClr>
                          <a:schemeClr val="dk1"/>
                        </a:buClr>
                        <a:buSzPts val="900"/>
                        <a:buFont typeface="Arial"/>
                        <a:buNone/>
                      </a:pPr>
                      <a:r>
                        <a:rPr lang="en-US" sz="700">
                          <a:latin typeface="Gene Sans Light" panose="00000400000000000000" pitchFamily="50" charset="0"/>
                        </a:rPr>
                        <a:t>Autoimmune thyroiditis</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lnSpc>
                          <a:spcPct val="100000"/>
                        </a:lnSpc>
                        <a:spcBef>
                          <a:spcPts val="0"/>
                        </a:spcBef>
                        <a:spcAft>
                          <a:spcPts val="0"/>
                        </a:spcAft>
                        <a:buClr>
                          <a:schemeClr val="dk1"/>
                        </a:buClr>
                        <a:buSzPts val="900"/>
                        <a:buFont typeface="Arial"/>
                        <a:buNone/>
                      </a:pPr>
                      <a:r>
                        <a:rPr lang="en-US" sz="700">
                          <a:latin typeface="Gene Sans Light" panose="00000400000000000000" pitchFamily="50" charset="0"/>
                        </a:rPr>
                        <a:t>0.02 (0.00-0.09)</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lnSpc>
                          <a:spcPct val="100000"/>
                        </a:lnSpc>
                        <a:spcBef>
                          <a:spcPts val="0"/>
                        </a:spcBef>
                        <a:spcAft>
                          <a:spcPts val="0"/>
                        </a:spcAft>
                        <a:buClr>
                          <a:schemeClr val="dk1"/>
                        </a:buClr>
                        <a:buSzPts val="900"/>
                        <a:buFont typeface="Arial"/>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10"/>
                  </a:ext>
                </a:extLst>
              </a:tr>
              <a:tr h="126696">
                <a:tc>
                  <a:txBody>
                    <a:bodyPr/>
                    <a:lstStyle/>
                    <a:p>
                      <a:pPr marL="0" marR="0" lvl="0" indent="0" algn="l" rtl="0">
                        <a:lnSpc>
                          <a:spcPct val="100000"/>
                        </a:lnSpc>
                        <a:spcBef>
                          <a:spcPts val="0"/>
                        </a:spcBef>
                        <a:spcAft>
                          <a:spcPts val="0"/>
                        </a:spcAft>
                        <a:buClr>
                          <a:schemeClr val="dk1"/>
                        </a:buClr>
                        <a:buSzPts val="900"/>
                        <a:buFont typeface="Arial"/>
                        <a:buNone/>
                      </a:pPr>
                      <a:r>
                        <a:rPr lang="en-US" sz="700" b="1">
                          <a:latin typeface="Gene Sans Light" panose="00000400000000000000" pitchFamily="50" charset="0"/>
                        </a:rPr>
                        <a:t>Other disorder</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11"/>
                  </a:ext>
                </a:extLst>
              </a:tr>
              <a:tr h="126696">
                <a:tc>
                  <a:txBody>
                    <a:bodyPr/>
                    <a:lstStyle/>
                    <a:p>
                      <a:pPr marL="114300" marR="0" lvl="0" indent="0" algn="l" rtl="0">
                        <a:spcBef>
                          <a:spcPts val="0"/>
                        </a:spcBef>
                        <a:spcAft>
                          <a:spcPts val="0"/>
                        </a:spcAft>
                        <a:buNone/>
                      </a:pPr>
                      <a:r>
                        <a:rPr lang="en-US" sz="700">
                          <a:latin typeface="Gene Sans Light" panose="00000400000000000000" pitchFamily="50" charset="0"/>
                        </a:rPr>
                        <a:t>AST increased</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r>
                        <a:rPr lang="en-US" sz="700">
                          <a:latin typeface="Gene Sans Light" panose="00000400000000000000" pitchFamily="50" charset="0"/>
                        </a:rPr>
                        <a:t>0.75 (0.56-0.99)</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12"/>
                  </a:ext>
                </a:extLst>
              </a:tr>
              <a:tr h="126696">
                <a:tc>
                  <a:txBody>
                    <a:bodyPr/>
                    <a:lstStyle/>
                    <a:p>
                      <a:pPr marL="114300" marR="0" lvl="0" indent="0" algn="l" rtl="0">
                        <a:spcBef>
                          <a:spcPts val="0"/>
                        </a:spcBef>
                        <a:spcAft>
                          <a:spcPts val="0"/>
                        </a:spcAft>
                        <a:buNone/>
                      </a:pPr>
                      <a:r>
                        <a:rPr lang="en-US" sz="700">
                          <a:latin typeface="Gene Sans Light" panose="00000400000000000000" pitchFamily="50" charset="0"/>
                        </a:rPr>
                        <a:t>ALT increased</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r>
                        <a:rPr lang="en-US" sz="700">
                          <a:latin typeface="Gene Sans Light" panose="00000400000000000000" pitchFamily="50" charset="0"/>
                        </a:rPr>
                        <a:t>0.70 (0.52-0.93)</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13"/>
                  </a:ext>
                </a:extLst>
              </a:tr>
              <a:tr h="126696">
                <a:tc>
                  <a:txBody>
                    <a:bodyPr/>
                    <a:lstStyle/>
                    <a:p>
                      <a:pPr marL="114300" marR="0" lvl="0" indent="0" algn="l" rtl="0">
                        <a:spcBef>
                          <a:spcPts val="0"/>
                        </a:spcBef>
                        <a:spcAft>
                          <a:spcPts val="0"/>
                        </a:spcAft>
                        <a:buNone/>
                      </a:pPr>
                      <a:r>
                        <a:rPr lang="en-US" sz="700">
                          <a:latin typeface="Gene Sans Light" panose="00000400000000000000" pitchFamily="50" charset="0"/>
                        </a:rPr>
                        <a:t>Pneumonitis</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r>
                        <a:rPr lang="en-US" sz="700">
                          <a:latin typeface="Gene Sans Light" panose="00000400000000000000" pitchFamily="50" charset="0"/>
                        </a:rPr>
                        <a:t>0.67 (0.50-0.89)</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14"/>
                  </a:ext>
                </a:extLst>
              </a:tr>
              <a:tr h="126696">
                <a:tc>
                  <a:txBody>
                    <a:bodyPr/>
                    <a:lstStyle/>
                    <a:p>
                      <a:pPr marL="114300" marR="0" lvl="0" indent="0" algn="l" rtl="0">
                        <a:spcBef>
                          <a:spcPts val="0"/>
                        </a:spcBef>
                        <a:spcAft>
                          <a:spcPts val="0"/>
                        </a:spcAft>
                        <a:buNone/>
                      </a:pPr>
                      <a:r>
                        <a:rPr lang="en-US" sz="700">
                          <a:latin typeface="Gene Sans Light" panose="00000400000000000000" pitchFamily="50" charset="0"/>
                        </a:rPr>
                        <a:t>Diarrhea</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r>
                        <a:rPr lang="en-US" sz="700">
                          <a:latin typeface="Gene Sans Light" panose="00000400000000000000" pitchFamily="50" charset="0"/>
                        </a:rPr>
                        <a:t>0.59 (0.45-0.77)</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15"/>
                  </a:ext>
                </a:extLst>
              </a:tr>
              <a:tr h="126696">
                <a:tc>
                  <a:txBody>
                    <a:bodyPr/>
                    <a:lstStyle/>
                    <a:p>
                      <a:pPr marL="114300" marR="0" lvl="0" indent="0" algn="l" rtl="0">
                        <a:spcBef>
                          <a:spcPts val="0"/>
                        </a:spcBef>
                        <a:spcAft>
                          <a:spcPts val="0"/>
                        </a:spcAft>
                        <a:buNone/>
                      </a:pPr>
                      <a:r>
                        <a:rPr lang="en-US" sz="700">
                          <a:latin typeface="Gene Sans Light" panose="00000400000000000000" pitchFamily="50" charset="0"/>
                        </a:rPr>
                        <a:t>Colitis</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r>
                        <a:rPr lang="en-US" sz="700">
                          <a:latin typeface="Gene Sans Light" panose="00000400000000000000" pitchFamily="50" charset="0"/>
                        </a:rPr>
                        <a:t>0.47 (0.34-0.65)</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16"/>
                  </a:ext>
                </a:extLst>
              </a:tr>
              <a:tr h="126696">
                <a:tc>
                  <a:txBody>
                    <a:bodyPr/>
                    <a:lstStyle/>
                    <a:p>
                      <a:pPr marL="114300" marR="0" lvl="0" indent="0" algn="l" rtl="0">
                        <a:spcBef>
                          <a:spcPts val="0"/>
                        </a:spcBef>
                        <a:spcAft>
                          <a:spcPts val="0"/>
                        </a:spcAft>
                        <a:buNone/>
                      </a:pPr>
                      <a:r>
                        <a:rPr lang="en-US" sz="700">
                          <a:latin typeface="Gene Sans Light" panose="00000400000000000000" pitchFamily="50" charset="0"/>
                        </a:rPr>
                        <a:t>Hepatitis</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r>
                        <a:rPr lang="en-US" sz="700">
                          <a:latin typeface="Gene Sans Light" panose="00000400000000000000" pitchFamily="50" charset="0"/>
                        </a:rPr>
                        <a:t>0.43 (0.30-0.62)</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17"/>
                  </a:ext>
                </a:extLst>
              </a:tr>
              <a:tr h="126696">
                <a:tc>
                  <a:txBody>
                    <a:bodyPr/>
                    <a:lstStyle/>
                    <a:p>
                      <a:pPr marL="114300" marR="0" lvl="0" indent="0" algn="l" rtl="0">
                        <a:lnSpc>
                          <a:spcPct val="100000"/>
                        </a:lnSpc>
                        <a:spcBef>
                          <a:spcPts val="0"/>
                        </a:spcBef>
                        <a:spcAft>
                          <a:spcPts val="0"/>
                        </a:spcAft>
                        <a:buClr>
                          <a:schemeClr val="dk1"/>
                        </a:buClr>
                        <a:buSzPts val="900"/>
                        <a:buFont typeface="Arial"/>
                        <a:buNone/>
                      </a:pPr>
                      <a:r>
                        <a:rPr lang="en-US" sz="700">
                          <a:latin typeface="Gene Sans Light" panose="00000400000000000000" pitchFamily="50" charset="0"/>
                        </a:rPr>
                        <a:t>Bilirubin increase</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r>
                        <a:rPr lang="en-US" sz="700">
                          <a:latin typeface="Gene Sans Light" panose="00000400000000000000" pitchFamily="50" charset="0"/>
                        </a:rPr>
                        <a:t>0.15 (0.07-0.28)</a:t>
                      </a:r>
                      <a:endParaRPr sz="70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18"/>
                  </a:ext>
                </a:extLst>
              </a:tr>
              <a:tr h="126696">
                <a:tc>
                  <a:txBody>
                    <a:bodyPr/>
                    <a:lstStyle/>
                    <a:p>
                      <a:pPr marL="114300" marR="0" lvl="0" indent="0" algn="l" rtl="0">
                        <a:lnSpc>
                          <a:spcPct val="100000"/>
                        </a:lnSpc>
                        <a:spcBef>
                          <a:spcPts val="0"/>
                        </a:spcBef>
                        <a:spcAft>
                          <a:spcPts val="0"/>
                        </a:spcAft>
                        <a:buClr>
                          <a:schemeClr val="dk1"/>
                        </a:buClr>
                        <a:buSzPts val="900"/>
                        <a:buFont typeface="Arial"/>
                        <a:buNone/>
                      </a:pPr>
                      <a:r>
                        <a:rPr lang="en-US" sz="700">
                          <a:latin typeface="Gene Sans Light" panose="00000400000000000000" pitchFamily="50" charset="0"/>
                        </a:rPr>
                        <a:t>Uveitis</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r>
                        <a:rPr lang="en-US" sz="700" dirty="0">
                          <a:latin typeface="Gene Sans Light" panose="00000400000000000000" pitchFamily="50" charset="0"/>
                        </a:rPr>
                        <a:t>0.02 (0.00-0.07)</a:t>
                      </a: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19"/>
                  </a:ext>
                </a:extLst>
              </a:tr>
              <a:tr h="126696">
                <a:tc>
                  <a:txBody>
                    <a:bodyPr/>
                    <a:lstStyle/>
                    <a:p>
                      <a:pPr marL="114300" marR="0" lvl="0" indent="0" algn="l" rtl="0">
                        <a:spcBef>
                          <a:spcPts val="0"/>
                        </a:spcBef>
                        <a:spcAft>
                          <a:spcPts val="0"/>
                        </a:spcAft>
                        <a:buNone/>
                      </a:pPr>
                      <a:r>
                        <a:rPr lang="en-US" sz="700">
                          <a:latin typeface="Gene Sans Light" panose="00000400000000000000" pitchFamily="50" charset="0"/>
                        </a:rPr>
                        <a:t>Vitiligo</a:t>
                      </a:r>
                      <a:endParaRPr sz="700">
                        <a:latin typeface="Gene Sans Light" panose="00000400000000000000" pitchFamily="50" charset="0"/>
                      </a:endParaRPr>
                    </a:p>
                  </a:txBody>
                  <a:tcPr marL="108000" marR="108000" marT="0" marB="0"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r>
                        <a:rPr lang="en-US" sz="700" dirty="0">
                          <a:latin typeface="Gene Sans Light" panose="00000400000000000000" pitchFamily="50" charset="0"/>
                        </a:rPr>
                        <a:t>0.02 (0.00-0.06)</a:t>
                      </a: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tc>
                  <a:txBody>
                    <a:bodyPr/>
                    <a:lstStyle/>
                    <a:p>
                      <a:pPr marL="0" marR="0" lvl="0" indent="0" algn="ctr" rtl="0">
                        <a:spcBef>
                          <a:spcPts val="0"/>
                        </a:spcBef>
                        <a:spcAft>
                          <a:spcPts val="0"/>
                        </a:spcAft>
                        <a:buNone/>
                      </a:pPr>
                      <a:endParaRPr sz="700" dirty="0">
                        <a:latin typeface="Gene Sans Light" panose="00000400000000000000" pitchFamily="50" charset="0"/>
                      </a:endParaRPr>
                    </a:p>
                  </a:txBody>
                  <a:tcPr marL="108000" marR="108000" marT="0" marB="0"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95000"/>
                        </a:schemeClr>
                      </a:solidFill>
                      <a:prstDash val="solid"/>
                      <a:round/>
                      <a:headEnd type="none" w="med" len="med"/>
                      <a:tailEnd type="none" w="med" len="med"/>
                    </a:lnT>
                    <a:lnB w="12700" cap="flat" cmpd="sng">
                      <a:noFill/>
                      <a:prstDash val="solid"/>
                      <a:round/>
                      <a:headEnd type="none" w="sm" len="sm"/>
                      <a:tailEnd type="none" w="sm" len="sm"/>
                    </a:lnB>
                    <a:lnTlToBr w="12700" cmpd="sng">
                      <a:noFill/>
                      <a:prstDash val="solid"/>
                    </a:lnTlToBr>
                    <a:lnBlToTr w="12700" cmpd="sng">
                      <a:noFill/>
                      <a:prstDash val="solid"/>
                    </a:lnBlToTr>
                    <a:solidFill>
                      <a:schemeClr val="lt1"/>
                    </a:solidFill>
                  </a:tcPr>
                </a:tc>
                <a:extLst>
                  <a:ext uri="{0D108BD9-81ED-4DB2-BD59-A6C34878D82A}">
                    <a16:rowId xmlns:a16="http://schemas.microsoft.com/office/drawing/2014/main" val="10020"/>
                  </a:ext>
                </a:extLst>
              </a:tr>
            </a:tbl>
          </a:graphicData>
        </a:graphic>
      </p:graphicFrame>
      <p:cxnSp>
        <p:nvCxnSpPr>
          <p:cNvPr id="251" name="Straight Connector 250">
            <a:extLst>
              <a:ext uri="{FF2B5EF4-FFF2-40B4-BE49-F238E27FC236}">
                <a16:creationId xmlns:a16="http://schemas.microsoft.com/office/drawing/2014/main" id="{87CB702A-5592-4E87-B687-B9B26CAA21B6}"/>
              </a:ext>
            </a:extLst>
          </p:cNvPr>
          <p:cNvCxnSpPr>
            <a:cxnSpLocks/>
          </p:cNvCxnSpPr>
          <p:nvPr/>
        </p:nvCxnSpPr>
        <p:spPr>
          <a:xfrm>
            <a:off x="381000" y="4629150"/>
            <a:ext cx="406023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943E7105-1439-4648-ADFF-C33F438BEAF1}"/>
              </a:ext>
            </a:extLst>
          </p:cNvPr>
          <p:cNvCxnSpPr>
            <a:cxnSpLocks/>
          </p:cNvCxnSpPr>
          <p:nvPr/>
        </p:nvCxnSpPr>
        <p:spPr>
          <a:xfrm>
            <a:off x="4743905" y="4634838"/>
            <a:ext cx="4018444" cy="0"/>
          </a:xfrm>
          <a:prstGeom prst="line">
            <a:avLst/>
          </a:prstGeom>
        </p:spPr>
        <p:style>
          <a:lnRef idx="1">
            <a:schemeClr val="accent1"/>
          </a:lnRef>
          <a:fillRef idx="0">
            <a:schemeClr val="accent1"/>
          </a:fillRef>
          <a:effectRef idx="0">
            <a:schemeClr val="accent1"/>
          </a:effectRef>
          <a:fontRef idx="minor">
            <a:schemeClr val="tx1"/>
          </a:fontRef>
        </p:style>
      </p:cxnSp>
      <p:sp>
        <p:nvSpPr>
          <p:cNvPr id="255" name="Google Shape;599;p9">
            <a:extLst>
              <a:ext uri="{FF2B5EF4-FFF2-40B4-BE49-F238E27FC236}">
                <a16:creationId xmlns:a16="http://schemas.microsoft.com/office/drawing/2014/main" id="{97B5CC13-F175-4E24-B9A4-F796D71429A9}"/>
              </a:ext>
            </a:extLst>
          </p:cNvPr>
          <p:cNvSpPr txBox="1"/>
          <p:nvPr/>
        </p:nvSpPr>
        <p:spPr>
          <a:xfrm>
            <a:off x="7676896" y="4518604"/>
            <a:ext cx="857634" cy="107722"/>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Incidence (95% CI)</a:t>
            </a:r>
            <a:endParaRPr kumimoji="0" sz="700" b="1"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cxnSp>
        <p:nvCxnSpPr>
          <p:cNvPr id="256" name="Straight Connector 255">
            <a:extLst>
              <a:ext uri="{FF2B5EF4-FFF2-40B4-BE49-F238E27FC236}">
                <a16:creationId xmlns:a16="http://schemas.microsoft.com/office/drawing/2014/main" id="{2D115C00-9636-4C34-AF24-F31E0FF567F6}"/>
              </a:ext>
            </a:extLst>
          </p:cNvPr>
          <p:cNvCxnSpPr>
            <a:cxnSpLocks/>
          </p:cNvCxnSpPr>
          <p:nvPr/>
        </p:nvCxnSpPr>
        <p:spPr>
          <a:xfrm>
            <a:off x="7227651" y="4412995"/>
            <a:ext cx="1535349" cy="0"/>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259" name="Google Shape;597;p9">
            <a:extLst>
              <a:ext uri="{FF2B5EF4-FFF2-40B4-BE49-F238E27FC236}">
                <a16:creationId xmlns:a16="http://schemas.microsoft.com/office/drawing/2014/main" id="{C08FDA9E-0469-4A05-B22C-5A76D7B87CC1}"/>
              </a:ext>
            </a:extLst>
          </p:cNvPr>
          <p:cNvSpPr txBox="1"/>
          <p:nvPr/>
        </p:nvSpPr>
        <p:spPr>
          <a:xfrm>
            <a:off x="7153866" y="4416698"/>
            <a:ext cx="164034" cy="10772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0</a:t>
            </a:r>
            <a:endParaRPr kumimoji="0" sz="7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60" name="Google Shape;597;p9">
            <a:extLst>
              <a:ext uri="{FF2B5EF4-FFF2-40B4-BE49-F238E27FC236}">
                <a16:creationId xmlns:a16="http://schemas.microsoft.com/office/drawing/2014/main" id="{7F47B3D7-34E4-4192-99CE-9CF1130BBD13}"/>
              </a:ext>
            </a:extLst>
          </p:cNvPr>
          <p:cNvSpPr txBox="1"/>
          <p:nvPr/>
        </p:nvSpPr>
        <p:spPr>
          <a:xfrm>
            <a:off x="8672751" y="4416698"/>
            <a:ext cx="164034" cy="10772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1</a:t>
            </a:r>
            <a:endParaRPr kumimoji="0" sz="7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61" name="Google Shape;597;p9">
            <a:extLst>
              <a:ext uri="{FF2B5EF4-FFF2-40B4-BE49-F238E27FC236}">
                <a16:creationId xmlns:a16="http://schemas.microsoft.com/office/drawing/2014/main" id="{F3289832-57A1-4DA4-A77F-73DCC120DA74}"/>
              </a:ext>
            </a:extLst>
          </p:cNvPr>
          <p:cNvSpPr txBox="1"/>
          <p:nvPr/>
        </p:nvSpPr>
        <p:spPr>
          <a:xfrm>
            <a:off x="7913309" y="4416698"/>
            <a:ext cx="164034" cy="10772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0,5</a:t>
            </a:r>
            <a:endParaRPr kumimoji="0" sz="7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sp>
        <p:nvSpPr>
          <p:cNvPr id="264" name="Google Shape;658;p9">
            <a:extLst>
              <a:ext uri="{FF2B5EF4-FFF2-40B4-BE49-F238E27FC236}">
                <a16:creationId xmlns:a16="http://schemas.microsoft.com/office/drawing/2014/main" id="{45FAA48D-CBF4-43AE-9399-870834555226}"/>
              </a:ext>
            </a:extLst>
          </p:cNvPr>
          <p:cNvSpPr/>
          <p:nvPr/>
        </p:nvSpPr>
        <p:spPr>
          <a:xfrm flipH="1">
            <a:off x="7197135" y="1855709"/>
            <a:ext cx="32885" cy="2533322"/>
          </a:xfrm>
          <a:custGeom>
            <a:avLst/>
            <a:gdLst/>
            <a:ahLst/>
            <a:cxnLst/>
            <a:rect l="l" t="t" r="r" b="b"/>
            <a:pathLst>
              <a:path w="120000" h="3667125" extrusionOk="0">
                <a:moveTo>
                  <a:pt x="0" y="0"/>
                </a:moveTo>
                <a:lnTo>
                  <a:pt x="0" y="3667125"/>
                </a:lnTo>
              </a:path>
            </a:pathLst>
          </a:custGeom>
          <a:noFill/>
          <a:ln w="12700" cap="flat" cmpd="sng">
            <a:solidFill>
              <a:schemeClr val="lt2"/>
            </a:solidFill>
            <a:prstDash val="dot"/>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265" name="Google Shape;659;p9">
            <a:extLst>
              <a:ext uri="{FF2B5EF4-FFF2-40B4-BE49-F238E27FC236}">
                <a16:creationId xmlns:a16="http://schemas.microsoft.com/office/drawing/2014/main" id="{0B6AC215-FE6F-40A1-8C27-93745124817D}"/>
              </a:ext>
            </a:extLst>
          </p:cNvPr>
          <p:cNvSpPr/>
          <p:nvPr/>
        </p:nvSpPr>
        <p:spPr>
          <a:xfrm>
            <a:off x="7706065" y="2029122"/>
            <a:ext cx="54548" cy="51616"/>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grpSp>
        <p:nvGrpSpPr>
          <p:cNvPr id="266" name="Google Shape;660;p9">
            <a:extLst>
              <a:ext uri="{FF2B5EF4-FFF2-40B4-BE49-F238E27FC236}">
                <a16:creationId xmlns:a16="http://schemas.microsoft.com/office/drawing/2014/main" id="{22A43A07-7ECB-42C3-8A98-B658D4B55936}"/>
              </a:ext>
            </a:extLst>
          </p:cNvPr>
          <p:cNvGrpSpPr/>
          <p:nvPr/>
        </p:nvGrpSpPr>
        <p:grpSpPr>
          <a:xfrm>
            <a:off x="7545658" y="2152623"/>
            <a:ext cx="262581" cy="52033"/>
            <a:chOff x="9974761" y="2788920"/>
            <a:chExt cx="350108" cy="75125"/>
          </a:xfrm>
        </p:grpSpPr>
        <p:sp>
          <p:nvSpPr>
            <p:cNvPr id="306" name="Google Shape;661;p9">
              <a:extLst>
                <a:ext uri="{FF2B5EF4-FFF2-40B4-BE49-F238E27FC236}">
                  <a16:creationId xmlns:a16="http://schemas.microsoft.com/office/drawing/2014/main" id="{1F98E5D9-F03B-4D63-BD2D-5691FFB974C1}"/>
                </a:ext>
              </a:extLst>
            </p:cNvPr>
            <p:cNvSpPr/>
            <p:nvPr/>
          </p:nvSpPr>
          <p:spPr>
            <a:xfrm>
              <a:off x="9974761" y="2816352"/>
              <a:ext cx="350108" cy="47693"/>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307" name="Google Shape;662;p9">
              <a:extLst>
                <a:ext uri="{FF2B5EF4-FFF2-40B4-BE49-F238E27FC236}">
                  <a16:creationId xmlns:a16="http://schemas.microsoft.com/office/drawing/2014/main" id="{A39A7300-5DF1-4FF6-975C-5755873AA458}"/>
                </a:ext>
              </a:extLst>
            </p:cNvPr>
            <p:cNvSpPr/>
            <p:nvPr/>
          </p:nvSpPr>
          <p:spPr>
            <a:xfrm>
              <a:off x="10087035" y="2788920"/>
              <a:ext cx="72730" cy="74522"/>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grpSp>
      <p:sp>
        <p:nvSpPr>
          <p:cNvPr id="267" name="Google Shape;663;p9">
            <a:extLst>
              <a:ext uri="{FF2B5EF4-FFF2-40B4-BE49-F238E27FC236}">
                <a16:creationId xmlns:a16="http://schemas.microsoft.com/office/drawing/2014/main" id="{8127CF94-53E1-4EB9-B3CE-9512180ACF3D}"/>
              </a:ext>
            </a:extLst>
          </p:cNvPr>
          <p:cNvSpPr/>
          <p:nvPr/>
        </p:nvSpPr>
        <p:spPr>
          <a:xfrm>
            <a:off x="7587569" y="2054456"/>
            <a:ext cx="327352" cy="33033"/>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268" name="Google Shape;664;p9">
            <a:extLst>
              <a:ext uri="{FF2B5EF4-FFF2-40B4-BE49-F238E27FC236}">
                <a16:creationId xmlns:a16="http://schemas.microsoft.com/office/drawing/2014/main" id="{03B70CAD-9848-49BD-B4B5-DF8D0923921C}"/>
              </a:ext>
            </a:extLst>
          </p:cNvPr>
          <p:cNvSpPr/>
          <p:nvPr/>
        </p:nvSpPr>
        <p:spPr>
          <a:xfrm>
            <a:off x="7629863" y="2275525"/>
            <a:ext cx="54548" cy="51616"/>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269" name="Google Shape;665;p9">
            <a:extLst>
              <a:ext uri="{FF2B5EF4-FFF2-40B4-BE49-F238E27FC236}">
                <a16:creationId xmlns:a16="http://schemas.microsoft.com/office/drawing/2014/main" id="{974DE84E-E328-4976-91EB-878EAB241653}"/>
              </a:ext>
            </a:extLst>
          </p:cNvPr>
          <p:cNvSpPr/>
          <p:nvPr/>
        </p:nvSpPr>
        <p:spPr>
          <a:xfrm>
            <a:off x="7548159" y="2297518"/>
            <a:ext cx="263890" cy="35460"/>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270" name="Google Shape;666;p9">
            <a:extLst>
              <a:ext uri="{FF2B5EF4-FFF2-40B4-BE49-F238E27FC236}">
                <a16:creationId xmlns:a16="http://schemas.microsoft.com/office/drawing/2014/main" id="{243E4BFE-BCC3-4C64-9CFB-6C368E2FCA03}"/>
              </a:ext>
            </a:extLst>
          </p:cNvPr>
          <p:cNvSpPr/>
          <p:nvPr/>
        </p:nvSpPr>
        <p:spPr>
          <a:xfrm>
            <a:off x="7599172" y="2398473"/>
            <a:ext cx="54548" cy="51616"/>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271" name="Google Shape;667;p9">
            <a:extLst>
              <a:ext uri="{FF2B5EF4-FFF2-40B4-BE49-F238E27FC236}">
                <a16:creationId xmlns:a16="http://schemas.microsoft.com/office/drawing/2014/main" id="{D556A016-4B27-4E14-83FB-64B36769B87D}"/>
              </a:ext>
            </a:extLst>
          </p:cNvPr>
          <p:cNvSpPr/>
          <p:nvPr/>
        </p:nvSpPr>
        <p:spPr>
          <a:xfrm>
            <a:off x="7538341" y="2423413"/>
            <a:ext cx="237512" cy="33033"/>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272" name="Google Shape;668;p9">
            <a:extLst>
              <a:ext uri="{FF2B5EF4-FFF2-40B4-BE49-F238E27FC236}">
                <a16:creationId xmlns:a16="http://schemas.microsoft.com/office/drawing/2014/main" id="{C51E3E19-A7F1-4A67-954D-9B9D7A6A9518}"/>
              </a:ext>
            </a:extLst>
          </p:cNvPr>
          <p:cNvSpPr/>
          <p:nvPr/>
        </p:nvSpPr>
        <p:spPr>
          <a:xfrm>
            <a:off x="7500151" y="2529453"/>
            <a:ext cx="54548" cy="51616"/>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273" name="Google Shape;669;p9">
            <a:extLst>
              <a:ext uri="{FF2B5EF4-FFF2-40B4-BE49-F238E27FC236}">
                <a16:creationId xmlns:a16="http://schemas.microsoft.com/office/drawing/2014/main" id="{52EB8B55-D608-4535-800C-7108C31CBA7C}"/>
              </a:ext>
            </a:extLst>
          </p:cNvPr>
          <p:cNvSpPr/>
          <p:nvPr/>
        </p:nvSpPr>
        <p:spPr>
          <a:xfrm>
            <a:off x="7468813" y="2554787"/>
            <a:ext cx="124157" cy="33033"/>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274" name="Google Shape;670;p9">
            <a:extLst>
              <a:ext uri="{FF2B5EF4-FFF2-40B4-BE49-F238E27FC236}">
                <a16:creationId xmlns:a16="http://schemas.microsoft.com/office/drawing/2014/main" id="{29A92AD1-E6A2-4D35-A026-DFA8CECCDB77}"/>
              </a:ext>
            </a:extLst>
          </p:cNvPr>
          <p:cNvSpPr/>
          <p:nvPr/>
        </p:nvSpPr>
        <p:spPr>
          <a:xfrm>
            <a:off x="7483794" y="2649205"/>
            <a:ext cx="54548" cy="51616"/>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275" name="Google Shape;671;p9">
            <a:extLst>
              <a:ext uri="{FF2B5EF4-FFF2-40B4-BE49-F238E27FC236}">
                <a16:creationId xmlns:a16="http://schemas.microsoft.com/office/drawing/2014/main" id="{97DA3624-9E1B-408E-BB61-2FF6FC14964B}"/>
              </a:ext>
            </a:extLst>
          </p:cNvPr>
          <p:cNvSpPr/>
          <p:nvPr/>
        </p:nvSpPr>
        <p:spPr>
          <a:xfrm>
            <a:off x="7444464" y="2673144"/>
            <a:ext cx="184700" cy="35188"/>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276" name="Google Shape;672;p9">
            <a:extLst>
              <a:ext uri="{FF2B5EF4-FFF2-40B4-BE49-F238E27FC236}">
                <a16:creationId xmlns:a16="http://schemas.microsoft.com/office/drawing/2014/main" id="{B1A5C3AB-34CE-4CE0-BFE7-F9E6F1A5A700}"/>
              </a:ext>
            </a:extLst>
          </p:cNvPr>
          <p:cNvSpPr/>
          <p:nvPr/>
        </p:nvSpPr>
        <p:spPr>
          <a:xfrm>
            <a:off x="7446384" y="2761578"/>
            <a:ext cx="54548" cy="51616"/>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277" name="Google Shape;673;p9">
            <a:extLst>
              <a:ext uri="{FF2B5EF4-FFF2-40B4-BE49-F238E27FC236}">
                <a16:creationId xmlns:a16="http://schemas.microsoft.com/office/drawing/2014/main" id="{D414349B-3E30-429E-BA32-68A93E5A9AF6}"/>
              </a:ext>
            </a:extLst>
          </p:cNvPr>
          <p:cNvSpPr/>
          <p:nvPr/>
        </p:nvSpPr>
        <p:spPr>
          <a:xfrm>
            <a:off x="7430488" y="2784646"/>
            <a:ext cx="122474" cy="33033"/>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278" name="Google Shape;674;p9">
            <a:extLst>
              <a:ext uri="{FF2B5EF4-FFF2-40B4-BE49-F238E27FC236}">
                <a16:creationId xmlns:a16="http://schemas.microsoft.com/office/drawing/2014/main" id="{4666F66A-339D-4946-A912-C0B02C6E9BC0}"/>
              </a:ext>
            </a:extLst>
          </p:cNvPr>
          <p:cNvSpPr/>
          <p:nvPr/>
        </p:nvSpPr>
        <p:spPr>
          <a:xfrm>
            <a:off x="7450776" y="2928283"/>
            <a:ext cx="100283" cy="34730"/>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279" name="Google Shape;675;p9">
            <a:extLst>
              <a:ext uri="{FF2B5EF4-FFF2-40B4-BE49-F238E27FC236}">
                <a16:creationId xmlns:a16="http://schemas.microsoft.com/office/drawing/2014/main" id="{01B36D2E-722E-4B24-8E10-5B60756FD4BB}"/>
              </a:ext>
            </a:extLst>
          </p:cNvPr>
          <p:cNvSpPr/>
          <p:nvPr/>
        </p:nvSpPr>
        <p:spPr>
          <a:xfrm>
            <a:off x="7446504" y="2904760"/>
            <a:ext cx="54548" cy="51616"/>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grpSp>
        <p:nvGrpSpPr>
          <p:cNvPr id="280" name="Google Shape;676;p9">
            <a:extLst>
              <a:ext uri="{FF2B5EF4-FFF2-40B4-BE49-F238E27FC236}">
                <a16:creationId xmlns:a16="http://schemas.microsoft.com/office/drawing/2014/main" id="{042E642F-7C33-482A-9C8A-F119111A9D28}"/>
              </a:ext>
            </a:extLst>
          </p:cNvPr>
          <p:cNvGrpSpPr/>
          <p:nvPr/>
        </p:nvGrpSpPr>
        <p:grpSpPr>
          <a:xfrm>
            <a:off x="7422114" y="3033027"/>
            <a:ext cx="121075" cy="59807"/>
            <a:chOff x="9810035" y="4071474"/>
            <a:chExt cx="161433" cy="86349"/>
          </a:xfrm>
        </p:grpSpPr>
        <p:sp>
          <p:nvSpPr>
            <p:cNvPr id="304" name="Google Shape;677;p9">
              <a:extLst>
                <a:ext uri="{FF2B5EF4-FFF2-40B4-BE49-F238E27FC236}">
                  <a16:creationId xmlns:a16="http://schemas.microsoft.com/office/drawing/2014/main" id="{CD61F44F-E585-4E5D-B867-E3E70991AD6D}"/>
                </a:ext>
              </a:extLst>
            </p:cNvPr>
            <p:cNvSpPr/>
            <p:nvPr/>
          </p:nvSpPr>
          <p:spPr>
            <a:xfrm>
              <a:off x="9810035" y="4071474"/>
              <a:ext cx="72730" cy="74522"/>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305" name="Google Shape;678;p9">
              <a:extLst>
                <a:ext uri="{FF2B5EF4-FFF2-40B4-BE49-F238E27FC236}">
                  <a16:creationId xmlns:a16="http://schemas.microsoft.com/office/drawing/2014/main" id="{89D49BBB-5ACB-4C05-9874-AAE38DED7804}"/>
                </a:ext>
              </a:extLst>
            </p:cNvPr>
            <p:cNvSpPr/>
            <p:nvPr/>
          </p:nvSpPr>
          <p:spPr>
            <a:xfrm>
              <a:off x="9837758" y="4107681"/>
              <a:ext cx="133710" cy="50142"/>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grpSp>
      <p:grpSp>
        <p:nvGrpSpPr>
          <p:cNvPr id="281" name="Google Shape;679;p9">
            <a:extLst>
              <a:ext uri="{FF2B5EF4-FFF2-40B4-BE49-F238E27FC236}">
                <a16:creationId xmlns:a16="http://schemas.microsoft.com/office/drawing/2014/main" id="{881DA728-F813-417D-B909-D35C5DEFB6B6}"/>
              </a:ext>
            </a:extLst>
          </p:cNvPr>
          <p:cNvGrpSpPr/>
          <p:nvPr/>
        </p:nvGrpSpPr>
        <p:grpSpPr>
          <a:xfrm>
            <a:off x="8139715" y="3284055"/>
            <a:ext cx="546747" cy="60034"/>
            <a:chOff x="10766837" y="4384378"/>
            <a:chExt cx="728996" cy="86677"/>
          </a:xfrm>
        </p:grpSpPr>
        <p:sp>
          <p:nvSpPr>
            <p:cNvPr id="302" name="Google Shape;680;p9">
              <a:extLst>
                <a:ext uri="{FF2B5EF4-FFF2-40B4-BE49-F238E27FC236}">
                  <a16:creationId xmlns:a16="http://schemas.microsoft.com/office/drawing/2014/main" id="{D8836368-6C8C-4A96-A419-F3B5E7B21EAD}"/>
                </a:ext>
              </a:extLst>
            </p:cNvPr>
            <p:cNvSpPr/>
            <p:nvPr/>
          </p:nvSpPr>
          <p:spPr>
            <a:xfrm>
              <a:off x="10766837" y="4423362"/>
              <a:ext cx="728996" cy="47693"/>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303" name="Google Shape;681;p9">
              <a:extLst>
                <a:ext uri="{FF2B5EF4-FFF2-40B4-BE49-F238E27FC236}">
                  <a16:creationId xmlns:a16="http://schemas.microsoft.com/office/drawing/2014/main" id="{D0C0013F-3F5E-43BC-AFA1-7DD72EC6B91A}"/>
                </a:ext>
              </a:extLst>
            </p:cNvPr>
            <p:cNvSpPr/>
            <p:nvPr/>
          </p:nvSpPr>
          <p:spPr>
            <a:xfrm>
              <a:off x="11052317" y="4384378"/>
              <a:ext cx="72730" cy="74522"/>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grpSp>
      <p:grpSp>
        <p:nvGrpSpPr>
          <p:cNvPr id="282" name="Google Shape;682;p9">
            <a:extLst>
              <a:ext uri="{FF2B5EF4-FFF2-40B4-BE49-F238E27FC236}">
                <a16:creationId xmlns:a16="http://schemas.microsoft.com/office/drawing/2014/main" id="{6C813AEB-2334-44E4-A4DC-8E09AE8E6A7C}"/>
              </a:ext>
            </a:extLst>
          </p:cNvPr>
          <p:cNvGrpSpPr/>
          <p:nvPr/>
        </p:nvGrpSpPr>
        <p:grpSpPr>
          <a:xfrm>
            <a:off x="8086367" y="3422562"/>
            <a:ext cx="520084" cy="57959"/>
            <a:chOff x="10695706" y="4595783"/>
            <a:chExt cx="693445" cy="83681"/>
          </a:xfrm>
        </p:grpSpPr>
        <p:sp>
          <p:nvSpPr>
            <p:cNvPr id="300" name="Google Shape;683;p9">
              <a:extLst>
                <a:ext uri="{FF2B5EF4-FFF2-40B4-BE49-F238E27FC236}">
                  <a16:creationId xmlns:a16="http://schemas.microsoft.com/office/drawing/2014/main" id="{7D855314-B78F-4E5F-AF23-093678A8150B}"/>
                </a:ext>
              </a:extLst>
            </p:cNvPr>
            <p:cNvSpPr/>
            <p:nvPr/>
          </p:nvSpPr>
          <p:spPr>
            <a:xfrm>
              <a:off x="10966617" y="4595783"/>
              <a:ext cx="72730" cy="74522"/>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301" name="Google Shape;684;p9">
              <a:extLst>
                <a:ext uri="{FF2B5EF4-FFF2-40B4-BE49-F238E27FC236}">
                  <a16:creationId xmlns:a16="http://schemas.microsoft.com/office/drawing/2014/main" id="{A737BE8D-9050-49F5-A29E-2A695DB0EBC4}"/>
                </a:ext>
              </a:extLst>
            </p:cNvPr>
            <p:cNvSpPr/>
            <p:nvPr/>
          </p:nvSpPr>
          <p:spPr>
            <a:xfrm>
              <a:off x="10695706" y="4628566"/>
              <a:ext cx="693445" cy="50898"/>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grpSp>
      <p:sp>
        <p:nvSpPr>
          <p:cNvPr id="283" name="Google Shape;685;p9">
            <a:extLst>
              <a:ext uri="{FF2B5EF4-FFF2-40B4-BE49-F238E27FC236}">
                <a16:creationId xmlns:a16="http://schemas.microsoft.com/office/drawing/2014/main" id="{B757DC26-0872-4717-8232-3B2F3DA96723}"/>
              </a:ext>
            </a:extLst>
          </p:cNvPr>
          <p:cNvSpPr/>
          <p:nvPr/>
        </p:nvSpPr>
        <p:spPr>
          <a:xfrm>
            <a:off x="8249365" y="3535867"/>
            <a:ext cx="54548" cy="51616"/>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284" name="Google Shape;686;p9">
            <a:extLst>
              <a:ext uri="{FF2B5EF4-FFF2-40B4-BE49-F238E27FC236}">
                <a16:creationId xmlns:a16="http://schemas.microsoft.com/office/drawing/2014/main" id="{82E0798C-59DF-474A-B984-FC42AFE3BC97}"/>
              </a:ext>
            </a:extLst>
          </p:cNvPr>
          <p:cNvSpPr/>
          <p:nvPr/>
        </p:nvSpPr>
        <p:spPr>
          <a:xfrm>
            <a:off x="8056781" y="3561680"/>
            <a:ext cx="505854" cy="39533"/>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grpSp>
        <p:nvGrpSpPr>
          <p:cNvPr id="285" name="Google Shape;687;p9">
            <a:extLst>
              <a:ext uri="{FF2B5EF4-FFF2-40B4-BE49-F238E27FC236}">
                <a16:creationId xmlns:a16="http://schemas.microsoft.com/office/drawing/2014/main" id="{EFA97C72-0252-4AB3-952B-B14A5C3ECB83}"/>
              </a:ext>
            </a:extLst>
          </p:cNvPr>
          <p:cNvGrpSpPr/>
          <p:nvPr/>
        </p:nvGrpSpPr>
        <p:grpSpPr>
          <a:xfrm>
            <a:off x="7996438" y="3669016"/>
            <a:ext cx="411889" cy="65255"/>
            <a:chOff x="10575801" y="4787917"/>
            <a:chExt cx="549185" cy="94215"/>
          </a:xfrm>
        </p:grpSpPr>
        <p:sp>
          <p:nvSpPr>
            <p:cNvPr id="298" name="Google Shape;688;p9">
              <a:extLst>
                <a:ext uri="{FF2B5EF4-FFF2-40B4-BE49-F238E27FC236}">
                  <a16:creationId xmlns:a16="http://schemas.microsoft.com/office/drawing/2014/main" id="{AD9B670D-4A0F-46BA-9D58-790BB3D8765E}"/>
                </a:ext>
              </a:extLst>
            </p:cNvPr>
            <p:cNvSpPr/>
            <p:nvPr/>
          </p:nvSpPr>
          <p:spPr>
            <a:xfrm>
              <a:off x="10575801" y="4819770"/>
              <a:ext cx="549185" cy="62362"/>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299" name="Google Shape;689;p9">
              <a:extLst>
                <a:ext uri="{FF2B5EF4-FFF2-40B4-BE49-F238E27FC236}">
                  <a16:creationId xmlns:a16="http://schemas.microsoft.com/office/drawing/2014/main" id="{3FF7299A-0A2C-46C6-932B-BE54C8E8DE4A}"/>
                </a:ext>
              </a:extLst>
            </p:cNvPr>
            <p:cNvSpPr/>
            <p:nvPr/>
          </p:nvSpPr>
          <p:spPr>
            <a:xfrm>
              <a:off x="10784399" y="4787917"/>
              <a:ext cx="68801" cy="74522"/>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grpSp>
      <p:grpSp>
        <p:nvGrpSpPr>
          <p:cNvPr id="286" name="Google Shape;690;p9">
            <a:extLst>
              <a:ext uri="{FF2B5EF4-FFF2-40B4-BE49-F238E27FC236}">
                <a16:creationId xmlns:a16="http://schemas.microsoft.com/office/drawing/2014/main" id="{3FCEF027-4E58-4B08-A579-E7091962CEB2}"/>
              </a:ext>
            </a:extLst>
          </p:cNvPr>
          <p:cNvGrpSpPr/>
          <p:nvPr/>
        </p:nvGrpSpPr>
        <p:grpSpPr>
          <a:xfrm>
            <a:off x="7855964" y="3790005"/>
            <a:ext cx="399960" cy="69995"/>
            <a:chOff x="10388502" y="4989136"/>
            <a:chExt cx="533280" cy="101058"/>
          </a:xfrm>
        </p:grpSpPr>
        <p:sp>
          <p:nvSpPr>
            <p:cNvPr id="296" name="Google Shape;691;p9">
              <a:extLst>
                <a:ext uri="{FF2B5EF4-FFF2-40B4-BE49-F238E27FC236}">
                  <a16:creationId xmlns:a16="http://schemas.microsoft.com/office/drawing/2014/main" id="{F2064387-EEA8-4641-ABE2-80EB4C9C2B6B}"/>
                </a:ext>
              </a:extLst>
            </p:cNvPr>
            <p:cNvSpPr/>
            <p:nvPr/>
          </p:nvSpPr>
          <p:spPr>
            <a:xfrm>
              <a:off x="10579033" y="4989136"/>
              <a:ext cx="68423" cy="74522"/>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297" name="Google Shape;692;p9">
              <a:extLst>
                <a:ext uri="{FF2B5EF4-FFF2-40B4-BE49-F238E27FC236}">
                  <a16:creationId xmlns:a16="http://schemas.microsoft.com/office/drawing/2014/main" id="{8BEEA5D0-F1F2-43A9-9FF0-75496F596203}"/>
                </a:ext>
              </a:extLst>
            </p:cNvPr>
            <p:cNvSpPr/>
            <p:nvPr/>
          </p:nvSpPr>
          <p:spPr>
            <a:xfrm>
              <a:off x="10388502" y="5028430"/>
              <a:ext cx="533280" cy="61764"/>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grpSp>
      <p:grpSp>
        <p:nvGrpSpPr>
          <p:cNvPr id="287" name="Google Shape;693;p9">
            <a:extLst>
              <a:ext uri="{FF2B5EF4-FFF2-40B4-BE49-F238E27FC236}">
                <a16:creationId xmlns:a16="http://schemas.microsoft.com/office/drawing/2014/main" id="{AE607F0F-F872-4760-83D9-F2C917E3025F}"/>
              </a:ext>
            </a:extLst>
          </p:cNvPr>
          <p:cNvGrpSpPr/>
          <p:nvPr/>
        </p:nvGrpSpPr>
        <p:grpSpPr>
          <a:xfrm>
            <a:off x="7422495" y="4180363"/>
            <a:ext cx="94272" cy="66382"/>
            <a:chOff x="9810544" y="5613693"/>
            <a:chExt cx="125696" cy="95842"/>
          </a:xfrm>
        </p:grpSpPr>
        <p:sp>
          <p:nvSpPr>
            <p:cNvPr id="294" name="Google Shape;694;p9">
              <a:extLst>
                <a:ext uri="{FF2B5EF4-FFF2-40B4-BE49-F238E27FC236}">
                  <a16:creationId xmlns:a16="http://schemas.microsoft.com/office/drawing/2014/main" id="{3DA36BCE-B422-4003-99F9-B3109B60A7A2}"/>
                </a:ext>
              </a:extLst>
            </p:cNvPr>
            <p:cNvSpPr/>
            <p:nvPr/>
          </p:nvSpPr>
          <p:spPr>
            <a:xfrm>
              <a:off x="9814317" y="5649444"/>
              <a:ext cx="121923" cy="60091"/>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295" name="Google Shape;695;p9">
              <a:extLst>
                <a:ext uri="{FF2B5EF4-FFF2-40B4-BE49-F238E27FC236}">
                  <a16:creationId xmlns:a16="http://schemas.microsoft.com/office/drawing/2014/main" id="{6F285A3B-AFCD-4B36-B6E3-D0E967566EFB}"/>
                </a:ext>
              </a:extLst>
            </p:cNvPr>
            <p:cNvSpPr/>
            <p:nvPr/>
          </p:nvSpPr>
          <p:spPr>
            <a:xfrm>
              <a:off x="9810544" y="5613693"/>
              <a:ext cx="68423" cy="67217"/>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grpSp>
      <p:grpSp>
        <p:nvGrpSpPr>
          <p:cNvPr id="288" name="Google Shape;699;p9">
            <a:extLst>
              <a:ext uri="{FF2B5EF4-FFF2-40B4-BE49-F238E27FC236}">
                <a16:creationId xmlns:a16="http://schemas.microsoft.com/office/drawing/2014/main" id="{2718FB2F-ED7B-4DF0-8DC6-E4821ECBB11E}"/>
              </a:ext>
            </a:extLst>
          </p:cNvPr>
          <p:cNvGrpSpPr/>
          <p:nvPr/>
        </p:nvGrpSpPr>
        <p:grpSpPr>
          <a:xfrm>
            <a:off x="7802423" y="3926196"/>
            <a:ext cx="415400" cy="64401"/>
            <a:chOff x="10317114" y="5197199"/>
            <a:chExt cx="553867" cy="92981"/>
          </a:xfrm>
        </p:grpSpPr>
        <p:sp>
          <p:nvSpPr>
            <p:cNvPr id="292" name="Google Shape;700;p9">
              <a:extLst>
                <a:ext uri="{FF2B5EF4-FFF2-40B4-BE49-F238E27FC236}">
                  <a16:creationId xmlns:a16="http://schemas.microsoft.com/office/drawing/2014/main" id="{821AC2B6-071A-432C-88E0-DCF8356B8931}"/>
                </a:ext>
              </a:extLst>
            </p:cNvPr>
            <p:cNvSpPr/>
            <p:nvPr/>
          </p:nvSpPr>
          <p:spPr>
            <a:xfrm>
              <a:off x="10507378" y="5197199"/>
              <a:ext cx="68423" cy="67217"/>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293" name="Google Shape;701;p9">
              <a:extLst>
                <a:ext uri="{FF2B5EF4-FFF2-40B4-BE49-F238E27FC236}">
                  <a16:creationId xmlns:a16="http://schemas.microsoft.com/office/drawing/2014/main" id="{5D3A2AA0-E15B-490F-BA6A-6B6DC5F16289}"/>
                </a:ext>
              </a:extLst>
            </p:cNvPr>
            <p:cNvSpPr/>
            <p:nvPr/>
          </p:nvSpPr>
          <p:spPr>
            <a:xfrm>
              <a:off x="10317114" y="5228416"/>
              <a:ext cx="553867" cy="61764"/>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grpSp>
      <p:grpSp>
        <p:nvGrpSpPr>
          <p:cNvPr id="289" name="Google Shape;702;p9">
            <a:extLst>
              <a:ext uri="{FF2B5EF4-FFF2-40B4-BE49-F238E27FC236}">
                <a16:creationId xmlns:a16="http://schemas.microsoft.com/office/drawing/2014/main" id="{B4A7B4E2-A197-4825-B3E3-63D092FE5657}"/>
              </a:ext>
            </a:extLst>
          </p:cNvPr>
          <p:cNvGrpSpPr/>
          <p:nvPr/>
        </p:nvGrpSpPr>
        <p:grpSpPr>
          <a:xfrm>
            <a:off x="7507878" y="4051990"/>
            <a:ext cx="275596" cy="67632"/>
            <a:chOff x="9924387" y="5401680"/>
            <a:chExt cx="367461" cy="97646"/>
          </a:xfrm>
        </p:grpSpPr>
        <p:sp>
          <p:nvSpPr>
            <p:cNvPr id="290" name="Google Shape;703;p9">
              <a:extLst>
                <a:ext uri="{FF2B5EF4-FFF2-40B4-BE49-F238E27FC236}">
                  <a16:creationId xmlns:a16="http://schemas.microsoft.com/office/drawing/2014/main" id="{A30C4F3C-0145-4FBC-B744-F12A50B677CB}"/>
                </a:ext>
              </a:extLst>
            </p:cNvPr>
            <p:cNvSpPr/>
            <p:nvPr/>
          </p:nvSpPr>
          <p:spPr>
            <a:xfrm>
              <a:off x="10034621" y="5401680"/>
              <a:ext cx="68423" cy="67217"/>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291" name="Google Shape;704;p9">
              <a:extLst>
                <a:ext uri="{FF2B5EF4-FFF2-40B4-BE49-F238E27FC236}">
                  <a16:creationId xmlns:a16="http://schemas.microsoft.com/office/drawing/2014/main" id="{DBCA684D-F267-4AAB-8DDB-84C42044F775}"/>
                </a:ext>
              </a:extLst>
            </p:cNvPr>
            <p:cNvSpPr/>
            <p:nvPr/>
          </p:nvSpPr>
          <p:spPr>
            <a:xfrm>
              <a:off x="9924387" y="5437562"/>
              <a:ext cx="367461" cy="61764"/>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grpSp>
      <p:grpSp>
        <p:nvGrpSpPr>
          <p:cNvPr id="308" name="Google Shape;693;p9">
            <a:extLst>
              <a:ext uri="{FF2B5EF4-FFF2-40B4-BE49-F238E27FC236}">
                <a16:creationId xmlns:a16="http://schemas.microsoft.com/office/drawing/2014/main" id="{E2DC68BD-3209-4141-8515-70F7694B0F49}"/>
              </a:ext>
            </a:extLst>
          </p:cNvPr>
          <p:cNvGrpSpPr/>
          <p:nvPr/>
        </p:nvGrpSpPr>
        <p:grpSpPr>
          <a:xfrm>
            <a:off x="7422495" y="4303134"/>
            <a:ext cx="94272" cy="66382"/>
            <a:chOff x="9810544" y="5613693"/>
            <a:chExt cx="125696" cy="95842"/>
          </a:xfrm>
        </p:grpSpPr>
        <p:sp>
          <p:nvSpPr>
            <p:cNvPr id="309" name="Google Shape;694;p9">
              <a:extLst>
                <a:ext uri="{FF2B5EF4-FFF2-40B4-BE49-F238E27FC236}">
                  <a16:creationId xmlns:a16="http://schemas.microsoft.com/office/drawing/2014/main" id="{BF3C29BB-247B-46AA-B3C3-D1901F782988}"/>
                </a:ext>
              </a:extLst>
            </p:cNvPr>
            <p:cNvSpPr/>
            <p:nvPr/>
          </p:nvSpPr>
          <p:spPr>
            <a:xfrm>
              <a:off x="9814317" y="5649444"/>
              <a:ext cx="121923" cy="60091"/>
            </a:xfrm>
            <a:custGeom>
              <a:avLst/>
              <a:gdLst/>
              <a:ahLst/>
              <a:cxnLst/>
              <a:rect l="l" t="t" r="r" b="b"/>
              <a:pathLst>
                <a:path w="238125" h="120000" extrusionOk="0">
                  <a:moveTo>
                    <a:pt x="0" y="0"/>
                  </a:moveTo>
                  <a:lnTo>
                    <a:pt x="238125" y="0"/>
                  </a:lnTo>
                </a:path>
              </a:pathLst>
            </a:custGeom>
            <a:noFill/>
            <a:ln w="12700" cap="flat" cmpd="sng">
              <a:solidFill>
                <a:schemeClr val="accent1"/>
              </a:solidFill>
              <a:prstDash val="solid"/>
              <a:round/>
              <a:headEnd type="none" w="sm" len="sm"/>
              <a:tailEnd type="none" w="sm" len="sm"/>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sp>
          <p:nvSpPr>
            <p:cNvPr id="310" name="Google Shape;695;p9">
              <a:extLst>
                <a:ext uri="{FF2B5EF4-FFF2-40B4-BE49-F238E27FC236}">
                  <a16:creationId xmlns:a16="http://schemas.microsoft.com/office/drawing/2014/main" id="{E16F0A4F-DF3E-4CF7-A985-6E575C42428E}"/>
                </a:ext>
              </a:extLst>
            </p:cNvPr>
            <p:cNvSpPr/>
            <p:nvPr/>
          </p:nvSpPr>
          <p:spPr>
            <a:xfrm>
              <a:off x="9810544" y="5613693"/>
              <a:ext cx="68423" cy="67217"/>
            </a:xfrm>
            <a:prstGeom prst="rect">
              <a:avLst/>
            </a:prstGeom>
            <a:solidFill>
              <a:schemeClr val="accent1"/>
            </a:solidFill>
            <a:ln>
              <a:noFill/>
            </a:ln>
          </p:spPr>
          <p:txBody>
            <a:bodyPr spcFirstLastPara="1"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350" b="0" i="0" u="none" strike="noStrike" kern="0" cap="none" spc="0" normalizeH="0" baseline="0" noProof="0">
                <a:ln>
                  <a:solidFill>
                    <a:srgbClr val="13294B">
                      <a:shade val="95000"/>
                      <a:satMod val="105000"/>
                    </a:srgbClr>
                  </a:solidFill>
                </a:ln>
                <a:solidFill>
                  <a:srgbClr val="FFFFFF"/>
                </a:solidFill>
                <a:effectLst/>
                <a:uLnTx/>
                <a:uFillTx/>
                <a:latin typeface="Arial"/>
                <a:cs typeface="Arial"/>
                <a:sym typeface="Arial"/>
              </a:endParaRPr>
            </a:p>
          </p:txBody>
        </p:sp>
      </p:grpSp>
    </p:spTree>
    <p:extLst>
      <p:ext uri="{BB962C8B-B14F-4D97-AF65-F5344CB8AC3E}">
        <p14:creationId xmlns:p14="http://schemas.microsoft.com/office/powerpoint/2010/main" val="3655017374"/>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799"/>
        <p:cNvGrpSpPr/>
        <p:nvPr/>
      </p:nvGrpSpPr>
      <p:grpSpPr>
        <a:xfrm>
          <a:off x="0" y="0"/>
          <a:ext cx="0" cy="0"/>
          <a:chOff x="0" y="0"/>
          <a:chExt cx="0" cy="0"/>
        </a:xfrm>
      </p:grpSpPr>
      <p:sp>
        <p:nvSpPr>
          <p:cNvPr id="104" name="Google Shape;492;p8">
            <a:extLst>
              <a:ext uri="{FF2B5EF4-FFF2-40B4-BE49-F238E27FC236}">
                <a16:creationId xmlns:a16="http://schemas.microsoft.com/office/drawing/2014/main" id="{3B6F4E05-6BBD-4F0F-A56E-AA60F4792985}"/>
              </a:ext>
            </a:extLst>
          </p:cNvPr>
          <p:cNvSpPr txBox="1">
            <a:spLocks/>
          </p:cNvSpPr>
          <p:nvPr/>
        </p:nvSpPr>
        <p:spPr>
          <a:xfrm>
            <a:off x="381648" y="585795"/>
            <a:ext cx="8384400" cy="323165"/>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100" b="1" i="0" u="none" strike="noStrike" cap="none">
                <a:solidFill>
                  <a:srgbClr val="003087"/>
                </a:solidFill>
                <a:latin typeface="Gene Sans" panose="00000500000000000000" pitchFamily="50"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2100" b="1" i="0" u="none" strike="noStrike" kern="0" cap="none" spc="0" normalizeH="0" baseline="0" noProof="0" dirty="0">
                <a:ln>
                  <a:noFill/>
                </a:ln>
                <a:solidFill>
                  <a:srgbClr val="003087"/>
                </a:solidFill>
                <a:effectLst/>
                <a:uLnTx/>
                <a:uFillTx/>
                <a:latin typeface="Gene Sans" panose="00000500000000000000" pitchFamily="50" charset="0"/>
                <a:cs typeface="Arial"/>
                <a:sym typeface="Arial"/>
              </a:rPr>
              <a:t>Kinetics of ICI - Induced </a:t>
            </a:r>
            <a:r>
              <a:rPr kumimoji="0" lang="en-US" sz="2100" b="1" i="0" u="none" strike="noStrike" kern="0" cap="none" spc="0" normalizeH="0" baseline="0" noProof="0" dirty="0" err="1">
                <a:ln>
                  <a:noFill/>
                </a:ln>
                <a:solidFill>
                  <a:srgbClr val="003087"/>
                </a:solidFill>
                <a:effectLst/>
                <a:uLnTx/>
                <a:uFillTx/>
                <a:latin typeface="Gene Sans" panose="00000500000000000000" pitchFamily="50" charset="0"/>
                <a:cs typeface="Arial"/>
                <a:sym typeface="Arial"/>
              </a:rPr>
              <a:t>irAEs</a:t>
            </a:r>
            <a:endParaRPr kumimoji="0" lang="en-US" sz="2100" b="1" i="0" u="none" strike="noStrike" kern="0" cap="none" spc="0" normalizeH="0" baseline="0" noProof="0" dirty="0">
              <a:ln>
                <a:noFill/>
              </a:ln>
              <a:solidFill>
                <a:srgbClr val="003087"/>
              </a:solidFill>
              <a:effectLst/>
              <a:uLnTx/>
              <a:uFillTx/>
              <a:latin typeface="Gene Sans" panose="00000500000000000000" pitchFamily="50" charset="0"/>
              <a:cs typeface="Arial"/>
              <a:sym typeface="Arial"/>
            </a:endParaRPr>
          </a:p>
        </p:txBody>
      </p:sp>
      <p:sp>
        <p:nvSpPr>
          <p:cNvPr id="105" name="Google Shape;122;p3">
            <a:extLst>
              <a:ext uri="{FF2B5EF4-FFF2-40B4-BE49-F238E27FC236}">
                <a16:creationId xmlns:a16="http://schemas.microsoft.com/office/drawing/2014/main" id="{DBFDFDC5-E4B0-48E2-975D-F6C21D2CE646}"/>
              </a:ext>
            </a:extLst>
          </p:cNvPr>
          <p:cNvSpPr txBox="1">
            <a:spLocks/>
          </p:cNvSpPr>
          <p:nvPr/>
        </p:nvSpPr>
        <p:spPr>
          <a:xfrm>
            <a:off x="381000" y="94526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
        <p:nvSpPr>
          <p:cNvPr id="106" name="Google Shape;776;p11">
            <a:extLst>
              <a:ext uri="{FF2B5EF4-FFF2-40B4-BE49-F238E27FC236}">
                <a16:creationId xmlns:a16="http://schemas.microsoft.com/office/drawing/2014/main" id="{1679ECF2-6B5E-4E25-BF25-145321180332}"/>
              </a:ext>
            </a:extLst>
          </p:cNvPr>
          <p:cNvSpPr txBox="1">
            <a:spLocks/>
          </p:cNvSpPr>
          <p:nvPr/>
        </p:nvSpPr>
        <p:spPr>
          <a:xfrm>
            <a:off x="381648" y="4745251"/>
            <a:ext cx="8385048" cy="22159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1. </a:t>
            </a:r>
            <a:r>
              <a:rPr kumimoji="0" lang="en-US" sz="8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Haanen</a:t>
            </a: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JBAG, et al. Ann Oncol. 2017;28:iv119-iv142. 2. </a:t>
            </a:r>
            <a:r>
              <a:rPr kumimoji="0" lang="en-US" sz="8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Michot</a:t>
            </a: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JM, et al. Eur J Cancer. 2016;54:139-148. 3. </a:t>
            </a:r>
            <a:r>
              <a:rPr kumimoji="0" lang="en-US" sz="8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Remon</a:t>
            </a: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J, et al. J </a:t>
            </a:r>
            <a:r>
              <a:rPr kumimoji="0" lang="en-US" sz="8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Thorac</a:t>
            </a:r>
            <a:r>
              <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Dis. 2018;10:S1516-S1533 4: Naidoo J, et al. J Clin Oncol. 2017;35:709-717.</a:t>
            </a:r>
          </a:p>
        </p:txBody>
      </p:sp>
      <p:sp>
        <p:nvSpPr>
          <p:cNvPr id="111" name="Rectangle 110">
            <a:extLst>
              <a:ext uri="{FF2B5EF4-FFF2-40B4-BE49-F238E27FC236}">
                <a16:creationId xmlns:a16="http://schemas.microsoft.com/office/drawing/2014/main" id="{BDC1DEF0-2C64-43D3-AD3A-141D2D5A9DF9}"/>
              </a:ext>
            </a:extLst>
          </p:cNvPr>
          <p:cNvSpPr/>
          <p:nvPr/>
        </p:nvSpPr>
        <p:spPr>
          <a:xfrm>
            <a:off x="380997" y="1361695"/>
            <a:ext cx="5444450" cy="27504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545859"/>
              </a:buClr>
              <a:buSzPts val="1800"/>
              <a:buFont typeface="Arial"/>
              <a:buNone/>
              <a:tabLst/>
              <a:defRPr/>
            </a:pPr>
            <a:r>
              <a:rPr kumimoji="0" lang="en-US" sz="900" b="1" i="0" u="none" strike="noStrike" kern="0" cap="none" spc="0" normalizeH="0" baseline="0" noProof="0" dirty="0" err="1">
                <a:ln>
                  <a:noFill/>
                </a:ln>
                <a:solidFill>
                  <a:srgbClr val="FFFFFF"/>
                </a:solidFill>
                <a:effectLst/>
                <a:uLnTx/>
                <a:uFillTx/>
                <a:latin typeface="Gene Sans Light" panose="00000400000000000000" pitchFamily="50" charset="0"/>
                <a:ea typeface="+mn-ea"/>
                <a:cs typeface="+mn-cs"/>
                <a:sym typeface="Arial"/>
              </a:rPr>
              <a:t>irAEs</a:t>
            </a:r>
            <a:r>
              <a:rPr kumimoji="0" lang="en-US" sz="900" b="1"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rPr>
              <a:t> with CPIs</a:t>
            </a:r>
            <a:r>
              <a:rPr kumimoji="0" lang="en-US" sz="900" b="1" i="0" u="none" strike="noStrike" kern="0" cap="none" spc="0" normalizeH="0" baseline="30000" noProof="0" dirty="0">
                <a:ln>
                  <a:noFill/>
                </a:ln>
                <a:solidFill>
                  <a:srgbClr val="FFFFFF"/>
                </a:solidFill>
                <a:effectLst/>
                <a:uLnTx/>
                <a:uFillTx/>
                <a:latin typeface="Gene Sans Light" panose="00000400000000000000" pitchFamily="50" charset="0"/>
                <a:ea typeface="+mn-ea"/>
                <a:cs typeface="+mn-cs"/>
                <a:sym typeface="Arial"/>
              </a:rPr>
              <a:t>1</a:t>
            </a:r>
            <a:endParaRPr kumimoji="0" lang="en-US" sz="900" b="0"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endParaRPr>
          </a:p>
        </p:txBody>
      </p:sp>
      <p:sp>
        <p:nvSpPr>
          <p:cNvPr id="112" name="Rectangle 111">
            <a:extLst>
              <a:ext uri="{FF2B5EF4-FFF2-40B4-BE49-F238E27FC236}">
                <a16:creationId xmlns:a16="http://schemas.microsoft.com/office/drawing/2014/main" id="{E8919721-26A3-42F3-9457-BEC7EB663E45}"/>
              </a:ext>
            </a:extLst>
          </p:cNvPr>
          <p:cNvSpPr/>
          <p:nvPr/>
        </p:nvSpPr>
        <p:spPr>
          <a:xfrm>
            <a:off x="5993399" y="1352550"/>
            <a:ext cx="3150601" cy="316780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212" name="Google Shape;806;p12">
            <a:extLst>
              <a:ext uri="{FF2B5EF4-FFF2-40B4-BE49-F238E27FC236}">
                <a16:creationId xmlns:a16="http://schemas.microsoft.com/office/drawing/2014/main" id="{30DA4362-4BCD-4989-9DD6-BC528C514059}"/>
              </a:ext>
            </a:extLst>
          </p:cNvPr>
          <p:cNvSpPr/>
          <p:nvPr/>
        </p:nvSpPr>
        <p:spPr>
          <a:xfrm flipH="1">
            <a:off x="1612056" y="1869372"/>
            <a:ext cx="45719" cy="2645433"/>
          </a:xfrm>
          <a:custGeom>
            <a:avLst/>
            <a:gdLst/>
            <a:ahLst/>
            <a:cxnLst/>
            <a:rect l="l" t="t" r="r" b="b"/>
            <a:pathLst>
              <a:path w="120000" h="3383948" extrusionOk="0">
                <a:moveTo>
                  <a:pt x="0" y="0"/>
                </a:moveTo>
                <a:lnTo>
                  <a:pt x="0" y="3383948"/>
                </a:lnTo>
              </a:path>
            </a:pathLst>
          </a:custGeom>
          <a:noFill/>
          <a:ln w="12700" cap="flat" cmpd="sng">
            <a:solidFill>
              <a:srgbClr val="868686"/>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13" name="Google Shape;807;p12">
            <a:extLst>
              <a:ext uri="{FF2B5EF4-FFF2-40B4-BE49-F238E27FC236}">
                <a16:creationId xmlns:a16="http://schemas.microsoft.com/office/drawing/2014/main" id="{D88D0124-C1A2-49B6-B500-BC303AD09C26}"/>
              </a:ext>
            </a:extLst>
          </p:cNvPr>
          <p:cNvSpPr/>
          <p:nvPr/>
        </p:nvSpPr>
        <p:spPr>
          <a:xfrm rot="5400000" flipH="1">
            <a:off x="3642863" y="2474338"/>
            <a:ext cx="45719" cy="4032000"/>
          </a:xfrm>
          <a:custGeom>
            <a:avLst/>
            <a:gdLst/>
            <a:ahLst/>
            <a:cxnLst/>
            <a:rect l="l" t="t" r="r" b="b"/>
            <a:pathLst>
              <a:path w="120000" h="3383948" extrusionOk="0">
                <a:moveTo>
                  <a:pt x="0" y="0"/>
                </a:moveTo>
                <a:lnTo>
                  <a:pt x="0" y="3383948"/>
                </a:lnTo>
              </a:path>
            </a:pathLst>
          </a:custGeom>
          <a:noFill/>
          <a:ln w="12700" cap="flat" cmpd="sng">
            <a:solidFill>
              <a:srgbClr val="868686"/>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14" name="Google Shape;808;p12">
            <a:extLst>
              <a:ext uri="{FF2B5EF4-FFF2-40B4-BE49-F238E27FC236}">
                <a16:creationId xmlns:a16="http://schemas.microsoft.com/office/drawing/2014/main" id="{2E570BD4-719B-4F3E-BCAD-938B439BEA3C}"/>
              </a:ext>
            </a:extLst>
          </p:cNvPr>
          <p:cNvSpPr txBox="1"/>
          <p:nvPr/>
        </p:nvSpPr>
        <p:spPr>
          <a:xfrm>
            <a:off x="845162" y="1808016"/>
            <a:ext cx="733603" cy="143302"/>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Skin (n = 18)</a:t>
            </a:r>
            <a:endParaRPr kumimoji="0"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15" name="Google Shape;809;p12">
            <a:extLst>
              <a:ext uri="{FF2B5EF4-FFF2-40B4-BE49-F238E27FC236}">
                <a16:creationId xmlns:a16="http://schemas.microsoft.com/office/drawing/2014/main" id="{2535934E-0542-458F-936A-FAE55A7AC9DE}"/>
              </a:ext>
            </a:extLst>
          </p:cNvPr>
          <p:cNvSpPr txBox="1"/>
          <p:nvPr/>
        </p:nvSpPr>
        <p:spPr>
          <a:xfrm>
            <a:off x="903966" y="2026822"/>
            <a:ext cx="674800" cy="143302"/>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rPr>
              <a:t>Skin (n = 5)</a:t>
            </a:r>
            <a:endParaRPr kumimoji="0" sz="9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endParaRPr>
          </a:p>
        </p:txBody>
      </p:sp>
      <p:sp>
        <p:nvSpPr>
          <p:cNvPr id="216" name="Google Shape;810;p12">
            <a:extLst>
              <a:ext uri="{FF2B5EF4-FFF2-40B4-BE49-F238E27FC236}">
                <a16:creationId xmlns:a16="http://schemas.microsoft.com/office/drawing/2014/main" id="{2EDB3B99-A785-464E-817D-7BF1A88EB3CE}"/>
              </a:ext>
            </a:extLst>
          </p:cNvPr>
          <p:cNvSpPr txBox="1"/>
          <p:nvPr/>
        </p:nvSpPr>
        <p:spPr>
          <a:xfrm>
            <a:off x="313712" y="2245626"/>
            <a:ext cx="1265054" cy="143302"/>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Gastrointestinal (n = 46)</a:t>
            </a:r>
            <a:endParaRPr kumimoji="0"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17" name="Google Shape;811;p12">
            <a:extLst>
              <a:ext uri="{FF2B5EF4-FFF2-40B4-BE49-F238E27FC236}">
                <a16:creationId xmlns:a16="http://schemas.microsoft.com/office/drawing/2014/main" id="{01961FA0-EF7C-4C6E-844A-D6ABA1B74DFF}"/>
              </a:ext>
            </a:extLst>
          </p:cNvPr>
          <p:cNvSpPr txBox="1"/>
          <p:nvPr/>
        </p:nvSpPr>
        <p:spPr>
          <a:xfrm>
            <a:off x="372514" y="2464430"/>
            <a:ext cx="1206252" cy="143302"/>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rPr>
              <a:t>Gastrointestinal (n = 7)</a:t>
            </a:r>
            <a:endParaRPr kumimoji="0" sz="9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endParaRPr>
          </a:p>
        </p:txBody>
      </p:sp>
      <p:sp>
        <p:nvSpPr>
          <p:cNvPr id="218" name="Google Shape;812;p12">
            <a:extLst>
              <a:ext uri="{FF2B5EF4-FFF2-40B4-BE49-F238E27FC236}">
                <a16:creationId xmlns:a16="http://schemas.microsoft.com/office/drawing/2014/main" id="{F7BE73F3-963D-4AE6-9F78-1524D000819E}"/>
              </a:ext>
            </a:extLst>
          </p:cNvPr>
          <p:cNvSpPr txBox="1"/>
          <p:nvPr/>
        </p:nvSpPr>
        <p:spPr>
          <a:xfrm>
            <a:off x="574445" y="2683235"/>
            <a:ext cx="1004321" cy="143302"/>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Endocrine (n = 15)</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219" name="Google Shape;813;p12">
            <a:extLst>
              <a:ext uri="{FF2B5EF4-FFF2-40B4-BE49-F238E27FC236}">
                <a16:creationId xmlns:a16="http://schemas.microsoft.com/office/drawing/2014/main" id="{6C553A86-B501-499D-B4B2-ABB8782F9C78}"/>
              </a:ext>
            </a:extLst>
          </p:cNvPr>
          <p:cNvSpPr txBox="1"/>
          <p:nvPr/>
        </p:nvSpPr>
        <p:spPr>
          <a:xfrm>
            <a:off x="633247" y="2902041"/>
            <a:ext cx="945518" cy="143302"/>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rPr>
              <a:t>Endocrine (n = 2)</a:t>
            </a:r>
            <a:endParaRPr kumimoji="0" sz="9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endParaRPr>
          </a:p>
        </p:txBody>
      </p:sp>
      <p:sp>
        <p:nvSpPr>
          <p:cNvPr id="220" name="Google Shape;814;p12">
            <a:extLst>
              <a:ext uri="{FF2B5EF4-FFF2-40B4-BE49-F238E27FC236}">
                <a16:creationId xmlns:a16="http://schemas.microsoft.com/office/drawing/2014/main" id="{D524E75A-6BF1-42A4-B715-AEFA36B0E0B1}"/>
              </a:ext>
            </a:extLst>
          </p:cNvPr>
          <p:cNvSpPr txBox="1"/>
          <p:nvPr/>
        </p:nvSpPr>
        <p:spPr>
          <a:xfrm>
            <a:off x="692050" y="3120844"/>
            <a:ext cx="886714" cy="143302"/>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Hepatic (n = 60)</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221" name="Google Shape;815;p12">
            <a:extLst>
              <a:ext uri="{FF2B5EF4-FFF2-40B4-BE49-F238E27FC236}">
                <a16:creationId xmlns:a16="http://schemas.microsoft.com/office/drawing/2014/main" id="{E3F7A8F9-D269-4F36-B300-4794AFC1340A}"/>
              </a:ext>
            </a:extLst>
          </p:cNvPr>
          <p:cNvSpPr txBox="1"/>
          <p:nvPr/>
        </p:nvSpPr>
        <p:spPr>
          <a:xfrm>
            <a:off x="750855" y="3339649"/>
            <a:ext cx="827909" cy="143302"/>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rPr>
              <a:t>Hepatic (n = 8)</a:t>
            </a:r>
            <a:endParaRPr kumimoji="0" sz="9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endParaRPr>
          </a:p>
        </p:txBody>
      </p:sp>
      <p:sp>
        <p:nvSpPr>
          <p:cNvPr id="222" name="Google Shape;816;p12">
            <a:extLst>
              <a:ext uri="{FF2B5EF4-FFF2-40B4-BE49-F238E27FC236}">
                <a16:creationId xmlns:a16="http://schemas.microsoft.com/office/drawing/2014/main" id="{3FDB7A85-7590-4066-8E0E-ED6212B96D6F}"/>
              </a:ext>
            </a:extLst>
          </p:cNvPr>
          <p:cNvSpPr txBox="1"/>
          <p:nvPr/>
        </p:nvSpPr>
        <p:spPr>
          <a:xfrm>
            <a:off x="603291" y="3558454"/>
            <a:ext cx="975475" cy="143302"/>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Pulmonary (n = 3)</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223" name="Google Shape;817;p12">
            <a:extLst>
              <a:ext uri="{FF2B5EF4-FFF2-40B4-BE49-F238E27FC236}">
                <a16:creationId xmlns:a16="http://schemas.microsoft.com/office/drawing/2014/main" id="{AC8CC549-5044-41BE-8546-D5F52855E7DC}"/>
              </a:ext>
            </a:extLst>
          </p:cNvPr>
          <p:cNvSpPr txBox="1"/>
          <p:nvPr/>
        </p:nvSpPr>
        <p:spPr>
          <a:xfrm>
            <a:off x="603291" y="3777258"/>
            <a:ext cx="975475" cy="143302"/>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00A3E0"/>
                </a:solidFill>
                <a:effectLst/>
                <a:uLnTx/>
                <a:uFillTx/>
                <a:latin typeface="Gene Sans Light" panose="00000400000000000000" pitchFamily="50" charset="0"/>
                <a:cs typeface="Arial"/>
                <a:sym typeface="Arial"/>
              </a:rPr>
              <a:t>Pulmonary (n = 1)</a:t>
            </a:r>
            <a:endParaRPr kumimoji="0" sz="900" b="0" i="0" u="none" strike="noStrike" kern="0" cap="none" spc="0" normalizeH="0" baseline="0" noProof="0">
              <a:ln>
                <a:noFill/>
              </a:ln>
              <a:solidFill>
                <a:srgbClr val="00A3E0"/>
              </a:solidFill>
              <a:effectLst/>
              <a:uLnTx/>
              <a:uFillTx/>
              <a:latin typeface="Gene Sans Light" panose="00000400000000000000" pitchFamily="50" charset="0"/>
              <a:cs typeface="Arial"/>
              <a:sym typeface="Arial"/>
            </a:endParaRPr>
          </a:p>
        </p:txBody>
      </p:sp>
      <p:sp>
        <p:nvSpPr>
          <p:cNvPr id="224" name="Google Shape;818;p12">
            <a:extLst>
              <a:ext uri="{FF2B5EF4-FFF2-40B4-BE49-F238E27FC236}">
                <a16:creationId xmlns:a16="http://schemas.microsoft.com/office/drawing/2014/main" id="{B14807BC-8CD2-463D-AC93-7955C1FDEC2A}"/>
              </a:ext>
            </a:extLst>
          </p:cNvPr>
          <p:cNvSpPr txBox="1"/>
          <p:nvPr/>
        </p:nvSpPr>
        <p:spPr>
          <a:xfrm>
            <a:off x="806340" y="3996063"/>
            <a:ext cx="744698" cy="143302"/>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Renal (n = 6)</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225" name="Google Shape;819;p12">
            <a:extLst>
              <a:ext uri="{FF2B5EF4-FFF2-40B4-BE49-F238E27FC236}">
                <a16:creationId xmlns:a16="http://schemas.microsoft.com/office/drawing/2014/main" id="{028C6155-955B-4410-9936-7F6196F49C5E}"/>
              </a:ext>
            </a:extLst>
          </p:cNvPr>
          <p:cNvSpPr txBox="1"/>
          <p:nvPr/>
        </p:nvSpPr>
        <p:spPr>
          <a:xfrm>
            <a:off x="834066" y="4214869"/>
            <a:ext cx="744698" cy="143302"/>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00A3E0"/>
                </a:solidFill>
                <a:effectLst/>
                <a:uLnTx/>
                <a:uFillTx/>
                <a:latin typeface="Gene Sans Light" panose="00000400000000000000" pitchFamily="50" charset="0"/>
                <a:cs typeface="Arial"/>
                <a:sym typeface="Arial"/>
              </a:rPr>
              <a:t>Renal (n = 1)</a:t>
            </a:r>
            <a:endParaRPr kumimoji="0" sz="900" b="0" i="0" u="none" strike="noStrike" kern="0" cap="none" spc="0" normalizeH="0" baseline="0" noProof="0">
              <a:ln>
                <a:noFill/>
              </a:ln>
              <a:solidFill>
                <a:srgbClr val="00A3E0"/>
              </a:solidFill>
              <a:effectLst/>
              <a:uLnTx/>
              <a:uFillTx/>
              <a:latin typeface="Gene Sans Light" panose="00000400000000000000" pitchFamily="50" charset="0"/>
              <a:cs typeface="Arial"/>
              <a:sym typeface="Arial"/>
            </a:endParaRPr>
          </a:p>
        </p:txBody>
      </p:sp>
      <p:sp>
        <p:nvSpPr>
          <p:cNvPr id="226" name="Google Shape;820;p12">
            <a:extLst>
              <a:ext uri="{FF2B5EF4-FFF2-40B4-BE49-F238E27FC236}">
                <a16:creationId xmlns:a16="http://schemas.microsoft.com/office/drawing/2014/main" id="{CEF78BB1-A351-43BF-B1F7-768E828C275B}"/>
              </a:ext>
            </a:extLst>
          </p:cNvPr>
          <p:cNvSpPr txBox="1"/>
          <p:nvPr/>
        </p:nvSpPr>
        <p:spPr>
          <a:xfrm>
            <a:off x="1638442" y="4520354"/>
            <a:ext cx="203375" cy="14330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0</a:t>
            </a:r>
            <a:endParaRPr kumimoji="0"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27" name="Google Shape;821;p12">
            <a:extLst>
              <a:ext uri="{FF2B5EF4-FFF2-40B4-BE49-F238E27FC236}">
                <a16:creationId xmlns:a16="http://schemas.microsoft.com/office/drawing/2014/main" id="{32686C73-399E-4EF1-94BC-37B0370E403C}"/>
              </a:ext>
            </a:extLst>
          </p:cNvPr>
          <p:cNvSpPr txBox="1"/>
          <p:nvPr/>
        </p:nvSpPr>
        <p:spPr>
          <a:xfrm>
            <a:off x="2262886" y="4520354"/>
            <a:ext cx="267457" cy="14330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10</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228" name="Google Shape;822;p12">
            <a:extLst>
              <a:ext uri="{FF2B5EF4-FFF2-40B4-BE49-F238E27FC236}">
                <a16:creationId xmlns:a16="http://schemas.microsoft.com/office/drawing/2014/main" id="{D8C437E4-C93E-4109-B643-D3DAC0862B7D}"/>
              </a:ext>
            </a:extLst>
          </p:cNvPr>
          <p:cNvSpPr txBox="1"/>
          <p:nvPr/>
        </p:nvSpPr>
        <p:spPr>
          <a:xfrm>
            <a:off x="2924989" y="4520354"/>
            <a:ext cx="267457" cy="14330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20</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229" name="Google Shape;823;p12">
            <a:extLst>
              <a:ext uri="{FF2B5EF4-FFF2-40B4-BE49-F238E27FC236}">
                <a16:creationId xmlns:a16="http://schemas.microsoft.com/office/drawing/2014/main" id="{BF11816E-6813-4DB5-B0DC-EDAD69152BD3}"/>
              </a:ext>
            </a:extLst>
          </p:cNvPr>
          <p:cNvSpPr txBox="1"/>
          <p:nvPr/>
        </p:nvSpPr>
        <p:spPr>
          <a:xfrm>
            <a:off x="3579432" y="4520354"/>
            <a:ext cx="267457" cy="14330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30</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230" name="Google Shape;824;p12">
            <a:extLst>
              <a:ext uri="{FF2B5EF4-FFF2-40B4-BE49-F238E27FC236}">
                <a16:creationId xmlns:a16="http://schemas.microsoft.com/office/drawing/2014/main" id="{F47E8730-58EB-4877-8C32-CDEDFB934F7C}"/>
              </a:ext>
            </a:extLst>
          </p:cNvPr>
          <p:cNvSpPr txBox="1"/>
          <p:nvPr/>
        </p:nvSpPr>
        <p:spPr>
          <a:xfrm>
            <a:off x="4243436" y="4520354"/>
            <a:ext cx="267457" cy="14330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40</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231" name="Google Shape;825;p12">
            <a:extLst>
              <a:ext uri="{FF2B5EF4-FFF2-40B4-BE49-F238E27FC236}">
                <a16:creationId xmlns:a16="http://schemas.microsoft.com/office/drawing/2014/main" id="{10F8A88E-F80B-4190-BBB2-68944BCEF223}"/>
              </a:ext>
            </a:extLst>
          </p:cNvPr>
          <p:cNvSpPr txBox="1"/>
          <p:nvPr/>
        </p:nvSpPr>
        <p:spPr>
          <a:xfrm>
            <a:off x="4892874" y="4520354"/>
            <a:ext cx="267457" cy="14330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50</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232" name="Google Shape;826;p12">
            <a:extLst>
              <a:ext uri="{FF2B5EF4-FFF2-40B4-BE49-F238E27FC236}">
                <a16:creationId xmlns:a16="http://schemas.microsoft.com/office/drawing/2014/main" id="{4A7D46DB-2239-4C3E-9636-89C4B9D72200}"/>
              </a:ext>
            </a:extLst>
          </p:cNvPr>
          <p:cNvSpPr txBox="1"/>
          <p:nvPr/>
        </p:nvSpPr>
        <p:spPr>
          <a:xfrm>
            <a:off x="5557990" y="4520354"/>
            <a:ext cx="267457" cy="14330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60</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233" name="Google Shape;827;p12">
            <a:extLst>
              <a:ext uri="{FF2B5EF4-FFF2-40B4-BE49-F238E27FC236}">
                <a16:creationId xmlns:a16="http://schemas.microsoft.com/office/drawing/2014/main" id="{4F693A5D-1D78-49BE-93F4-9098658D8626}"/>
              </a:ext>
            </a:extLst>
          </p:cNvPr>
          <p:cNvSpPr txBox="1"/>
          <p:nvPr/>
        </p:nvSpPr>
        <p:spPr>
          <a:xfrm>
            <a:off x="1811321" y="1760319"/>
            <a:ext cx="859930" cy="10772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5.6 (0.1–55.0)</a:t>
            </a:r>
            <a:endParaRPr kumimoji="0" sz="7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34" name="Google Shape;828;p12">
            <a:extLst>
              <a:ext uri="{FF2B5EF4-FFF2-40B4-BE49-F238E27FC236}">
                <a16:creationId xmlns:a16="http://schemas.microsoft.com/office/drawing/2014/main" id="{6AC7C035-E895-4EEE-9E2E-BCAC3746350E}"/>
              </a:ext>
            </a:extLst>
          </p:cNvPr>
          <p:cNvSpPr txBox="1"/>
          <p:nvPr/>
        </p:nvSpPr>
        <p:spPr>
          <a:xfrm>
            <a:off x="2563048" y="1988735"/>
            <a:ext cx="924013" cy="10772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rPr>
              <a:t>19.4 (1.3–50.9)</a:t>
            </a:r>
            <a:endParaRPr kumimoji="0" sz="7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endParaRPr>
          </a:p>
        </p:txBody>
      </p:sp>
      <p:sp>
        <p:nvSpPr>
          <p:cNvPr id="235" name="Google Shape;829;p12">
            <a:extLst>
              <a:ext uri="{FF2B5EF4-FFF2-40B4-BE49-F238E27FC236}">
                <a16:creationId xmlns:a16="http://schemas.microsoft.com/office/drawing/2014/main" id="{FDABF148-00A8-4BAD-B708-060B9343D76D}"/>
              </a:ext>
            </a:extLst>
          </p:cNvPr>
          <p:cNvSpPr txBox="1"/>
          <p:nvPr/>
        </p:nvSpPr>
        <p:spPr>
          <a:xfrm>
            <a:off x="1814607" y="2209625"/>
            <a:ext cx="859930" cy="10772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7.4 (1.0–48.9)</a:t>
            </a:r>
            <a:endParaRPr kumimoji="0" sz="7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36" name="Google Shape;830;p12">
            <a:extLst>
              <a:ext uri="{FF2B5EF4-FFF2-40B4-BE49-F238E27FC236}">
                <a16:creationId xmlns:a16="http://schemas.microsoft.com/office/drawing/2014/main" id="{FFF2ED92-CD40-4799-BD90-F5CB034ADA7F}"/>
              </a:ext>
            </a:extLst>
          </p:cNvPr>
          <p:cNvSpPr txBox="1"/>
          <p:nvPr/>
        </p:nvSpPr>
        <p:spPr>
          <a:xfrm>
            <a:off x="3005037" y="2424555"/>
            <a:ext cx="988097" cy="10772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rPr>
              <a:t>26.3 (13.1–57.0)</a:t>
            </a:r>
            <a:endParaRPr kumimoji="0" sz="7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endParaRPr>
          </a:p>
        </p:txBody>
      </p:sp>
      <p:sp>
        <p:nvSpPr>
          <p:cNvPr id="237" name="Google Shape;831;p12">
            <a:extLst>
              <a:ext uri="{FF2B5EF4-FFF2-40B4-BE49-F238E27FC236}">
                <a16:creationId xmlns:a16="http://schemas.microsoft.com/office/drawing/2014/main" id="{4A220AD5-E61E-44E2-891C-9AB7BA684C6A}"/>
              </a:ext>
            </a:extLst>
          </p:cNvPr>
          <p:cNvSpPr txBox="1"/>
          <p:nvPr/>
        </p:nvSpPr>
        <p:spPr>
          <a:xfrm>
            <a:off x="2005518" y="2652558"/>
            <a:ext cx="924013" cy="10772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12.1 (2.9–17.0)</a:t>
            </a:r>
            <a:endParaRPr kumimoji="0" sz="7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38" name="Google Shape;832;p12">
            <a:extLst>
              <a:ext uri="{FF2B5EF4-FFF2-40B4-BE49-F238E27FC236}">
                <a16:creationId xmlns:a16="http://schemas.microsoft.com/office/drawing/2014/main" id="{E3563275-F477-4097-B7B8-87692377155C}"/>
              </a:ext>
            </a:extLst>
          </p:cNvPr>
          <p:cNvSpPr txBox="1"/>
          <p:nvPr/>
        </p:nvSpPr>
        <p:spPr>
          <a:xfrm>
            <a:off x="3171228" y="2876935"/>
            <a:ext cx="988097" cy="10772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rPr>
              <a:t>28.6 (19.1–38.1)</a:t>
            </a:r>
            <a:endParaRPr kumimoji="0" sz="7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endParaRPr>
          </a:p>
        </p:txBody>
      </p:sp>
      <p:sp>
        <p:nvSpPr>
          <p:cNvPr id="239" name="Google Shape;833;p12">
            <a:extLst>
              <a:ext uri="{FF2B5EF4-FFF2-40B4-BE49-F238E27FC236}">
                <a16:creationId xmlns:a16="http://schemas.microsoft.com/office/drawing/2014/main" id="{1013EED1-703E-487E-9B08-938CBB75F164}"/>
              </a:ext>
            </a:extLst>
          </p:cNvPr>
          <p:cNvSpPr txBox="1"/>
          <p:nvPr/>
        </p:nvSpPr>
        <p:spPr>
          <a:xfrm>
            <a:off x="1803119" y="3087547"/>
            <a:ext cx="859930" cy="10772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7.4 (2.1–48.0)</a:t>
            </a:r>
            <a:endParaRPr kumimoji="0" sz="7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40" name="Google Shape;834;p12">
            <a:extLst>
              <a:ext uri="{FF2B5EF4-FFF2-40B4-BE49-F238E27FC236}">
                <a16:creationId xmlns:a16="http://schemas.microsoft.com/office/drawing/2014/main" id="{C1CC8D3B-47E4-4574-A010-78F0951DA484}"/>
              </a:ext>
            </a:extLst>
          </p:cNvPr>
          <p:cNvSpPr txBox="1"/>
          <p:nvPr/>
        </p:nvSpPr>
        <p:spPr>
          <a:xfrm>
            <a:off x="2251452" y="3304937"/>
            <a:ext cx="924013" cy="10772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rPr>
              <a:t>14.1 (1.9–25.1)</a:t>
            </a:r>
            <a:endParaRPr kumimoji="0" sz="7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endParaRPr>
          </a:p>
        </p:txBody>
      </p:sp>
      <p:sp>
        <p:nvSpPr>
          <p:cNvPr id="241" name="Google Shape;835;p12">
            <a:extLst>
              <a:ext uri="{FF2B5EF4-FFF2-40B4-BE49-F238E27FC236}">
                <a16:creationId xmlns:a16="http://schemas.microsoft.com/office/drawing/2014/main" id="{1F7FBD8C-5B09-43B0-AAAA-149CBCE9C4B3}"/>
              </a:ext>
            </a:extLst>
          </p:cNvPr>
          <p:cNvSpPr txBox="1"/>
          <p:nvPr/>
        </p:nvSpPr>
        <p:spPr>
          <a:xfrm>
            <a:off x="1783849" y="3526123"/>
            <a:ext cx="795845" cy="10772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3.7 (3.7–9.4)</a:t>
            </a:r>
            <a:endParaRPr kumimoji="0" sz="7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42" name="Google Shape;836;p12">
            <a:extLst>
              <a:ext uri="{FF2B5EF4-FFF2-40B4-BE49-F238E27FC236}">
                <a16:creationId xmlns:a16="http://schemas.microsoft.com/office/drawing/2014/main" id="{13321035-80FB-466D-AA01-295D87E841D3}"/>
              </a:ext>
            </a:extLst>
          </p:cNvPr>
          <p:cNvSpPr txBox="1"/>
          <p:nvPr/>
        </p:nvSpPr>
        <p:spPr>
          <a:xfrm>
            <a:off x="1795359" y="3712787"/>
            <a:ext cx="795845" cy="10772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rPr>
              <a:t>6.7 (6.7–6.7)</a:t>
            </a:r>
            <a:endParaRPr kumimoji="0" sz="7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endParaRPr>
          </a:p>
        </p:txBody>
      </p:sp>
      <p:sp>
        <p:nvSpPr>
          <p:cNvPr id="243" name="Google Shape;837;p12">
            <a:extLst>
              <a:ext uri="{FF2B5EF4-FFF2-40B4-BE49-F238E27FC236}">
                <a16:creationId xmlns:a16="http://schemas.microsoft.com/office/drawing/2014/main" id="{68B4F70E-AD83-4781-8CC4-4CD5B3564B3F}"/>
              </a:ext>
            </a:extLst>
          </p:cNvPr>
          <p:cNvSpPr txBox="1"/>
          <p:nvPr/>
        </p:nvSpPr>
        <p:spPr>
          <a:xfrm>
            <a:off x="2071077" y="3963248"/>
            <a:ext cx="915404" cy="10772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11.3 (3.3–23.7)</a:t>
            </a:r>
            <a:endParaRPr kumimoji="0" sz="7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44" name="Google Shape;838;p12">
            <a:extLst>
              <a:ext uri="{FF2B5EF4-FFF2-40B4-BE49-F238E27FC236}">
                <a16:creationId xmlns:a16="http://schemas.microsoft.com/office/drawing/2014/main" id="{B29A6AFE-E241-4569-B576-07760AA891CA}"/>
              </a:ext>
            </a:extLst>
          </p:cNvPr>
          <p:cNvSpPr/>
          <p:nvPr/>
        </p:nvSpPr>
        <p:spPr>
          <a:xfrm>
            <a:off x="2087262" y="1881385"/>
            <a:ext cx="56501" cy="50182"/>
          </a:xfrm>
          <a:prstGeom prst="ellipse">
            <a:avLst/>
          </a:prstGeom>
          <a:noFill/>
          <a:ln w="12700" cap="flat" cmpd="sng">
            <a:no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45" name="Google Shape;839;p12">
            <a:extLst>
              <a:ext uri="{FF2B5EF4-FFF2-40B4-BE49-F238E27FC236}">
                <a16:creationId xmlns:a16="http://schemas.microsoft.com/office/drawing/2014/main" id="{4B282FD9-0B75-4776-8D3D-CC75CA333018}"/>
              </a:ext>
            </a:extLst>
          </p:cNvPr>
          <p:cNvSpPr/>
          <p:nvPr/>
        </p:nvSpPr>
        <p:spPr>
          <a:xfrm>
            <a:off x="2147322" y="1879215"/>
            <a:ext cx="56501" cy="50182"/>
          </a:xfrm>
          <a:prstGeom prst="ellipse">
            <a:avLst/>
          </a:pr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46" name="Google Shape;840;p12">
            <a:extLst>
              <a:ext uri="{FF2B5EF4-FFF2-40B4-BE49-F238E27FC236}">
                <a16:creationId xmlns:a16="http://schemas.microsoft.com/office/drawing/2014/main" id="{AA9741AB-D2E8-4597-93EE-96E01208415E}"/>
              </a:ext>
            </a:extLst>
          </p:cNvPr>
          <p:cNvSpPr/>
          <p:nvPr/>
        </p:nvSpPr>
        <p:spPr>
          <a:xfrm>
            <a:off x="2519289" y="2759118"/>
            <a:ext cx="56501" cy="50182"/>
          </a:xfrm>
          <a:prstGeom prst="ellipse">
            <a:avLst/>
          </a:pr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47" name="Google Shape;841;p12">
            <a:extLst>
              <a:ext uri="{FF2B5EF4-FFF2-40B4-BE49-F238E27FC236}">
                <a16:creationId xmlns:a16="http://schemas.microsoft.com/office/drawing/2014/main" id="{4D59403B-3C80-4A61-A2AB-6BC550448E24}"/>
              </a:ext>
            </a:extLst>
          </p:cNvPr>
          <p:cNvSpPr/>
          <p:nvPr/>
        </p:nvSpPr>
        <p:spPr>
          <a:xfrm>
            <a:off x="2203533" y="3193268"/>
            <a:ext cx="56501" cy="50182"/>
          </a:xfrm>
          <a:prstGeom prst="ellipse">
            <a:avLst/>
          </a:pr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48" name="Google Shape;842;p12">
            <a:extLst>
              <a:ext uri="{FF2B5EF4-FFF2-40B4-BE49-F238E27FC236}">
                <a16:creationId xmlns:a16="http://schemas.microsoft.com/office/drawing/2014/main" id="{5FABC656-C0BB-448B-8F24-B9D27B65C4C5}"/>
              </a:ext>
            </a:extLst>
          </p:cNvPr>
          <p:cNvSpPr/>
          <p:nvPr/>
        </p:nvSpPr>
        <p:spPr>
          <a:xfrm>
            <a:off x="1967126" y="3632352"/>
            <a:ext cx="56501" cy="50182"/>
          </a:xfrm>
          <a:prstGeom prst="ellipse">
            <a:avLst/>
          </a:pr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49" name="Google Shape;843;p12">
            <a:extLst>
              <a:ext uri="{FF2B5EF4-FFF2-40B4-BE49-F238E27FC236}">
                <a16:creationId xmlns:a16="http://schemas.microsoft.com/office/drawing/2014/main" id="{D3CEDD26-67DB-411A-BEA9-065D2B7141DB}"/>
              </a:ext>
            </a:extLst>
          </p:cNvPr>
          <p:cNvSpPr/>
          <p:nvPr/>
        </p:nvSpPr>
        <p:spPr>
          <a:xfrm>
            <a:off x="2468980" y="4065068"/>
            <a:ext cx="56501" cy="50182"/>
          </a:xfrm>
          <a:prstGeom prst="ellipse">
            <a:avLst/>
          </a:pr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50" name="Google Shape;844;p12">
            <a:extLst>
              <a:ext uri="{FF2B5EF4-FFF2-40B4-BE49-F238E27FC236}">
                <a16:creationId xmlns:a16="http://schemas.microsoft.com/office/drawing/2014/main" id="{4F62F9D7-E52A-498E-963B-B05F29FC515C}"/>
              </a:ext>
            </a:extLst>
          </p:cNvPr>
          <p:cNvSpPr/>
          <p:nvPr/>
        </p:nvSpPr>
        <p:spPr>
          <a:xfrm>
            <a:off x="5060808" y="4282785"/>
            <a:ext cx="56501" cy="50182"/>
          </a:xfrm>
          <a:prstGeom prst="ellipse">
            <a:avLst/>
          </a:prstGeom>
          <a:noFill/>
          <a:ln w="12700"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51" name="Google Shape;845;p12">
            <a:extLst>
              <a:ext uri="{FF2B5EF4-FFF2-40B4-BE49-F238E27FC236}">
                <a16:creationId xmlns:a16="http://schemas.microsoft.com/office/drawing/2014/main" id="{6717F485-52F6-4886-A020-EA5AB13AE9B5}"/>
              </a:ext>
            </a:extLst>
          </p:cNvPr>
          <p:cNvSpPr/>
          <p:nvPr/>
        </p:nvSpPr>
        <p:spPr>
          <a:xfrm>
            <a:off x="2165032" y="3843311"/>
            <a:ext cx="56501" cy="50182"/>
          </a:xfrm>
          <a:prstGeom prst="ellipse">
            <a:avLst/>
          </a:prstGeom>
          <a:noFill/>
          <a:ln w="12700"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52" name="Google Shape;846;p12">
            <a:extLst>
              <a:ext uri="{FF2B5EF4-FFF2-40B4-BE49-F238E27FC236}">
                <a16:creationId xmlns:a16="http://schemas.microsoft.com/office/drawing/2014/main" id="{D5FEBBE5-72C3-49B8-B68C-366ED6DC675D}"/>
              </a:ext>
            </a:extLst>
          </p:cNvPr>
          <p:cNvSpPr/>
          <p:nvPr/>
        </p:nvSpPr>
        <p:spPr>
          <a:xfrm>
            <a:off x="2646861" y="3412284"/>
            <a:ext cx="56501" cy="50182"/>
          </a:xfrm>
          <a:prstGeom prst="ellipse">
            <a:avLst/>
          </a:prstGeom>
          <a:noFill/>
          <a:ln w="12700"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53" name="Google Shape;847;p12">
            <a:extLst>
              <a:ext uri="{FF2B5EF4-FFF2-40B4-BE49-F238E27FC236}">
                <a16:creationId xmlns:a16="http://schemas.microsoft.com/office/drawing/2014/main" id="{C98FEEE1-6BF3-4542-94B2-5466574727D7}"/>
              </a:ext>
            </a:extLst>
          </p:cNvPr>
          <p:cNvSpPr/>
          <p:nvPr/>
        </p:nvSpPr>
        <p:spPr>
          <a:xfrm>
            <a:off x="3591593" y="2978078"/>
            <a:ext cx="56501" cy="50182"/>
          </a:xfrm>
          <a:prstGeom prst="ellipse">
            <a:avLst/>
          </a:prstGeom>
          <a:noFill/>
          <a:ln w="12700"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54" name="Google Shape;848;p12">
            <a:extLst>
              <a:ext uri="{FF2B5EF4-FFF2-40B4-BE49-F238E27FC236}">
                <a16:creationId xmlns:a16="http://schemas.microsoft.com/office/drawing/2014/main" id="{CE55FE31-9B55-4C79-8126-225F418295FA}"/>
              </a:ext>
            </a:extLst>
          </p:cNvPr>
          <p:cNvSpPr/>
          <p:nvPr/>
        </p:nvSpPr>
        <p:spPr>
          <a:xfrm>
            <a:off x="3448682" y="2529304"/>
            <a:ext cx="56501" cy="50182"/>
          </a:xfrm>
          <a:prstGeom prst="ellipse">
            <a:avLst/>
          </a:prstGeom>
          <a:noFill/>
          <a:ln w="12700"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55" name="Google Shape;849;p12">
            <a:extLst>
              <a:ext uri="{FF2B5EF4-FFF2-40B4-BE49-F238E27FC236}">
                <a16:creationId xmlns:a16="http://schemas.microsoft.com/office/drawing/2014/main" id="{0634D6C5-C6E2-4060-9008-69153C20333F}"/>
              </a:ext>
            </a:extLst>
          </p:cNvPr>
          <p:cNvSpPr/>
          <p:nvPr/>
        </p:nvSpPr>
        <p:spPr>
          <a:xfrm>
            <a:off x="2991789" y="2099807"/>
            <a:ext cx="56501" cy="50182"/>
          </a:xfrm>
          <a:prstGeom prst="ellipse">
            <a:avLst/>
          </a:prstGeom>
          <a:noFill/>
          <a:ln w="12700"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304" name="Google Shape;851;p12">
            <a:extLst>
              <a:ext uri="{FF2B5EF4-FFF2-40B4-BE49-F238E27FC236}">
                <a16:creationId xmlns:a16="http://schemas.microsoft.com/office/drawing/2014/main" id="{0CD79739-CD6E-4B81-9BF3-7BD9E07122DA}"/>
              </a:ext>
            </a:extLst>
          </p:cNvPr>
          <p:cNvSpPr/>
          <p:nvPr/>
        </p:nvSpPr>
        <p:spPr>
          <a:xfrm>
            <a:off x="1756721" y="1905055"/>
            <a:ext cx="3601950" cy="0"/>
          </a:xfrm>
          <a:custGeom>
            <a:avLst/>
            <a:gdLst/>
            <a:ahLst/>
            <a:cxnLst/>
            <a:rect l="l" t="t" r="r" b="b"/>
            <a:pathLst>
              <a:path w="4048125" h="120000" extrusionOk="0">
                <a:moveTo>
                  <a:pt x="0" y="0"/>
                </a:moveTo>
                <a:lnTo>
                  <a:pt x="4048125" y="0"/>
                </a:lnTo>
              </a:path>
            </a:pathLst>
          </a:cu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305" name="Google Shape;852;p12">
            <a:extLst>
              <a:ext uri="{FF2B5EF4-FFF2-40B4-BE49-F238E27FC236}">
                <a16:creationId xmlns:a16="http://schemas.microsoft.com/office/drawing/2014/main" id="{A0F136DF-E3D2-424D-8DE7-C3D3E96145CB}"/>
              </a:ext>
            </a:extLst>
          </p:cNvPr>
          <p:cNvSpPr/>
          <p:nvPr/>
        </p:nvSpPr>
        <p:spPr>
          <a:xfrm flipH="1">
            <a:off x="5316953" y="1873068"/>
            <a:ext cx="40680" cy="63974"/>
          </a:xfrm>
          <a:custGeom>
            <a:avLst/>
            <a:gdLst/>
            <a:ahLst/>
            <a:cxnLst/>
            <a:rect l="l" t="t" r="r" b="b"/>
            <a:pathLst>
              <a:path w="120000" h="98425" extrusionOk="0">
                <a:moveTo>
                  <a:pt x="0" y="0"/>
                </a:moveTo>
                <a:lnTo>
                  <a:pt x="0" y="98425"/>
                </a:lnTo>
              </a:path>
            </a:pathLst>
          </a:cu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306" name="Google Shape;853;p12">
            <a:extLst>
              <a:ext uri="{FF2B5EF4-FFF2-40B4-BE49-F238E27FC236}">
                <a16:creationId xmlns:a16="http://schemas.microsoft.com/office/drawing/2014/main" id="{32BE40B5-FA52-499F-868E-97D4FC27122B}"/>
              </a:ext>
            </a:extLst>
          </p:cNvPr>
          <p:cNvSpPr/>
          <p:nvPr/>
        </p:nvSpPr>
        <p:spPr>
          <a:xfrm flipH="1">
            <a:off x="1713029" y="1873068"/>
            <a:ext cx="40680" cy="63974"/>
          </a:xfrm>
          <a:custGeom>
            <a:avLst/>
            <a:gdLst/>
            <a:ahLst/>
            <a:cxnLst/>
            <a:rect l="l" t="t" r="r" b="b"/>
            <a:pathLst>
              <a:path w="120000" h="98425" extrusionOk="0">
                <a:moveTo>
                  <a:pt x="0" y="0"/>
                </a:moveTo>
                <a:lnTo>
                  <a:pt x="0" y="98425"/>
                </a:lnTo>
              </a:path>
            </a:pathLst>
          </a:cu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301" name="Google Shape;855;p12">
            <a:extLst>
              <a:ext uri="{FF2B5EF4-FFF2-40B4-BE49-F238E27FC236}">
                <a16:creationId xmlns:a16="http://schemas.microsoft.com/office/drawing/2014/main" id="{666E6FD8-4A18-4155-9C13-BA66CCB26F96}"/>
              </a:ext>
            </a:extLst>
          </p:cNvPr>
          <p:cNvSpPr/>
          <p:nvPr/>
        </p:nvSpPr>
        <p:spPr>
          <a:xfrm>
            <a:off x="1818849" y="2128471"/>
            <a:ext cx="3261733" cy="0"/>
          </a:xfrm>
          <a:custGeom>
            <a:avLst/>
            <a:gdLst/>
            <a:ahLst/>
            <a:cxnLst/>
            <a:rect l="l" t="t" r="r" b="b"/>
            <a:pathLst>
              <a:path w="4048125" h="120000" extrusionOk="0">
                <a:moveTo>
                  <a:pt x="0" y="0"/>
                </a:moveTo>
                <a:lnTo>
                  <a:pt x="4048125"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302" name="Google Shape;856;p12">
            <a:extLst>
              <a:ext uri="{FF2B5EF4-FFF2-40B4-BE49-F238E27FC236}">
                <a16:creationId xmlns:a16="http://schemas.microsoft.com/office/drawing/2014/main" id="{92F250AA-4C33-48A5-9E11-BE7B9FCE2A98}"/>
              </a:ext>
            </a:extLst>
          </p:cNvPr>
          <p:cNvSpPr/>
          <p:nvPr/>
        </p:nvSpPr>
        <p:spPr>
          <a:xfrm flipH="1">
            <a:off x="5042804" y="2096484"/>
            <a:ext cx="36838" cy="63974"/>
          </a:xfrm>
          <a:custGeom>
            <a:avLst/>
            <a:gdLst/>
            <a:ahLst/>
            <a:cxnLst/>
            <a:rect l="l" t="t" r="r" b="b"/>
            <a:pathLst>
              <a:path w="120000" h="98425" extrusionOk="0">
                <a:moveTo>
                  <a:pt x="0" y="0"/>
                </a:moveTo>
                <a:lnTo>
                  <a:pt x="0" y="98425"/>
                </a:lnTo>
              </a:path>
            </a:pathLst>
          </a:custGeom>
          <a:noFill/>
          <a:ln w="12700"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303" name="Google Shape;857;p12">
            <a:extLst>
              <a:ext uri="{FF2B5EF4-FFF2-40B4-BE49-F238E27FC236}">
                <a16:creationId xmlns:a16="http://schemas.microsoft.com/office/drawing/2014/main" id="{D96922DE-6D3A-4FB9-B48C-51F5EFCF1E55}"/>
              </a:ext>
            </a:extLst>
          </p:cNvPr>
          <p:cNvSpPr/>
          <p:nvPr/>
        </p:nvSpPr>
        <p:spPr>
          <a:xfrm flipH="1">
            <a:off x="1779284" y="2096484"/>
            <a:ext cx="36838" cy="63974"/>
          </a:xfrm>
          <a:custGeom>
            <a:avLst/>
            <a:gdLst/>
            <a:ahLst/>
            <a:cxnLst/>
            <a:rect l="l" t="t" r="r" b="b"/>
            <a:pathLst>
              <a:path w="120000" h="98425" extrusionOk="0">
                <a:moveTo>
                  <a:pt x="0" y="0"/>
                </a:moveTo>
                <a:lnTo>
                  <a:pt x="0" y="98425"/>
                </a:lnTo>
              </a:path>
            </a:pathLst>
          </a:custGeom>
          <a:noFill/>
          <a:ln w="12700"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98" name="Google Shape;859;p12">
            <a:extLst>
              <a:ext uri="{FF2B5EF4-FFF2-40B4-BE49-F238E27FC236}">
                <a16:creationId xmlns:a16="http://schemas.microsoft.com/office/drawing/2014/main" id="{15A4395F-CE0C-48EA-ABF7-BB5B38305BE7}"/>
              </a:ext>
            </a:extLst>
          </p:cNvPr>
          <p:cNvSpPr/>
          <p:nvPr/>
        </p:nvSpPr>
        <p:spPr>
          <a:xfrm>
            <a:off x="1806777" y="2346442"/>
            <a:ext cx="3146678" cy="0"/>
          </a:xfrm>
          <a:custGeom>
            <a:avLst/>
            <a:gdLst/>
            <a:ahLst/>
            <a:cxnLst/>
            <a:rect l="l" t="t" r="r" b="b"/>
            <a:pathLst>
              <a:path w="4048125" h="120000" extrusionOk="0">
                <a:moveTo>
                  <a:pt x="0" y="0"/>
                </a:moveTo>
                <a:lnTo>
                  <a:pt x="4048125" y="0"/>
                </a:lnTo>
              </a:path>
            </a:pathLst>
          </a:cu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99" name="Google Shape;860;p12">
            <a:extLst>
              <a:ext uri="{FF2B5EF4-FFF2-40B4-BE49-F238E27FC236}">
                <a16:creationId xmlns:a16="http://schemas.microsoft.com/office/drawing/2014/main" id="{8AA40017-2225-4DEB-8D1D-C5C1D7F63B66}"/>
              </a:ext>
            </a:extLst>
          </p:cNvPr>
          <p:cNvSpPr/>
          <p:nvPr/>
        </p:nvSpPr>
        <p:spPr>
          <a:xfrm flipH="1">
            <a:off x="4917010" y="2314455"/>
            <a:ext cx="35538" cy="63974"/>
          </a:xfrm>
          <a:custGeom>
            <a:avLst/>
            <a:gdLst/>
            <a:ahLst/>
            <a:cxnLst/>
            <a:rect l="l" t="t" r="r" b="b"/>
            <a:pathLst>
              <a:path w="120000" h="98425" extrusionOk="0">
                <a:moveTo>
                  <a:pt x="0" y="0"/>
                </a:moveTo>
                <a:lnTo>
                  <a:pt x="0" y="98425"/>
                </a:lnTo>
              </a:path>
            </a:pathLst>
          </a:cu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300" name="Google Shape;861;p12">
            <a:extLst>
              <a:ext uri="{FF2B5EF4-FFF2-40B4-BE49-F238E27FC236}">
                <a16:creationId xmlns:a16="http://schemas.microsoft.com/office/drawing/2014/main" id="{13EB04D3-2C68-4F42-943E-6D388400DC2B}"/>
              </a:ext>
            </a:extLst>
          </p:cNvPr>
          <p:cNvSpPr/>
          <p:nvPr/>
        </p:nvSpPr>
        <p:spPr>
          <a:xfrm flipH="1">
            <a:off x="1768608" y="2314455"/>
            <a:ext cx="35538" cy="63974"/>
          </a:xfrm>
          <a:custGeom>
            <a:avLst/>
            <a:gdLst/>
            <a:ahLst/>
            <a:cxnLst/>
            <a:rect l="l" t="t" r="r" b="b"/>
            <a:pathLst>
              <a:path w="120000" h="98425" extrusionOk="0">
                <a:moveTo>
                  <a:pt x="0" y="0"/>
                </a:moveTo>
                <a:lnTo>
                  <a:pt x="0" y="98425"/>
                </a:lnTo>
              </a:path>
            </a:pathLst>
          </a:cu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95" name="Google Shape;863;p12">
            <a:extLst>
              <a:ext uri="{FF2B5EF4-FFF2-40B4-BE49-F238E27FC236}">
                <a16:creationId xmlns:a16="http://schemas.microsoft.com/office/drawing/2014/main" id="{43A47823-FEBA-4C87-B2D8-250AF63C0CA3}"/>
              </a:ext>
            </a:extLst>
          </p:cNvPr>
          <p:cNvSpPr/>
          <p:nvPr/>
        </p:nvSpPr>
        <p:spPr>
          <a:xfrm>
            <a:off x="1933373" y="2781994"/>
            <a:ext cx="923888" cy="0"/>
          </a:xfrm>
          <a:custGeom>
            <a:avLst/>
            <a:gdLst/>
            <a:ahLst/>
            <a:cxnLst/>
            <a:rect l="l" t="t" r="r" b="b"/>
            <a:pathLst>
              <a:path w="4048125" h="120000" extrusionOk="0">
                <a:moveTo>
                  <a:pt x="0" y="0"/>
                </a:moveTo>
                <a:lnTo>
                  <a:pt x="4048125" y="0"/>
                </a:lnTo>
              </a:path>
            </a:pathLst>
          </a:cu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dirty="0">
              <a:ln>
                <a:noFill/>
              </a:ln>
              <a:solidFill>
                <a:srgbClr val="FFFFFF"/>
              </a:solidFill>
              <a:effectLst/>
              <a:uLnTx/>
              <a:uFillTx/>
              <a:latin typeface="Gene Sans Light" panose="00000400000000000000" pitchFamily="50" charset="0"/>
              <a:cs typeface="Arial"/>
              <a:sym typeface="Arial"/>
            </a:endParaRPr>
          </a:p>
        </p:txBody>
      </p:sp>
      <p:sp>
        <p:nvSpPr>
          <p:cNvPr id="296" name="Google Shape;864;p12">
            <a:extLst>
              <a:ext uri="{FF2B5EF4-FFF2-40B4-BE49-F238E27FC236}">
                <a16:creationId xmlns:a16="http://schemas.microsoft.com/office/drawing/2014/main" id="{2D0DA929-BFE3-4F90-9C32-31D148B92C11}"/>
              </a:ext>
            </a:extLst>
          </p:cNvPr>
          <p:cNvSpPr/>
          <p:nvPr/>
        </p:nvSpPr>
        <p:spPr>
          <a:xfrm flipH="1">
            <a:off x="2846560" y="2750007"/>
            <a:ext cx="10434" cy="63974"/>
          </a:xfrm>
          <a:custGeom>
            <a:avLst/>
            <a:gdLst/>
            <a:ahLst/>
            <a:cxnLst/>
            <a:rect l="l" t="t" r="r" b="b"/>
            <a:pathLst>
              <a:path w="120000" h="98425" extrusionOk="0">
                <a:moveTo>
                  <a:pt x="0" y="0"/>
                </a:moveTo>
                <a:lnTo>
                  <a:pt x="0" y="98425"/>
                </a:lnTo>
              </a:path>
            </a:pathLst>
          </a:cu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97" name="Google Shape;865;p12">
            <a:extLst>
              <a:ext uri="{FF2B5EF4-FFF2-40B4-BE49-F238E27FC236}">
                <a16:creationId xmlns:a16="http://schemas.microsoft.com/office/drawing/2014/main" id="{8111B5A3-4284-4360-8CDD-E648993A13AE}"/>
              </a:ext>
            </a:extLst>
          </p:cNvPr>
          <p:cNvSpPr/>
          <p:nvPr/>
        </p:nvSpPr>
        <p:spPr>
          <a:xfrm flipH="1">
            <a:off x="1922166" y="2750007"/>
            <a:ext cx="10434" cy="63974"/>
          </a:xfrm>
          <a:custGeom>
            <a:avLst/>
            <a:gdLst/>
            <a:ahLst/>
            <a:cxnLst/>
            <a:rect l="l" t="t" r="r" b="b"/>
            <a:pathLst>
              <a:path w="120000" h="98425" extrusionOk="0">
                <a:moveTo>
                  <a:pt x="0" y="0"/>
                </a:moveTo>
                <a:lnTo>
                  <a:pt x="0" y="98425"/>
                </a:lnTo>
              </a:path>
            </a:pathLst>
          </a:cu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92" name="Google Shape;867;p12">
            <a:extLst>
              <a:ext uri="{FF2B5EF4-FFF2-40B4-BE49-F238E27FC236}">
                <a16:creationId xmlns:a16="http://schemas.microsoft.com/office/drawing/2014/main" id="{EE873467-F9A1-4F49-91A9-138704BC9576}"/>
              </a:ext>
            </a:extLst>
          </p:cNvPr>
          <p:cNvSpPr/>
          <p:nvPr/>
        </p:nvSpPr>
        <p:spPr>
          <a:xfrm>
            <a:off x="1994540" y="3655694"/>
            <a:ext cx="376811" cy="0"/>
          </a:xfrm>
          <a:custGeom>
            <a:avLst/>
            <a:gdLst/>
            <a:ahLst/>
            <a:cxnLst/>
            <a:rect l="l" t="t" r="r" b="b"/>
            <a:pathLst>
              <a:path w="4048125" h="120000" extrusionOk="0">
                <a:moveTo>
                  <a:pt x="0" y="0"/>
                </a:moveTo>
                <a:lnTo>
                  <a:pt x="4048125" y="0"/>
                </a:lnTo>
              </a:path>
            </a:pathLst>
          </a:cu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93" name="Google Shape;868;p12">
            <a:extLst>
              <a:ext uri="{FF2B5EF4-FFF2-40B4-BE49-F238E27FC236}">
                <a16:creationId xmlns:a16="http://schemas.microsoft.com/office/drawing/2014/main" id="{DB5CC832-B704-4F01-BF4A-74BB9223CC62}"/>
              </a:ext>
            </a:extLst>
          </p:cNvPr>
          <p:cNvSpPr/>
          <p:nvPr/>
        </p:nvSpPr>
        <p:spPr>
          <a:xfrm flipH="1">
            <a:off x="2366987" y="3623707"/>
            <a:ext cx="4256" cy="63974"/>
          </a:xfrm>
          <a:custGeom>
            <a:avLst/>
            <a:gdLst/>
            <a:ahLst/>
            <a:cxnLst/>
            <a:rect l="l" t="t" r="r" b="b"/>
            <a:pathLst>
              <a:path w="120000" h="98425" extrusionOk="0">
                <a:moveTo>
                  <a:pt x="0" y="0"/>
                </a:moveTo>
                <a:lnTo>
                  <a:pt x="0" y="98425"/>
                </a:lnTo>
              </a:path>
            </a:pathLst>
          </a:cu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94" name="Google Shape;869;p12">
            <a:extLst>
              <a:ext uri="{FF2B5EF4-FFF2-40B4-BE49-F238E27FC236}">
                <a16:creationId xmlns:a16="http://schemas.microsoft.com/office/drawing/2014/main" id="{C983E0EB-92A3-4A33-9861-FDA03E7A4B69}"/>
              </a:ext>
            </a:extLst>
          </p:cNvPr>
          <p:cNvSpPr/>
          <p:nvPr/>
        </p:nvSpPr>
        <p:spPr>
          <a:xfrm flipH="1">
            <a:off x="1989969" y="3623707"/>
            <a:ext cx="4256" cy="63974"/>
          </a:xfrm>
          <a:custGeom>
            <a:avLst/>
            <a:gdLst/>
            <a:ahLst/>
            <a:cxnLst/>
            <a:rect l="l" t="t" r="r" b="b"/>
            <a:pathLst>
              <a:path w="120000" h="98425" extrusionOk="0">
                <a:moveTo>
                  <a:pt x="0" y="0"/>
                </a:moveTo>
                <a:lnTo>
                  <a:pt x="0" y="98425"/>
                </a:lnTo>
              </a:path>
            </a:pathLst>
          </a:cu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89" name="Google Shape;871;p12">
            <a:extLst>
              <a:ext uri="{FF2B5EF4-FFF2-40B4-BE49-F238E27FC236}">
                <a16:creationId xmlns:a16="http://schemas.microsoft.com/office/drawing/2014/main" id="{8B96A36D-8C8B-4308-A3DB-E054FA8388D6}"/>
              </a:ext>
            </a:extLst>
          </p:cNvPr>
          <p:cNvSpPr/>
          <p:nvPr/>
        </p:nvSpPr>
        <p:spPr>
          <a:xfrm>
            <a:off x="1876806" y="3219374"/>
            <a:ext cx="3014498" cy="0"/>
          </a:xfrm>
          <a:custGeom>
            <a:avLst/>
            <a:gdLst/>
            <a:ahLst/>
            <a:cxnLst/>
            <a:rect l="l" t="t" r="r" b="b"/>
            <a:pathLst>
              <a:path w="4048125" h="120000" extrusionOk="0">
                <a:moveTo>
                  <a:pt x="0" y="0"/>
                </a:moveTo>
                <a:lnTo>
                  <a:pt x="4048125" y="0"/>
                </a:lnTo>
              </a:path>
            </a:pathLst>
          </a:cu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90" name="Google Shape;872;p12">
            <a:extLst>
              <a:ext uri="{FF2B5EF4-FFF2-40B4-BE49-F238E27FC236}">
                <a16:creationId xmlns:a16="http://schemas.microsoft.com/office/drawing/2014/main" id="{FDB58598-86C1-4A04-A0A6-FE3F32E8154B}"/>
              </a:ext>
            </a:extLst>
          </p:cNvPr>
          <p:cNvSpPr/>
          <p:nvPr/>
        </p:nvSpPr>
        <p:spPr>
          <a:xfrm flipH="1">
            <a:off x="4856390" y="3187387"/>
            <a:ext cx="34045" cy="63974"/>
          </a:xfrm>
          <a:custGeom>
            <a:avLst/>
            <a:gdLst/>
            <a:ahLst/>
            <a:cxnLst/>
            <a:rect l="l" t="t" r="r" b="b"/>
            <a:pathLst>
              <a:path w="120000" h="98425" extrusionOk="0">
                <a:moveTo>
                  <a:pt x="0" y="0"/>
                </a:moveTo>
                <a:lnTo>
                  <a:pt x="0" y="98425"/>
                </a:lnTo>
              </a:path>
            </a:pathLst>
          </a:cu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91" name="Google Shape;873;p12">
            <a:extLst>
              <a:ext uri="{FF2B5EF4-FFF2-40B4-BE49-F238E27FC236}">
                <a16:creationId xmlns:a16="http://schemas.microsoft.com/office/drawing/2014/main" id="{0C4EC2A9-95AE-4EFC-954D-C66A78CDE6F1}"/>
              </a:ext>
            </a:extLst>
          </p:cNvPr>
          <p:cNvSpPr/>
          <p:nvPr/>
        </p:nvSpPr>
        <p:spPr>
          <a:xfrm flipH="1">
            <a:off x="1840240" y="3187387"/>
            <a:ext cx="34045" cy="63974"/>
          </a:xfrm>
          <a:custGeom>
            <a:avLst/>
            <a:gdLst/>
            <a:ahLst/>
            <a:cxnLst/>
            <a:rect l="l" t="t" r="r" b="b"/>
            <a:pathLst>
              <a:path w="120000" h="98425" extrusionOk="0">
                <a:moveTo>
                  <a:pt x="0" y="0"/>
                </a:moveTo>
                <a:lnTo>
                  <a:pt x="0" y="98425"/>
                </a:lnTo>
              </a:path>
            </a:pathLst>
          </a:cu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86" name="Google Shape;875;p12">
            <a:extLst>
              <a:ext uri="{FF2B5EF4-FFF2-40B4-BE49-F238E27FC236}">
                <a16:creationId xmlns:a16="http://schemas.microsoft.com/office/drawing/2014/main" id="{D224E129-E34C-438B-B594-6F9073501F00}"/>
              </a:ext>
            </a:extLst>
          </p:cNvPr>
          <p:cNvSpPr/>
          <p:nvPr/>
        </p:nvSpPr>
        <p:spPr>
          <a:xfrm>
            <a:off x="1963709" y="4094671"/>
            <a:ext cx="1328612" cy="0"/>
          </a:xfrm>
          <a:custGeom>
            <a:avLst/>
            <a:gdLst/>
            <a:ahLst/>
            <a:cxnLst/>
            <a:rect l="l" t="t" r="r" b="b"/>
            <a:pathLst>
              <a:path w="4048125" h="120000" extrusionOk="0">
                <a:moveTo>
                  <a:pt x="0" y="0"/>
                </a:moveTo>
                <a:lnTo>
                  <a:pt x="4048125" y="0"/>
                </a:lnTo>
              </a:path>
            </a:pathLst>
          </a:cu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87" name="Google Shape;876;p12">
            <a:extLst>
              <a:ext uri="{FF2B5EF4-FFF2-40B4-BE49-F238E27FC236}">
                <a16:creationId xmlns:a16="http://schemas.microsoft.com/office/drawing/2014/main" id="{7AC8CB21-0724-40DC-98BC-A604C9F94821}"/>
              </a:ext>
            </a:extLst>
          </p:cNvPr>
          <p:cNvSpPr/>
          <p:nvPr/>
        </p:nvSpPr>
        <p:spPr>
          <a:xfrm flipH="1">
            <a:off x="3276933" y="4062684"/>
            <a:ext cx="15005" cy="63974"/>
          </a:xfrm>
          <a:custGeom>
            <a:avLst/>
            <a:gdLst/>
            <a:ahLst/>
            <a:cxnLst/>
            <a:rect l="l" t="t" r="r" b="b"/>
            <a:pathLst>
              <a:path w="120000" h="98425" extrusionOk="0">
                <a:moveTo>
                  <a:pt x="0" y="0"/>
                </a:moveTo>
                <a:lnTo>
                  <a:pt x="0" y="98425"/>
                </a:lnTo>
              </a:path>
            </a:pathLst>
          </a:cu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88" name="Google Shape;877;p12">
            <a:extLst>
              <a:ext uri="{FF2B5EF4-FFF2-40B4-BE49-F238E27FC236}">
                <a16:creationId xmlns:a16="http://schemas.microsoft.com/office/drawing/2014/main" id="{33B75A9D-59CB-4FF0-ADB5-20759A7D6C2E}"/>
              </a:ext>
            </a:extLst>
          </p:cNvPr>
          <p:cNvSpPr/>
          <p:nvPr/>
        </p:nvSpPr>
        <p:spPr>
          <a:xfrm flipH="1">
            <a:off x="1947593" y="4062684"/>
            <a:ext cx="15005" cy="63974"/>
          </a:xfrm>
          <a:custGeom>
            <a:avLst/>
            <a:gdLst/>
            <a:ahLst/>
            <a:cxnLst/>
            <a:rect l="l" t="t" r="r" b="b"/>
            <a:pathLst>
              <a:path w="120000" h="98425" extrusionOk="0">
                <a:moveTo>
                  <a:pt x="0" y="0"/>
                </a:moveTo>
                <a:lnTo>
                  <a:pt x="0" y="98425"/>
                </a:lnTo>
              </a:path>
            </a:pathLst>
          </a:cu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83" name="Google Shape;879;p12">
            <a:extLst>
              <a:ext uri="{FF2B5EF4-FFF2-40B4-BE49-F238E27FC236}">
                <a16:creationId xmlns:a16="http://schemas.microsoft.com/office/drawing/2014/main" id="{A2B102B9-0D37-4390-AE91-EDF8FC0BD29D}"/>
              </a:ext>
            </a:extLst>
          </p:cNvPr>
          <p:cNvSpPr/>
          <p:nvPr/>
        </p:nvSpPr>
        <p:spPr>
          <a:xfrm>
            <a:off x="1873284" y="3439913"/>
            <a:ext cx="1532039" cy="0"/>
          </a:xfrm>
          <a:custGeom>
            <a:avLst/>
            <a:gdLst/>
            <a:ahLst/>
            <a:cxnLst/>
            <a:rect l="l" t="t" r="r" b="b"/>
            <a:pathLst>
              <a:path w="4048125" h="120000" extrusionOk="0">
                <a:moveTo>
                  <a:pt x="0" y="0"/>
                </a:moveTo>
                <a:lnTo>
                  <a:pt x="4048125"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84" name="Google Shape;880;p12">
            <a:extLst>
              <a:ext uri="{FF2B5EF4-FFF2-40B4-BE49-F238E27FC236}">
                <a16:creationId xmlns:a16="http://schemas.microsoft.com/office/drawing/2014/main" id="{FD80BC6F-82C5-4E78-B6B2-D67932D9CA1A}"/>
              </a:ext>
            </a:extLst>
          </p:cNvPr>
          <p:cNvSpPr/>
          <p:nvPr/>
        </p:nvSpPr>
        <p:spPr>
          <a:xfrm flipH="1">
            <a:off x="3387579" y="3407926"/>
            <a:ext cx="17303" cy="63974"/>
          </a:xfrm>
          <a:custGeom>
            <a:avLst/>
            <a:gdLst/>
            <a:ahLst/>
            <a:cxnLst/>
            <a:rect l="l" t="t" r="r" b="b"/>
            <a:pathLst>
              <a:path w="120000" h="98425" extrusionOk="0">
                <a:moveTo>
                  <a:pt x="0" y="0"/>
                </a:moveTo>
                <a:lnTo>
                  <a:pt x="0" y="98425"/>
                </a:lnTo>
              </a:path>
            </a:pathLst>
          </a:custGeom>
          <a:noFill/>
          <a:ln w="12700"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85" name="Google Shape;881;p12">
            <a:extLst>
              <a:ext uri="{FF2B5EF4-FFF2-40B4-BE49-F238E27FC236}">
                <a16:creationId xmlns:a16="http://schemas.microsoft.com/office/drawing/2014/main" id="{F2EB476A-CA5D-4E4E-B941-E77AA9B4E708}"/>
              </a:ext>
            </a:extLst>
          </p:cNvPr>
          <p:cNvSpPr/>
          <p:nvPr/>
        </p:nvSpPr>
        <p:spPr>
          <a:xfrm flipH="1">
            <a:off x="1854700" y="3407926"/>
            <a:ext cx="17303" cy="63974"/>
          </a:xfrm>
          <a:custGeom>
            <a:avLst/>
            <a:gdLst/>
            <a:ahLst/>
            <a:cxnLst/>
            <a:rect l="l" t="t" r="r" b="b"/>
            <a:pathLst>
              <a:path w="120000" h="98425" extrusionOk="0">
                <a:moveTo>
                  <a:pt x="0" y="0"/>
                </a:moveTo>
                <a:lnTo>
                  <a:pt x="0" y="98425"/>
                </a:lnTo>
              </a:path>
            </a:pathLst>
          </a:custGeom>
          <a:noFill/>
          <a:ln w="12700"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80" name="Google Shape;883;p12">
            <a:extLst>
              <a:ext uri="{FF2B5EF4-FFF2-40B4-BE49-F238E27FC236}">
                <a16:creationId xmlns:a16="http://schemas.microsoft.com/office/drawing/2014/main" id="{F3C0E7E0-2E27-4199-ABB9-BEA50494BF3D}"/>
              </a:ext>
            </a:extLst>
          </p:cNvPr>
          <p:cNvSpPr/>
          <p:nvPr/>
        </p:nvSpPr>
        <p:spPr>
          <a:xfrm>
            <a:off x="2996041" y="3003268"/>
            <a:ext cx="1248325" cy="0"/>
          </a:xfrm>
          <a:custGeom>
            <a:avLst/>
            <a:gdLst/>
            <a:ahLst/>
            <a:cxnLst/>
            <a:rect l="l" t="t" r="r" b="b"/>
            <a:pathLst>
              <a:path w="4048125" h="120000" extrusionOk="0">
                <a:moveTo>
                  <a:pt x="0" y="0"/>
                </a:moveTo>
                <a:lnTo>
                  <a:pt x="4048125"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81" name="Google Shape;884;p12">
            <a:extLst>
              <a:ext uri="{FF2B5EF4-FFF2-40B4-BE49-F238E27FC236}">
                <a16:creationId xmlns:a16="http://schemas.microsoft.com/office/drawing/2014/main" id="{59E39782-FB85-4A8C-BFD5-55DCDF78838E}"/>
              </a:ext>
            </a:extLst>
          </p:cNvPr>
          <p:cNvSpPr/>
          <p:nvPr/>
        </p:nvSpPr>
        <p:spPr>
          <a:xfrm flipH="1">
            <a:off x="4229908" y="2971281"/>
            <a:ext cx="14098" cy="63974"/>
          </a:xfrm>
          <a:custGeom>
            <a:avLst/>
            <a:gdLst/>
            <a:ahLst/>
            <a:cxnLst/>
            <a:rect l="l" t="t" r="r" b="b"/>
            <a:pathLst>
              <a:path w="120000" h="98425" extrusionOk="0">
                <a:moveTo>
                  <a:pt x="0" y="0"/>
                </a:moveTo>
                <a:lnTo>
                  <a:pt x="0" y="98425"/>
                </a:lnTo>
              </a:path>
            </a:pathLst>
          </a:custGeom>
          <a:noFill/>
          <a:ln w="12700"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82" name="Google Shape;885;p12">
            <a:extLst>
              <a:ext uri="{FF2B5EF4-FFF2-40B4-BE49-F238E27FC236}">
                <a16:creationId xmlns:a16="http://schemas.microsoft.com/office/drawing/2014/main" id="{8D5E7528-E49E-4E9A-88E2-5FA7EA88DE6C}"/>
              </a:ext>
            </a:extLst>
          </p:cNvPr>
          <p:cNvSpPr/>
          <p:nvPr/>
        </p:nvSpPr>
        <p:spPr>
          <a:xfrm flipH="1">
            <a:off x="2980899" y="2971281"/>
            <a:ext cx="14098" cy="63974"/>
          </a:xfrm>
          <a:custGeom>
            <a:avLst/>
            <a:gdLst/>
            <a:ahLst/>
            <a:cxnLst/>
            <a:rect l="l" t="t" r="r" b="b"/>
            <a:pathLst>
              <a:path w="120000" h="98425" extrusionOk="0">
                <a:moveTo>
                  <a:pt x="0" y="0"/>
                </a:moveTo>
                <a:lnTo>
                  <a:pt x="0" y="98425"/>
                </a:lnTo>
              </a:path>
            </a:pathLst>
          </a:custGeom>
          <a:noFill/>
          <a:ln w="12700"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77" name="Google Shape;887;p12">
            <a:extLst>
              <a:ext uri="{FF2B5EF4-FFF2-40B4-BE49-F238E27FC236}">
                <a16:creationId xmlns:a16="http://schemas.microsoft.com/office/drawing/2014/main" id="{F9EBE4C3-DB78-46F1-8BF3-636B2002EB42}"/>
              </a:ext>
            </a:extLst>
          </p:cNvPr>
          <p:cNvSpPr/>
          <p:nvPr/>
        </p:nvSpPr>
        <p:spPr>
          <a:xfrm>
            <a:off x="2611781" y="2561999"/>
            <a:ext cx="2878437" cy="0"/>
          </a:xfrm>
          <a:custGeom>
            <a:avLst/>
            <a:gdLst/>
            <a:ahLst/>
            <a:cxnLst/>
            <a:rect l="l" t="t" r="r" b="b"/>
            <a:pathLst>
              <a:path w="4048125" h="120000" extrusionOk="0">
                <a:moveTo>
                  <a:pt x="0" y="0"/>
                </a:moveTo>
                <a:lnTo>
                  <a:pt x="4048125"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78" name="Google Shape;888;p12">
            <a:extLst>
              <a:ext uri="{FF2B5EF4-FFF2-40B4-BE49-F238E27FC236}">
                <a16:creationId xmlns:a16="http://schemas.microsoft.com/office/drawing/2014/main" id="{14731CD2-6850-4C88-9209-2E2189A83866}"/>
              </a:ext>
            </a:extLst>
          </p:cNvPr>
          <p:cNvSpPr/>
          <p:nvPr/>
        </p:nvSpPr>
        <p:spPr>
          <a:xfrm flipH="1">
            <a:off x="5456880" y="2530012"/>
            <a:ext cx="32509" cy="63974"/>
          </a:xfrm>
          <a:custGeom>
            <a:avLst/>
            <a:gdLst/>
            <a:ahLst/>
            <a:cxnLst/>
            <a:rect l="l" t="t" r="r" b="b"/>
            <a:pathLst>
              <a:path w="120000" h="98425" extrusionOk="0">
                <a:moveTo>
                  <a:pt x="0" y="0"/>
                </a:moveTo>
                <a:lnTo>
                  <a:pt x="0" y="98425"/>
                </a:lnTo>
              </a:path>
            </a:pathLst>
          </a:custGeom>
          <a:noFill/>
          <a:ln w="12700"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79" name="Google Shape;889;p12">
            <a:extLst>
              <a:ext uri="{FF2B5EF4-FFF2-40B4-BE49-F238E27FC236}">
                <a16:creationId xmlns:a16="http://schemas.microsoft.com/office/drawing/2014/main" id="{F14C0339-AD4B-42EF-9720-41345377D7CB}"/>
              </a:ext>
            </a:extLst>
          </p:cNvPr>
          <p:cNvSpPr/>
          <p:nvPr/>
        </p:nvSpPr>
        <p:spPr>
          <a:xfrm flipH="1">
            <a:off x="2576865" y="2530012"/>
            <a:ext cx="32509" cy="63974"/>
          </a:xfrm>
          <a:custGeom>
            <a:avLst/>
            <a:gdLst/>
            <a:ahLst/>
            <a:cxnLst/>
            <a:rect l="l" t="t" r="r" b="b"/>
            <a:pathLst>
              <a:path w="120000" h="98425" extrusionOk="0">
                <a:moveTo>
                  <a:pt x="0" y="0"/>
                </a:moveTo>
                <a:lnTo>
                  <a:pt x="0" y="98425"/>
                </a:lnTo>
              </a:path>
            </a:pathLst>
          </a:custGeom>
          <a:noFill/>
          <a:ln w="12700"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266" name="Google Shape;890;p12">
            <a:extLst>
              <a:ext uri="{FF2B5EF4-FFF2-40B4-BE49-F238E27FC236}">
                <a16:creationId xmlns:a16="http://schemas.microsoft.com/office/drawing/2014/main" id="{D0A12999-0B44-4C14-A65F-64F27A3CD349}"/>
              </a:ext>
            </a:extLst>
          </p:cNvPr>
          <p:cNvSpPr txBox="1"/>
          <p:nvPr/>
        </p:nvSpPr>
        <p:spPr>
          <a:xfrm>
            <a:off x="4615672" y="4124827"/>
            <a:ext cx="988097" cy="10772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rPr>
              <a:t>50.9 (5.09–50.9)</a:t>
            </a:r>
            <a:endParaRPr kumimoji="0" sz="7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endParaRPr>
          </a:p>
        </p:txBody>
      </p:sp>
      <p:sp>
        <p:nvSpPr>
          <p:cNvPr id="267" name="Google Shape;891;p12">
            <a:extLst>
              <a:ext uri="{FF2B5EF4-FFF2-40B4-BE49-F238E27FC236}">
                <a16:creationId xmlns:a16="http://schemas.microsoft.com/office/drawing/2014/main" id="{B4499773-C82C-46A2-984E-2AD8A5C8B958}"/>
              </a:ext>
            </a:extLst>
          </p:cNvPr>
          <p:cNvSpPr txBox="1"/>
          <p:nvPr/>
        </p:nvSpPr>
        <p:spPr>
          <a:xfrm>
            <a:off x="1140414" y="4520354"/>
            <a:ext cx="503577" cy="143302"/>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Weeks</a:t>
            </a:r>
            <a:endParaRPr kumimoji="0"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69" name="Google Shape;893;p12">
            <a:extLst>
              <a:ext uri="{FF2B5EF4-FFF2-40B4-BE49-F238E27FC236}">
                <a16:creationId xmlns:a16="http://schemas.microsoft.com/office/drawing/2014/main" id="{9F83D6D0-8E67-4CEE-8689-E319191A9DCA}"/>
              </a:ext>
            </a:extLst>
          </p:cNvPr>
          <p:cNvSpPr/>
          <p:nvPr/>
        </p:nvSpPr>
        <p:spPr>
          <a:xfrm>
            <a:off x="4488433" y="3621245"/>
            <a:ext cx="1296182" cy="143302"/>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anti–PD-1 + anti–CTLA-4</a:t>
            </a:r>
            <a:endParaRPr kumimoji="0"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grpSp>
        <p:nvGrpSpPr>
          <p:cNvPr id="270" name="Google Shape;894;p12">
            <a:extLst>
              <a:ext uri="{FF2B5EF4-FFF2-40B4-BE49-F238E27FC236}">
                <a16:creationId xmlns:a16="http://schemas.microsoft.com/office/drawing/2014/main" id="{3268E3B9-A6E6-4AD0-AB5A-E44F62F18AC1}"/>
              </a:ext>
            </a:extLst>
          </p:cNvPr>
          <p:cNvGrpSpPr/>
          <p:nvPr/>
        </p:nvGrpSpPr>
        <p:grpSpPr>
          <a:xfrm>
            <a:off x="4203290" y="3652864"/>
            <a:ext cx="208143" cy="62027"/>
            <a:chOff x="5227446" y="4608971"/>
            <a:chExt cx="275947" cy="91440"/>
          </a:xfrm>
          <a:noFill/>
        </p:grpSpPr>
        <p:sp>
          <p:nvSpPr>
            <p:cNvPr id="275" name="Google Shape;895;p12">
              <a:extLst>
                <a:ext uri="{FF2B5EF4-FFF2-40B4-BE49-F238E27FC236}">
                  <a16:creationId xmlns:a16="http://schemas.microsoft.com/office/drawing/2014/main" id="{FA411A10-5ABA-4AF5-B802-E11A6B79806B}"/>
                </a:ext>
              </a:extLst>
            </p:cNvPr>
            <p:cNvSpPr/>
            <p:nvPr/>
          </p:nvSpPr>
          <p:spPr>
            <a:xfrm>
              <a:off x="5319699" y="4608971"/>
              <a:ext cx="91440" cy="91440"/>
            </a:xfrm>
            <a:prstGeom prst="ellipse">
              <a:avLst/>
            </a:prstGeom>
            <a:grp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cxnSp>
          <p:nvCxnSpPr>
            <p:cNvPr id="276" name="Google Shape;896;p12">
              <a:extLst>
                <a:ext uri="{FF2B5EF4-FFF2-40B4-BE49-F238E27FC236}">
                  <a16:creationId xmlns:a16="http://schemas.microsoft.com/office/drawing/2014/main" id="{4D32DD51-0BBD-43E3-87CF-DEEA8C11E515}"/>
                </a:ext>
              </a:extLst>
            </p:cNvPr>
            <p:cNvCxnSpPr/>
            <p:nvPr/>
          </p:nvCxnSpPr>
          <p:spPr>
            <a:xfrm>
              <a:off x="5227446" y="4654691"/>
              <a:ext cx="275947" cy="0"/>
            </a:xfrm>
            <a:prstGeom prst="straightConnector1">
              <a:avLst/>
            </a:prstGeom>
            <a:grpFill/>
            <a:ln w="12700" cap="flat" cmpd="sng">
              <a:solidFill>
                <a:schemeClr val="accent1"/>
              </a:solidFill>
              <a:prstDash val="solid"/>
              <a:round/>
              <a:headEnd type="none" w="sm" len="sm"/>
              <a:tailEnd type="none" w="sm" len="sm"/>
            </a:ln>
          </p:spPr>
        </p:cxnSp>
      </p:grpSp>
      <p:grpSp>
        <p:nvGrpSpPr>
          <p:cNvPr id="271" name="Google Shape;897;p12">
            <a:extLst>
              <a:ext uri="{FF2B5EF4-FFF2-40B4-BE49-F238E27FC236}">
                <a16:creationId xmlns:a16="http://schemas.microsoft.com/office/drawing/2014/main" id="{6E9F5EF5-7C75-4152-AB2F-14BE96D71CAB}"/>
              </a:ext>
            </a:extLst>
          </p:cNvPr>
          <p:cNvGrpSpPr/>
          <p:nvPr/>
        </p:nvGrpSpPr>
        <p:grpSpPr>
          <a:xfrm>
            <a:off x="4203290" y="3881738"/>
            <a:ext cx="208143" cy="62027"/>
            <a:chOff x="5227446" y="4859726"/>
            <a:chExt cx="275947" cy="91440"/>
          </a:xfrm>
          <a:noFill/>
        </p:grpSpPr>
        <p:sp>
          <p:nvSpPr>
            <p:cNvPr id="273" name="Google Shape;898;p12">
              <a:extLst>
                <a:ext uri="{FF2B5EF4-FFF2-40B4-BE49-F238E27FC236}">
                  <a16:creationId xmlns:a16="http://schemas.microsoft.com/office/drawing/2014/main" id="{B2AD8C6A-E2EC-431E-B527-F0179AF8F81F}"/>
                </a:ext>
              </a:extLst>
            </p:cNvPr>
            <p:cNvSpPr/>
            <p:nvPr/>
          </p:nvSpPr>
          <p:spPr>
            <a:xfrm>
              <a:off x="5319699" y="4859726"/>
              <a:ext cx="91440" cy="91440"/>
            </a:xfrm>
            <a:prstGeom prst="ellipse">
              <a:avLst/>
            </a:prstGeom>
            <a:grpFill/>
            <a:ln w="12700" cap="flat" cmpd="sng">
              <a:solidFill>
                <a:schemeClr val="accent5"/>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cxnSp>
          <p:nvCxnSpPr>
            <p:cNvPr id="274" name="Google Shape;899;p12">
              <a:extLst>
                <a:ext uri="{FF2B5EF4-FFF2-40B4-BE49-F238E27FC236}">
                  <a16:creationId xmlns:a16="http://schemas.microsoft.com/office/drawing/2014/main" id="{02D928A6-BB20-47B7-B235-2E826B0D4B84}"/>
                </a:ext>
              </a:extLst>
            </p:cNvPr>
            <p:cNvCxnSpPr/>
            <p:nvPr/>
          </p:nvCxnSpPr>
          <p:spPr>
            <a:xfrm>
              <a:off x="5227446" y="4905446"/>
              <a:ext cx="275947" cy="0"/>
            </a:xfrm>
            <a:prstGeom prst="straightConnector1">
              <a:avLst/>
            </a:prstGeom>
            <a:grpFill/>
            <a:ln w="12700" cap="flat" cmpd="sng">
              <a:solidFill>
                <a:schemeClr val="accent5"/>
              </a:solidFill>
              <a:prstDash val="solid"/>
              <a:round/>
              <a:headEnd type="none" w="sm" len="sm"/>
              <a:tailEnd type="none" w="sm" len="sm"/>
            </a:ln>
          </p:spPr>
        </p:cxnSp>
      </p:grpSp>
      <p:sp>
        <p:nvSpPr>
          <p:cNvPr id="272" name="Google Shape;900;p12">
            <a:extLst>
              <a:ext uri="{FF2B5EF4-FFF2-40B4-BE49-F238E27FC236}">
                <a16:creationId xmlns:a16="http://schemas.microsoft.com/office/drawing/2014/main" id="{0C775867-7496-4DFA-9553-F591FB6103B8}"/>
              </a:ext>
            </a:extLst>
          </p:cNvPr>
          <p:cNvSpPr/>
          <p:nvPr/>
        </p:nvSpPr>
        <p:spPr>
          <a:xfrm>
            <a:off x="4488433" y="3833171"/>
            <a:ext cx="546524" cy="143302"/>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anti–PD-1 </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309" name="Google Shape;839;p12">
            <a:extLst>
              <a:ext uri="{FF2B5EF4-FFF2-40B4-BE49-F238E27FC236}">
                <a16:creationId xmlns:a16="http://schemas.microsoft.com/office/drawing/2014/main" id="{04FC727C-A82B-4A50-88FE-FBB534A94B63}"/>
              </a:ext>
            </a:extLst>
          </p:cNvPr>
          <p:cNvSpPr/>
          <p:nvPr/>
        </p:nvSpPr>
        <p:spPr>
          <a:xfrm>
            <a:off x="2241959" y="2320719"/>
            <a:ext cx="56501" cy="50182"/>
          </a:xfrm>
          <a:prstGeom prst="ellipse">
            <a:avLst/>
          </a:prstGeom>
          <a:noFill/>
          <a:ln w="12700" cap="flat" cmpd="sng">
            <a:solidFill>
              <a:schemeClr val="accent1"/>
            </a:solidFill>
            <a:prstDash val="solid"/>
            <a:round/>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310" name="Rectangle 309">
            <a:extLst>
              <a:ext uri="{FF2B5EF4-FFF2-40B4-BE49-F238E27FC236}">
                <a16:creationId xmlns:a16="http://schemas.microsoft.com/office/drawing/2014/main" id="{87DC06F2-E285-48B3-9C36-F1CA1F2EA3C4}"/>
              </a:ext>
            </a:extLst>
          </p:cNvPr>
          <p:cNvSpPr/>
          <p:nvPr/>
        </p:nvSpPr>
        <p:spPr>
          <a:xfrm>
            <a:off x="6138064" y="1483447"/>
            <a:ext cx="344578" cy="3474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311" name="TextBox 310">
            <a:extLst>
              <a:ext uri="{FF2B5EF4-FFF2-40B4-BE49-F238E27FC236}">
                <a16:creationId xmlns:a16="http://schemas.microsoft.com/office/drawing/2014/main" id="{D5F89170-22CE-4828-9FB4-CA4E2F853689}"/>
              </a:ext>
            </a:extLst>
          </p:cNvPr>
          <p:cNvSpPr txBox="1"/>
          <p:nvPr/>
        </p:nvSpPr>
        <p:spPr>
          <a:xfrm>
            <a:off x="6321930" y="1923123"/>
            <a:ext cx="2325603" cy="1759456"/>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
                <a:srgbClr val="000000"/>
              </a:buClr>
              <a:buSzPct val="100000"/>
              <a:buFont typeface="Arial" panose="020B0604020202020204" pitchFamily="34" charset="0"/>
              <a:buChar char="•"/>
              <a:tabLst/>
              <a:defRPr/>
            </a:pPr>
            <a:r>
              <a:rPr kumimoji="0" lang="en-US" sz="12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Can occur months after treatment initiation, even after treatment discontinuation</a:t>
            </a:r>
            <a:r>
              <a:rPr kumimoji="0" lang="en-US" sz="12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2</a:t>
            </a:r>
          </a:p>
          <a:p>
            <a:pPr marL="171450" marR="0" lvl="0" indent="-171450" algn="l" defTabSz="914400" rtl="0" eaLnBrk="1" fontAlgn="auto" latinLnBrk="0" hangingPunct="1">
              <a:lnSpc>
                <a:spcPct val="100000"/>
              </a:lnSpc>
              <a:spcBef>
                <a:spcPts val="1125"/>
              </a:spcBef>
              <a:spcAft>
                <a:spcPts val="0"/>
              </a:spcAft>
              <a:buClr>
                <a:srgbClr val="000000"/>
              </a:buClr>
              <a:buSzPct val="100000"/>
              <a:buFont typeface="Arial" panose="020B0604020202020204" pitchFamily="34" charset="0"/>
              <a:buChar char="•"/>
              <a:tabLst/>
              <a:defRPr/>
            </a:pPr>
            <a:r>
              <a:rPr kumimoji="0" lang="en-US" sz="12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More defined time window for some AEs than others</a:t>
            </a:r>
            <a:r>
              <a:rPr kumimoji="0" lang="en-US" sz="12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3</a:t>
            </a:r>
          </a:p>
          <a:p>
            <a:pPr marL="171450" marR="0" lvl="0" indent="-171450" algn="l" defTabSz="914400" rtl="0" eaLnBrk="1" fontAlgn="auto" latinLnBrk="0" hangingPunct="1">
              <a:lnSpc>
                <a:spcPct val="100000"/>
              </a:lnSpc>
              <a:spcBef>
                <a:spcPts val="1125"/>
              </a:spcBef>
              <a:spcAft>
                <a:spcPts val="0"/>
              </a:spcAft>
              <a:buClr>
                <a:srgbClr val="000000"/>
              </a:buClr>
              <a:buSzPct val="100000"/>
              <a:buFont typeface="Arial" panose="020B0604020202020204" pitchFamily="34" charset="0"/>
              <a:buChar char="•"/>
              <a:tabLst/>
              <a:defRPr/>
            </a:pPr>
            <a:r>
              <a:rPr kumimoji="0" lang="en-US" sz="12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Onset generally earlier in patients who receive combination therapy</a:t>
            </a:r>
            <a:r>
              <a:rPr kumimoji="0" lang="en-US" sz="12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4</a:t>
            </a:r>
          </a:p>
        </p:txBody>
      </p:sp>
      <p:grpSp>
        <p:nvGrpSpPr>
          <p:cNvPr id="316" name="Group 315">
            <a:extLst>
              <a:ext uri="{FF2B5EF4-FFF2-40B4-BE49-F238E27FC236}">
                <a16:creationId xmlns:a16="http://schemas.microsoft.com/office/drawing/2014/main" id="{9700816A-FD95-409D-BD65-07A2C14532B4}"/>
              </a:ext>
            </a:extLst>
          </p:cNvPr>
          <p:cNvGrpSpPr/>
          <p:nvPr/>
        </p:nvGrpSpPr>
        <p:grpSpPr>
          <a:xfrm>
            <a:off x="6196609" y="1541403"/>
            <a:ext cx="227488" cy="231587"/>
            <a:chOff x="6996113" y="3249613"/>
            <a:chExt cx="352425" cy="358775"/>
          </a:xfrm>
          <a:solidFill>
            <a:schemeClr val="bg1"/>
          </a:solidFill>
        </p:grpSpPr>
        <p:sp>
          <p:nvSpPr>
            <p:cNvPr id="317" name="Freeform 194">
              <a:extLst>
                <a:ext uri="{FF2B5EF4-FFF2-40B4-BE49-F238E27FC236}">
                  <a16:creationId xmlns:a16="http://schemas.microsoft.com/office/drawing/2014/main" id="{A90B3646-3B88-461F-B57A-0A9CBAE32EF0}"/>
                </a:ext>
              </a:extLst>
            </p:cNvPr>
            <p:cNvSpPr>
              <a:spLocks noEditPoints="1"/>
            </p:cNvSpPr>
            <p:nvPr/>
          </p:nvSpPr>
          <p:spPr bwMode="auto">
            <a:xfrm>
              <a:off x="7153275" y="3414713"/>
              <a:ext cx="195263" cy="193675"/>
            </a:xfrm>
            <a:custGeom>
              <a:avLst/>
              <a:gdLst>
                <a:gd name="T0" fmla="*/ 304 w 860"/>
                <a:gd name="T1" fmla="*/ 852 h 857"/>
                <a:gd name="T2" fmla="*/ 290 w 860"/>
                <a:gd name="T3" fmla="*/ 756 h 857"/>
                <a:gd name="T4" fmla="*/ 157 w 860"/>
                <a:gd name="T5" fmla="*/ 749 h 857"/>
                <a:gd name="T6" fmla="*/ 126 w 860"/>
                <a:gd name="T7" fmla="*/ 750 h 857"/>
                <a:gd name="T8" fmla="*/ 2 w 860"/>
                <a:gd name="T9" fmla="*/ 544 h 857"/>
                <a:gd name="T10" fmla="*/ 11 w 860"/>
                <a:gd name="T11" fmla="*/ 508 h 857"/>
                <a:gd name="T12" fmla="*/ 74 w 860"/>
                <a:gd name="T13" fmla="*/ 429 h 857"/>
                <a:gd name="T14" fmla="*/ 7 w 860"/>
                <a:gd name="T15" fmla="*/ 344 h 857"/>
                <a:gd name="T16" fmla="*/ 5 w 860"/>
                <a:gd name="T17" fmla="*/ 308 h 857"/>
                <a:gd name="T18" fmla="*/ 133 w 860"/>
                <a:gd name="T19" fmla="*/ 106 h 857"/>
                <a:gd name="T20" fmla="*/ 217 w 860"/>
                <a:gd name="T21" fmla="*/ 143 h 857"/>
                <a:gd name="T22" fmla="*/ 290 w 860"/>
                <a:gd name="T23" fmla="*/ 33 h 857"/>
                <a:gd name="T24" fmla="*/ 311 w 860"/>
                <a:gd name="T25" fmla="*/ 2 h 857"/>
                <a:gd name="T26" fmla="*/ 552 w 860"/>
                <a:gd name="T27" fmla="*/ 2 h 857"/>
                <a:gd name="T28" fmla="*/ 572 w 860"/>
                <a:gd name="T29" fmla="*/ 33 h 857"/>
                <a:gd name="T30" fmla="*/ 644 w 860"/>
                <a:gd name="T31" fmla="*/ 143 h 857"/>
                <a:gd name="T32" fmla="*/ 728 w 860"/>
                <a:gd name="T33" fmla="*/ 106 h 857"/>
                <a:gd name="T34" fmla="*/ 855 w 860"/>
                <a:gd name="T35" fmla="*/ 308 h 857"/>
                <a:gd name="T36" fmla="*/ 857 w 860"/>
                <a:gd name="T37" fmla="*/ 339 h 857"/>
                <a:gd name="T38" fmla="*/ 787 w 860"/>
                <a:gd name="T39" fmla="*/ 408 h 857"/>
                <a:gd name="T40" fmla="*/ 843 w 860"/>
                <a:gd name="T41" fmla="*/ 504 h 857"/>
                <a:gd name="T42" fmla="*/ 860 w 860"/>
                <a:gd name="T43" fmla="*/ 531 h 857"/>
                <a:gd name="T44" fmla="*/ 744 w 860"/>
                <a:gd name="T45" fmla="*/ 742 h 857"/>
                <a:gd name="T46" fmla="*/ 715 w 860"/>
                <a:gd name="T47" fmla="*/ 753 h 857"/>
                <a:gd name="T48" fmla="*/ 610 w 860"/>
                <a:gd name="T49" fmla="*/ 737 h 857"/>
                <a:gd name="T50" fmla="*/ 569 w 860"/>
                <a:gd name="T51" fmla="*/ 838 h 857"/>
                <a:gd name="T52" fmla="*/ 539 w 860"/>
                <a:gd name="T53" fmla="*/ 857 h 857"/>
                <a:gd name="T54" fmla="*/ 506 w 860"/>
                <a:gd name="T55" fmla="*/ 729 h 857"/>
                <a:gd name="T56" fmla="*/ 523 w 860"/>
                <a:gd name="T57" fmla="*/ 705 h 857"/>
                <a:gd name="T58" fmla="*/ 619 w 860"/>
                <a:gd name="T59" fmla="*/ 650 h 857"/>
                <a:gd name="T60" fmla="*/ 643 w 860"/>
                <a:gd name="T61" fmla="*/ 642 h 857"/>
                <a:gd name="T62" fmla="*/ 732 w 860"/>
                <a:gd name="T63" fmla="*/ 517 h 857"/>
                <a:gd name="T64" fmla="*/ 716 w 860"/>
                <a:gd name="T65" fmla="*/ 497 h 857"/>
                <a:gd name="T66" fmla="*/ 720 w 860"/>
                <a:gd name="T67" fmla="*/ 442 h 857"/>
                <a:gd name="T68" fmla="*/ 716 w 860"/>
                <a:gd name="T69" fmla="*/ 376 h 857"/>
                <a:gd name="T70" fmla="*/ 723 w 860"/>
                <a:gd name="T71" fmla="*/ 348 h 857"/>
                <a:gd name="T72" fmla="*/ 657 w 860"/>
                <a:gd name="T73" fmla="*/ 211 h 857"/>
                <a:gd name="T74" fmla="*/ 628 w 860"/>
                <a:gd name="T75" fmla="*/ 213 h 857"/>
                <a:gd name="T76" fmla="*/ 553 w 860"/>
                <a:gd name="T77" fmla="*/ 165 h 857"/>
                <a:gd name="T78" fmla="*/ 511 w 860"/>
                <a:gd name="T79" fmla="*/ 143 h 857"/>
                <a:gd name="T80" fmla="*/ 356 w 860"/>
                <a:gd name="T81" fmla="*/ 67 h 857"/>
                <a:gd name="T82" fmla="*/ 350 w 860"/>
                <a:gd name="T83" fmla="*/ 143 h 857"/>
                <a:gd name="T84" fmla="*/ 308 w 860"/>
                <a:gd name="T85" fmla="*/ 166 h 857"/>
                <a:gd name="T86" fmla="*/ 237 w 860"/>
                <a:gd name="T87" fmla="*/ 211 h 857"/>
                <a:gd name="T88" fmla="*/ 208 w 860"/>
                <a:gd name="T89" fmla="*/ 213 h 857"/>
                <a:gd name="T90" fmla="*/ 133 w 860"/>
                <a:gd name="T91" fmla="*/ 344 h 857"/>
                <a:gd name="T92" fmla="*/ 145 w 860"/>
                <a:gd name="T93" fmla="*/ 371 h 857"/>
                <a:gd name="T94" fmla="*/ 140 w 860"/>
                <a:gd name="T95" fmla="*/ 442 h 857"/>
                <a:gd name="T96" fmla="*/ 144 w 860"/>
                <a:gd name="T97" fmla="*/ 497 h 857"/>
                <a:gd name="T98" fmla="*/ 79 w 860"/>
                <a:gd name="T99" fmla="*/ 546 h 857"/>
                <a:gd name="T100" fmla="*/ 218 w 860"/>
                <a:gd name="T101" fmla="*/ 642 h 857"/>
                <a:gd name="T102" fmla="*/ 242 w 860"/>
                <a:gd name="T103" fmla="*/ 650 h 857"/>
                <a:gd name="T104" fmla="*/ 334 w 860"/>
                <a:gd name="T105" fmla="*/ 703 h 857"/>
                <a:gd name="T106" fmla="*/ 355 w 860"/>
                <a:gd name="T107" fmla="*/ 724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0" h="857">
                  <a:moveTo>
                    <a:pt x="539" y="857"/>
                  </a:moveTo>
                  <a:lnTo>
                    <a:pt x="323" y="857"/>
                  </a:lnTo>
                  <a:lnTo>
                    <a:pt x="323" y="857"/>
                  </a:lnTo>
                  <a:lnTo>
                    <a:pt x="317" y="857"/>
                  </a:lnTo>
                  <a:lnTo>
                    <a:pt x="311" y="855"/>
                  </a:lnTo>
                  <a:lnTo>
                    <a:pt x="304" y="852"/>
                  </a:lnTo>
                  <a:lnTo>
                    <a:pt x="299" y="848"/>
                  </a:lnTo>
                  <a:lnTo>
                    <a:pt x="296" y="843"/>
                  </a:lnTo>
                  <a:lnTo>
                    <a:pt x="293" y="838"/>
                  </a:lnTo>
                  <a:lnTo>
                    <a:pt x="291" y="831"/>
                  </a:lnTo>
                  <a:lnTo>
                    <a:pt x="290" y="825"/>
                  </a:lnTo>
                  <a:lnTo>
                    <a:pt x="290" y="756"/>
                  </a:lnTo>
                  <a:lnTo>
                    <a:pt x="290" y="756"/>
                  </a:lnTo>
                  <a:lnTo>
                    <a:pt x="273" y="749"/>
                  </a:lnTo>
                  <a:lnTo>
                    <a:pt x="255" y="738"/>
                  </a:lnTo>
                  <a:lnTo>
                    <a:pt x="236" y="728"/>
                  </a:lnTo>
                  <a:lnTo>
                    <a:pt x="217" y="714"/>
                  </a:lnTo>
                  <a:lnTo>
                    <a:pt x="157" y="749"/>
                  </a:lnTo>
                  <a:lnTo>
                    <a:pt x="157" y="749"/>
                  </a:lnTo>
                  <a:lnTo>
                    <a:pt x="151" y="752"/>
                  </a:lnTo>
                  <a:lnTo>
                    <a:pt x="145" y="753"/>
                  </a:lnTo>
                  <a:lnTo>
                    <a:pt x="139" y="753"/>
                  </a:lnTo>
                  <a:lnTo>
                    <a:pt x="133" y="752"/>
                  </a:lnTo>
                  <a:lnTo>
                    <a:pt x="126" y="750"/>
                  </a:lnTo>
                  <a:lnTo>
                    <a:pt x="121" y="747"/>
                  </a:lnTo>
                  <a:lnTo>
                    <a:pt x="116" y="742"/>
                  </a:lnTo>
                  <a:lnTo>
                    <a:pt x="113" y="737"/>
                  </a:lnTo>
                  <a:lnTo>
                    <a:pt x="4" y="550"/>
                  </a:lnTo>
                  <a:lnTo>
                    <a:pt x="4" y="550"/>
                  </a:lnTo>
                  <a:lnTo>
                    <a:pt x="2" y="544"/>
                  </a:lnTo>
                  <a:lnTo>
                    <a:pt x="0" y="537"/>
                  </a:lnTo>
                  <a:lnTo>
                    <a:pt x="0" y="531"/>
                  </a:lnTo>
                  <a:lnTo>
                    <a:pt x="1" y="525"/>
                  </a:lnTo>
                  <a:lnTo>
                    <a:pt x="3" y="519"/>
                  </a:lnTo>
                  <a:lnTo>
                    <a:pt x="7" y="514"/>
                  </a:lnTo>
                  <a:lnTo>
                    <a:pt x="11" y="508"/>
                  </a:lnTo>
                  <a:lnTo>
                    <a:pt x="17" y="504"/>
                  </a:lnTo>
                  <a:lnTo>
                    <a:pt x="76" y="470"/>
                  </a:lnTo>
                  <a:lnTo>
                    <a:pt x="76" y="470"/>
                  </a:lnTo>
                  <a:lnTo>
                    <a:pt x="74" y="449"/>
                  </a:lnTo>
                  <a:lnTo>
                    <a:pt x="74" y="429"/>
                  </a:lnTo>
                  <a:lnTo>
                    <a:pt x="74" y="429"/>
                  </a:lnTo>
                  <a:lnTo>
                    <a:pt x="74" y="408"/>
                  </a:lnTo>
                  <a:lnTo>
                    <a:pt x="76" y="387"/>
                  </a:lnTo>
                  <a:lnTo>
                    <a:pt x="17" y="353"/>
                  </a:lnTo>
                  <a:lnTo>
                    <a:pt x="17" y="353"/>
                  </a:lnTo>
                  <a:lnTo>
                    <a:pt x="11" y="349"/>
                  </a:lnTo>
                  <a:lnTo>
                    <a:pt x="7" y="344"/>
                  </a:lnTo>
                  <a:lnTo>
                    <a:pt x="3" y="339"/>
                  </a:lnTo>
                  <a:lnTo>
                    <a:pt x="1" y="333"/>
                  </a:lnTo>
                  <a:lnTo>
                    <a:pt x="0" y="326"/>
                  </a:lnTo>
                  <a:lnTo>
                    <a:pt x="0" y="320"/>
                  </a:lnTo>
                  <a:lnTo>
                    <a:pt x="2" y="314"/>
                  </a:lnTo>
                  <a:lnTo>
                    <a:pt x="5" y="308"/>
                  </a:lnTo>
                  <a:lnTo>
                    <a:pt x="113" y="121"/>
                  </a:lnTo>
                  <a:lnTo>
                    <a:pt x="113" y="121"/>
                  </a:lnTo>
                  <a:lnTo>
                    <a:pt x="117" y="115"/>
                  </a:lnTo>
                  <a:lnTo>
                    <a:pt x="121" y="111"/>
                  </a:lnTo>
                  <a:lnTo>
                    <a:pt x="127" y="108"/>
                  </a:lnTo>
                  <a:lnTo>
                    <a:pt x="133" y="106"/>
                  </a:lnTo>
                  <a:lnTo>
                    <a:pt x="139" y="105"/>
                  </a:lnTo>
                  <a:lnTo>
                    <a:pt x="146" y="105"/>
                  </a:lnTo>
                  <a:lnTo>
                    <a:pt x="152" y="106"/>
                  </a:lnTo>
                  <a:lnTo>
                    <a:pt x="158" y="109"/>
                  </a:lnTo>
                  <a:lnTo>
                    <a:pt x="217" y="143"/>
                  </a:lnTo>
                  <a:lnTo>
                    <a:pt x="217" y="143"/>
                  </a:lnTo>
                  <a:lnTo>
                    <a:pt x="236" y="130"/>
                  </a:lnTo>
                  <a:lnTo>
                    <a:pt x="255" y="119"/>
                  </a:lnTo>
                  <a:lnTo>
                    <a:pt x="273" y="109"/>
                  </a:lnTo>
                  <a:lnTo>
                    <a:pt x="290" y="102"/>
                  </a:lnTo>
                  <a:lnTo>
                    <a:pt x="290" y="33"/>
                  </a:lnTo>
                  <a:lnTo>
                    <a:pt x="290" y="33"/>
                  </a:lnTo>
                  <a:lnTo>
                    <a:pt x="291" y="26"/>
                  </a:lnTo>
                  <a:lnTo>
                    <a:pt x="293" y="20"/>
                  </a:lnTo>
                  <a:lnTo>
                    <a:pt x="296" y="15"/>
                  </a:lnTo>
                  <a:lnTo>
                    <a:pt x="299" y="10"/>
                  </a:lnTo>
                  <a:lnTo>
                    <a:pt x="304" y="5"/>
                  </a:lnTo>
                  <a:lnTo>
                    <a:pt x="311" y="2"/>
                  </a:lnTo>
                  <a:lnTo>
                    <a:pt x="317" y="0"/>
                  </a:lnTo>
                  <a:lnTo>
                    <a:pt x="323" y="0"/>
                  </a:lnTo>
                  <a:lnTo>
                    <a:pt x="539" y="0"/>
                  </a:lnTo>
                  <a:lnTo>
                    <a:pt x="539" y="0"/>
                  </a:lnTo>
                  <a:lnTo>
                    <a:pt x="545" y="0"/>
                  </a:lnTo>
                  <a:lnTo>
                    <a:pt x="552" y="2"/>
                  </a:lnTo>
                  <a:lnTo>
                    <a:pt x="558" y="5"/>
                  </a:lnTo>
                  <a:lnTo>
                    <a:pt x="562" y="10"/>
                  </a:lnTo>
                  <a:lnTo>
                    <a:pt x="566" y="15"/>
                  </a:lnTo>
                  <a:lnTo>
                    <a:pt x="569" y="20"/>
                  </a:lnTo>
                  <a:lnTo>
                    <a:pt x="571" y="26"/>
                  </a:lnTo>
                  <a:lnTo>
                    <a:pt x="572" y="33"/>
                  </a:lnTo>
                  <a:lnTo>
                    <a:pt x="572" y="102"/>
                  </a:lnTo>
                  <a:lnTo>
                    <a:pt x="572" y="102"/>
                  </a:lnTo>
                  <a:lnTo>
                    <a:pt x="591" y="110"/>
                  </a:lnTo>
                  <a:lnTo>
                    <a:pt x="610" y="120"/>
                  </a:lnTo>
                  <a:lnTo>
                    <a:pt x="627" y="132"/>
                  </a:lnTo>
                  <a:lnTo>
                    <a:pt x="644" y="143"/>
                  </a:lnTo>
                  <a:lnTo>
                    <a:pt x="702" y="109"/>
                  </a:lnTo>
                  <a:lnTo>
                    <a:pt x="702" y="109"/>
                  </a:lnTo>
                  <a:lnTo>
                    <a:pt x="708" y="106"/>
                  </a:lnTo>
                  <a:lnTo>
                    <a:pt x="714" y="105"/>
                  </a:lnTo>
                  <a:lnTo>
                    <a:pt x="721" y="105"/>
                  </a:lnTo>
                  <a:lnTo>
                    <a:pt x="728" y="106"/>
                  </a:lnTo>
                  <a:lnTo>
                    <a:pt x="728" y="106"/>
                  </a:lnTo>
                  <a:lnTo>
                    <a:pt x="734" y="108"/>
                  </a:lnTo>
                  <a:lnTo>
                    <a:pt x="739" y="111"/>
                  </a:lnTo>
                  <a:lnTo>
                    <a:pt x="744" y="115"/>
                  </a:lnTo>
                  <a:lnTo>
                    <a:pt x="747" y="121"/>
                  </a:lnTo>
                  <a:lnTo>
                    <a:pt x="855" y="308"/>
                  </a:lnTo>
                  <a:lnTo>
                    <a:pt x="855" y="308"/>
                  </a:lnTo>
                  <a:lnTo>
                    <a:pt x="858" y="314"/>
                  </a:lnTo>
                  <a:lnTo>
                    <a:pt x="860" y="320"/>
                  </a:lnTo>
                  <a:lnTo>
                    <a:pt x="860" y="326"/>
                  </a:lnTo>
                  <a:lnTo>
                    <a:pt x="859" y="333"/>
                  </a:lnTo>
                  <a:lnTo>
                    <a:pt x="857" y="339"/>
                  </a:lnTo>
                  <a:lnTo>
                    <a:pt x="853" y="344"/>
                  </a:lnTo>
                  <a:lnTo>
                    <a:pt x="849" y="349"/>
                  </a:lnTo>
                  <a:lnTo>
                    <a:pt x="843" y="353"/>
                  </a:lnTo>
                  <a:lnTo>
                    <a:pt x="785" y="387"/>
                  </a:lnTo>
                  <a:lnTo>
                    <a:pt x="785" y="387"/>
                  </a:lnTo>
                  <a:lnTo>
                    <a:pt x="787" y="408"/>
                  </a:lnTo>
                  <a:lnTo>
                    <a:pt x="787" y="429"/>
                  </a:lnTo>
                  <a:lnTo>
                    <a:pt x="787" y="429"/>
                  </a:lnTo>
                  <a:lnTo>
                    <a:pt x="787" y="449"/>
                  </a:lnTo>
                  <a:lnTo>
                    <a:pt x="785" y="470"/>
                  </a:lnTo>
                  <a:lnTo>
                    <a:pt x="843" y="504"/>
                  </a:lnTo>
                  <a:lnTo>
                    <a:pt x="843" y="504"/>
                  </a:lnTo>
                  <a:lnTo>
                    <a:pt x="849" y="508"/>
                  </a:lnTo>
                  <a:lnTo>
                    <a:pt x="853" y="513"/>
                  </a:lnTo>
                  <a:lnTo>
                    <a:pt x="857" y="519"/>
                  </a:lnTo>
                  <a:lnTo>
                    <a:pt x="859" y="525"/>
                  </a:lnTo>
                  <a:lnTo>
                    <a:pt x="859" y="525"/>
                  </a:lnTo>
                  <a:lnTo>
                    <a:pt x="860" y="531"/>
                  </a:lnTo>
                  <a:lnTo>
                    <a:pt x="860" y="537"/>
                  </a:lnTo>
                  <a:lnTo>
                    <a:pt x="858" y="544"/>
                  </a:lnTo>
                  <a:lnTo>
                    <a:pt x="856" y="550"/>
                  </a:lnTo>
                  <a:lnTo>
                    <a:pt x="747" y="737"/>
                  </a:lnTo>
                  <a:lnTo>
                    <a:pt x="747" y="737"/>
                  </a:lnTo>
                  <a:lnTo>
                    <a:pt x="744" y="742"/>
                  </a:lnTo>
                  <a:lnTo>
                    <a:pt x="739" y="747"/>
                  </a:lnTo>
                  <a:lnTo>
                    <a:pt x="734" y="750"/>
                  </a:lnTo>
                  <a:lnTo>
                    <a:pt x="728" y="752"/>
                  </a:lnTo>
                  <a:lnTo>
                    <a:pt x="728" y="752"/>
                  </a:lnTo>
                  <a:lnTo>
                    <a:pt x="721" y="754"/>
                  </a:lnTo>
                  <a:lnTo>
                    <a:pt x="715" y="753"/>
                  </a:lnTo>
                  <a:lnTo>
                    <a:pt x="708" y="752"/>
                  </a:lnTo>
                  <a:lnTo>
                    <a:pt x="703" y="749"/>
                  </a:lnTo>
                  <a:lnTo>
                    <a:pt x="644" y="714"/>
                  </a:lnTo>
                  <a:lnTo>
                    <a:pt x="644" y="714"/>
                  </a:lnTo>
                  <a:lnTo>
                    <a:pt x="627" y="727"/>
                  </a:lnTo>
                  <a:lnTo>
                    <a:pt x="610" y="737"/>
                  </a:lnTo>
                  <a:lnTo>
                    <a:pt x="591" y="748"/>
                  </a:lnTo>
                  <a:lnTo>
                    <a:pt x="572" y="756"/>
                  </a:lnTo>
                  <a:lnTo>
                    <a:pt x="572" y="825"/>
                  </a:lnTo>
                  <a:lnTo>
                    <a:pt x="572" y="825"/>
                  </a:lnTo>
                  <a:lnTo>
                    <a:pt x="571" y="831"/>
                  </a:lnTo>
                  <a:lnTo>
                    <a:pt x="569" y="838"/>
                  </a:lnTo>
                  <a:lnTo>
                    <a:pt x="566" y="843"/>
                  </a:lnTo>
                  <a:lnTo>
                    <a:pt x="562" y="848"/>
                  </a:lnTo>
                  <a:lnTo>
                    <a:pt x="558" y="852"/>
                  </a:lnTo>
                  <a:lnTo>
                    <a:pt x="552" y="855"/>
                  </a:lnTo>
                  <a:lnTo>
                    <a:pt x="545" y="857"/>
                  </a:lnTo>
                  <a:lnTo>
                    <a:pt x="539" y="857"/>
                  </a:lnTo>
                  <a:lnTo>
                    <a:pt x="539" y="857"/>
                  </a:lnTo>
                  <a:close/>
                  <a:moveTo>
                    <a:pt x="356" y="792"/>
                  </a:moveTo>
                  <a:lnTo>
                    <a:pt x="506" y="792"/>
                  </a:lnTo>
                  <a:lnTo>
                    <a:pt x="506" y="734"/>
                  </a:lnTo>
                  <a:lnTo>
                    <a:pt x="506" y="734"/>
                  </a:lnTo>
                  <a:lnTo>
                    <a:pt x="506" y="729"/>
                  </a:lnTo>
                  <a:lnTo>
                    <a:pt x="507" y="724"/>
                  </a:lnTo>
                  <a:lnTo>
                    <a:pt x="509" y="720"/>
                  </a:lnTo>
                  <a:lnTo>
                    <a:pt x="511" y="716"/>
                  </a:lnTo>
                  <a:lnTo>
                    <a:pt x="514" y="711"/>
                  </a:lnTo>
                  <a:lnTo>
                    <a:pt x="519" y="708"/>
                  </a:lnTo>
                  <a:lnTo>
                    <a:pt x="523" y="705"/>
                  </a:lnTo>
                  <a:lnTo>
                    <a:pt x="528" y="703"/>
                  </a:lnTo>
                  <a:lnTo>
                    <a:pt x="528" y="703"/>
                  </a:lnTo>
                  <a:lnTo>
                    <a:pt x="553" y="693"/>
                  </a:lnTo>
                  <a:lnTo>
                    <a:pt x="576" y="679"/>
                  </a:lnTo>
                  <a:lnTo>
                    <a:pt x="599" y="666"/>
                  </a:lnTo>
                  <a:lnTo>
                    <a:pt x="619" y="650"/>
                  </a:lnTo>
                  <a:lnTo>
                    <a:pt x="619" y="650"/>
                  </a:lnTo>
                  <a:lnTo>
                    <a:pt x="623" y="647"/>
                  </a:lnTo>
                  <a:lnTo>
                    <a:pt x="628" y="644"/>
                  </a:lnTo>
                  <a:lnTo>
                    <a:pt x="632" y="643"/>
                  </a:lnTo>
                  <a:lnTo>
                    <a:pt x="638" y="642"/>
                  </a:lnTo>
                  <a:lnTo>
                    <a:pt x="643" y="642"/>
                  </a:lnTo>
                  <a:lnTo>
                    <a:pt x="648" y="643"/>
                  </a:lnTo>
                  <a:lnTo>
                    <a:pt x="653" y="644"/>
                  </a:lnTo>
                  <a:lnTo>
                    <a:pt x="657" y="646"/>
                  </a:lnTo>
                  <a:lnTo>
                    <a:pt x="707" y="675"/>
                  </a:lnTo>
                  <a:lnTo>
                    <a:pt x="781" y="546"/>
                  </a:lnTo>
                  <a:lnTo>
                    <a:pt x="732" y="517"/>
                  </a:lnTo>
                  <a:lnTo>
                    <a:pt x="732" y="517"/>
                  </a:lnTo>
                  <a:lnTo>
                    <a:pt x="728" y="514"/>
                  </a:lnTo>
                  <a:lnTo>
                    <a:pt x="723" y="511"/>
                  </a:lnTo>
                  <a:lnTo>
                    <a:pt x="720" y="506"/>
                  </a:lnTo>
                  <a:lnTo>
                    <a:pt x="718" y="502"/>
                  </a:lnTo>
                  <a:lnTo>
                    <a:pt x="716" y="497"/>
                  </a:lnTo>
                  <a:lnTo>
                    <a:pt x="715" y="492"/>
                  </a:lnTo>
                  <a:lnTo>
                    <a:pt x="715" y="487"/>
                  </a:lnTo>
                  <a:lnTo>
                    <a:pt x="716" y="482"/>
                  </a:lnTo>
                  <a:lnTo>
                    <a:pt x="716" y="482"/>
                  </a:lnTo>
                  <a:lnTo>
                    <a:pt x="719" y="455"/>
                  </a:lnTo>
                  <a:lnTo>
                    <a:pt x="720" y="442"/>
                  </a:lnTo>
                  <a:lnTo>
                    <a:pt x="720" y="429"/>
                  </a:lnTo>
                  <a:lnTo>
                    <a:pt x="720" y="429"/>
                  </a:lnTo>
                  <a:lnTo>
                    <a:pt x="720" y="415"/>
                  </a:lnTo>
                  <a:lnTo>
                    <a:pt x="719" y="403"/>
                  </a:lnTo>
                  <a:lnTo>
                    <a:pt x="716" y="376"/>
                  </a:lnTo>
                  <a:lnTo>
                    <a:pt x="716" y="376"/>
                  </a:lnTo>
                  <a:lnTo>
                    <a:pt x="715" y="371"/>
                  </a:lnTo>
                  <a:lnTo>
                    <a:pt x="715" y="366"/>
                  </a:lnTo>
                  <a:lnTo>
                    <a:pt x="716" y="360"/>
                  </a:lnTo>
                  <a:lnTo>
                    <a:pt x="718" y="356"/>
                  </a:lnTo>
                  <a:lnTo>
                    <a:pt x="720" y="351"/>
                  </a:lnTo>
                  <a:lnTo>
                    <a:pt x="723" y="348"/>
                  </a:lnTo>
                  <a:lnTo>
                    <a:pt x="728" y="344"/>
                  </a:lnTo>
                  <a:lnTo>
                    <a:pt x="732" y="341"/>
                  </a:lnTo>
                  <a:lnTo>
                    <a:pt x="781" y="312"/>
                  </a:lnTo>
                  <a:lnTo>
                    <a:pt x="707" y="182"/>
                  </a:lnTo>
                  <a:lnTo>
                    <a:pt x="657" y="211"/>
                  </a:lnTo>
                  <a:lnTo>
                    <a:pt x="657" y="211"/>
                  </a:lnTo>
                  <a:lnTo>
                    <a:pt x="653" y="213"/>
                  </a:lnTo>
                  <a:lnTo>
                    <a:pt x="648" y="216"/>
                  </a:lnTo>
                  <a:lnTo>
                    <a:pt x="643" y="216"/>
                  </a:lnTo>
                  <a:lnTo>
                    <a:pt x="638" y="216"/>
                  </a:lnTo>
                  <a:lnTo>
                    <a:pt x="632" y="215"/>
                  </a:lnTo>
                  <a:lnTo>
                    <a:pt x="628" y="213"/>
                  </a:lnTo>
                  <a:lnTo>
                    <a:pt x="623" y="211"/>
                  </a:lnTo>
                  <a:lnTo>
                    <a:pt x="619" y="208"/>
                  </a:lnTo>
                  <a:lnTo>
                    <a:pt x="619" y="208"/>
                  </a:lnTo>
                  <a:lnTo>
                    <a:pt x="599" y="192"/>
                  </a:lnTo>
                  <a:lnTo>
                    <a:pt x="576" y="178"/>
                  </a:lnTo>
                  <a:lnTo>
                    <a:pt x="553" y="165"/>
                  </a:lnTo>
                  <a:lnTo>
                    <a:pt x="528" y="154"/>
                  </a:lnTo>
                  <a:lnTo>
                    <a:pt x="528" y="154"/>
                  </a:lnTo>
                  <a:lnTo>
                    <a:pt x="523" y="152"/>
                  </a:lnTo>
                  <a:lnTo>
                    <a:pt x="519" y="149"/>
                  </a:lnTo>
                  <a:lnTo>
                    <a:pt x="514" y="146"/>
                  </a:lnTo>
                  <a:lnTo>
                    <a:pt x="511" y="143"/>
                  </a:lnTo>
                  <a:lnTo>
                    <a:pt x="509" y="138"/>
                  </a:lnTo>
                  <a:lnTo>
                    <a:pt x="507" y="134"/>
                  </a:lnTo>
                  <a:lnTo>
                    <a:pt x="506" y="129"/>
                  </a:lnTo>
                  <a:lnTo>
                    <a:pt x="506" y="123"/>
                  </a:lnTo>
                  <a:lnTo>
                    <a:pt x="506" y="67"/>
                  </a:lnTo>
                  <a:lnTo>
                    <a:pt x="356" y="67"/>
                  </a:lnTo>
                  <a:lnTo>
                    <a:pt x="356" y="123"/>
                  </a:lnTo>
                  <a:lnTo>
                    <a:pt x="356" y="123"/>
                  </a:lnTo>
                  <a:lnTo>
                    <a:pt x="356" y="129"/>
                  </a:lnTo>
                  <a:lnTo>
                    <a:pt x="355" y="134"/>
                  </a:lnTo>
                  <a:lnTo>
                    <a:pt x="353" y="138"/>
                  </a:lnTo>
                  <a:lnTo>
                    <a:pt x="350" y="143"/>
                  </a:lnTo>
                  <a:lnTo>
                    <a:pt x="347" y="146"/>
                  </a:lnTo>
                  <a:lnTo>
                    <a:pt x="344" y="149"/>
                  </a:lnTo>
                  <a:lnTo>
                    <a:pt x="340" y="152"/>
                  </a:lnTo>
                  <a:lnTo>
                    <a:pt x="334" y="154"/>
                  </a:lnTo>
                  <a:lnTo>
                    <a:pt x="334" y="154"/>
                  </a:lnTo>
                  <a:lnTo>
                    <a:pt x="308" y="166"/>
                  </a:lnTo>
                  <a:lnTo>
                    <a:pt x="285" y="178"/>
                  </a:lnTo>
                  <a:lnTo>
                    <a:pt x="262" y="193"/>
                  </a:lnTo>
                  <a:lnTo>
                    <a:pt x="252" y="200"/>
                  </a:lnTo>
                  <a:lnTo>
                    <a:pt x="242" y="208"/>
                  </a:lnTo>
                  <a:lnTo>
                    <a:pt x="242" y="208"/>
                  </a:lnTo>
                  <a:lnTo>
                    <a:pt x="237" y="211"/>
                  </a:lnTo>
                  <a:lnTo>
                    <a:pt x="233" y="213"/>
                  </a:lnTo>
                  <a:lnTo>
                    <a:pt x="228" y="215"/>
                  </a:lnTo>
                  <a:lnTo>
                    <a:pt x="224" y="216"/>
                  </a:lnTo>
                  <a:lnTo>
                    <a:pt x="218" y="216"/>
                  </a:lnTo>
                  <a:lnTo>
                    <a:pt x="213" y="216"/>
                  </a:lnTo>
                  <a:lnTo>
                    <a:pt x="208" y="213"/>
                  </a:lnTo>
                  <a:lnTo>
                    <a:pt x="204" y="211"/>
                  </a:lnTo>
                  <a:lnTo>
                    <a:pt x="153" y="182"/>
                  </a:lnTo>
                  <a:lnTo>
                    <a:pt x="79" y="313"/>
                  </a:lnTo>
                  <a:lnTo>
                    <a:pt x="128" y="341"/>
                  </a:lnTo>
                  <a:lnTo>
                    <a:pt x="128" y="341"/>
                  </a:lnTo>
                  <a:lnTo>
                    <a:pt x="133" y="344"/>
                  </a:lnTo>
                  <a:lnTo>
                    <a:pt x="137" y="348"/>
                  </a:lnTo>
                  <a:lnTo>
                    <a:pt x="140" y="351"/>
                  </a:lnTo>
                  <a:lnTo>
                    <a:pt x="142" y="356"/>
                  </a:lnTo>
                  <a:lnTo>
                    <a:pt x="144" y="360"/>
                  </a:lnTo>
                  <a:lnTo>
                    <a:pt x="145" y="366"/>
                  </a:lnTo>
                  <a:lnTo>
                    <a:pt x="145" y="371"/>
                  </a:lnTo>
                  <a:lnTo>
                    <a:pt x="144" y="376"/>
                  </a:lnTo>
                  <a:lnTo>
                    <a:pt x="144" y="376"/>
                  </a:lnTo>
                  <a:lnTo>
                    <a:pt x="141" y="403"/>
                  </a:lnTo>
                  <a:lnTo>
                    <a:pt x="140" y="429"/>
                  </a:lnTo>
                  <a:lnTo>
                    <a:pt x="140" y="429"/>
                  </a:lnTo>
                  <a:lnTo>
                    <a:pt x="140" y="442"/>
                  </a:lnTo>
                  <a:lnTo>
                    <a:pt x="141" y="455"/>
                  </a:lnTo>
                  <a:lnTo>
                    <a:pt x="144" y="482"/>
                  </a:lnTo>
                  <a:lnTo>
                    <a:pt x="144" y="482"/>
                  </a:lnTo>
                  <a:lnTo>
                    <a:pt x="145" y="487"/>
                  </a:lnTo>
                  <a:lnTo>
                    <a:pt x="145" y="492"/>
                  </a:lnTo>
                  <a:lnTo>
                    <a:pt x="144" y="497"/>
                  </a:lnTo>
                  <a:lnTo>
                    <a:pt x="142" y="502"/>
                  </a:lnTo>
                  <a:lnTo>
                    <a:pt x="140" y="506"/>
                  </a:lnTo>
                  <a:lnTo>
                    <a:pt x="137" y="511"/>
                  </a:lnTo>
                  <a:lnTo>
                    <a:pt x="133" y="514"/>
                  </a:lnTo>
                  <a:lnTo>
                    <a:pt x="128" y="517"/>
                  </a:lnTo>
                  <a:lnTo>
                    <a:pt x="79" y="546"/>
                  </a:lnTo>
                  <a:lnTo>
                    <a:pt x="153" y="675"/>
                  </a:lnTo>
                  <a:lnTo>
                    <a:pt x="204" y="646"/>
                  </a:lnTo>
                  <a:lnTo>
                    <a:pt x="204" y="646"/>
                  </a:lnTo>
                  <a:lnTo>
                    <a:pt x="208" y="644"/>
                  </a:lnTo>
                  <a:lnTo>
                    <a:pt x="213" y="643"/>
                  </a:lnTo>
                  <a:lnTo>
                    <a:pt x="218" y="642"/>
                  </a:lnTo>
                  <a:lnTo>
                    <a:pt x="224" y="642"/>
                  </a:lnTo>
                  <a:lnTo>
                    <a:pt x="228" y="643"/>
                  </a:lnTo>
                  <a:lnTo>
                    <a:pt x="233" y="644"/>
                  </a:lnTo>
                  <a:lnTo>
                    <a:pt x="237" y="647"/>
                  </a:lnTo>
                  <a:lnTo>
                    <a:pt x="242" y="650"/>
                  </a:lnTo>
                  <a:lnTo>
                    <a:pt x="242" y="650"/>
                  </a:lnTo>
                  <a:lnTo>
                    <a:pt x="252" y="658"/>
                  </a:lnTo>
                  <a:lnTo>
                    <a:pt x="262" y="665"/>
                  </a:lnTo>
                  <a:lnTo>
                    <a:pt x="285" y="679"/>
                  </a:lnTo>
                  <a:lnTo>
                    <a:pt x="308" y="692"/>
                  </a:lnTo>
                  <a:lnTo>
                    <a:pt x="334" y="703"/>
                  </a:lnTo>
                  <a:lnTo>
                    <a:pt x="334" y="703"/>
                  </a:lnTo>
                  <a:lnTo>
                    <a:pt x="340" y="705"/>
                  </a:lnTo>
                  <a:lnTo>
                    <a:pt x="344" y="708"/>
                  </a:lnTo>
                  <a:lnTo>
                    <a:pt x="347" y="711"/>
                  </a:lnTo>
                  <a:lnTo>
                    <a:pt x="350" y="716"/>
                  </a:lnTo>
                  <a:lnTo>
                    <a:pt x="353" y="720"/>
                  </a:lnTo>
                  <a:lnTo>
                    <a:pt x="355" y="724"/>
                  </a:lnTo>
                  <a:lnTo>
                    <a:pt x="356" y="729"/>
                  </a:lnTo>
                  <a:lnTo>
                    <a:pt x="356" y="734"/>
                  </a:lnTo>
                  <a:lnTo>
                    <a:pt x="356" y="7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18" name="Freeform 195">
              <a:extLst>
                <a:ext uri="{FF2B5EF4-FFF2-40B4-BE49-F238E27FC236}">
                  <a16:creationId xmlns:a16="http://schemas.microsoft.com/office/drawing/2014/main" id="{95F6BBF0-2DFB-4DF4-8A0B-895CFCF40A8D}"/>
                </a:ext>
              </a:extLst>
            </p:cNvPr>
            <p:cNvSpPr>
              <a:spLocks noEditPoints="1"/>
            </p:cNvSpPr>
            <p:nvPr/>
          </p:nvSpPr>
          <p:spPr bwMode="auto">
            <a:xfrm>
              <a:off x="7210425" y="3471863"/>
              <a:ext cx="80963" cy="79375"/>
            </a:xfrm>
            <a:custGeom>
              <a:avLst/>
              <a:gdLst>
                <a:gd name="T0" fmla="*/ 159 w 355"/>
                <a:gd name="T1" fmla="*/ 353 h 354"/>
                <a:gd name="T2" fmla="*/ 108 w 355"/>
                <a:gd name="T3" fmla="*/ 340 h 354"/>
                <a:gd name="T4" fmla="*/ 65 w 355"/>
                <a:gd name="T5" fmla="*/ 313 h 354"/>
                <a:gd name="T6" fmla="*/ 31 w 355"/>
                <a:gd name="T7" fmla="*/ 276 h 354"/>
                <a:gd name="T8" fmla="*/ 8 w 355"/>
                <a:gd name="T9" fmla="*/ 230 h 354"/>
                <a:gd name="T10" fmla="*/ 0 w 355"/>
                <a:gd name="T11" fmla="*/ 177 h 354"/>
                <a:gd name="T12" fmla="*/ 4 w 355"/>
                <a:gd name="T13" fmla="*/ 142 h 354"/>
                <a:gd name="T14" fmla="*/ 21 w 355"/>
                <a:gd name="T15" fmla="*/ 93 h 354"/>
                <a:gd name="T16" fmla="*/ 52 w 355"/>
                <a:gd name="T17" fmla="*/ 52 h 354"/>
                <a:gd name="T18" fmla="*/ 93 w 355"/>
                <a:gd name="T19" fmla="*/ 22 h 354"/>
                <a:gd name="T20" fmla="*/ 141 w 355"/>
                <a:gd name="T21" fmla="*/ 4 h 354"/>
                <a:gd name="T22" fmla="*/ 177 w 355"/>
                <a:gd name="T23" fmla="*/ 0 h 354"/>
                <a:gd name="T24" fmla="*/ 229 w 355"/>
                <a:gd name="T25" fmla="*/ 8 h 354"/>
                <a:gd name="T26" fmla="*/ 276 w 355"/>
                <a:gd name="T27" fmla="*/ 30 h 354"/>
                <a:gd name="T28" fmla="*/ 313 w 355"/>
                <a:gd name="T29" fmla="*/ 64 h 354"/>
                <a:gd name="T30" fmla="*/ 340 w 355"/>
                <a:gd name="T31" fmla="*/ 108 h 354"/>
                <a:gd name="T32" fmla="*/ 354 w 355"/>
                <a:gd name="T33" fmla="*/ 159 h 354"/>
                <a:gd name="T34" fmla="*/ 354 w 355"/>
                <a:gd name="T35" fmla="*/ 194 h 354"/>
                <a:gd name="T36" fmla="*/ 340 w 355"/>
                <a:gd name="T37" fmla="*/ 246 h 354"/>
                <a:gd name="T38" fmla="*/ 313 w 355"/>
                <a:gd name="T39" fmla="*/ 290 h 354"/>
                <a:gd name="T40" fmla="*/ 276 w 355"/>
                <a:gd name="T41" fmla="*/ 324 h 354"/>
                <a:gd name="T42" fmla="*/ 229 w 355"/>
                <a:gd name="T43" fmla="*/ 346 h 354"/>
                <a:gd name="T44" fmla="*/ 177 w 355"/>
                <a:gd name="T45" fmla="*/ 354 h 354"/>
                <a:gd name="T46" fmla="*/ 177 w 355"/>
                <a:gd name="T47" fmla="*/ 66 h 354"/>
                <a:gd name="T48" fmla="*/ 144 w 355"/>
                <a:gd name="T49" fmla="*/ 71 h 354"/>
                <a:gd name="T50" fmla="*/ 115 w 355"/>
                <a:gd name="T51" fmla="*/ 85 h 354"/>
                <a:gd name="T52" fmla="*/ 92 w 355"/>
                <a:gd name="T53" fmla="*/ 106 h 354"/>
                <a:gd name="T54" fmla="*/ 75 w 355"/>
                <a:gd name="T55" fmla="*/ 133 h 354"/>
                <a:gd name="T56" fmla="*/ 67 w 355"/>
                <a:gd name="T57" fmla="*/ 165 h 354"/>
                <a:gd name="T58" fmla="*/ 67 w 355"/>
                <a:gd name="T59" fmla="*/ 188 h 354"/>
                <a:gd name="T60" fmla="*/ 75 w 355"/>
                <a:gd name="T61" fmla="*/ 220 h 354"/>
                <a:gd name="T62" fmla="*/ 92 w 355"/>
                <a:gd name="T63" fmla="*/ 247 h 354"/>
                <a:gd name="T64" fmla="*/ 115 w 355"/>
                <a:gd name="T65" fmla="*/ 269 h 354"/>
                <a:gd name="T66" fmla="*/ 144 w 355"/>
                <a:gd name="T67" fmla="*/ 282 h 354"/>
                <a:gd name="T68" fmla="*/ 177 w 355"/>
                <a:gd name="T69" fmla="*/ 288 h 354"/>
                <a:gd name="T70" fmla="*/ 199 w 355"/>
                <a:gd name="T71" fmla="*/ 285 h 354"/>
                <a:gd name="T72" fmla="*/ 229 w 355"/>
                <a:gd name="T73" fmla="*/ 274 h 354"/>
                <a:gd name="T74" fmla="*/ 255 w 355"/>
                <a:gd name="T75" fmla="*/ 255 h 354"/>
                <a:gd name="T76" fmla="*/ 275 w 355"/>
                <a:gd name="T77" fmla="*/ 230 h 354"/>
                <a:gd name="T78" fmla="*/ 285 w 355"/>
                <a:gd name="T79" fmla="*/ 200 h 354"/>
                <a:gd name="T80" fmla="*/ 288 w 355"/>
                <a:gd name="T81" fmla="*/ 177 h 354"/>
                <a:gd name="T82" fmla="*/ 283 w 355"/>
                <a:gd name="T83" fmla="*/ 144 h 354"/>
                <a:gd name="T84" fmla="*/ 269 w 355"/>
                <a:gd name="T85" fmla="*/ 115 h 354"/>
                <a:gd name="T86" fmla="*/ 248 w 355"/>
                <a:gd name="T87" fmla="*/ 91 h 354"/>
                <a:gd name="T88" fmla="*/ 220 w 355"/>
                <a:gd name="T89" fmla="*/ 74 h 354"/>
                <a:gd name="T90" fmla="*/ 188 w 355"/>
                <a:gd name="T91"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5" h="354">
                  <a:moveTo>
                    <a:pt x="177" y="354"/>
                  </a:moveTo>
                  <a:lnTo>
                    <a:pt x="177" y="354"/>
                  </a:lnTo>
                  <a:lnTo>
                    <a:pt x="159" y="353"/>
                  </a:lnTo>
                  <a:lnTo>
                    <a:pt x="141" y="351"/>
                  </a:lnTo>
                  <a:lnTo>
                    <a:pt x="125" y="346"/>
                  </a:lnTo>
                  <a:lnTo>
                    <a:pt x="108" y="340"/>
                  </a:lnTo>
                  <a:lnTo>
                    <a:pt x="93" y="332"/>
                  </a:lnTo>
                  <a:lnTo>
                    <a:pt x="78" y="324"/>
                  </a:lnTo>
                  <a:lnTo>
                    <a:pt x="65" y="313"/>
                  </a:lnTo>
                  <a:lnTo>
                    <a:pt x="52" y="302"/>
                  </a:lnTo>
                  <a:lnTo>
                    <a:pt x="41" y="290"/>
                  </a:lnTo>
                  <a:lnTo>
                    <a:pt x="31" y="276"/>
                  </a:lnTo>
                  <a:lnTo>
                    <a:pt x="21" y="261"/>
                  </a:lnTo>
                  <a:lnTo>
                    <a:pt x="14" y="246"/>
                  </a:lnTo>
                  <a:lnTo>
                    <a:pt x="8" y="230"/>
                  </a:lnTo>
                  <a:lnTo>
                    <a:pt x="4" y="212"/>
                  </a:lnTo>
                  <a:lnTo>
                    <a:pt x="1" y="194"/>
                  </a:lnTo>
                  <a:lnTo>
                    <a:pt x="0" y="177"/>
                  </a:lnTo>
                  <a:lnTo>
                    <a:pt x="0" y="177"/>
                  </a:lnTo>
                  <a:lnTo>
                    <a:pt x="1" y="159"/>
                  </a:lnTo>
                  <a:lnTo>
                    <a:pt x="4" y="142"/>
                  </a:lnTo>
                  <a:lnTo>
                    <a:pt x="8" y="124"/>
                  </a:lnTo>
                  <a:lnTo>
                    <a:pt x="14" y="108"/>
                  </a:lnTo>
                  <a:lnTo>
                    <a:pt x="21" y="93"/>
                  </a:lnTo>
                  <a:lnTo>
                    <a:pt x="31" y="77"/>
                  </a:lnTo>
                  <a:lnTo>
                    <a:pt x="41" y="64"/>
                  </a:lnTo>
                  <a:lnTo>
                    <a:pt x="52" y="52"/>
                  </a:lnTo>
                  <a:lnTo>
                    <a:pt x="65" y="40"/>
                  </a:lnTo>
                  <a:lnTo>
                    <a:pt x="78" y="30"/>
                  </a:lnTo>
                  <a:lnTo>
                    <a:pt x="93" y="22"/>
                  </a:lnTo>
                  <a:lnTo>
                    <a:pt x="108" y="13"/>
                  </a:lnTo>
                  <a:lnTo>
                    <a:pt x="125" y="8"/>
                  </a:lnTo>
                  <a:lnTo>
                    <a:pt x="141" y="4"/>
                  </a:lnTo>
                  <a:lnTo>
                    <a:pt x="159" y="1"/>
                  </a:lnTo>
                  <a:lnTo>
                    <a:pt x="177" y="0"/>
                  </a:lnTo>
                  <a:lnTo>
                    <a:pt x="177" y="0"/>
                  </a:lnTo>
                  <a:lnTo>
                    <a:pt x="195" y="1"/>
                  </a:lnTo>
                  <a:lnTo>
                    <a:pt x="213" y="4"/>
                  </a:lnTo>
                  <a:lnTo>
                    <a:pt x="229" y="8"/>
                  </a:lnTo>
                  <a:lnTo>
                    <a:pt x="246" y="13"/>
                  </a:lnTo>
                  <a:lnTo>
                    <a:pt x="261" y="22"/>
                  </a:lnTo>
                  <a:lnTo>
                    <a:pt x="276" y="30"/>
                  </a:lnTo>
                  <a:lnTo>
                    <a:pt x="289" y="40"/>
                  </a:lnTo>
                  <a:lnTo>
                    <a:pt x="302" y="52"/>
                  </a:lnTo>
                  <a:lnTo>
                    <a:pt x="313" y="64"/>
                  </a:lnTo>
                  <a:lnTo>
                    <a:pt x="323" y="77"/>
                  </a:lnTo>
                  <a:lnTo>
                    <a:pt x="333" y="93"/>
                  </a:lnTo>
                  <a:lnTo>
                    <a:pt x="340" y="108"/>
                  </a:lnTo>
                  <a:lnTo>
                    <a:pt x="346" y="124"/>
                  </a:lnTo>
                  <a:lnTo>
                    <a:pt x="350" y="142"/>
                  </a:lnTo>
                  <a:lnTo>
                    <a:pt x="354" y="159"/>
                  </a:lnTo>
                  <a:lnTo>
                    <a:pt x="355" y="177"/>
                  </a:lnTo>
                  <a:lnTo>
                    <a:pt x="355" y="177"/>
                  </a:lnTo>
                  <a:lnTo>
                    <a:pt x="354" y="194"/>
                  </a:lnTo>
                  <a:lnTo>
                    <a:pt x="350" y="212"/>
                  </a:lnTo>
                  <a:lnTo>
                    <a:pt x="346" y="230"/>
                  </a:lnTo>
                  <a:lnTo>
                    <a:pt x="340" y="246"/>
                  </a:lnTo>
                  <a:lnTo>
                    <a:pt x="333" y="261"/>
                  </a:lnTo>
                  <a:lnTo>
                    <a:pt x="323" y="276"/>
                  </a:lnTo>
                  <a:lnTo>
                    <a:pt x="313" y="290"/>
                  </a:lnTo>
                  <a:lnTo>
                    <a:pt x="302" y="302"/>
                  </a:lnTo>
                  <a:lnTo>
                    <a:pt x="289" y="313"/>
                  </a:lnTo>
                  <a:lnTo>
                    <a:pt x="276" y="324"/>
                  </a:lnTo>
                  <a:lnTo>
                    <a:pt x="261" y="332"/>
                  </a:lnTo>
                  <a:lnTo>
                    <a:pt x="246" y="340"/>
                  </a:lnTo>
                  <a:lnTo>
                    <a:pt x="229" y="346"/>
                  </a:lnTo>
                  <a:lnTo>
                    <a:pt x="213" y="351"/>
                  </a:lnTo>
                  <a:lnTo>
                    <a:pt x="195" y="353"/>
                  </a:lnTo>
                  <a:lnTo>
                    <a:pt x="177" y="354"/>
                  </a:lnTo>
                  <a:lnTo>
                    <a:pt x="177" y="354"/>
                  </a:lnTo>
                  <a:close/>
                  <a:moveTo>
                    <a:pt x="177" y="66"/>
                  </a:moveTo>
                  <a:lnTo>
                    <a:pt x="177" y="66"/>
                  </a:lnTo>
                  <a:lnTo>
                    <a:pt x="166" y="66"/>
                  </a:lnTo>
                  <a:lnTo>
                    <a:pt x="155" y="68"/>
                  </a:lnTo>
                  <a:lnTo>
                    <a:pt x="144" y="71"/>
                  </a:lnTo>
                  <a:lnTo>
                    <a:pt x="134" y="74"/>
                  </a:lnTo>
                  <a:lnTo>
                    <a:pt x="124" y="79"/>
                  </a:lnTo>
                  <a:lnTo>
                    <a:pt x="115" y="85"/>
                  </a:lnTo>
                  <a:lnTo>
                    <a:pt x="106" y="91"/>
                  </a:lnTo>
                  <a:lnTo>
                    <a:pt x="99" y="98"/>
                  </a:lnTo>
                  <a:lnTo>
                    <a:pt x="92" y="106"/>
                  </a:lnTo>
                  <a:lnTo>
                    <a:pt x="85" y="115"/>
                  </a:lnTo>
                  <a:lnTo>
                    <a:pt x="79" y="124"/>
                  </a:lnTo>
                  <a:lnTo>
                    <a:pt x="75" y="133"/>
                  </a:lnTo>
                  <a:lnTo>
                    <a:pt x="71" y="144"/>
                  </a:lnTo>
                  <a:lnTo>
                    <a:pt x="68" y="154"/>
                  </a:lnTo>
                  <a:lnTo>
                    <a:pt x="67" y="165"/>
                  </a:lnTo>
                  <a:lnTo>
                    <a:pt x="66" y="177"/>
                  </a:lnTo>
                  <a:lnTo>
                    <a:pt x="66" y="177"/>
                  </a:lnTo>
                  <a:lnTo>
                    <a:pt x="67" y="188"/>
                  </a:lnTo>
                  <a:lnTo>
                    <a:pt x="68" y="200"/>
                  </a:lnTo>
                  <a:lnTo>
                    <a:pt x="71" y="210"/>
                  </a:lnTo>
                  <a:lnTo>
                    <a:pt x="75" y="220"/>
                  </a:lnTo>
                  <a:lnTo>
                    <a:pt x="79" y="230"/>
                  </a:lnTo>
                  <a:lnTo>
                    <a:pt x="85" y="239"/>
                  </a:lnTo>
                  <a:lnTo>
                    <a:pt x="92" y="247"/>
                  </a:lnTo>
                  <a:lnTo>
                    <a:pt x="99" y="255"/>
                  </a:lnTo>
                  <a:lnTo>
                    <a:pt x="106" y="263"/>
                  </a:lnTo>
                  <a:lnTo>
                    <a:pt x="115" y="269"/>
                  </a:lnTo>
                  <a:lnTo>
                    <a:pt x="124" y="274"/>
                  </a:lnTo>
                  <a:lnTo>
                    <a:pt x="134" y="279"/>
                  </a:lnTo>
                  <a:lnTo>
                    <a:pt x="144" y="282"/>
                  </a:lnTo>
                  <a:lnTo>
                    <a:pt x="155" y="285"/>
                  </a:lnTo>
                  <a:lnTo>
                    <a:pt x="166" y="288"/>
                  </a:lnTo>
                  <a:lnTo>
                    <a:pt x="177" y="288"/>
                  </a:lnTo>
                  <a:lnTo>
                    <a:pt x="177" y="288"/>
                  </a:lnTo>
                  <a:lnTo>
                    <a:pt x="188" y="288"/>
                  </a:lnTo>
                  <a:lnTo>
                    <a:pt x="199" y="285"/>
                  </a:lnTo>
                  <a:lnTo>
                    <a:pt x="210" y="282"/>
                  </a:lnTo>
                  <a:lnTo>
                    <a:pt x="220" y="279"/>
                  </a:lnTo>
                  <a:lnTo>
                    <a:pt x="229" y="274"/>
                  </a:lnTo>
                  <a:lnTo>
                    <a:pt x="239" y="269"/>
                  </a:lnTo>
                  <a:lnTo>
                    <a:pt x="248" y="263"/>
                  </a:lnTo>
                  <a:lnTo>
                    <a:pt x="255" y="255"/>
                  </a:lnTo>
                  <a:lnTo>
                    <a:pt x="262" y="247"/>
                  </a:lnTo>
                  <a:lnTo>
                    <a:pt x="269" y="239"/>
                  </a:lnTo>
                  <a:lnTo>
                    <a:pt x="275" y="230"/>
                  </a:lnTo>
                  <a:lnTo>
                    <a:pt x="279" y="220"/>
                  </a:lnTo>
                  <a:lnTo>
                    <a:pt x="283" y="210"/>
                  </a:lnTo>
                  <a:lnTo>
                    <a:pt x="285" y="200"/>
                  </a:lnTo>
                  <a:lnTo>
                    <a:pt x="287" y="188"/>
                  </a:lnTo>
                  <a:lnTo>
                    <a:pt x="288" y="177"/>
                  </a:lnTo>
                  <a:lnTo>
                    <a:pt x="288" y="177"/>
                  </a:lnTo>
                  <a:lnTo>
                    <a:pt x="287" y="165"/>
                  </a:lnTo>
                  <a:lnTo>
                    <a:pt x="285" y="154"/>
                  </a:lnTo>
                  <a:lnTo>
                    <a:pt x="283" y="144"/>
                  </a:lnTo>
                  <a:lnTo>
                    <a:pt x="279" y="133"/>
                  </a:lnTo>
                  <a:lnTo>
                    <a:pt x="275" y="124"/>
                  </a:lnTo>
                  <a:lnTo>
                    <a:pt x="269" y="115"/>
                  </a:lnTo>
                  <a:lnTo>
                    <a:pt x="262" y="106"/>
                  </a:lnTo>
                  <a:lnTo>
                    <a:pt x="255" y="98"/>
                  </a:lnTo>
                  <a:lnTo>
                    <a:pt x="248" y="91"/>
                  </a:lnTo>
                  <a:lnTo>
                    <a:pt x="239" y="85"/>
                  </a:lnTo>
                  <a:lnTo>
                    <a:pt x="229" y="79"/>
                  </a:lnTo>
                  <a:lnTo>
                    <a:pt x="220" y="74"/>
                  </a:lnTo>
                  <a:lnTo>
                    <a:pt x="210" y="71"/>
                  </a:lnTo>
                  <a:lnTo>
                    <a:pt x="199" y="68"/>
                  </a:lnTo>
                  <a:lnTo>
                    <a:pt x="188" y="66"/>
                  </a:lnTo>
                  <a:lnTo>
                    <a:pt x="177" y="66"/>
                  </a:lnTo>
                  <a:lnTo>
                    <a:pt x="17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19" name="Freeform 196">
              <a:extLst>
                <a:ext uri="{FF2B5EF4-FFF2-40B4-BE49-F238E27FC236}">
                  <a16:creationId xmlns:a16="http://schemas.microsoft.com/office/drawing/2014/main" id="{6B916A0E-12B2-4DF6-B7B1-A91562BEFE78}"/>
                </a:ext>
              </a:extLst>
            </p:cNvPr>
            <p:cNvSpPr>
              <a:spLocks/>
            </p:cNvSpPr>
            <p:nvPr/>
          </p:nvSpPr>
          <p:spPr bwMode="auto">
            <a:xfrm>
              <a:off x="6996113" y="3249613"/>
              <a:ext cx="300038" cy="314325"/>
            </a:xfrm>
            <a:custGeom>
              <a:avLst/>
              <a:gdLst>
                <a:gd name="T0" fmla="*/ 33 w 1322"/>
                <a:gd name="T1" fmla="*/ 1389 h 1389"/>
                <a:gd name="T2" fmla="*/ 27 w 1322"/>
                <a:gd name="T3" fmla="*/ 1388 h 1389"/>
                <a:gd name="T4" fmla="*/ 14 w 1322"/>
                <a:gd name="T5" fmla="*/ 1382 h 1389"/>
                <a:gd name="T6" fmla="*/ 6 w 1322"/>
                <a:gd name="T7" fmla="*/ 1374 h 1389"/>
                <a:gd name="T8" fmla="*/ 1 w 1322"/>
                <a:gd name="T9" fmla="*/ 1362 h 1389"/>
                <a:gd name="T10" fmla="*/ 0 w 1322"/>
                <a:gd name="T11" fmla="*/ 33 h 1389"/>
                <a:gd name="T12" fmla="*/ 1 w 1322"/>
                <a:gd name="T13" fmla="*/ 25 h 1389"/>
                <a:gd name="T14" fmla="*/ 6 w 1322"/>
                <a:gd name="T15" fmla="*/ 14 h 1389"/>
                <a:gd name="T16" fmla="*/ 14 w 1322"/>
                <a:gd name="T17" fmla="*/ 5 h 1389"/>
                <a:gd name="T18" fmla="*/ 27 w 1322"/>
                <a:gd name="T19" fmla="*/ 0 h 1389"/>
                <a:gd name="T20" fmla="*/ 1289 w 1322"/>
                <a:gd name="T21" fmla="*/ 0 h 1389"/>
                <a:gd name="T22" fmla="*/ 1296 w 1322"/>
                <a:gd name="T23" fmla="*/ 0 h 1389"/>
                <a:gd name="T24" fmla="*/ 1308 w 1322"/>
                <a:gd name="T25" fmla="*/ 5 h 1389"/>
                <a:gd name="T26" fmla="*/ 1317 w 1322"/>
                <a:gd name="T27" fmla="*/ 14 h 1389"/>
                <a:gd name="T28" fmla="*/ 1322 w 1322"/>
                <a:gd name="T29" fmla="*/ 25 h 1389"/>
                <a:gd name="T30" fmla="*/ 1322 w 1322"/>
                <a:gd name="T31" fmla="*/ 628 h 1389"/>
                <a:gd name="T32" fmla="*/ 1322 w 1322"/>
                <a:gd name="T33" fmla="*/ 634 h 1389"/>
                <a:gd name="T34" fmla="*/ 1317 w 1322"/>
                <a:gd name="T35" fmla="*/ 647 h 1389"/>
                <a:gd name="T36" fmla="*/ 1308 w 1322"/>
                <a:gd name="T37" fmla="*/ 655 h 1389"/>
                <a:gd name="T38" fmla="*/ 1296 w 1322"/>
                <a:gd name="T39" fmla="*/ 660 h 1389"/>
                <a:gd name="T40" fmla="*/ 1289 w 1322"/>
                <a:gd name="T41" fmla="*/ 661 h 1389"/>
                <a:gd name="T42" fmla="*/ 1277 w 1322"/>
                <a:gd name="T43" fmla="*/ 658 h 1389"/>
                <a:gd name="T44" fmla="*/ 1266 w 1322"/>
                <a:gd name="T45" fmla="*/ 651 h 1389"/>
                <a:gd name="T46" fmla="*/ 1259 w 1322"/>
                <a:gd name="T47" fmla="*/ 640 h 1389"/>
                <a:gd name="T48" fmla="*/ 1256 w 1322"/>
                <a:gd name="T49" fmla="*/ 628 h 1389"/>
                <a:gd name="T50" fmla="*/ 66 w 1322"/>
                <a:gd name="T51" fmla="*/ 66 h 1389"/>
                <a:gd name="T52" fmla="*/ 628 w 1322"/>
                <a:gd name="T53" fmla="*/ 1322 h 1389"/>
                <a:gd name="T54" fmla="*/ 635 w 1322"/>
                <a:gd name="T55" fmla="*/ 1322 h 1389"/>
                <a:gd name="T56" fmla="*/ 646 w 1322"/>
                <a:gd name="T57" fmla="*/ 1328 h 1389"/>
                <a:gd name="T58" fmla="*/ 656 w 1322"/>
                <a:gd name="T59" fmla="*/ 1337 h 1389"/>
                <a:gd name="T60" fmla="*/ 661 w 1322"/>
                <a:gd name="T61" fmla="*/ 1348 h 1389"/>
                <a:gd name="T62" fmla="*/ 661 w 1322"/>
                <a:gd name="T63" fmla="*/ 1356 h 1389"/>
                <a:gd name="T64" fmla="*/ 659 w 1322"/>
                <a:gd name="T65" fmla="*/ 1368 h 1389"/>
                <a:gd name="T66" fmla="*/ 652 w 1322"/>
                <a:gd name="T67" fmla="*/ 1378 h 1389"/>
                <a:gd name="T68" fmla="*/ 641 w 1322"/>
                <a:gd name="T69" fmla="*/ 1386 h 1389"/>
                <a:gd name="T70" fmla="*/ 628 w 1322"/>
                <a:gd name="T71" fmla="*/ 138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22" h="1389">
                  <a:moveTo>
                    <a:pt x="628" y="1389"/>
                  </a:moveTo>
                  <a:lnTo>
                    <a:pt x="33" y="1389"/>
                  </a:lnTo>
                  <a:lnTo>
                    <a:pt x="33" y="1389"/>
                  </a:lnTo>
                  <a:lnTo>
                    <a:pt x="27" y="1388"/>
                  </a:lnTo>
                  <a:lnTo>
                    <a:pt x="20" y="1386"/>
                  </a:lnTo>
                  <a:lnTo>
                    <a:pt x="14" y="1382"/>
                  </a:lnTo>
                  <a:lnTo>
                    <a:pt x="10" y="1378"/>
                  </a:lnTo>
                  <a:lnTo>
                    <a:pt x="6" y="1374"/>
                  </a:lnTo>
                  <a:lnTo>
                    <a:pt x="3" y="1368"/>
                  </a:lnTo>
                  <a:lnTo>
                    <a:pt x="1" y="1362"/>
                  </a:lnTo>
                  <a:lnTo>
                    <a:pt x="0" y="1356"/>
                  </a:lnTo>
                  <a:lnTo>
                    <a:pt x="0" y="33"/>
                  </a:lnTo>
                  <a:lnTo>
                    <a:pt x="0" y="33"/>
                  </a:lnTo>
                  <a:lnTo>
                    <a:pt x="1" y="25"/>
                  </a:lnTo>
                  <a:lnTo>
                    <a:pt x="3" y="19"/>
                  </a:lnTo>
                  <a:lnTo>
                    <a:pt x="6" y="14"/>
                  </a:lnTo>
                  <a:lnTo>
                    <a:pt x="10" y="9"/>
                  </a:lnTo>
                  <a:lnTo>
                    <a:pt x="14" y="5"/>
                  </a:lnTo>
                  <a:lnTo>
                    <a:pt x="20" y="2"/>
                  </a:lnTo>
                  <a:lnTo>
                    <a:pt x="27" y="0"/>
                  </a:lnTo>
                  <a:lnTo>
                    <a:pt x="33" y="0"/>
                  </a:lnTo>
                  <a:lnTo>
                    <a:pt x="1289" y="0"/>
                  </a:lnTo>
                  <a:lnTo>
                    <a:pt x="1289" y="0"/>
                  </a:lnTo>
                  <a:lnTo>
                    <a:pt x="1296" y="0"/>
                  </a:lnTo>
                  <a:lnTo>
                    <a:pt x="1303" y="2"/>
                  </a:lnTo>
                  <a:lnTo>
                    <a:pt x="1308" y="5"/>
                  </a:lnTo>
                  <a:lnTo>
                    <a:pt x="1313" y="9"/>
                  </a:lnTo>
                  <a:lnTo>
                    <a:pt x="1317" y="14"/>
                  </a:lnTo>
                  <a:lnTo>
                    <a:pt x="1320" y="19"/>
                  </a:lnTo>
                  <a:lnTo>
                    <a:pt x="1322" y="25"/>
                  </a:lnTo>
                  <a:lnTo>
                    <a:pt x="1322" y="33"/>
                  </a:lnTo>
                  <a:lnTo>
                    <a:pt x="1322" y="628"/>
                  </a:lnTo>
                  <a:lnTo>
                    <a:pt x="1322" y="628"/>
                  </a:lnTo>
                  <a:lnTo>
                    <a:pt x="1322" y="634"/>
                  </a:lnTo>
                  <a:lnTo>
                    <a:pt x="1320" y="640"/>
                  </a:lnTo>
                  <a:lnTo>
                    <a:pt x="1317" y="647"/>
                  </a:lnTo>
                  <a:lnTo>
                    <a:pt x="1313" y="651"/>
                  </a:lnTo>
                  <a:lnTo>
                    <a:pt x="1308" y="655"/>
                  </a:lnTo>
                  <a:lnTo>
                    <a:pt x="1303" y="658"/>
                  </a:lnTo>
                  <a:lnTo>
                    <a:pt x="1296" y="660"/>
                  </a:lnTo>
                  <a:lnTo>
                    <a:pt x="1289" y="661"/>
                  </a:lnTo>
                  <a:lnTo>
                    <a:pt x="1289" y="661"/>
                  </a:lnTo>
                  <a:lnTo>
                    <a:pt x="1283" y="660"/>
                  </a:lnTo>
                  <a:lnTo>
                    <a:pt x="1277" y="658"/>
                  </a:lnTo>
                  <a:lnTo>
                    <a:pt x="1270" y="655"/>
                  </a:lnTo>
                  <a:lnTo>
                    <a:pt x="1266" y="651"/>
                  </a:lnTo>
                  <a:lnTo>
                    <a:pt x="1262" y="647"/>
                  </a:lnTo>
                  <a:lnTo>
                    <a:pt x="1259" y="640"/>
                  </a:lnTo>
                  <a:lnTo>
                    <a:pt x="1257" y="634"/>
                  </a:lnTo>
                  <a:lnTo>
                    <a:pt x="1256" y="628"/>
                  </a:lnTo>
                  <a:lnTo>
                    <a:pt x="1256" y="66"/>
                  </a:lnTo>
                  <a:lnTo>
                    <a:pt x="66" y="66"/>
                  </a:lnTo>
                  <a:lnTo>
                    <a:pt x="66" y="1322"/>
                  </a:lnTo>
                  <a:lnTo>
                    <a:pt x="628" y="1322"/>
                  </a:lnTo>
                  <a:lnTo>
                    <a:pt x="628" y="1322"/>
                  </a:lnTo>
                  <a:lnTo>
                    <a:pt x="635" y="1322"/>
                  </a:lnTo>
                  <a:lnTo>
                    <a:pt x="641" y="1325"/>
                  </a:lnTo>
                  <a:lnTo>
                    <a:pt x="646" y="1328"/>
                  </a:lnTo>
                  <a:lnTo>
                    <a:pt x="652" y="1332"/>
                  </a:lnTo>
                  <a:lnTo>
                    <a:pt x="656" y="1337"/>
                  </a:lnTo>
                  <a:lnTo>
                    <a:pt x="659" y="1342"/>
                  </a:lnTo>
                  <a:lnTo>
                    <a:pt x="661" y="1348"/>
                  </a:lnTo>
                  <a:lnTo>
                    <a:pt x="661" y="1356"/>
                  </a:lnTo>
                  <a:lnTo>
                    <a:pt x="661" y="1356"/>
                  </a:lnTo>
                  <a:lnTo>
                    <a:pt x="661" y="1362"/>
                  </a:lnTo>
                  <a:lnTo>
                    <a:pt x="659" y="1368"/>
                  </a:lnTo>
                  <a:lnTo>
                    <a:pt x="656" y="1374"/>
                  </a:lnTo>
                  <a:lnTo>
                    <a:pt x="652" y="1378"/>
                  </a:lnTo>
                  <a:lnTo>
                    <a:pt x="646" y="1382"/>
                  </a:lnTo>
                  <a:lnTo>
                    <a:pt x="641" y="1386"/>
                  </a:lnTo>
                  <a:lnTo>
                    <a:pt x="635" y="1388"/>
                  </a:lnTo>
                  <a:lnTo>
                    <a:pt x="628" y="1389"/>
                  </a:lnTo>
                  <a:lnTo>
                    <a:pt x="628" y="1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20" name="Freeform 197">
              <a:extLst>
                <a:ext uri="{FF2B5EF4-FFF2-40B4-BE49-F238E27FC236}">
                  <a16:creationId xmlns:a16="http://schemas.microsoft.com/office/drawing/2014/main" id="{15E2FD3A-2917-41DD-960C-6CFA9531C3CB}"/>
                </a:ext>
              </a:extLst>
            </p:cNvPr>
            <p:cNvSpPr>
              <a:spLocks/>
            </p:cNvSpPr>
            <p:nvPr/>
          </p:nvSpPr>
          <p:spPr bwMode="auto">
            <a:xfrm>
              <a:off x="7227888" y="3249613"/>
              <a:ext cx="15875" cy="36513"/>
            </a:xfrm>
            <a:custGeom>
              <a:avLst/>
              <a:gdLst>
                <a:gd name="T0" fmla="*/ 33 w 66"/>
                <a:gd name="T1" fmla="*/ 164 h 164"/>
                <a:gd name="T2" fmla="*/ 33 w 66"/>
                <a:gd name="T3" fmla="*/ 164 h 164"/>
                <a:gd name="T4" fmla="*/ 26 w 66"/>
                <a:gd name="T5" fmla="*/ 164 h 164"/>
                <a:gd name="T6" fmla="*/ 20 w 66"/>
                <a:gd name="T7" fmla="*/ 162 h 164"/>
                <a:gd name="T8" fmla="*/ 15 w 66"/>
                <a:gd name="T9" fmla="*/ 159 h 164"/>
                <a:gd name="T10" fmla="*/ 10 w 66"/>
                <a:gd name="T11" fmla="*/ 155 h 164"/>
                <a:gd name="T12" fmla="*/ 5 w 66"/>
                <a:gd name="T13" fmla="*/ 150 h 164"/>
                <a:gd name="T14" fmla="*/ 2 w 66"/>
                <a:gd name="T15" fmla="*/ 145 h 164"/>
                <a:gd name="T16" fmla="*/ 0 w 66"/>
                <a:gd name="T17" fmla="*/ 138 h 164"/>
                <a:gd name="T18" fmla="*/ 0 w 66"/>
                <a:gd name="T19" fmla="*/ 132 h 164"/>
                <a:gd name="T20" fmla="*/ 0 w 66"/>
                <a:gd name="T21" fmla="*/ 33 h 164"/>
                <a:gd name="T22" fmla="*/ 0 w 66"/>
                <a:gd name="T23" fmla="*/ 33 h 164"/>
                <a:gd name="T24" fmla="*/ 0 w 66"/>
                <a:gd name="T25" fmla="*/ 25 h 164"/>
                <a:gd name="T26" fmla="*/ 2 w 66"/>
                <a:gd name="T27" fmla="*/ 19 h 164"/>
                <a:gd name="T28" fmla="*/ 5 w 66"/>
                <a:gd name="T29" fmla="*/ 14 h 164"/>
                <a:gd name="T30" fmla="*/ 10 w 66"/>
                <a:gd name="T31" fmla="*/ 9 h 164"/>
                <a:gd name="T32" fmla="*/ 15 w 66"/>
                <a:gd name="T33" fmla="*/ 5 h 164"/>
                <a:gd name="T34" fmla="*/ 20 w 66"/>
                <a:gd name="T35" fmla="*/ 2 h 164"/>
                <a:gd name="T36" fmla="*/ 26 w 66"/>
                <a:gd name="T37" fmla="*/ 0 h 164"/>
                <a:gd name="T38" fmla="*/ 33 w 66"/>
                <a:gd name="T39" fmla="*/ 0 h 164"/>
                <a:gd name="T40" fmla="*/ 33 w 66"/>
                <a:gd name="T41" fmla="*/ 0 h 164"/>
                <a:gd name="T42" fmla="*/ 40 w 66"/>
                <a:gd name="T43" fmla="*/ 0 h 164"/>
                <a:gd name="T44" fmla="*/ 46 w 66"/>
                <a:gd name="T45" fmla="*/ 2 h 164"/>
                <a:gd name="T46" fmla="*/ 51 w 66"/>
                <a:gd name="T47" fmla="*/ 5 h 164"/>
                <a:gd name="T48" fmla="*/ 56 w 66"/>
                <a:gd name="T49" fmla="*/ 9 h 164"/>
                <a:gd name="T50" fmla="*/ 60 w 66"/>
                <a:gd name="T51" fmla="*/ 14 h 164"/>
                <a:gd name="T52" fmla="*/ 63 w 66"/>
                <a:gd name="T53" fmla="*/ 19 h 164"/>
                <a:gd name="T54" fmla="*/ 65 w 66"/>
                <a:gd name="T55" fmla="*/ 25 h 164"/>
                <a:gd name="T56" fmla="*/ 66 w 66"/>
                <a:gd name="T57" fmla="*/ 33 h 164"/>
                <a:gd name="T58" fmla="*/ 66 w 66"/>
                <a:gd name="T59" fmla="*/ 132 h 164"/>
                <a:gd name="T60" fmla="*/ 66 w 66"/>
                <a:gd name="T61" fmla="*/ 132 h 164"/>
                <a:gd name="T62" fmla="*/ 65 w 66"/>
                <a:gd name="T63" fmla="*/ 138 h 164"/>
                <a:gd name="T64" fmla="*/ 63 w 66"/>
                <a:gd name="T65" fmla="*/ 145 h 164"/>
                <a:gd name="T66" fmla="*/ 60 w 66"/>
                <a:gd name="T67" fmla="*/ 150 h 164"/>
                <a:gd name="T68" fmla="*/ 56 w 66"/>
                <a:gd name="T69" fmla="*/ 155 h 164"/>
                <a:gd name="T70" fmla="*/ 51 w 66"/>
                <a:gd name="T71" fmla="*/ 159 h 164"/>
                <a:gd name="T72" fmla="*/ 46 w 66"/>
                <a:gd name="T73" fmla="*/ 162 h 164"/>
                <a:gd name="T74" fmla="*/ 40 w 66"/>
                <a:gd name="T75" fmla="*/ 164 h 164"/>
                <a:gd name="T76" fmla="*/ 33 w 66"/>
                <a:gd name="T77" fmla="*/ 164 h 164"/>
                <a:gd name="T78" fmla="*/ 33 w 66"/>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64">
                  <a:moveTo>
                    <a:pt x="33" y="164"/>
                  </a:moveTo>
                  <a:lnTo>
                    <a:pt x="33" y="164"/>
                  </a:lnTo>
                  <a:lnTo>
                    <a:pt x="26" y="164"/>
                  </a:lnTo>
                  <a:lnTo>
                    <a:pt x="20" y="162"/>
                  </a:lnTo>
                  <a:lnTo>
                    <a:pt x="15" y="159"/>
                  </a:lnTo>
                  <a:lnTo>
                    <a:pt x="10" y="155"/>
                  </a:lnTo>
                  <a:lnTo>
                    <a:pt x="5" y="150"/>
                  </a:lnTo>
                  <a:lnTo>
                    <a:pt x="2" y="145"/>
                  </a:lnTo>
                  <a:lnTo>
                    <a:pt x="0" y="138"/>
                  </a:lnTo>
                  <a:lnTo>
                    <a:pt x="0" y="132"/>
                  </a:lnTo>
                  <a:lnTo>
                    <a:pt x="0" y="33"/>
                  </a:lnTo>
                  <a:lnTo>
                    <a:pt x="0" y="33"/>
                  </a:lnTo>
                  <a:lnTo>
                    <a:pt x="0" y="25"/>
                  </a:lnTo>
                  <a:lnTo>
                    <a:pt x="2" y="19"/>
                  </a:lnTo>
                  <a:lnTo>
                    <a:pt x="5" y="14"/>
                  </a:lnTo>
                  <a:lnTo>
                    <a:pt x="10" y="9"/>
                  </a:lnTo>
                  <a:lnTo>
                    <a:pt x="15" y="5"/>
                  </a:lnTo>
                  <a:lnTo>
                    <a:pt x="20" y="2"/>
                  </a:lnTo>
                  <a:lnTo>
                    <a:pt x="26" y="0"/>
                  </a:lnTo>
                  <a:lnTo>
                    <a:pt x="33" y="0"/>
                  </a:lnTo>
                  <a:lnTo>
                    <a:pt x="33" y="0"/>
                  </a:lnTo>
                  <a:lnTo>
                    <a:pt x="40" y="0"/>
                  </a:lnTo>
                  <a:lnTo>
                    <a:pt x="46" y="2"/>
                  </a:lnTo>
                  <a:lnTo>
                    <a:pt x="51" y="5"/>
                  </a:lnTo>
                  <a:lnTo>
                    <a:pt x="56" y="9"/>
                  </a:lnTo>
                  <a:lnTo>
                    <a:pt x="60" y="14"/>
                  </a:lnTo>
                  <a:lnTo>
                    <a:pt x="63" y="19"/>
                  </a:lnTo>
                  <a:lnTo>
                    <a:pt x="65" y="25"/>
                  </a:lnTo>
                  <a:lnTo>
                    <a:pt x="66" y="33"/>
                  </a:lnTo>
                  <a:lnTo>
                    <a:pt x="66" y="132"/>
                  </a:lnTo>
                  <a:lnTo>
                    <a:pt x="66" y="132"/>
                  </a:lnTo>
                  <a:lnTo>
                    <a:pt x="65" y="138"/>
                  </a:lnTo>
                  <a:lnTo>
                    <a:pt x="63" y="145"/>
                  </a:lnTo>
                  <a:lnTo>
                    <a:pt x="60" y="150"/>
                  </a:lnTo>
                  <a:lnTo>
                    <a:pt x="56" y="155"/>
                  </a:lnTo>
                  <a:lnTo>
                    <a:pt x="51" y="159"/>
                  </a:lnTo>
                  <a:lnTo>
                    <a:pt x="46" y="162"/>
                  </a:lnTo>
                  <a:lnTo>
                    <a:pt x="40" y="164"/>
                  </a:lnTo>
                  <a:lnTo>
                    <a:pt x="33" y="164"/>
                  </a:lnTo>
                  <a:lnTo>
                    <a:pt x="3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21" name="Freeform 198">
              <a:extLst>
                <a:ext uri="{FF2B5EF4-FFF2-40B4-BE49-F238E27FC236}">
                  <a16:creationId xmlns:a16="http://schemas.microsoft.com/office/drawing/2014/main" id="{C8E9A13F-A2CD-4A19-B30E-8E7330E182FD}"/>
                </a:ext>
              </a:extLst>
            </p:cNvPr>
            <p:cNvSpPr>
              <a:spLocks/>
            </p:cNvSpPr>
            <p:nvPr/>
          </p:nvSpPr>
          <p:spPr bwMode="auto">
            <a:xfrm>
              <a:off x="7167563" y="3249613"/>
              <a:ext cx="15875" cy="36513"/>
            </a:xfrm>
            <a:custGeom>
              <a:avLst/>
              <a:gdLst>
                <a:gd name="T0" fmla="*/ 33 w 67"/>
                <a:gd name="T1" fmla="*/ 164 h 164"/>
                <a:gd name="T2" fmla="*/ 33 w 67"/>
                <a:gd name="T3" fmla="*/ 164 h 164"/>
                <a:gd name="T4" fmla="*/ 27 w 67"/>
                <a:gd name="T5" fmla="*/ 164 h 164"/>
                <a:gd name="T6" fmla="*/ 21 w 67"/>
                <a:gd name="T7" fmla="*/ 162 h 164"/>
                <a:gd name="T8" fmla="*/ 15 w 67"/>
                <a:gd name="T9" fmla="*/ 159 h 164"/>
                <a:gd name="T10" fmla="*/ 10 w 67"/>
                <a:gd name="T11" fmla="*/ 155 h 164"/>
                <a:gd name="T12" fmla="*/ 7 w 67"/>
                <a:gd name="T13" fmla="*/ 150 h 164"/>
                <a:gd name="T14" fmla="*/ 3 w 67"/>
                <a:gd name="T15" fmla="*/ 145 h 164"/>
                <a:gd name="T16" fmla="*/ 1 w 67"/>
                <a:gd name="T17" fmla="*/ 138 h 164"/>
                <a:gd name="T18" fmla="*/ 0 w 67"/>
                <a:gd name="T19" fmla="*/ 132 h 164"/>
                <a:gd name="T20" fmla="*/ 0 w 67"/>
                <a:gd name="T21" fmla="*/ 33 h 164"/>
                <a:gd name="T22" fmla="*/ 0 w 67"/>
                <a:gd name="T23" fmla="*/ 33 h 164"/>
                <a:gd name="T24" fmla="*/ 1 w 67"/>
                <a:gd name="T25" fmla="*/ 25 h 164"/>
                <a:gd name="T26" fmla="*/ 3 w 67"/>
                <a:gd name="T27" fmla="*/ 19 h 164"/>
                <a:gd name="T28" fmla="*/ 7 w 67"/>
                <a:gd name="T29" fmla="*/ 14 h 164"/>
                <a:gd name="T30" fmla="*/ 10 w 67"/>
                <a:gd name="T31" fmla="*/ 9 h 164"/>
                <a:gd name="T32" fmla="*/ 15 w 67"/>
                <a:gd name="T33" fmla="*/ 5 h 164"/>
                <a:gd name="T34" fmla="*/ 21 w 67"/>
                <a:gd name="T35" fmla="*/ 2 h 164"/>
                <a:gd name="T36" fmla="*/ 27 w 67"/>
                <a:gd name="T37" fmla="*/ 0 h 164"/>
                <a:gd name="T38" fmla="*/ 33 w 67"/>
                <a:gd name="T39" fmla="*/ 0 h 164"/>
                <a:gd name="T40" fmla="*/ 33 w 67"/>
                <a:gd name="T41" fmla="*/ 0 h 164"/>
                <a:gd name="T42" fmla="*/ 40 w 67"/>
                <a:gd name="T43" fmla="*/ 0 h 164"/>
                <a:gd name="T44" fmla="*/ 46 w 67"/>
                <a:gd name="T45" fmla="*/ 2 h 164"/>
                <a:gd name="T46" fmla="*/ 52 w 67"/>
                <a:gd name="T47" fmla="*/ 5 h 164"/>
                <a:gd name="T48" fmla="*/ 57 w 67"/>
                <a:gd name="T49" fmla="*/ 9 h 164"/>
                <a:gd name="T50" fmla="*/ 60 w 67"/>
                <a:gd name="T51" fmla="*/ 14 h 164"/>
                <a:gd name="T52" fmla="*/ 63 w 67"/>
                <a:gd name="T53" fmla="*/ 19 h 164"/>
                <a:gd name="T54" fmla="*/ 66 w 67"/>
                <a:gd name="T55" fmla="*/ 25 h 164"/>
                <a:gd name="T56" fmla="*/ 67 w 67"/>
                <a:gd name="T57" fmla="*/ 33 h 164"/>
                <a:gd name="T58" fmla="*/ 67 w 67"/>
                <a:gd name="T59" fmla="*/ 132 h 164"/>
                <a:gd name="T60" fmla="*/ 67 w 67"/>
                <a:gd name="T61" fmla="*/ 132 h 164"/>
                <a:gd name="T62" fmla="*/ 66 w 67"/>
                <a:gd name="T63" fmla="*/ 138 h 164"/>
                <a:gd name="T64" fmla="*/ 63 w 67"/>
                <a:gd name="T65" fmla="*/ 145 h 164"/>
                <a:gd name="T66" fmla="*/ 60 w 67"/>
                <a:gd name="T67" fmla="*/ 150 h 164"/>
                <a:gd name="T68" fmla="*/ 57 w 67"/>
                <a:gd name="T69" fmla="*/ 155 h 164"/>
                <a:gd name="T70" fmla="*/ 52 w 67"/>
                <a:gd name="T71" fmla="*/ 159 h 164"/>
                <a:gd name="T72" fmla="*/ 46 w 67"/>
                <a:gd name="T73" fmla="*/ 162 h 164"/>
                <a:gd name="T74" fmla="*/ 40 w 67"/>
                <a:gd name="T75" fmla="*/ 164 h 164"/>
                <a:gd name="T76" fmla="*/ 33 w 67"/>
                <a:gd name="T77" fmla="*/ 164 h 164"/>
                <a:gd name="T78" fmla="*/ 33 w 67"/>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 h="164">
                  <a:moveTo>
                    <a:pt x="33" y="164"/>
                  </a:moveTo>
                  <a:lnTo>
                    <a:pt x="33" y="164"/>
                  </a:lnTo>
                  <a:lnTo>
                    <a:pt x="27" y="164"/>
                  </a:lnTo>
                  <a:lnTo>
                    <a:pt x="21" y="162"/>
                  </a:lnTo>
                  <a:lnTo>
                    <a:pt x="15" y="159"/>
                  </a:lnTo>
                  <a:lnTo>
                    <a:pt x="10" y="155"/>
                  </a:lnTo>
                  <a:lnTo>
                    <a:pt x="7" y="150"/>
                  </a:lnTo>
                  <a:lnTo>
                    <a:pt x="3" y="145"/>
                  </a:lnTo>
                  <a:lnTo>
                    <a:pt x="1" y="138"/>
                  </a:lnTo>
                  <a:lnTo>
                    <a:pt x="0" y="132"/>
                  </a:lnTo>
                  <a:lnTo>
                    <a:pt x="0" y="33"/>
                  </a:lnTo>
                  <a:lnTo>
                    <a:pt x="0" y="33"/>
                  </a:lnTo>
                  <a:lnTo>
                    <a:pt x="1" y="25"/>
                  </a:lnTo>
                  <a:lnTo>
                    <a:pt x="3" y="19"/>
                  </a:lnTo>
                  <a:lnTo>
                    <a:pt x="7" y="14"/>
                  </a:lnTo>
                  <a:lnTo>
                    <a:pt x="10" y="9"/>
                  </a:lnTo>
                  <a:lnTo>
                    <a:pt x="15" y="5"/>
                  </a:lnTo>
                  <a:lnTo>
                    <a:pt x="21" y="2"/>
                  </a:lnTo>
                  <a:lnTo>
                    <a:pt x="27" y="0"/>
                  </a:lnTo>
                  <a:lnTo>
                    <a:pt x="33" y="0"/>
                  </a:lnTo>
                  <a:lnTo>
                    <a:pt x="33" y="0"/>
                  </a:lnTo>
                  <a:lnTo>
                    <a:pt x="40" y="0"/>
                  </a:lnTo>
                  <a:lnTo>
                    <a:pt x="46" y="2"/>
                  </a:lnTo>
                  <a:lnTo>
                    <a:pt x="52" y="5"/>
                  </a:lnTo>
                  <a:lnTo>
                    <a:pt x="57" y="9"/>
                  </a:lnTo>
                  <a:lnTo>
                    <a:pt x="60" y="14"/>
                  </a:lnTo>
                  <a:lnTo>
                    <a:pt x="63" y="19"/>
                  </a:lnTo>
                  <a:lnTo>
                    <a:pt x="66" y="25"/>
                  </a:lnTo>
                  <a:lnTo>
                    <a:pt x="67" y="33"/>
                  </a:lnTo>
                  <a:lnTo>
                    <a:pt x="67" y="132"/>
                  </a:lnTo>
                  <a:lnTo>
                    <a:pt x="67" y="132"/>
                  </a:lnTo>
                  <a:lnTo>
                    <a:pt x="66" y="138"/>
                  </a:lnTo>
                  <a:lnTo>
                    <a:pt x="63" y="145"/>
                  </a:lnTo>
                  <a:lnTo>
                    <a:pt x="60" y="150"/>
                  </a:lnTo>
                  <a:lnTo>
                    <a:pt x="57" y="155"/>
                  </a:lnTo>
                  <a:lnTo>
                    <a:pt x="52" y="159"/>
                  </a:lnTo>
                  <a:lnTo>
                    <a:pt x="46" y="162"/>
                  </a:lnTo>
                  <a:lnTo>
                    <a:pt x="40" y="164"/>
                  </a:lnTo>
                  <a:lnTo>
                    <a:pt x="33" y="164"/>
                  </a:lnTo>
                  <a:lnTo>
                    <a:pt x="3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22" name="Freeform 199">
              <a:extLst>
                <a:ext uri="{FF2B5EF4-FFF2-40B4-BE49-F238E27FC236}">
                  <a16:creationId xmlns:a16="http://schemas.microsoft.com/office/drawing/2014/main" id="{A08B44B0-1BF4-445D-8CB6-C361C797D9F9}"/>
                </a:ext>
              </a:extLst>
            </p:cNvPr>
            <p:cNvSpPr>
              <a:spLocks/>
            </p:cNvSpPr>
            <p:nvPr/>
          </p:nvSpPr>
          <p:spPr bwMode="auto">
            <a:xfrm>
              <a:off x="7108825" y="3249613"/>
              <a:ext cx="14288" cy="36513"/>
            </a:xfrm>
            <a:custGeom>
              <a:avLst/>
              <a:gdLst>
                <a:gd name="T0" fmla="*/ 33 w 67"/>
                <a:gd name="T1" fmla="*/ 164 h 164"/>
                <a:gd name="T2" fmla="*/ 33 w 67"/>
                <a:gd name="T3" fmla="*/ 164 h 164"/>
                <a:gd name="T4" fmla="*/ 27 w 67"/>
                <a:gd name="T5" fmla="*/ 164 h 164"/>
                <a:gd name="T6" fmla="*/ 21 w 67"/>
                <a:gd name="T7" fmla="*/ 162 h 164"/>
                <a:gd name="T8" fmla="*/ 16 w 67"/>
                <a:gd name="T9" fmla="*/ 159 h 164"/>
                <a:gd name="T10" fmla="*/ 11 w 67"/>
                <a:gd name="T11" fmla="*/ 155 h 164"/>
                <a:gd name="T12" fmla="*/ 7 w 67"/>
                <a:gd name="T13" fmla="*/ 150 h 164"/>
                <a:gd name="T14" fmla="*/ 3 w 67"/>
                <a:gd name="T15" fmla="*/ 145 h 164"/>
                <a:gd name="T16" fmla="*/ 1 w 67"/>
                <a:gd name="T17" fmla="*/ 138 h 164"/>
                <a:gd name="T18" fmla="*/ 0 w 67"/>
                <a:gd name="T19" fmla="*/ 132 h 164"/>
                <a:gd name="T20" fmla="*/ 0 w 67"/>
                <a:gd name="T21" fmla="*/ 33 h 164"/>
                <a:gd name="T22" fmla="*/ 0 w 67"/>
                <a:gd name="T23" fmla="*/ 33 h 164"/>
                <a:gd name="T24" fmla="*/ 1 w 67"/>
                <a:gd name="T25" fmla="*/ 25 h 164"/>
                <a:gd name="T26" fmla="*/ 3 w 67"/>
                <a:gd name="T27" fmla="*/ 19 h 164"/>
                <a:gd name="T28" fmla="*/ 7 w 67"/>
                <a:gd name="T29" fmla="*/ 14 h 164"/>
                <a:gd name="T30" fmla="*/ 11 w 67"/>
                <a:gd name="T31" fmla="*/ 9 h 164"/>
                <a:gd name="T32" fmla="*/ 16 w 67"/>
                <a:gd name="T33" fmla="*/ 5 h 164"/>
                <a:gd name="T34" fmla="*/ 21 w 67"/>
                <a:gd name="T35" fmla="*/ 2 h 164"/>
                <a:gd name="T36" fmla="*/ 27 w 67"/>
                <a:gd name="T37" fmla="*/ 0 h 164"/>
                <a:gd name="T38" fmla="*/ 33 w 67"/>
                <a:gd name="T39" fmla="*/ 0 h 164"/>
                <a:gd name="T40" fmla="*/ 33 w 67"/>
                <a:gd name="T41" fmla="*/ 0 h 164"/>
                <a:gd name="T42" fmla="*/ 41 w 67"/>
                <a:gd name="T43" fmla="*/ 0 h 164"/>
                <a:gd name="T44" fmla="*/ 47 w 67"/>
                <a:gd name="T45" fmla="*/ 2 h 164"/>
                <a:gd name="T46" fmla="*/ 52 w 67"/>
                <a:gd name="T47" fmla="*/ 5 h 164"/>
                <a:gd name="T48" fmla="*/ 57 w 67"/>
                <a:gd name="T49" fmla="*/ 9 h 164"/>
                <a:gd name="T50" fmla="*/ 61 w 67"/>
                <a:gd name="T51" fmla="*/ 14 h 164"/>
                <a:gd name="T52" fmla="*/ 65 w 67"/>
                <a:gd name="T53" fmla="*/ 19 h 164"/>
                <a:gd name="T54" fmla="*/ 67 w 67"/>
                <a:gd name="T55" fmla="*/ 25 h 164"/>
                <a:gd name="T56" fmla="*/ 67 w 67"/>
                <a:gd name="T57" fmla="*/ 33 h 164"/>
                <a:gd name="T58" fmla="*/ 67 w 67"/>
                <a:gd name="T59" fmla="*/ 132 h 164"/>
                <a:gd name="T60" fmla="*/ 67 w 67"/>
                <a:gd name="T61" fmla="*/ 132 h 164"/>
                <a:gd name="T62" fmla="*/ 67 w 67"/>
                <a:gd name="T63" fmla="*/ 138 h 164"/>
                <a:gd name="T64" fmla="*/ 65 w 67"/>
                <a:gd name="T65" fmla="*/ 145 h 164"/>
                <a:gd name="T66" fmla="*/ 61 w 67"/>
                <a:gd name="T67" fmla="*/ 150 h 164"/>
                <a:gd name="T68" fmla="*/ 57 w 67"/>
                <a:gd name="T69" fmla="*/ 155 h 164"/>
                <a:gd name="T70" fmla="*/ 52 w 67"/>
                <a:gd name="T71" fmla="*/ 159 h 164"/>
                <a:gd name="T72" fmla="*/ 47 w 67"/>
                <a:gd name="T73" fmla="*/ 162 h 164"/>
                <a:gd name="T74" fmla="*/ 41 w 67"/>
                <a:gd name="T75" fmla="*/ 164 h 164"/>
                <a:gd name="T76" fmla="*/ 33 w 67"/>
                <a:gd name="T77" fmla="*/ 164 h 164"/>
                <a:gd name="T78" fmla="*/ 33 w 67"/>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 h="164">
                  <a:moveTo>
                    <a:pt x="33" y="164"/>
                  </a:moveTo>
                  <a:lnTo>
                    <a:pt x="33" y="164"/>
                  </a:lnTo>
                  <a:lnTo>
                    <a:pt x="27" y="164"/>
                  </a:lnTo>
                  <a:lnTo>
                    <a:pt x="21" y="162"/>
                  </a:lnTo>
                  <a:lnTo>
                    <a:pt x="16" y="159"/>
                  </a:lnTo>
                  <a:lnTo>
                    <a:pt x="11" y="155"/>
                  </a:lnTo>
                  <a:lnTo>
                    <a:pt x="7" y="150"/>
                  </a:lnTo>
                  <a:lnTo>
                    <a:pt x="3" y="145"/>
                  </a:lnTo>
                  <a:lnTo>
                    <a:pt x="1" y="138"/>
                  </a:lnTo>
                  <a:lnTo>
                    <a:pt x="0" y="132"/>
                  </a:lnTo>
                  <a:lnTo>
                    <a:pt x="0" y="33"/>
                  </a:lnTo>
                  <a:lnTo>
                    <a:pt x="0" y="33"/>
                  </a:lnTo>
                  <a:lnTo>
                    <a:pt x="1" y="25"/>
                  </a:lnTo>
                  <a:lnTo>
                    <a:pt x="3" y="19"/>
                  </a:lnTo>
                  <a:lnTo>
                    <a:pt x="7" y="14"/>
                  </a:lnTo>
                  <a:lnTo>
                    <a:pt x="11" y="9"/>
                  </a:lnTo>
                  <a:lnTo>
                    <a:pt x="16" y="5"/>
                  </a:lnTo>
                  <a:lnTo>
                    <a:pt x="21" y="2"/>
                  </a:lnTo>
                  <a:lnTo>
                    <a:pt x="27" y="0"/>
                  </a:lnTo>
                  <a:lnTo>
                    <a:pt x="33" y="0"/>
                  </a:lnTo>
                  <a:lnTo>
                    <a:pt x="33" y="0"/>
                  </a:lnTo>
                  <a:lnTo>
                    <a:pt x="41" y="0"/>
                  </a:lnTo>
                  <a:lnTo>
                    <a:pt x="47" y="2"/>
                  </a:lnTo>
                  <a:lnTo>
                    <a:pt x="52" y="5"/>
                  </a:lnTo>
                  <a:lnTo>
                    <a:pt x="57" y="9"/>
                  </a:lnTo>
                  <a:lnTo>
                    <a:pt x="61" y="14"/>
                  </a:lnTo>
                  <a:lnTo>
                    <a:pt x="65" y="19"/>
                  </a:lnTo>
                  <a:lnTo>
                    <a:pt x="67" y="25"/>
                  </a:lnTo>
                  <a:lnTo>
                    <a:pt x="67" y="33"/>
                  </a:lnTo>
                  <a:lnTo>
                    <a:pt x="67" y="132"/>
                  </a:lnTo>
                  <a:lnTo>
                    <a:pt x="67" y="132"/>
                  </a:lnTo>
                  <a:lnTo>
                    <a:pt x="67" y="138"/>
                  </a:lnTo>
                  <a:lnTo>
                    <a:pt x="65" y="145"/>
                  </a:lnTo>
                  <a:lnTo>
                    <a:pt x="61" y="150"/>
                  </a:lnTo>
                  <a:lnTo>
                    <a:pt x="57" y="155"/>
                  </a:lnTo>
                  <a:lnTo>
                    <a:pt x="52" y="159"/>
                  </a:lnTo>
                  <a:lnTo>
                    <a:pt x="47" y="162"/>
                  </a:lnTo>
                  <a:lnTo>
                    <a:pt x="41" y="164"/>
                  </a:lnTo>
                  <a:lnTo>
                    <a:pt x="33" y="164"/>
                  </a:lnTo>
                  <a:lnTo>
                    <a:pt x="3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23" name="Freeform 200">
              <a:extLst>
                <a:ext uri="{FF2B5EF4-FFF2-40B4-BE49-F238E27FC236}">
                  <a16:creationId xmlns:a16="http://schemas.microsoft.com/office/drawing/2014/main" id="{0ABE852B-30C5-402A-8791-89EBEE2EC64E}"/>
                </a:ext>
              </a:extLst>
            </p:cNvPr>
            <p:cNvSpPr>
              <a:spLocks/>
            </p:cNvSpPr>
            <p:nvPr/>
          </p:nvSpPr>
          <p:spPr bwMode="auto">
            <a:xfrm>
              <a:off x="7048500" y="3249613"/>
              <a:ext cx="14288" cy="36513"/>
            </a:xfrm>
            <a:custGeom>
              <a:avLst/>
              <a:gdLst>
                <a:gd name="T0" fmla="*/ 34 w 67"/>
                <a:gd name="T1" fmla="*/ 164 h 164"/>
                <a:gd name="T2" fmla="*/ 34 w 67"/>
                <a:gd name="T3" fmla="*/ 164 h 164"/>
                <a:gd name="T4" fmla="*/ 26 w 67"/>
                <a:gd name="T5" fmla="*/ 164 h 164"/>
                <a:gd name="T6" fmla="*/ 20 w 67"/>
                <a:gd name="T7" fmla="*/ 162 h 164"/>
                <a:gd name="T8" fmla="*/ 15 w 67"/>
                <a:gd name="T9" fmla="*/ 159 h 164"/>
                <a:gd name="T10" fmla="*/ 10 w 67"/>
                <a:gd name="T11" fmla="*/ 155 h 164"/>
                <a:gd name="T12" fmla="*/ 6 w 67"/>
                <a:gd name="T13" fmla="*/ 150 h 164"/>
                <a:gd name="T14" fmla="*/ 3 w 67"/>
                <a:gd name="T15" fmla="*/ 145 h 164"/>
                <a:gd name="T16" fmla="*/ 0 w 67"/>
                <a:gd name="T17" fmla="*/ 138 h 164"/>
                <a:gd name="T18" fmla="*/ 0 w 67"/>
                <a:gd name="T19" fmla="*/ 132 h 164"/>
                <a:gd name="T20" fmla="*/ 0 w 67"/>
                <a:gd name="T21" fmla="*/ 33 h 164"/>
                <a:gd name="T22" fmla="*/ 0 w 67"/>
                <a:gd name="T23" fmla="*/ 33 h 164"/>
                <a:gd name="T24" fmla="*/ 0 w 67"/>
                <a:gd name="T25" fmla="*/ 25 h 164"/>
                <a:gd name="T26" fmla="*/ 3 w 67"/>
                <a:gd name="T27" fmla="*/ 19 h 164"/>
                <a:gd name="T28" fmla="*/ 6 w 67"/>
                <a:gd name="T29" fmla="*/ 14 h 164"/>
                <a:gd name="T30" fmla="*/ 10 w 67"/>
                <a:gd name="T31" fmla="*/ 9 h 164"/>
                <a:gd name="T32" fmla="*/ 15 w 67"/>
                <a:gd name="T33" fmla="*/ 5 h 164"/>
                <a:gd name="T34" fmla="*/ 20 w 67"/>
                <a:gd name="T35" fmla="*/ 2 h 164"/>
                <a:gd name="T36" fmla="*/ 26 w 67"/>
                <a:gd name="T37" fmla="*/ 0 h 164"/>
                <a:gd name="T38" fmla="*/ 34 w 67"/>
                <a:gd name="T39" fmla="*/ 0 h 164"/>
                <a:gd name="T40" fmla="*/ 34 w 67"/>
                <a:gd name="T41" fmla="*/ 0 h 164"/>
                <a:gd name="T42" fmla="*/ 40 w 67"/>
                <a:gd name="T43" fmla="*/ 0 h 164"/>
                <a:gd name="T44" fmla="*/ 46 w 67"/>
                <a:gd name="T45" fmla="*/ 2 h 164"/>
                <a:gd name="T46" fmla="*/ 52 w 67"/>
                <a:gd name="T47" fmla="*/ 5 h 164"/>
                <a:gd name="T48" fmla="*/ 56 w 67"/>
                <a:gd name="T49" fmla="*/ 9 h 164"/>
                <a:gd name="T50" fmla="*/ 61 w 67"/>
                <a:gd name="T51" fmla="*/ 14 h 164"/>
                <a:gd name="T52" fmla="*/ 64 w 67"/>
                <a:gd name="T53" fmla="*/ 19 h 164"/>
                <a:gd name="T54" fmla="*/ 66 w 67"/>
                <a:gd name="T55" fmla="*/ 25 h 164"/>
                <a:gd name="T56" fmla="*/ 67 w 67"/>
                <a:gd name="T57" fmla="*/ 33 h 164"/>
                <a:gd name="T58" fmla="*/ 67 w 67"/>
                <a:gd name="T59" fmla="*/ 132 h 164"/>
                <a:gd name="T60" fmla="*/ 67 w 67"/>
                <a:gd name="T61" fmla="*/ 132 h 164"/>
                <a:gd name="T62" fmla="*/ 66 w 67"/>
                <a:gd name="T63" fmla="*/ 138 h 164"/>
                <a:gd name="T64" fmla="*/ 64 w 67"/>
                <a:gd name="T65" fmla="*/ 145 h 164"/>
                <a:gd name="T66" fmla="*/ 61 w 67"/>
                <a:gd name="T67" fmla="*/ 150 h 164"/>
                <a:gd name="T68" fmla="*/ 56 w 67"/>
                <a:gd name="T69" fmla="*/ 155 h 164"/>
                <a:gd name="T70" fmla="*/ 52 w 67"/>
                <a:gd name="T71" fmla="*/ 159 h 164"/>
                <a:gd name="T72" fmla="*/ 46 w 67"/>
                <a:gd name="T73" fmla="*/ 162 h 164"/>
                <a:gd name="T74" fmla="*/ 40 w 67"/>
                <a:gd name="T75" fmla="*/ 164 h 164"/>
                <a:gd name="T76" fmla="*/ 34 w 67"/>
                <a:gd name="T77" fmla="*/ 164 h 164"/>
                <a:gd name="T78" fmla="*/ 34 w 67"/>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 h="164">
                  <a:moveTo>
                    <a:pt x="34" y="164"/>
                  </a:moveTo>
                  <a:lnTo>
                    <a:pt x="34" y="164"/>
                  </a:lnTo>
                  <a:lnTo>
                    <a:pt x="26" y="164"/>
                  </a:lnTo>
                  <a:lnTo>
                    <a:pt x="20" y="162"/>
                  </a:lnTo>
                  <a:lnTo>
                    <a:pt x="15" y="159"/>
                  </a:lnTo>
                  <a:lnTo>
                    <a:pt x="10" y="155"/>
                  </a:lnTo>
                  <a:lnTo>
                    <a:pt x="6" y="150"/>
                  </a:lnTo>
                  <a:lnTo>
                    <a:pt x="3" y="145"/>
                  </a:lnTo>
                  <a:lnTo>
                    <a:pt x="0" y="138"/>
                  </a:lnTo>
                  <a:lnTo>
                    <a:pt x="0" y="132"/>
                  </a:lnTo>
                  <a:lnTo>
                    <a:pt x="0" y="33"/>
                  </a:lnTo>
                  <a:lnTo>
                    <a:pt x="0" y="33"/>
                  </a:lnTo>
                  <a:lnTo>
                    <a:pt x="0" y="25"/>
                  </a:lnTo>
                  <a:lnTo>
                    <a:pt x="3" y="19"/>
                  </a:lnTo>
                  <a:lnTo>
                    <a:pt x="6" y="14"/>
                  </a:lnTo>
                  <a:lnTo>
                    <a:pt x="10" y="9"/>
                  </a:lnTo>
                  <a:lnTo>
                    <a:pt x="15" y="5"/>
                  </a:lnTo>
                  <a:lnTo>
                    <a:pt x="20" y="2"/>
                  </a:lnTo>
                  <a:lnTo>
                    <a:pt x="26" y="0"/>
                  </a:lnTo>
                  <a:lnTo>
                    <a:pt x="34" y="0"/>
                  </a:lnTo>
                  <a:lnTo>
                    <a:pt x="34" y="0"/>
                  </a:lnTo>
                  <a:lnTo>
                    <a:pt x="40" y="0"/>
                  </a:lnTo>
                  <a:lnTo>
                    <a:pt x="46" y="2"/>
                  </a:lnTo>
                  <a:lnTo>
                    <a:pt x="52" y="5"/>
                  </a:lnTo>
                  <a:lnTo>
                    <a:pt x="56" y="9"/>
                  </a:lnTo>
                  <a:lnTo>
                    <a:pt x="61" y="14"/>
                  </a:lnTo>
                  <a:lnTo>
                    <a:pt x="64" y="19"/>
                  </a:lnTo>
                  <a:lnTo>
                    <a:pt x="66" y="25"/>
                  </a:lnTo>
                  <a:lnTo>
                    <a:pt x="67" y="33"/>
                  </a:lnTo>
                  <a:lnTo>
                    <a:pt x="67" y="132"/>
                  </a:lnTo>
                  <a:lnTo>
                    <a:pt x="67" y="132"/>
                  </a:lnTo>
                  <a:lnTo>
                    <a:pt x="66" y="138"/>
                  </a:lnTo>
                  <a:lnTo>
                    <a:pt x="64" y="145"/>
                  </a:lnTo>
                  <a:lnTo>
                    <a:pt x="61" y="150"/>
                  </a:lnTo>
                  <a:lnTo>
                    <a:pt x="56" y="155"/>
                  </a:lnTo>
                  <a:lnTo>
                    <a:pt x="52" y="159"/>
                  </a:lnTo>
                  <a:lnTo>
                    <a:pt x="46" y="162"/>
                  </a:lnTo>
                  <a:lnTo>
                    <a:pt x="40" y="164"/>
                  </a:lnTo>
                  <a:lnTo>
                    <a:pt x="34" y="164"/>
                  </a:lnTo>
                  <a:lnTo>
                    <a:pt x="34"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24" name="Freeform 201">
              <a:extLst>
                <a:ext uri="{FF2B5EF4-FFF2-40B4-BE49-F238E27FC236}">
                  <a16:creationId xmlns:a16="http://schemas.microsoft.com/office/drawing/2014/main" id="{A8563604-A23A-429A-B737-DCCEF2F900E3}"/>
                </a:ext>
              </a:extLst>
            </p:cNvPr>
            <p:cNvSpPr>
              <a:spLocks/>
            </p:cNvSpPr>
            <p:nvPr/>
          </p:nvSpPr>
          <p:spPr bwMode="auto">
            <a:xfrm>
              <a:off x="7040563"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25" name="Freeform 202">
              <a:extLst>
                <a:ext uri="{FF2B5EF4-FFF2-40B4-BE49-F238E27FC236}">
                  <a16:creationId xmlns:a16="http://schemas.microsoft.com/office/drawing/2014/main" id="{443C0401-494B-491E-9C0E-13F51B143BCD}"/>
                </a:ext>
              </a:extLst>
            </p:cNvPr>
            <p:cNvSpPr>
              <a:spLocks/>
            </p:cNvSpPr>
            <p:nvPr/>
          </p:nvSpPr>
          <p:spPr bwMode="auto">
            <a:xfrm>
              <a:off x="7100888"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26" name="Freeform 203">
              <a:extLst>
                <a:ext uri="{FF2B5EF4-FFF2-40B4-BE49-F238E27FC236}">
                  <a16:creationId xmlns:a16="http://schemas.microsoft.com/office/drawing/2014/main" id="{F6F38F5D-26B6-4E47-BB37-F219AC91BEAB}"/>
                </a:ext>
              </a:extLst>
            </p:cNvPr>
            <p:cNvSpPr>
              <a:spLocks/>
            </p:cNvSpPr>
            <p:nvPr/>
          </p:nvSpPr>
          <p:spPr bwMode="auto">
            <a:xfrm>
              <a:off x="7161213"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27" name="Freeform 204">
              <a:extLst>
                <a:ext uri="{FF2B5EF4-FFF2-40B4-BE49-F238E27FC236}">
                  <a16:creationId xmlns:a16="http://schemas.microsoft.com/office/drawing/2014/main" id="{17E397C1-6BC0-49BE-B86F-F3B36CD7BAD7}"/>
                </a:ext>
              </a:extLst>
            </p:cNvPr>
            <p:cNvSpPr>
              <a:spLocks/>
            </p:cNvSpPr>
            <p:nvPr/>
          </p:nvSpPr>
          <p:spPr bwMode="auto">
            <a:xfrm>
              <a:off x="7221538"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spTree>
    <p:extLst>
      <p:ext uri="{BB962C8B-B14F-4D97-AF65-F5344CB8AC3E}">
        <p14:creationId xmlns:p14="http://schemas.microsoft.com/office/powerpoint/2010/main" val="3168395978"/>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C95D54E-9E33-44AB-9D5D-7A4703CE0CDE}"/>
              </a:ext>
            </a:extLst>
          </p:cNvPr>
          <p:cNvSpPr>
            <a:spLocks noGrp="1"/>
          </p:cNvSpPr>
          <p:nvPr>
            <p:ph type="body" idx="1"/>
          </p:nvPr>
        </p:nvSpPr>
        <p:spPr/>
        <p:txBody>
          <a:bodyPr/>
          <a:lstStyle/>
          <a:p>
            <a:endParaRPr lang="en-US"/>
          </a:p>
        </p:txBody>
      </p:sp>
      <p:sp>
        <p:nvSpPr>
          <p:cNvPr id="3" name="Text Placeholder 2">
            <a:extLst>
              <a:ext uri="{FF2B5EF4-FFF2-40B4-BE49-F238E27FC236}">
                <a16:creationId xmlns:a16="http://schemas.microsoft.com/office/drawing/2014/main" id="{04F67E10-3325-41B5-B0E4-369B28ADE24E}"/>
              </a:ext>
            </a:extLst>
          </p:cNvPr>
          <p:cNvSpPr>
            <a:spLocks noGrp="1"/>
          </p:cNvSpPr>
          <p:nvPr>
            <p:ph type="body" idx="2"/>
          </p:nvPr>
        </p:nvSpPr>
        <p:spPr>
          <a:xfrm>
            <a:off x="381648" y="4640872"/>
            <a:ext cx="8385048" cy="215179"/>
          </a:xfrm>
        </p:spPr>
        <p:txBody>
          <a:bodyPr/>
          <a:lstStyle/>
          <a:p>
            <a:pPr marL="0" indent="0"/>
            <a:r>
              <a:rPr lang="fr-FR" dirty="0">
                <a:latin typeface="Gene Sans Light" panose="00000400000000000000" pitchFamily="50" charset="0"/>
              </a:rPr>
              <a:t>Martins et al. Nat </a:t>
            </a:r>
            <a:r>
              <a:rPr lang="fr-FR" dirty="0" err="1">
                <a:latin typeface="Gene Sans Light" panose="00000400000000000000" pitchFamily="50" charset="0"/>
              </a:rPr>
              <a:t>Rev</a:t>
            </a:r>
            <a:r>
              <a:rPr lang="fr-FR" dirty="0">
                <a:latin typeface="Gene Sans Light" panose="00000400000000000000" pitchFamily="50" charset="0"/>
              </a:rPr>
              <a:t> Clin </a:t>
            </a:r>
            <a:r>
              <a:rPr lang="fr-FR" dirty="0" err="1">
                <a:latin typeface="Gene Sans Light" panose="00000400000000000000" pitchFamily="50" charset="0"/>
              </a:rPr>
              <a:t>Oncol</a:t>
            </a:r>
            <a:r>
              <a:rPr lang="fr-FR" dirty="0">
                <a:latin typeface="Gene Sans Light" panose="00000400000000000000" pitchFamily="50" charset="0"/>
              </a:rPr>
              <a:t> 2019;16:563-580.</a:t>
            </a:r>
          </a:p>
        </p:txBody>
      </p:sp>
      <p:sp>
        <p:nvSpPr>
          <p:cNvPr id="5" name="Title 4">
            <a:extLst>
              <a:ext uri="{FF2B5EF4-FFF2-40B4-BE49-F238E27FC236}">
                <a16:creationId xmlns:a16="http://schemas.microsoft.com/office/drawing/2014/main" id="{F01D18BE-0443-4628-94BF-FCFDC3C196C3}"/>
              </a:ext>
            </a:extLst>
          </p:cNvPr>
          <p:cNvSpPr>
            <a:spLocks noGrp="1"/>
          </p:cNvSpPr>
          <p:nvPr>
            <p:ph type="title"/>
          </p:nvPr>
        </p:nvSpPr>
        <p:spPr/>
        <p:txBody>
          <a:bodyPr/>
          <a:lstStyle/>
          <a:p>
            <a:r>
              <a:rPr lang="en-US" dirty="0"/>
              <a:t>Kinetics of ICI - Induced </a:t>
            </a:r>
            <a:r>
              <a:rPr lang="en-US" dirty="0" err="1"/>
              <a:t>irAEs</a:t>
            </a:r>
            <a:endParaRPr lang="en-US" dirty="0"/>
          </a:p>
        </p:txBody>
      </p:sp>
      <p:sp>
        <p:nvSpPr>
          <p:cNvPr id="6" name="Google Shape;122;p3">
            <a:extLst>
              <a:ext uri="{FF2B5EF4-FFF2-40B4-BE49-F238E27FC236}">
                <a16:creationId xmlns:a16="http://schemas.microsoft.com/office/drawing/2014/main" id="{E471B720-21C1-4494-8635-9FEBD8B63980}"/>
              </a:ext>
            </a:extLst>
          </p:cNvPr>
          <p:cNvSpPr txBox="1">
            <a:spLocks/>
          </p:cNvSpPr>
          <p:nvPr/>
        </p:nvSpPr>
        <p:spPr>
          <a:xfrm>
            <a:off x="381000" y="94526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grpSp>
        <p:nvGrpSpPr>
          <p:cNvPr id="35" name="Group 34">
            <a:extLst>
              <a:ext uri="{FF2B5EF4-FFF2-40B4-BE49-F238E27FC236}">
                <a16:creationId xmlns:a16="http://schemas.microsoft.com/office/drawing/2014/main" id="{BA99FD11-441B-4CEF-9FF1-33213EEE7884}"/>
              </a:ext>
            </a:extLst>
          </p:cNvPr>
          <p:cNvGrpSpPr/>
          <p:nvPr/>
        </p:nvGrpSpPr>
        <p:grpSpPr>
          <a:xfrm>
            <a:off x="419907" y="1570703"/>
            <a:ext cx="4004610" cy="2517400"/>
            <a:chOff x="403858" y="1302525"/>
            <a:chExt cx="8362189" cy="2785578"/>
          </a:xfrm>
        </p:grpSpPr>
        <p:sp>
          <p:nvSpPr>
            <p:cNvPr id="36" name="Google Shape;910;p13">
              <a:extLst>
                <a:ext uri="{FF2B5EF4-FFF2-40B4-BE49-F238E27FC236}">
                  <a16:creationId xmlns:a16="http://schemas.microsoft.com/office/drawing/2014/main" id="{BB996653-1A55-4224-A732-B9C667004F8D}"/>
                </a:ext>
              </a:extLst>
            </p:cNvPr>
            <p:cNvSpPr txBox="1"/>
            <p:nvPr/>
          </p:nvSpPr>
          <p:spPr>
            <a:xfrm>
              <a:off x="1439192" y="3717031"/>
              <a:ext cx="190982" cy="138499"/>
            </a:xfrm>
            <a:prstGeom prst="rect">
              <a:avLst/>
            </a:prstGeom>
            <a:noFill/>
            <a:ln>
              <a:noFill/>
            </a:ln>
          </p:spPr>
          <p:txBody>
            <a:bodyPr spcFirstLastPara="1" wrap="square" lIns="0" tIns="0" rIns="0" bIns="0" anchor="ctr" anchorCtr="0">
              <a:spAutoFit/>
            </a:bodyPr>
            <a:lstStyle/>
            <a:p>
              <a:pPr marL="12700" marR="0" lvl="0" indent="0" algn="ctr"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4</a:t>
              </a:r>
              <a:endParaRPr kumimoji="0"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37" name="Google Shape;911;p13">
              <a:extLst>
                <a:ext uri="{FF2B5EF4-FFF2-40B4-BE49-F238E27FC236}">
                  <a16:creationId xmlns:a16="http://schemas.microsoft.com/office/drawing/2014/main" id="{35629585-D230-4C59-B8F9-68578A72D33E}"/>
                </a:ext>
              </a:extLst>
            </p:cNvPr>
            <p:cNvSpPr txBox="1"/>
            <p:nvPr/>
          </p:nvSpPr>
          <p:spPr>
            <a:xfrm rot="16200000">
              <a:off x="93997" y="2395118"/>
              <a:ext cx="758220" cy="138498"/>
            </a:xfrm>
            <a:prstGeom prst="rect">
              <a:avLst/>
            </a:prstGeom>
            <a:noFill/>
            <a:ln>
              <a:noFill/>
            </a:ln>
          </p:spPr>
          <p:txBody>
            <a:bodyPr spcFirstLastPara="1" wrap="none" lIns="0" tIns="0" rIns="0" bIns="0" anchor="ctr" anchorCtr="0">
              <a:spAutoFit/>
            </a:bodyPr>
            <a:lstStyle/>
            <a:p>
              <a:pPr marL="12700" marR="0" lvl="0" indent="0" algn="ctr"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900" b="1" i="0" u="none" strike="noStrike" kern="0" cap="none" spc="0" normalizeH="0" baseline="0" noProof="0" dirty="0">
                  <a:ln>
                    <a:noFill/>
                  </a:ln>
                  <a:solidFill>
                    <a:srgbClr val="004677"/>
                  </a:solidFill>
                  <a:effectLst/>
                  <a:uLnTx/>
                  <a:uFillTx/>
                  <a:latin typeface="Gene Sans Light" panose="00000400000000000000" pitchFamily="50" charset="0"/>
                  <a:cs typeface="Arial"/>
                  <a:sym typeface="Arial"/>
                </a:rPr>
                <a:t>Toxicity grade</a:t>
              </a:r>
              <a:endParaRPr kumimoji="0" sz="900" b="1" i="0" u="none" strike="noStrike" kern="0" cap="none" spc="0" normalizeH="0" baseline="0" noProof="0" dirty="0">
                <a:ln>
                  <a:noFill/>
                </a:ln>
                <a:solidFill>
                  <a:srgbClr val="004677"/>
                </a:solidFill>
                <a:effectLst/>
                <a:uLnTx/>
                <a:uFillTx/>
                <a:latin typeface="Gene Sans Light" panose="00000400000000000000" pitchFamily="50" charset="0"/>
                <a:cs typeface="Arial"/>
                <a:sym typeface="Arial"/>
              </a:endParaRPr>
            </a:p>
          </p:txBody>
        </p:sp>
        <p:sp>
          <p:nvSpPr>
            <p:cNvPr id="38" name="Google Shape;912;p13">
              <a:extLst>
                <a:ext uri="{FF2B5EF4-FFF2-40B4-BE49-F238E27FC236}">
                  <a16:creationId xmlns:a16="http://schemas.microsoft.com/office/drawing/2014/main" id="{E9D20E3A-14DD-4B68-8B20-2321B44CDD68}"/>
                </a:ext>
              </a:extLst>
            </p:cNvPr>
            <p:cNvSpPr txBox="1"/>
            <p:nvPr/>
          </p:nvSpPr>
          <p:spPr>
            <a:xfrm>
              <a:off x="2877538" y="3943192"/>
              <a:ext cx="3735755" cy="144911"/>
            </a:xfrm>
            <a:prstGeom prst="rect">
              <a:avLst/>
            </a:prstGeom>
            <a:noFill/>
            <a:ln>
              <a:noFill/>
            </a:ln>
          </p:spPr>
          <p:txBody>
            <a:bodyPr spcFirstLastPara="1" wrap="square" lIns="0" tIns="6350" rIns="0" bIns="0" anchor="ctr" anchorCtr="0">
              <a:spAutoFit/>
            </a:bodyPr>
            <a:lstStyle/>
            <a:p>
              <a:pPr marL="12700" marR="0" lvl="0" indent="0" algn="ctr"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900" b="1" i="0" u="none" strike="noStrike" kern="0" cap="none" spc="0" normalizeH="0" baseline="0" noProof="0" dirty="0">
                  <a:ln>
                    <a:noFill/>
                  </a:ln>
                  <a:solidFill>
                    <a:srgbClr val="004677"/>
                  </a:solidFill>
                  <a:effectLst/>
                  <a:uLnTx/>
                  <a:uFillTx/>
                  <a:latin typeface="Gene Sans Light" panose="00000400000000000000" pitchFamily="50" charset="0"/>
                  <a:cs typeface="Arial"/>
                  <a:sym typeface="Arial"/>
                </a:rPr>
                <a:t>Duration of treatment (weeks)</a:t>
              </a:r>
              <a:endParaRPr kumimoji="0" sz="900" b="0" i="0" u="none" strike="noStrike" kern="0" cap="none" spc="0" normalizeH="0" baseline="0" noProof="0" dirty="0">
                <a:ln>
                  <a:noFill/>
                </a:ln>
                <a:solidFill>
                  <a:srgbClr val="004677"/>
                </a:solidFill>
                <a:effectLst/>
                <a:uLnTx/>
                <a:uFillTx/>
                <a:latin typeface="Gene Sans Light" panose="00000400000000000000" pitchFamily="50" charset="0"/>
                <a:cs typeface="Arial"/>
                <a:sym typeface="Arial"/>
              </a:endParaRPr>
            </a:p>
          </p:txBody>
        </p:sp>
        <p:sp>
          <p:nvSpPr>
            <p:cNvPr id="39" name="Google Shape;913;p13">
              <a:extLst>
                <a:ext uri="{FF2B5EF4-FFF2-40B4-BE49-F238E27FC236}">
                  <a16:creationId xmlns:a16="http://schemas.microsoft.com/office/drawing/2014/main" id="{2C82B9E0-7ECF-42DB-9A96-BFBCF1556C42}"/>
                </a:ext>
              </a:extLst>
            </p:cNvPr>
            <p:cNvSpPr/>
            <p:nvPr/>
          </p:nvSpPr>
          <p:spPr>
            <a:xfrm>
              <a:off x="724783" y="1302525"/>
              <a:ext cx="8041264" cy="2323689"/>
            </a:xfrm>
            <a:custGeom>
              <a:avLst/>
              <a:gdLst/>
              <a:ahLst/>
              <a:cxnLst/>
              <a:rect l="l" t="t" r="r" b="b"/>
              <a:pathLst>
                <a:path w="9834880" h="4328160" extrusionOk="0">
                  <a:moveTo>
                    <a:pt x="0" y="0"/>
                  </a:moveTo>
                  <a:lnTo>
                    <a:pt x="0" y="4328160"/>
                  </a:lnTo>
                  <a:lnTo>
                    <a:pt x="9834880" y="4328160"/>
                  </a:lnTo>
                </a:path>
              </a:pathLst>
            </a:custGeom>
            <a:noFill/>
            <a:ln w="12700" cap="flat" cmpd="sng">
              <a:solidFill>
                <a:schemeClr val="bg1">
                  <a:lumMod val="75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400"/>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40" name="Google Shape;914;p13">
              <a:extLst>
                <a:ext uri="{FF2B5EF4-FFF2-40B4-BE49-F238E27FC236}">
                  <a16:creationId xmlns:a16="http://schemas.microsoft.com/office/drawing/2014/main" id="{21F25954-F7EF-498B-B2A1-AE30A31F3802}"/>
                </a:ext>
              </a:extLst>
            </p:cNvPr>
            <p:cNvSpPr txBox="1"/>
            <p:nvPr/>
          </p:nvSpPr>
          <p:spPr>
            <a:xfrm>
              <a:off x="2242904" y="3717031"/>
              <a:ext cx="190982" cy="138499"/>
            </a:xfrm>
            <a:prstGeom prst="rect">
              <a:avLst/>
            </a:prstGeom>
            <a:noFill/>
            <a:ln>
              <a:noFill/>
            </a:ln>
          </p:spPr>
          <p:txBody>
            <a:bodyPr spcFirstLastPara="1" wrap="square" lIns="0" tIns="0" rIns="0" bIns="0" anchor="ctr" anchorCtr="0">
              <a:spAutoFit/>
            </a:bodyPr>
            <a:lstStyle/>
            <a:p>
              <a:pPr marL="12700" marR="0" lvl="0" indent="0" algn="ctr"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6</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41" name="Google Shape;915;p13">
              <a:extLst>
                <a:ext uri="{FF2B5EF4-FFF2-40B4-BE49-F238E27FC236}">
                  <a16:creationId xmlns:a16="http://schemas.microsoft.com/office/drawing/2014/main" id="{AC1D47B9-9319-4E9A-A53D-77C95982827C}"/>
                </a:ext>
              </a:extLst>
            </p:cNvPr>
            <p:cNvSpPr txBox="1"/>
            <p:nvPr/>
          </p:nvSpPr>
          <p:spPr>
            <a:xfrm>
              <a:off x="3048772" y="3717031"/>
              <a:ext cx="190982" cy="138499"/>
            </a:xfrm>
            <a:prstGeom prst="rect">
              <a:avLst/>
            </a:prstGeom>
            <a:noFill/>
            <a:ln>
              <a:noFill/>
            </a:ln>
          </p:spPr>
          <p:txBody>
            <a:bodyPr spcFirstLastPara="1" wrap="square" lIns="0" tIns="0" rIns="0" bIns="0" anchor="ctr" anchorCtr="0">
              <a:spAutoFit/>
            </a:bodyPr>
            <a:lstStyle/>
            <a:p>
              <a:pPr marL="12700" marR="0" lvl="0" indent="0" algn="ctr"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8</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42" name="Google Shape;916;p13">
              <a:extLst>
                <a:ext uri="{FF2B5EF4-FFF2-40B4-BE49-F238E27FC236}">
                  <a16:creationId xmlns:a16="http://schemas.microsoft.com/office/drawing/2014/main" id="{7109EF63-8BD0-4FC3-8989-1FAD8CE2AF9C}"/>
                </a:ext>
              </a:extLst>
            </p:cNvPr>
            <p:cNvSpPr txBox="1"/>
            <p:nvPr/>
          </p:nvSpPr>
          <p:spPr>
            <a:xfrm>
              <a:off x="3760944" y="3717031"/>
              <a:ext cx="344826" cy="138499"/>
            </a:xfrm>
            <a:prstGeom prst="rect">
              <a:avLst/>
            </a:prstGeom>
            <a:noFill/>
            <a:ln>
              <a:noFill/>
            </a:ln>
          </p:spPr>
          <p:txBody>
            <a:bodyPr spcFirstLastPara="1" wrap="square" lIns="0" tIns="0" rIns="0" bIns="0" anchor="ctr" anchorCtr="0">
              <a:spAutoFit/>
            </a:bodyPr>
            <a:lstStyle/>
            <a:p>
              <a:pPr marL="12700" marR="0" lvl="0" indent="0" algn="ctr"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10</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43" name="Google Shape;917;p13">
              <a:extLst>
                <a:ext uri="{FF2B5EF4-FFF2-40B4-BE49-F238E27FC236}">
                  <a16:creationId xmlns:a16="http://schemas.microsoft.com/office/drawing/2014/main" id="{CFC1E997-CF4A-45A6-9579-78E1B30AE865}"/>
                </a:ext>
              </a:extLst>
            </p:cNvPr>
            <p:cNvSpPr txBox="1"/>
            <p:nvPr/>
          </p:nvSpPr>
          <p:spPr>
            <a:xfrm>
              <a:off x="4560580" y="3717031"/>
              <a:ext cx="344826" cy="138499"/>
            </a:xfrm>
            <a:prstGeom prst="rect">
              <a:avLst/>
            </a:prstGeom>
            <a:noFill/>
            <a:ln>
              <a:noFill/>
            </a:ln>
          </p:spPr>
          <p:txBody>
            <a:bodyPr spcFirstLastPara="1" wrap="square" lIns="0" tIns="0" rIns="0" bIns="0" anchor="ctr" anchorCtr="0">
              <a:spAutoFit/>
            </a:bodyPr>
            <a:lstStyle/>
            <a:p>
              <a:pPr marL="12700" marR="0" lvl="0" indent="0" algn="ctr"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12</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44" name="Google Shape;918;p13">
              <a:extLst>
                <a:ext uri="{FF2B5EF4-FFF2-40B4-BE49-F238E27FC236}">
                  <a16:creationId xmlns:a16="http://schemas.microsoft.com/office/drawing/2014/main" id="{96B2F46B-4C52-4D12-B2F9-80AE24E722B1}"/>
                </a:ext>
              </a:extLst>
            </p:cNvPr>
            <p:cNvSpPr txBox="1"/>
            <p:nvPr/>
          </p:nvSpPr>
          <p:spPr>
            <a:xfrm>
              <a:off x="5364293" y="3717031"/>
              <a:ext cx="344826" cy="138499"/>
            </a:xfrm>
            <a:prstGeom prst="rect">
              <a:avLst/>
            </a:prstGeom>
            <a:noFill/>
            <a:ln>
              <a:noFill/>
            </a:ln>
          </p:spPr>
          <p:txBody>
            <a:bodyPr spcFirstLastPara="1" wrap="square" lIns="0" tIns="0" rIns="0" bIns="0" anchor="ctr" anchorCtr="0">
              <a:spAutoFit/>
            </a:bodyPr>
            <a:lstStyle/>
            <a:p>
              <a:pPr marL="12700" marR="0" lvl="0" indent="0" algn="ctr"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14</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grpSp>
          <p:nvGrpSpPr>
            <p:cNvPr id="45" name="Group 44">
              <a:extLst>
                <a:ext uri="{FF2B5EF4-FFF2-40B4-BE49-F238E27FC236}">
                  <a16:creationId xmlns:a16="http://schemas.microsoft.com/office/drawing/2014/main" id="{B4C9622F-54A2-40DA-983F-D8567DFCF7FF}"/>
                </a:ext>
              </a:extLst>
            </p:cNvPr>
            <p:cNvGrpSpPr/>
            <p:nvPr/>
          </p:nvGrpSpPr>
          <p:grpSpPr>
            <a:xfrm>
              <a:off x="1440749" y="1507000"/>
              <a:ext cx="7236826" cy="2121396"/>
              <a:chOff x="1440749" y="1507000"/>
              <a:chExt cx="7236826" cy="2121396"/>
            </a:xfrm>
          </p:grpSpPr>
          <p:sp>
            <p:nvSpPr>
              <p:cNvPr id="50" name="Google Shape;909;p13">
                <a:extLst>
                  <a:ext uri="{FF2B5EF4-FFF2-40B4-BE49-F238E27FC236}">
                    <a16:creationId xmlns:a16="http://schemas.microsoft.com/office/drawing/2014/main" id="{443DF27F-3C60-41F5-9C46-DB38884671EF}"/>
                  </a:ext>
                </a:extLst>
              </p:cNvPr>
              <p:cNvSpPr/>
              <p:nvPr/>
            </p:nvSpPr>
            <p:spPr>
              <a:xfrm>
                <a:off x="1440749" y="3029816"/>
                <a:ext cx="970372" cy="598580"/>
              </a:xfrm>
              <a:custGeom>
                <a:avLst/>
                <a:gdLst/>
                <a:ahLst/>
                <a:cxnLst/>
                <a:rect l="l" t="t" r="r" b="b"/>
                <a:pathLst>
                  <a:path w="1186815" h="1114929" extrusionOk="0">
                    <a:moveTo>
                      <a:pt x="0" y="1109214"/>
                    </a:moveTo>
                    <a:cubicBezTo>
                      <a:pt x="154940" y="723134"/>
                      <a:pt x="267018" y="-65218"/>
                      <a:pt x="603885" y="4314"/>
                    </a:cubicBezTo>
                    <a:cubicBezTo>
                      <a:pt x="940752" y="73846"/>
                      <a:pt x="1047750" y="663444"/>
                      <a:pt x="1186815" y="1114929"/>
                    </a:cubicBezTo>
                  </a:path>
                </a:pathLst>
              </a:custGeom>
              <a:noFill/>
              <a:ln w="25400"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400"/>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1" name="Google Shape;920;p13">
                <a:extLst>
                  <a:ext uri="{FF2B5EF4-FFF2-40B4-BE49-F238E27FC236}">
                    <a16:creationId xmlns:a16="http://schemas.microsoft.com/office/drawing/2014/main" id="{F5B4D608-E679-42C8-B30C-0FF49392C2C5}"/>
                  </a:ext>
                </a:extLst>
              </p:cNvPr>
              <p:cNvSpPr/>
              <p:nvPr/>
            </p:nvSpPr>
            <p:spPr>
              <a:xfrm>
                <a:off x="2500838" y="2283902"/>
                <a:ext cx="6176737" cy="1343334"/>
              </a:xfrm>
              <a:custGeom>
                <a:avLst/>
                <a:gdLst/>
                <a:ahLst/>
                <a:cxnLst/>
                <a:rect l="l" t="t" r="r" b="b"/>
                <a:pathLst>
                  <a:path w="7554468" h="2496332" extrusionOk="0">
                    <a:moveTo>
                      <a:pt x="0" y="2496332"/>
                    </a:moveTo>
                    <a:cubicBezTo>
                      <a:pt x="190500" y="1658132"/>
                      <a:pt x="246126" y="-6627"/>
                      <a:pt x="644652" y="20"/>
                    </a:cubicBezTo>
                    <a:cubicBezTo>
                      <a:pt x="1043178" y="6667"/>
                      <a:pt x="5996432" y="18639"/>
                      <a:pt x="7554468" y="12229"/>
                    </a:cubicBezTo>
                  </a:path>
                </a:pathLst>
              </a:custGeom>
              <a:noFill/>
              <a:ln w="254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400"/>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2" name="Google Shape;921;p13">
                <a:extLst>
                  <a:ext uri="{FF2B5EF4-FFF2-40B4-BE49-F238E27FC236}">
                    <a16:creationId xmlns:a16="http://schemas.microsoft.com/office/drawing/2014/main" id="{6BE1473B-7EB2-497C-92ED-F017551FF1B4}"/>
                  </a:ext>
                </a:extLst>
              </p:cNvPr>
              <p:cNvSpPr/>
              <p:nvPr/>
            </p:nvSpPr>
            <p:spPr>
              <a:xfrm>
                <a:off x="2523268" y="2830786"/>
                <a:ext cx="3302069" cy="797609"/>
              </a:xfrm>
              <a:custGeom>
                <a:avLst/>
                <a:gdLst/>
                <a:ahLst/>
                <a:cxnLst/>
                <a:rect l="l" t="t" r="r" b="b"/>
                <a:pathLst>
                  <a:path w="4038600" h="1485647" extrusionOk="0">
                    <a:moveTo>
                      <a:pt x="0" y="1484631"/>
                    </a:moveTo>
                    <a:cubicBezTo>
                      <a:pt x="113792" y="962407"/>
                      <a:pt x="229108" y="40726"/>
                      <a:pt x="618744" y="28703"/>
                    </a:cubicBezTo>
                    <a:cubicBezTo>
                      <a:pt x="1008380" y="16680"/>
                      <a:pt x="3230118" y="-35813"/>
                      <a:pt x="3343656" y="40895"/>
                    </a:cubicBezTo>
                    <a:cubicBezTo>
                      <a:pt x="3457194" y="117603"/>
                      <a:pt x="3786378" y="633731"/>
                      <a:pt x="4038600" y="1485647"/>
                    </a:cubicBezTo>
                  </a:path>
                </a:pathLst>
              </a:custGeom>
              <a:no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400"/>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3" name="Google Shape;922;p13">
                <a:extLst>
                  <a:ext uri="{FF2B5EF4-FFF2-40B4-BE49-F238E27FC236}">
                    <a16:creationId xmlns:a16="http://schemas.microsoft.com/office/drawing/2014/main" id="{F8F8830E-1786-4C42-BD48-EBB989420477}"/>
                  </a:ext>
                </a:extLst>
              </p:cNvPr>
              <p:cNvSpPr/>
              <p:nvPr/>
            </p:nvSpPr>
            <p:spPr>
              <a:xfrm>
                <a:off x="1675944" y="1507000"/>
                <a:ext cx="2330139" cy="2120579"/>
              </a:xfrm>
              <a:custGeom>
                <a:avLst/>
                <a:gdLst/>
                <a:ahLst/>
                <a:cxnLst/>
                <a:rect l="l" t="t" r="r" b="b"/>
                <a:pathLst>
                  <a:path w="2849880" h="3949842" extrusionOk="0">
                    <a:moveTo>
                      <a:pt x="0" y="3949842"/>
                    </a:moveTo>
                    <a:cubicBezTo>
                      <a:pt x="40640" y="2555382"/>
                      <a:pt x="321310" y="106568"/>
                      <a:pt x="640080" y="2682"/>
                    </a:cubicBezTo>
                    <a:cubicBezTo>
                      <a:pt x="958850" y="-101204"/>
                      <a:pt x="1527048" y="2843926"/>
                      <a:pt x="1912620" y="3326526"/>
                    </a:cubicBezTo>
                    <a:cubicBezTo>
                      <a:pt x="2298192" y="3809126"/>
                      <a:pt x="2607564" y="3890914"/>
                      <a:pt x="2849880" y="3934602"/>
                    </a:cubicBezTo>
                  </a:path>
                </a:pathLst>
              </a:custGeom>
              <a:noFill/>
              <a:ln w="254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400"/>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grpSp>
        <p:sp>
          <p:nvSpPr>
            <p:cNvPr id="46" name="Google Shape;923;p13">
              <a:extLst>
                <a:ext uri="{FF2B5EF4-FFF2-40B4-BE49-F238E27FC236}">
                  <a16:creationId xmlns:a16="http://schemas.microsoft.com/office/drawing/2014/main" id="{61A92323-AD87-4E3E-84AA-FAA2768C6B73}"/>
                </a:ext>
              </a:extLst>
            </p:cNvPr>
            <p:cNvSpPr txBox="1"/>
            <p:nvPr/>
          </p:nvSpPr>
          <p:spPr>
            <a:xfrm>
              <a:off x="7236186" y="3717031"/>
              <a:ext cx="473504" cy="138499"/>
            </a:xfrm>
            <a:prstGeom prst="rect">
              <a:avLst/>
            </a:prstGeom>
            <a:noFill/>
            <a:ln>
              <a:noFill/>
            </a:ln>
          </p:spPr>
          <p:txBody>
            <a:bodyPr spcFirstLastPara="1" wrap="square" lIns="0" tIns="0" rIns="0" bIns="0" anchor="ctr" anchorCtr="0">
              <a:spAutoFit/>
            </a:bodyPr>
            <a:lstStyle/>
            <a:p>
              <a:pPr marL="12700" marR="0" lvl="0" indent="0" algn="ctr"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gt;30</a:t>
              </a:r>
              <a:endParaRPr kumimoji="0"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47" name="Parallelogram 46">
              <a:extLst>
                <a:ext uri="{FF2B5EF4-FFF2-40B4-BE49-F238E27FC236}">
                  <a16:creationId xmlns:a16="http://schemas.microsoft.com/office/drawing/2014/main" id="{BB861B22-E00B-4CAB-B27B-055631C9C4BC}"/>
                </a:ext>
              </a:extLst>
            </p:cNvPr>
            <p:cNvSpPr/>
            <p:nvPr/>
          </p:nvSpPr>
          <p:spPr>
            <a:xfrm>
              <a:off x="6437091" y="3528530"/>
              <a:ext cx="350456" cy="191958"/>
            </a:xfrm>
            <a:prstGeom prst="parallelogram">
              <a:avLst>
                <a:gd name="adj" fmla="val 99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000" b="0" i="0" u="none" strike="noStrike" kern="0" cap="none" spc="0" normalizeH="0" baseline="0" noProof="0">
                <a:ln>
                  <a:noFill/>
                </a:ln>
                <a:solidFill>
                  <a:srgbClr val="FFFFFF"/>
                </a:solidFill>
                <a:effectLst/>
                <a:uLnTx/>
                <a:uFillTx/>
                <a:latin typeface="Gene Sans Light" panose="00000400000000000000" pitchFamily="50" charset="0"/>
                <a:ea typeface="+mn-ea"/>
                <a:cs typeface="+mn-cs"/>
                <a:sym typeface="Arial"/>
              </a:endParaRPr>
            </a:p>
          </p:txBody>
        </p:sp>
        <p:cxnSp>
          <p:nvCxnSpPr>
            <p:cNvPr id="48" name="Straight Connector 47">
              <a:extLst>
                <a:ext uri="{FF2B5EF4-FFF2-40B4-BE49-F238E27FC236}">
                  <a16:creationId xmlns:a16="http://schemas.microsoft.com/office/drawing/2014/main" id="{22C5C199-B4BB-4121-8C9E-20FDEBDDB51F}"/>
                </a:ext>
              </a:extLst>
            </p:cNvPr>
            <p:cNvCxnSpPr>
              <a:cxnSpLocks/>
            </p:cNvCxnSpPr>
            <p:nvPr/>
          </p:nvCxnSpPr>
          <p:spPr>
            <a:xfrm flipH="1">
              <a:off x="6438696" y="3528530"/>
              <a:ext cx="191959" cy="191958"/>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D7A5358-A402-4D13-A97E-566E5F77EF29}"/>
                </a:ext>
              </a:extLst>
            </p:cNvPr>
            <p:cNvCxnSpPr>
              <a:cxnSpLocks/>
            </p:cNvCxnSpPr>
            <p:nvPr/>
          </p:nvCxnSpPr>
          <p:spPr>
            <a:xfrm flipH="1">
              <a:off x="6593983" y="3528530"/>
              <a:ext cx="191959" cy="191958"/>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B17657B7-4766-4895-9F76-6175D0FCAAB8}"/>
              </a:ext>
            </a:extLst>
          </p:cNvPr>
          <p:cNvGrpSpPr/>
          <p:nvPr/>
        </p:nvGrpSpPr>
        <p:grpSpPr>
          <a:xfrm>
            <a:off x="4750366" y="1570703"/>
            <a:ext cx="4011983" cy="2517400"/>
            <a:chOff x="403919" y="1302525"/>
            <a:chExt cx="8362128" cy="2785578"/>
          </a:xfrm>
        </p:grpSpPr>
        <p:sp>
          <p:nvSpPr>
            <p:cNvPr id="55" name="Google Shape;910;p13">
              <a:extLst>
                <a:ext uri="{FF2B5EF4-FFF2-40B4-BE49-F238E27FC236}">
                  <a16:creationId xmlns:a16="http://schemas.microsoft.com/office/drawing/2014/main" id="{B715540D-6FB6-4782-A602-C02693416887}"/>
                </a:ext>
              </a:extLst>
            </p:cNvPr>
            <p:cNvSpPr txBox="1"/>
            <p:nvPr/>
          </p:nvSpPr>
          <p:spPr>
            <a:xfrm>
              <a:off x="1439192" y="3717031"/>
              <a:ext cx="190982" cy="138499"/>
            </a:xfrm>
            <a:prstGeom prst="rect">
              <a:avLst/>
            </a:prstGeom>
            <a:noFill/>
            <a:ln>
              <a:noFill/>
            </a:ln>
          </p:spPr>
          <p:txBody>
            <a:bodyPr spcFirstLastPara="1" wrap="square" lIns="0" tIns="0" rIns="0" bIns="0" anchor="ctr" anchorCtr="0">
              <a:spAutoFit/>
            </a:bodyPr>
            <a:lstStyle/>
            <a:p>
              <a:pPr marL="12700" marR="0" lvl="0" indent="0" algn="ctr"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4</a:t>
              </a:r>
              <a:endParaRPr kumimoji="0"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56" name="Google Shape;911;p13">
              <a:extLst>
                <a:ext uri="{FF2B5EF4-FFF2-40B4-BE49-F238E27FC236}">
                  <a16:creationId xmlns:a16="http://schemas.microsoft.com/office/drawing/2014/main" id="{F81F9181-CB24-488A-A0AD-BE6F8DFD8580}"/>
                </a:ext>
              </a:extLst>
            </p:cNvPr>
            <p:cNvSpPr txBox="1"/>
            <p:nvPr/>
          </p:nvSpPr>
          <p:spPr>
            <a:xfrm rot="16200000">
              <a:off x="94059" y="2395118"/>
              <a:ext cx="758220" cy="138499"/>
            </a:xfrm>
            <a:prstGeom prst="rect">
              <a:avLst/>
            </a:prstGeom>
            <a:noFill/>
            <a:ln>
              <a:noFill/>
            </a:ln>
          </p:spPr>
          <p:txBody>
            <a:bodyPr spcFirstLastPara="1" wrap="none" lIns="0" tIns="0" rIns="0" bIns="0" anchor="ctr" anchorCtr="0">
              <a:spAutoFit/>
            </a:bodyPr>
            <a:lstStyle/>
            <a:p>
              <a:pPr marL="12700" marR="0" lvl="0" indent="0" algn="ctr"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900" b="1" i="0" u="none" strike="noStrike" kern="0" cap="none" spc="0" normalizeH="0" baseline="0" noProof="0" dirty="0">
                  <a:ln>
                    <a:noFill/>
                  </a:ln>
                  <a:solidFill>
                    <a:srgbClr val="004677"/>
                  </a:solidFill>
                  <a:effectLst/>
                  <a:uLnTx/>
                  <a:uFillTx/>
                  <a:latin typeface="Gene Sans Light" panose="00000400000000000000" pitchFamily="50" charset="0"/>
                  <a:cs typeface="Arial"/>
                  <a:sym typeface="Arial"/>
                </a:rPr>
                <a:t>Toxicity grade</a:t>
              </a:r>
            </a:p>
          </p:txBody>
        </p:sp>
        <p:sp>
          <p:nvSpPr>
            <p:cNvPr id="57" name="Google Shape;912;p13">
              <a:extLst>
                <a:ext uri="{FF2B5EF4-FFF2-40B4-BE49-F238E27FC236}">
                  <a16:creationId xmlns:a16="http://schemas.microsoft.com/office/drawing/2014/main" id="{03DB6BD1-84B4-4645-83B9-7110021B5E3D}"/>
                </a:ext>
              </a:extLst>
            </p:cNvPr>
            <p:cNvSpPr txBox="1"/>
            <p:nvPr/>
          </p:nvSpPr>
          <p:spPr>
            <a:xfrm>
              <a:off x="2877538" y="3943192"/>
              <a:ext cx="3735755" cy="144911"/>
            </a:xfrm>
            <a:prstGeom prst="rect">
              <a:avLst/>
            </a:prstGeom>
            <a:noFill/>
            <a:ln>
              <a:noFill/>
            </a:ln>
          </p:spPr>
          <p:txBody>
            <a:bodyPr spcFirstLastPara="1" wrap="square" lIns="0" tIns="6350" rIns="0" bIns="0" anchor="ctr" anchorCtr="0">
              <a:spAutoFit/>
            </a:bodyPr>
            <a:lstStyle/>
            <a:p>
              <a:pPr marL="12700" marR="0" lvl="0" indent="0" algn="ctr"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900" b="1" i="0" u="none" strike="noStrike" kern="0" cap="none" spc="0" normalizeH="0" baseline="0" noProof="0" dirty="0">
                  <a:ln>
                    <a:noFill/>
                  </a:ln>
                  <a:solidFill>
                    <a:srgbClr val="004677"/>
                  </a:solidFill>
                  <a:effectLst/>
                  <a:uLnTx/>
                  <a:uFillTx/>
                  <a:latin typeface="Gene Sans Light" panose="00000400000000000000" pitchFamily="50" charset="0"/>
                  <a:cs typeface="Arial"/>
                  <a:sym typeface="Arial"/>
                </a:rPr>
                <a:t>Duration of treatment (weeks)</a:t>
              </a:r>
            </a:p>
          </p:txBody>
        </p:sp>
        <p:sp>
          <p:nvSpPr>
            <p:cNvPr id="58" name="Google Shape;913;p13">
              <a:extLst>
                <a:ext uri="{FF2B5EF4-FFF2-40B4-BE49-F238E27FC236}">
                  <a16:creationId xmlns:a16="http://schemas.microsoft.com/office/drawing/2014/main" id="{8F747AE3-80F2-4694-8D7D-DFACE54B1CA0}"/>
                </a:ext>
              </a:extLst>
            </p:cNvPr>
            <p:cNvSpPr/>
            <p:nvPr/>
          </p:nvSpPr>
          <p:spPr>
            <a:xfrm>
              <a:off x="724783" y="1302525"/>
              <a:ext cx="8041264" cy="2323689"/>
            </a:xfrm>
            <a:custGeom>
              <a:avLst/>
              <a:gdLst/>
              <a:ahLst/>
              <a:cxnLst/>
              <a:rect l="l" t="t" r="r" b="b"/>
              <a:pathLst>
                <a:path w="9834880" h="4328160" extrusionOk="0">
                  <a:moveTo>
                    <a:pt x="0" y="0"/>
                  </a:moveTo>
                  <a:lnTo>
                    <a:pt x="0" y="4328160"/>
                  </a:lnTo>
                  <a:lnTo>
                    <a:pt x="9834880" y="4328160"/>
                  </a:lnTo>
                </a:path>
              </a:pathLst>
            </a:custGeom>
            <a:noFill/>
            <a:ln w="12700" cap="flat" cmpd="sng">
              <a:solidFill>
                <a:schemeClr val="bg1">
                  <a:lumMod val="75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400"/>
                <a:buFont typeface="Arial"/>
                <a:buNone/>
                <a:tabLst/>
                <a:defRPr/>
              </a:pPr>
              <a:endParaRPr kumimoji="0" sz="9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59" name="Google Shape;914;p13">
              <a:extLst>
                <a:ext uri="{FF2B5EF4-FFF2-40B4-BE49-F238E27FC236}">
                  <a16:creationId xmlns:a16="http://schemas.microsoft.com/office/drawing/2014/main" id="{8DD2CD9B-60B4-4180-8347-694C768310A4}"/>
                </a:ext>
              </a:extLst>
            </p:cNvPr>
            <p:cNvSpPr txBox="1"/>
            <p:nvPr/>
          </p:nvSpPr>
          <p:spPr>
            <a:xfrm>
              <a:off x="2242904" y="3717031"/>
              <a:ext cx="190982" cy="138499"/>
            </a:xfrm>
            <a:prstGeom prst="rect">
              <a:avLst/>
            </a:prstGeom>
            <a:noFill/>
            <a:ln>
              <a:noFill/>
            </a:ln>
          </p:spPr>
          <p:txBody>
            <a:bodyPr spcFirstLastPara="1" wrap="square" lIns="0" tIns="0" rIns="0" bIns="0" anchor="ctr" anchorCtr="0">
              <a:spAutoFit/>
            </a:bodyPr>
            <a:lstStyle/>
            <a:p>
              <a:pPr marL="12700" marR="0" lvl="0" indent="0" algn="ctr"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6</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60" name="Google Shape;915;p13">
              <a:extLst>
                <a:ext uri="{FF2B5EF4-FFF2-40B4-BE49-F238E27FC236}">
                  <a16:creationId xmlns:a16="http://schemas.microsoft.com/office/drawing/2014/main" id="{AB2707DB-7DD5-4A77-9978-E53FB3C26A66}"/>
                </a:ext>
              </a:extLst>
            </p:cNvPr>
            <p:cNvSpPr txBox="1"/>
            <p:nvPr/>
          </p:nvSpPr>
          <p:spPr>
            <a:xfrm>
              <a:off x="3048772" y="3717031"/>
              <a:ext cx="190982" cy="138499"/>
            </a:xfrm>
            <a:prstGeom prst="rect">
              <a:avLst/>
            </a:prstGeom>
            <a:noFill/>
            <a:ln>
              <a:noFill/>
            </a:ln>
          </p:spPr>
          <p:txBody>
            <a:bodyPr spcFirstLastPara="1" wrap="square" lIns="0" tIns="0" rIns="0" bIns="0" anchor="ctr" anchorCtr="0">
              <a:spAutoFit/>
            </a:bodyPr>
            <a:lstStyle/>
            <a:p>
              <a:pPr marL="12700" marR="0" lvl="0" indent="0" algn="ctr"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8</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61" name="Google Shape;916;p13">
              <a:extLst>
                <a:ext uri="{FF2B5EF4-FFF2-40B4-BE49-F238E27FC236}">
                  <a16:creationId xmlns:a16="http://schemas.microsoft.com/office/drawing/2014/main" id="{0AF219E0-9C27-4196-97CF-0ABE0D7E166B}"/>
                </a:ext>
              </a:extLst>
            </p:cNvPr>
            <p:cNvSpPr txBox="1"/>
            <p:nvPr/>
          </p:nvSpPr>
          <p:spPr>
            <a:xfrm>
              <a:off x="3760944" y="3717031"/>
              <a:ext cx="344826" cy="138499"/>
            </a:xfrm>
            <a:prstGeom prst="rect">
              <a:avLst/>
            </a:prstGeom>
            <a:noFill/>
            <a:ln>
              <a:noFill/>
            </a:ln>
          </p:spPr>
          <p:txBody>
            <a:bodyPr spcFirstLastPara="1" wrap="square" lIns="0" tIns="0" rIns="0" bIns="0" anchor="ctr" anchorCtr="0">
              <a:spAutoFit/>
            </a:bodyPr>
            <a:lstStyle/>
            <a:p>
              <a:pPr marL="12700" marR="0" lvl="0" indent="0" algn="ctr"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10</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62" name="Google Shape;917;p13">
              <a:extLst>
                <a:ext uri="{FF2B5EF4-FFF2-40B4-BE49-F238E27FC236}">
                  <a16:creationId xmlns:a16="http://schemas.microsoft.com/office/drawing/2014/main" id="{91606EA5-393A-4AD2-A2AF-4CC3FF5F5071}"/>
                </a:ext>
              </a:extLst>
            </p:cNvPr>
            <p:cNvSpPr txBox="1"/>
            <p:nvPr/>
          </p:nvSpPr>
          <p:spPr>
            <a:xfrm>
              <a:off x="4560580" y="3717031"/>
              <a:ext cx="344826" cy="138499"/>
            </a:xfrm>
            <a:prstGeom prst="rect">
              <a:avLst/>
            </a:prstGeom>
            <a:noFill/>
            <a:ln>
              <a:noFill/>
            </a:ln>
          </p:spPr>
          <p:txBody>
            <a:bodyPr spcFirstLastPara="1" wrap="square" lIns="0" tIns="0" rIns="0" bIns="0" anchor="ctr" anchorCtr="0">
              <a:spAutoFit/>
            </a:bodyPr>
            <a:lstStyle/>
            <a:p>
              <a:pPr marL="12700" marR="0" lvl="0" indent="0" algn="ctr"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12</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63" name="Google Shape;918;p13">
              <a:extLst>
                <a:ext uri="{FF2B5EF4-FFF2-40B4-BE49-F238E27FC236}">
                  <a16:creationId xmlns:a16="http://schemas.microsoft.com/office/drawing/2014/main" id="{C9FC2F35-BC0B-4BAA-BC4F-E01E6F253C40}"/>
                </a:ext>
              </a:extLst>
            </p:cNvPr>
            <p:cNvSpPr txBox="1"/>
            <p:nvPr/>
          </p:nvSpPr>
          <p:spPr>
            <a:xfrm>
              <a:off x="5364293" y="3717031"/>
              <a:ext cx="344826" cy="138499"/>
            </a:xfrm>
            <a:prstGeom prst="rect">
              <a:avLst/>
            </a:prstGeom>
            <a:noFill/>
            <a:ln>
              <a:noFill/>
            </a:ln>
          </p:spPr>
          <p:txBody>
            <a:bodyPr spcFirstLastPara="1" wrap="square" lIns="0" tIns="0" rIns="0" bIns="0" anchor="ctr" anchorCtr="0">
              <a:spAutoFit/>
            </a:bodyPr>
            <a:lstStyle/>
            <a:p>
              <a:pPr marL="12700" marR="0" lvl="0" indent="0" algn="ctr"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rPr>
                <a:t>14</a:t>
              </a:r>
              <a:endParaRPr kumimoji="0" sz="900" b="0" i="0" u="none" strike="noStrike" kern="0" cap="none" spc="0" normalizeH="0" baseline="0" noProof="0">
                <a:ln>
                  <a:noFill/>
                </a:ln>
                <a:solidFill>
                  <a:srgbClr val="545859"/>
                </a:solidFill>
                <a:effectLst/>
                <a:uLnTx/>
                <a:uFillTx/>
                <a:latin typeface="Gene Sans Light" panose="00000400000000000000" pitchFamily="50" charset="0"/>
                <a:cs typeface="Arial"/>
                <a:sym typeface="Arial"/>
              </a:endParaRPr>
            </a:p>
          </p:txBody>
        </p:sp>
        <p:sp>
          <p:nvSpPr>
            <p:cNvPr id="64" name="Google Shape;923;p13">
              <a:extLst>
                <a:ext uri="{FF2B5EF4-FFF2-40B4-BE49-F238E27FC236}">
                  <a16:creationId xmlns:a16="http://schemas.microsoft.com/office/drawing/2014/main" id="{60FBAA9F-2832-41F9-8E57-E3EBD608EC6B}"/>
                </a:ext>
              </a:extLst>
            </p:cNvPr>
            <p:cNvSpPr txBox="1"/>
            <p:nvPr/>
          </p:nvSpPr>
          <p:spPr>
            <a:xfrm>
              <a:off x="7236186" y="3717031"/>
              <a:ext cx="473504" cy="138499"/>
            </a:xfrm>
            <a:prstGeom prst="rect">
              <a:avLst/>
            </a:prstGeom>
            <a:noFill/>
            <a:ln>
              <a:noFill/>
            </a:ln>
          </p:spPr>
          <p:txBody>
            <a:bodyPr spcFirstLastPara="1" wrap="square" lIns="0" tIns="0" rIns="0" bIns="0" anchor="ctr" anchorCtr="0">
              <a:spAutoFit/>
            </a:bodyPr>
            <a:lstStyle/>
            <a:p>
              <a:pPr marL="12700" marR="0" lvl="0" indent="0" algn="ctr"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gt;30</a:t>
              </a:r>
              <a:endParaRPr kumimoji="0"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65" name="Parallelogram 64">
              <a:extLst>
                <a:ext uri="{FF2B5EF4-FFF2-40B4-BE49-F238E27FC236}">
                  <a16:creationId xmlns:a16="http://schemas.microsoft.com/office/drawing/2014/main" id="{3BB111EC-5839-4570-BF21-7C99D34B3D6D}"/>
                </a:ext>
              </a:extLst>
            </p:cNvPr>
            <p:cNvSpPr/>
            <p:nvPr/>
          </p:nvSpPr>
          <p:spPr>
            <a:xfrm>
              <a:off x="6437091" y="3528530"/>
              <a:ext cx="350456" cy="191958"/>
            </a:xfrm>
            <a:prstGeom prst="parallelogram">
              <a:avLst>
                <a:gd name="adj" fmla="val 99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000" b="0" i="0" u="none" strike="noStrike" kern="0" cap="none" spc="0" normalizeH="0" baseline="0" noProof="0">
                <a:ln>
                  <a:noFill/>
                </a:ln>
                <a:solidFill>
                  <a:srgbClr val="FFFFFF"/>
                </a:solidFill>
                <a:effectLst/>
                <a:uLnTx/>
                <a:uFillTx/>
                <a:latin typeface="Gene Sans Light" panose="00000400000000000000" pitchFamily="50" charset="0"/>
                <a:ea typeface="+mn-ea"/>
                <a:cs typeface="+mn-cs"/>
                <a:sym typeface="Arial"/>
              </a:endParaRPr>
            </a:p>
          </p:txBody>
        </p:sp>
        <p:grpSp>
          <p:nvGrpSpPr>
            <p:cNvPr id="66" name="Group 65">
              <a:extLst>
                <a:ext uri="{FF2B5EF4-FFF2-40B4-BE49-F238E27FC236}">
                  <a16:creationId xmlns:a16="http://schemas.microsoft.com/office/drawing/2014/main" id="{B4D46C7B-6E7B-4730-B0CB-6CD14928F5AE}"/>
                </a:ext>
              </a:extLst>
            </p:cNvPr>
            <p:cNvGrpSpPr/>
            <p:nvPr/>
          </p:nvGrpSpPr>
          <p:grpSpPr>
            <a:xfrm>
              <a:off x="1439192" y="1507001"/>
              <a:ext cx="7238383" cy="2119214"/>
              <a:chOff x="2034104" y="2801828"/>
              <a:chExt cx="8796708" cy="2739435"/>
            </a:xfrm>
          </p:grpSpPr>
          <p:sp>
            <p:nvSpPr>
              <p:cNvPr id="69" name="Google Shape;965;p14">
                <a:extLst>
                  <a:ext uri="{FF2B5EF4-FFF2-40B4-BE49-F238E27FC236}">
                    <a16:creationId xmlns:a16="http://schemas.microsoft.com/office/drawing/2014/main" id="{6DCE0D17-65F9-4A54-B309-FDCF3BB567E8}"/>
                  </a:ext>
                </a:extLst>
              </p:cNvPr>
              <p:cNvSpPr/>
              <p:nvPr/>
            </p:nvSpPr>
            <p:spPr>
              <a:xfrm>
                <a:off x="3312497" y="4198058"/>
                <a:ext cx="7442697" cy="1341156"/>
              </a:xfrm>
              <a:custGeom>
                <a:avLst/>
                <a:gdLst/>
                <a:ahLst/>
                <a:cxnLst/>
                <a:rect l="l" t="t" r="r" b="b"/>
                <a:pathLst>
                  <a:path w="7548372" h="2496332" extrusionOk="0">
                    <a:moveTo>
                      <a:pt x="0" y="2496332"/>
                    </a:moveTo>
                    <a:cubicBezTo>
                      <a:pt x="190500" y="1658132"/>
                      <a:pt x="246126" y="-6627"/>
                      <a:pt x="644652" y="20"/>
                    </a:cubicBezTo>
                    <a:cubicBezTo>
                      <a:pt x="1043178" y="6667"/>
                      <a:pt x="5990336" y="31278"/>
                      <a:pt x="7548372" y="24868"/>
                    </a:cubicBezTo>
                  </a:path>
                </a:pathLst>
              </a:custGeom>
              <a:noFill/>
              <a:ln w="254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400"/>
                  <a:buFont typeface="Arial"/>
                  <a:buNone/>
                  <a:tabLst/>
                  <a:defRPr/>
                </a:pPr>
                <a:endParaRPr kumimoji="0" sz="14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70" name="Google Shape;966;p14">
                <a:extLst>
                  <a:ext uri="{FF2B5EF4-FFF2-40B4-BE49-F238E27FC236}">
                    <a16:creationId xmlns:a16="http://schemas.microsoft.com/office/drawing/2014/main" id="{4B5684A3-5DB1-4723-9AD1-A05ECCFB226D}"/>
                  </a:ext>
                </a:extLst>
              </p:cNvPr>
              <p:cNvSpPr/>
              <p:nvPr/>
            </p:nvSpPr>
            <p:spPr>
              <a:xfrm>
                <a:off x="2034104" y="4621936"/>
                <a:ext cx="1184771" cy="919327"/>
              </a:xfrm>
              <a:custGeom>
                <a:avLst/>
                <a:gdLst/>
                <a:ahLst/>
                <a:cxnLst/>
                <a:rect l="l" t="t" r="r" b="b"/>
                <a:pathLst>
                  <a:path w="1186815" h="1114929" extrusionOk="0">
                    <a:moveTo>
                      <a:pt x="0" y="1109214"/>
                    </a:moveTo>
                    <a:cubicBezTo>
                      <a:pt x="154940" y="723134"/>
                      <a:pt x="267018" y="-65218"/>
                      <a:pt x="603885" y="4314"/>
                    </a:cubicBezTo>
                    <a:cubicBezTo>
                      <a:pt x="940752" y="73846"/>
                      <a:pt x="1047750" y="663444"/>
                      <a:pt x="1186815" y="1114929"/>
                    </a:cubicBezTo>
                  </a:path>
                </a:pathLst>
              </a:custGeom>
              <a:noFill/>
              <a:ln w="25400"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400"/>
                  <a:buFont typeface="Arial"/>
                  <a:buNone/>
                  <a:tabLst/>
                  <a:defRPr/>
                </a:pPr>
                <a:endParaRPr kumimoji="0" sz="14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71" name="Google Shape;967;p14">
                <a:extLst>
                  <a:ext uri="{FF2B5EF4-FFF2-40B4-BE49-F238E27FC236}">
                    <a16:creationId xmlns:a16="http://schemas.microsoft.com/office/drawing/2014/main" id="{34158BC2-B490-49A9-B518-555953DCA906}"/>
                  </a:ext>
                </a:extLst>
              </p:cNvPr>
              <p:cNvSpPr/>
              <p:nvPr/>
            </p:nvSpPr>
            <p:spPr>
              <a:xfrm>
                <a:off x="3355800" y="4838758"/>
                <a:ext cx="4031645" cy="702505"/>
              </a:xfrm>
              <a:custGeom>
                <a:avLst/>
                <a:gdLst/>
                <a:ahLst/>
                <a:cxnLst/>
                <a:rect l="l" t="t" r="r" b="b"/>
                <a:pathLst>
                  <a:path w="4038600" h="1485647" extrusionOk="0">
                    <a:moveTo>
                      <a:pt x="0" y="1484631"/>
                    </a:moveTo>
                    <a:cubicBezTo>
                      <a:pt x="113792" y="962407"/>
                      <a:pt x="229108" y="40726"/>
                      <a:pt x="618744" y="28703"/>
                    </a:cubicBezTo>
                    <a:cubicBezTo>
                      <a:pt x="1008380" y="16680"/>
                      <a:pt x="3230118" y="-35813"/>
                      <a:pt x="3343656" y="40895"/>
                    </a:cubicBezTo>
                    <a:cubicBezTo>
                      <a:pt x="3457194" y="117603"/>
                      <a:pt x="3786378" y="633731"/>
                      <a:pt x="4038600" y="1485647"/>
                    </a:cubicBezTo>
                  </a:path>
                </a:pathLst>
              </a:custGeom>
              <a:no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400"/>
                  <a:buFont typeface="Arial"/>
                  <a:buNone/>
                  <a:tabLst/>
                  <a:defRPr/>
                </a:pPr>
                <a:endParaRPr kumimoji="0" sz="14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72" name="Google Shape;968;p14">
                <a:extLst>
                  <a:ext uri="{FF2B5EF4-FFF2-40B4-BE49-F238E27FC236}">
                    <a16:creationId xmlns:a16="http://schemas.microsoft.com/office/drawing/2014/main" id="{34E45BBC-A288-42E3-97D3-0F52278129DE}"/>
                  </a:ext>
                </a:extLst>
              </p:cNvPr>
              <p:cNvSpPr/>
              <p:nvPr/>
            </p:nvSpPr>
            <p:spPr>
              <a:xfrm>
                <a:off x="2321265" y="2815082"/>
                <a:ext cx="2905827" cy="2724737"/>
              </a:xfrm>
              <a:custGeom>
                <a:avLst/>
                <a:gdLst/>
                <a:ahLst/>
                <a:cxnLst/>
                <a:rect l="l" t="t" r="r" b="b"/>
                <a:pathLst>
                  <a:path w="2849880" h="3949842" extrusionOk="0">
                    <a:moveTo>
                      <a:pt x="0" y="3949842"/>
                    </a:moveTo>
                    <a:cubicBezTo>
                      <a:pt x="40640" y="2555382"/>
                      <a:pt x="321310" y="106568"/>
                      <a:pt x="640080" y="2682"/>
                    </a:cubicBezTo>
                    <a:cubicBezTo>
                      <a:pt x="958850" y="-101204"/>
                      <a:pt x="1527048" y="2843926"/>
                      <a:pt x="1912620" y="3326526"/>
                    </a:cubicBezTo>
                    <a:cubicBezTo>
                      <a:pt x="2298192" y="3809126"/>
                      <a:pt x="2607564" y="3890914"/>
                      <a:pt x="2849880" y="3934602"/>
                    </a:cubicBezTo>
                  </a:path>
                </a:pathLst>
              </a:custGeom>
              <a:noFill/>
              <a:ln w="254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400"/>
                  <a:buFont typeface="Arial"/>
                  <a:buNone/>
                  <a:tabLst/>
                  <a:defRPr/>
                </a:pPr>
                <a:endParaRPr kumimoji="0" sz="14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73" name="Google Shape;969;p14">
                <a:extLst>
                  <a:ext uri="{FF2B5EF4-FFF2-40B4-BE49-F238E27FC236}">
                    <a16:creationId xmlns:a16="http://schemas.microsoft.com/office/drawing/2014/main" id="{2FFC76EC-56F6-4421-AE76-7327568551E1}"/>
                  </a:ext>
                </a:extLst>
              </p:cNvPr>
              <p:cNvSpPr/>
              <p:nvPr/>
            </p:nvSpPr>
            <p:spPr>
              <a:xfrm>
                <a:off x="5211878" y="2801828"/>
                <a:ext cx="3066244" cy="2739434"/>
              </a:xfrm>
              <a:custGeom>
                <a:avLst/>
                <a:gdLst/>
                <a:ahLst/>
                <a:cxnLst/>
                <a:rect l="l" t="t" r="r" b="b"/>
                <a:pathLst>
                  <a:path w="2610804" h="3971146" extrusionOk="0">
                    <a:moveTo>
                      <a:pt x="0" y="3971146"/>
                    </a:moveTo>
                    <a:cubicBezTo>
                      <a:pt x="40640" y="2576686"/>
                      <a:pt x="180255" y="110410"/>
                      <a:pt x="480314" y="3032"/>
                    </a:cubicBezTo>
                    <a:cubicBezTo>
                      <a:pt x="780373" y="-104346"/>
                      <a:pt x="1445270" y="2671556"/>
                      <a:pt x="1800352" y="3326876"/>
                    </a:cubicBezTo>
                    <a:cubicBezTo>
                      <a:pt x="2155434" y="3982196"/>
                      <a:pt x="2368488" y="3891264"/>
                      <a:pt x="2610804" y="3934952"/>
                    </a:cubicBezTo>
                  </a:path>
                </a:pathLst>
              </a:custGeom>
              <a:noFill/>
              <a:ln w="25400" cap="flat" cmpd="sng">
                <a:solidFill>
                  <a:schemeClr val="accent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400"/>
                  <a:buFont typeface="Arial"/>
                  <a:buNone/>
                  <a:tabLst/>
                  <a:defRPr/>
                </a:pPr>
                <a:endParaRPr kumimoji="0" sz="14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sp>
            <p:nvSpPr>
              <p:cNvPr id="74" name="Google Shape;970;p14">
                <a:extLst>
                  <a:ext uri="{FF2B5EF4-FFF2-40B4-BE49-F238E27FC236}">
                    <a16:creationId xmlns:a16="http://schemas.microsoft.com/office/drawing/2014/main" id="{4C17F119-6635-4152-865D-B39618DF86DD}"/>
                  </a:ext>
                </a:extLst>
              </p:cNvPr>
              <p:cNvSpPr/>
              <p:nvPr/>
            </p:nvSpPr>
            <p:spPr>
              <a:xfrm>
                <a:off x="8392886" y="4233448"/>
                <a:ext cx="2437926" cy="1295527"/>
              </a:xfrm>
              <a:custGeom>
                <a:avLst/>
                <a:gdLst/>
                <a:ahLst/>
                <a:cxnLst/>
                <a:rect l="l" t="t" r="r" b="b"/>
                <a:pathLst>
                  <a:path w="2537952" h="1394533" extrusionOk="0">
                    <a:moveTo>
                      <a:pt x="0" y="1394533"/>
                    </a:moveTo>
                    <a:cubicBezTo>
                      <a:pt x="97790" y="925903"/>
                      <a:pt x="260350" y="98498"/>
                      <a:pt x="609600" y="11503"/>
                    </a:cubicBezTo>
                    <a:cubicBezTo>
                      <a:pt x="958850" y="-75492"/>
                      <a:pt x="1897667" y="353863"/>
                      <a:pt x="2537952" y="529115"/>
                    </a:cubicBezTo>
                  </a:path>
                </a:pathLst>
              </a:custGeom>
              <a:noFill/>
              <a:ln w="25400" cap="flat" cmpd="sng">
                <a:solidFill>
                  <a:schemeClr val="accent4"/>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2400"/>
                  <a:buFont typeface="Arial"/>
                  <a:buNone/>
                  <a:tabLst/>
                  <a:defRPr/>
                </a:pPr>
                <a:endParaRPr kumimoji="0" sz="1400" b="0" i="0" u="none" strike="noStrike" kern="0" cap="none" spc="0" normalizeH="0" baseline="0" noProof="0">
                  <a:ln>
                    <a:noFill/>
                  </a:ln>
                  <a:solidFill>
                    <a:srgbClr val="FFFFFF"/>
                  </a:solidFill>
                  <a:effectLst/>
                  <a:uLnTx/>
                  <a:uFillTx/>
                  <a:latin typeface="Gene Sans Light" panose="00000400000000000000" pitchFamily="50" charset="0"/>
                  <a:cs typeface="Arial"/>
                  <a:sym typeface="Arial"/>
                </a:endParaRPr>
              </a:p>
            </p:txBody>
          </p:sp>
        </p:grpSp>
        <p:cxnSp>
          <p:nvCxnSpPr>
            <p:cNvPr id="67" name="Straight Connector 66">
              <a:extLst>
                <a:ext uri="{FF2B5EF4-FFF2-40B4-BE49-F238E27FC236}">
                  <a16:creationId xmlns:a16="http://schemas.microsoft.com/office/drawing/2014/main" id="{D80ADAFC-6907-457C-A378-382DF2128C3C}"/>
                </a:ext>
              </a:extLst>
            </p:cNvPr>
            <p:cNvCxnSpPr>
              <a:cxnSpLocks/>
            </p:cNvCxnSpPr>
            <p:nvPr/>
          </p:nvCxnSpPr>
          <p:spPr>
            <a:xfrm flipH="1">
              <a:off x="6438696" y="3528530"/>
              <a:ext cx="191959" cy="191958"/>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A863657-5E80-4A4F-A889-5EBB458669C5}"/>
                </a:ext>
              </a:extLst>
            </p:cNvPr>
            <p:cNvCxnSpPr>
              <a:cxnSpLocks/>
            </p:cNvCxnSpPr>
            <p:nvPr/>
          </p:nvCxnSpPr>
          <p:spPr>
            <a:xfrm flipH="1">
              <a:off x="6593983" y="3528530"/>
              <a:ext cx="191959" cy="191958"/>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75" name="TextBox 74">
            <a:extLst>
              <a:ext uri="{FF2B5EF4-FFF2-40B4-BE49-F238E27FC236}">
                <a16:creationId xmlns:a16="http://schemas.microsoft.com/office/drawing/2014/main" id="{542407EB-6F21-4635-9527-E0B162D2AC63}"/>
              </a:ext>
            </a:extLst>
          </p:cNvPr>
          <p:cNvSpPr txBox="1"/>
          <p:nvPr/>
        </p:nvSpPr>
        <p:spPr>
          <a:xfrm>
            <a:off x="380998" y="4215684"/>
            <a:ext cx="8381351" cy="425188"/>
          </a:xfrm>
          <a:prstGeom prst="rect">
            <a:avLst/>
          </a:prstGeom>
          <a:solidFill>
            <a:schemeClr val="accent6">
              <a:lumMod val="20000"/>
              <a:lumOff val="80000"/>
            </a:schemeClr>
          </a:solidFill>
        </p:spPr>
        <p:txBody>
          <a:bodyPr wrap="square">
            <a:noAutofit/>
          </a:bodyPr>
          <a:lstStyle/>
          <a:p>
            <a:pPr marL="0" marR="0" lvl="0" indent="0" algn="ctr" defTabSz="914400" rtl="0" eaLnBrk="1" fontAlgn="auto" latinLnBrk="0" hangingPunct="1">
              <a:lnSpc>
                <a:spcPct val="100000"/>
              </a:lnSpc>
              <a:spcBef>
                <a:spcPts val="0"/>
              </a:spcBef>
              <a:spcAft>
                <a:spcPts val="0"/>
              </a:spcAft>
              <a:buClr>
                <a:srgbClr val="545859"/>
              </a:buClr>
              <a:buSzPts val="1800"/>
              <a:buFont typeface="Arial"/>
              <a:buNone/>
              <a:tabLst/>
              <a:defRPr/>
            </a:pPr>
            <a:endParaRPr kumimoji="0" lang="en-US" sz="1200" b="0" i="0" u="none" strike="noStrike" kern="0" cap="none" spc="0" normalizeH="0" baseline="0" noProof="0" dirty="0">
              <a:ln>
                <a:noFill/>
              </a:ln>
              <a:solidFill>
                <a:srgbClr val="FFFFFF"/>
              </a:solidFill>
              <a:effectLst/>
              <a:uLnTx/>
              <a:uFillTx/>
              <a:latin typeface="Gene Sans" panose="00000500000000000000" pitchFamily="50" charset="0"/>
              <a:cs typeface="Arial"/>
              <a:sym typeface="Arial"/>
            </a:endParaRPr>
          </a:p>
        </p:txBody>
      </p:sp>
      <p:grpSp>
        <p:nvGrpSpPr>
          <p:cNvPr id="76" name="Group 75">
            <a:extLst>
              <a:ext uri="{FF2B5EF4-FFF2-40B4-BE49-F238E27FC236}">
                <a16:creationId xmlns:a16="http://schemas.microsoft.com/office/drawing/2014/main" id="{8D3E4250-FD3C-4276-A6CA-1BA029F47DAA}"/>
              </a:ext>
            </a:extLst>
          </p:cNvPr>
          <p:cNvGrpSpPr/>
          <p:nvPr/>
        </p:nvGrpSpPr>
        <p:grpSpPr>
          <a:xfrm>
            <a:off x="1541304" y="4355823"/>
            <a:ext cx="6060739" cy="144911"/>
            <a:chOff x="2045800" y="4355823"/>
            <a:chExt cx="6060739" cy="144911"/>
          </a:xfrm>
        </p:grpSpPr>
        <p:sp>
          <p:nvSpPr>
            <p:cNvPr id="77" name="Google Shape;954;p14">
              <a:extLst>
                <a:ext uri="{FF2B5EF4-FFF2-40B4-BE49-F238E27FC236}">
                  <a16:creationId xmlns:a16="http://schemas.microsoft.com/office/drawing/2014/main" id="{9DBAB59F-5172-46C0-9CF0-A6411F5091D3}"/>
                </a:ext>
              </a:extLst>
            </p:cNvPr>
            <p:cNvSpPr txBox="1"/>
            <p:nvPr/>
          </p:nvSpPr>
          <p:spPr>
            <a:xfrm>
              <a:off x="2251086" y="4355823"/>
              <a:ext cx="335028" cy="144911"/>
            </a:xfrm>
            <a:prstGeom prst="rect">
              <a:avLst/>
            </a:prstGeom>
            <a:noFill/>
            <a:ln>
              <a:noFill/>
            </a:ln>
          </p:spPr>
          <p:txBody>
            <a:bodyPr spcFirstLastPara="1" wrap="none" lIns="0" tIns="6350" rIns="0" bIns="0" anchor="t" anchorCtr="0">
              <a:spAutoFit/>
            </a:bodyPr>
            <a:lstStyle/>
            <a:p>
              <a:pPr marL="0" marR="0" lvl="0" indent="0" algn="l" defTabSz="914400" rtl="0" eaLnBrk="1" fontAlgn="auto" latinLnBrk="0" hangingPunct="1">
                <a:lnSpc>
                  <a:spcPct val="100000"/>
                </a:lnSpc>
                <a:spcBef>
                  <a:spcPts val="0"/>
                </a:spcBef>
                <a:spcAft>
                  <a:spcPts val="0"/>
                </a:spcAft>
                <a:buClr>
                  <a:srgbClr val="545859"/>
                </a:buClr>
                <a:buSzPts val="1600"/>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Colitis</a:t>
              </a:r>
              <a:endParaRPr kumimoji="0" sz="9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cxnSp>
          <p:nvCxnSpPr>
            <p:cNvPr id="78" name="Google Shape;924;p13">
              <a:extLst>
                <a:ext uri="{FF2B5EF4-FFF2-40B4-BE49-F238E27FC236}">
                  <a16:creationId xmlns:a16="http://schemas.microsoft.com/office/drawing/2014/main" id="{2876AC8E-9BF4-454D-8ED0-1CE9577BD92C}"/>
                </a:ext>
              </a:extLst>
            </p:cNvPr>
            <p:cNvCxnSpPr>
              <a:cxnSpLocks/>
            </p:cNvCxnSpPr>
            <p:nvPr/>
          </p:nvCxnSpPr>
          <p:spPr>
            <a:xfrm>
              <a:off x="2045800" y="4428278"/>
              <a:ext cx="150019" cy="0"/>
            </a:xfrm>
            <a:prstGeom prst="straightConnector1">
              <a:avLst/>
            </a:prstGeom>
            <a:noFill/>
            <a:ln w="25400" cap="rnd" cmpd="sng">
              <a:solidFill>
                <a:schemeClr val="accent1"/>
              </a:solidFill>
              <a:prstDash val="solid"/>
              <a:round/>
              <a:headEnd type="none" w="sm" len="sm"/>
              <a:tailEnd type="none" w="sm" len="sm"/>
            </a:ln>
          </p:spPr>
        </p:cxnSp>
        <p:sp>
          <p:nvSpPr>
            <p:cNvPr id="79" name="Google Shape;958;p14">
              <a:extLst>
                <a:ext uri="{FF2B5EF4-FFF2-40B4-BE49-F238E27FC236}">
                  <a16:creationId xmlns:a16="http://schemas.microsoft.com/office/drawing/2014/main" id="{E14E424A-5E0E-4868-977A-ADB980964258}"/>
                </a:ext>
              </a:extLst>
            </p:cNvPr>
            <p:cNvSpPr txBox="1"/>
            <p:nvPr/>
          </p:nvSpPr>
          <p:spPr>
            <a:xfrm>
              <a:off x="2960961" y="4355823"/>
              <a:ext cx="799899" cy="144911"/>
            </a:xfrm>
            <a:prstGeom prst="rect">
              <a:avLst/>
            </a:prstGeom>
            <a:noFill/>
            <a:ln>
              <a:noFill/>
            </a:ln>
          </p:spPr>
          <p:txBody>
            <a:bodyPr spcFirstLastPara="1" wrap="none" lIns="0" tIns="6350" rIns="0" bIns="0" anchor="t" anchorCtr="0">
              <a:spAutoFit/>
            </a:bodyPr>
            <a:lstStyle/>
            <a:p>
              <a:pPr marL="0" marR="0" lvl="0" indent="0" algn="l" defTabSz="914400" rtl="0" eaLnBrk="1" fontAlgn="auto" latinLnBrk="0" hangingPunct="1">
                <a:lnSpc>
                  <a:spcPct val="100000"/>
                </a:lnSpc>
                <a:spcBef>
                  <a:spcPts val="0"/>
                </a:spcBef>
                <a:spcAft>
                  <a:spcPts val="0"/>
                </a:spcAft>
                <a:buClr>
                  <a:srgbClr val="545859"/>
                </a:buClr>
                <a:buSzPts val="1600"/>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Endocrinopathy</a:t>
              </a:r>
              <a:endParaRPr kumimoji="0" sz="9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cxnSp>
          <p:nvCxnSpPr>
            <p:cNvPr id="80" name="Google Shape;924;p13">
              <a:extLst>
                <a:ext uri="{FF2B5EF4-FFF2-40B4-BE49-F238E27FC236}">
                  <a16:creationId xmlns:a16="http://schemas.microsoft.com/office/drawing/2014/main" id="{B521243F-6FF4-4FCD-963E-6A2F37369C2F}"/>
                </a:ext>
              </a:extLst>
            </p:cNvPr>
            <p:cNvCxnSpPr>
              <a:cxnSpLocks/>
            </p:cNvCxnSpPr>
            <p:nvPr/>
          </p:nvCxnSpPr>
          <p:spPr>
            <a:xfrm>
              <a:off x="2755675" y="4428278"/>
              <a:ext cx="150019" cy="0"/>
            </a:xfrm>
            <a:prstGeom prst="straightConnector1">
              <a:avLst/>
            </a:prstGeom>
            <a:noFill/>
            <a:ln w="25400" cap="rnd" cmpd="sng">
              <a:solidFill>
                <a:schemeClr val="accent2"/>
              </a:solidFill>
              <a:prstDash val="solid"/>
              <a:round/>
              <a:headEnd type="none" w="sm" len="sm"/>
              <a:tailEnd type="none" w="sm" len="sm"/>
            </a:ln>
          </p:spPr>
        </p:cxnSp>
        <p:sp>
          <p:nvSpPr>
            <p:cNvPr id="81" name="Google Shape;962;p14">
              <a:extLst>
                <a:ext uri="{FF2B5EF4-FFF2-40B4-BE49-F238E27FC236}">
                  <a16:creationId xmlns:a16="http://schemas.microsoft.com/office/drawing/2014/main" id="{B7EFE301-604B-4C61-9023-2E3CF4181C7F}"/>
                </a:ext>
              </a:extLst>
            </p:cNvPr>
            <p:cNvSpPr txBox="1"/>
            <p:nvPr/>
          </p:nvSpPr>
          <p:spPr>
            <a:xfrm>
              <a:off x="4135707" y="4355823"/>
              <a:ext cx="474489" cy="144911"/>
            </a:xfrm>
            <a:prstGeom prst="rect">
              <a:avLst/>
            </a:prstGeom>
            <a:noFill/>
            <a:ln>
              <a:noFill/>
            </a:ln>
          </p:spPr>
          <p:txBody>
            <a:bodyPr spcFirstLastPara="1" wrap="none" lIns="0" tIns="6350" rIns="0" bIns="0" anchor="t" anchorCtr="0">
              <a:spAutoFit/>
            </a:bodyPr>
            <a:lstStyle/>
            <a:p>
              <a:pPr marL="0" marR="0" lvl="0" indent="0" algn="l" defTabSz="914400" rtl="0" eaLnBrk="1" fontAlgn="auto" latinLnBrk="0" hangingPunct="1">
                <a:lnSpc>
                  <a:spcPct val="100000"/>
                </a:lnSpc>
                <a:spcBef>
                  <a:spcPts val="0"/>
                </a:spcBef>
                <a:spcAft>
                  <a:spcPts val="0"/>
                </a:spcAft>
                <a:buClr>
                  <a:srgbClr val="545859"/>
                </a:buClr>
                <a:buSzPts val="1600"/>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Nephritis</a:t>
              </a:r>
              <a:endParaRPr kumimoji="0" sz="9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cxnSp>
          <p:nvCxnSpPr>
            <p:cNvPr id="82" name="Google Shape;924;p13">
              <a:extLst>
                <a:ext uri="{FF2B5EF4-FFF2-40B4-BE49-F238E27FC236}">
                  <a16:creationId xmlns:a16="http://schemas.microsoft.com/office/drawing/2014/main" id="{4A18331C-CB58-48F0-932E-44E97538FDED}"/>
                </a:ext>
              </a:extLst>
            </p:cNvPr>
            <p:cNvCxnSpPr>
              <a:cxnSpLocks/>
            </p:cNvCxnSpPr>
            <p:nvPr/>
          </p:nvCxnSpPr>
          <p:spPr>
            <a:xfrm>
              <a:off x="3930421" y="4428278"/>
              <a:ext cx="150019" cy="0"/>
            </a:xfrm>
            <a:prstGeom prst="straightConnector1">
              <a:avLst/>
            </a:prstGeom>
            <a:noFill/>
            <a:ln w="25400" cap="rnd" cmpd="sng">
              <a:solidFill>
                <a:schemeClr val="accent4"/>
              </a:solidFill>
              <a:prstDash val="solid"/>
              <a:round/>
              <a:headEnd type="none" w="sm" len="sm"/>
              <a:tailEnd type="none" w="sm" len="sm"/>
            </a:ln>
          </p:spPr>
        </p:cxnSp>
        <p:sp>
          <p:nvSpPr>
            <p:cNvPr id="83" name="Google Shape;956;p14">
              <a:extLst>
                <a:ext uri="{FF2B5EF4-FFF2-40B4-BE49-F238E27FC236}">
                  <a16:creationId xmlns:a16="http://schemas.microsoft.com/office/drawing/2014/main" id="{AA8FB4D4-BFF7-4526-B456-5B216EFB3DBA}"/>
                </a:ext>
              </a:extLst>
            </p:cNvPr>
            <p:cNvSpPr txBox="1"/>
            <p:nvPr/>
          </p:nvSpPr>
          <p:spPr>
            <a:xfrm>
              <a:off x="4985043" y="4355823"/>
              <a:ext cx="655629" cy="144911"/>
            </a:xfrm>
            <a:prstGeom prst="rect">
              <a:avLst/>
            </a:prstGeom>
            <a:noFill/>
            <a:ln>
              <a:noFill/>
            </a:ln>
          </p:spPr>
          <p:txBody>
            <a:bodyPr spcFirstLastPara="1" wrap="none" lIns="0" tIns="6350" rIns="0" bIns="0" anchor="t" anchorCtr="0">
              <a:spAutoFit/>
            </a:bodyPr>
            <a:lstStyle/>
            <a:p>
              <a:pPr marL="0" marR="0" lvl="0" indent="0" algn="l" defTabSz="914400" rtl="0" eaLnBrk="1" fontAlgn="auto" latinLnBrk="0" hangingPunct="1">
                <a:lnSpc>
                  <a:spcPct val="100000"/>
                </a:lnSpc>
                <a:spcBef>
                  <a:spcPts val="0"/>
                </a:spcBef>
                <a:spcAft>
                  <a:spcPts val="0"/>
                </a:spcAft>
                <a:buClr>
                  <a:srgbClr val="545859"/>
                </a:buClr>
                <a:buSzPts val="1600"/>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Liver toxicity</a:t>
              </a:r>
              <a:endParaRPr kumimoji="0"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cxnSp>
          <p:nvCxnSpPr>
            <p:cNvPr id="84" name="Google Shape;924;p13">
              <a:extLst>
                <a:ext uri="{FF2B5EF4-FFF2-40B4-BE49-F238E27FC236}">
                  <a16:creationId xmlns:a16="http://schemas.microsoft.com/office/drawing/2014/main" id="{8905C4B7-75B7-4F3A-97AC-AAC4E597B808}"/>
                </a:ext>
              </a:extLst>
            </p:cNvPr>
            <p:cNvCxnSpPr>
              <a:cxnSpLocks/>
            </p:cNvCxnSpPr>
            <p:nvPr/>
          </p:nvCxnSpPr>
          <p:spPr>
            <a:xfrm>
              <a:off x="4779757" y="4428278"/>
              <a:ext cx="150019" cy="0"/>
            </a:xfrm>
            <a:prstGeom prst="straightConnector1">
              <a:avLst/>
            </a:prstGeom>
            <a:noFill/>
            <a:ln w="25400" cap="rnd" cmpd="sng">
              <a:solidFill>
                <a:schemeClr val="dk2"/>
              </a:solidFill>
              <a:prstDash val="solid"/>
              <a:round/>
              <a:headEnd type="none" w="sm" len="sm"/>
              <a:tailEnd type="none" w="sm" len="sm"/>
            </a:ln>
          </p:spPr>
        </p:cxnSp>
        <p:grpSp>
          <p:nvGrpSpPr>
            <p:cNvPr id="85" name="Group 84">
              <a:extLst>
                <a:ext uri="{FF2B5EF4-FFF2-40B4-BE49-F238E27FC236}">
                  <a16:creationId xmlns:a16="http://schemas.microsoft.com/office/drawing/2014/main" id="{69CEA293-D676-456C-8633-BCAC23A7E026}"/>
                </a:ext>
              </a:extLst>
            </p:cNvPr>
            <p:cNvGrpSpPr/>
            <p:nvPr/>
          </p:nvGrpSpPr>
          <p:grpSpPr>
            <a:xfrm>
              <a:off x="5810233" y="4355823"/>
              <a:ext cx="1287313" cy="144911"/>
              <a:chOff x="5810233" y="4355823"/>
              <a:chExt cx="1287313" cy="144911"/>
            </a:xfrm>
          </p:grpSpPr>
          <p:sp>
            <p:nvSpPr>
              <p:cNvPr id="89" name="Google Shape;960;p14">
                <a:extLst>
                  <a:ext uri="{FF2B5EF4-FFF2-40B4-BE49-F238E27FC236}">
                    <a16:creationId xmlns:a16="http://schemas.microsoft.com/office/drawing/2014/main" id="{82AEE9E2-AE55-4168-A2FC-AB89A6B99BBF}"/>
                  </a:ext>
                </a:extLst>
              </p:cNvPr>
              <p:cNvSpPr txBox="1"/>
              <p:nvPr/>
            </p:nvSpPr>
            <p:spPr>
              <a:xfrm>
                <a:off x="6015519" y="4355823"/>
                <a:ext cx="1082027" cy="144911"/>
              </a:xfrm>
              <a:prstGeom prst="rect">
                <a:avLst/>
              </a:prstGeom>
              <a:noFill/>
              <a:ln>
                <a:noFill/>
              </a:ln>
            </p:spPr>
            <p:txBody>
              <a:bodyPr spcFirstLastPara="1" wrap="none" lIns="0" tIns="6350" rIns="0" bIns="0" anchor="t" anchorCtr="0">
                <a:spAutoFit/>
              </a:bodyPr>
              <a:lstStyle/>
              <a:p>
                <a:pPr marL="0" marR="0" lvl="0" indent="0" algn="l" defTabSz="914400" rtl="0" eaLnBrk="1" fontAlgn="auto" latinLnBrk="0" hangingPunct="1">
                  <a:lnSpc>
                    <a:spcPct val="100000"/>
                  </a:lnSpc>
                  <a:spcBef>
                    <a:spcPts val="0"/>
                  </a:spcBef>
                  <a:spcAft>
                    <a:spcPts val="0"/>
                  </a:spcAft>
                  <a:buClr>
                    <a:srgbClr val="545859"/>
                  </a:buClr>
                  <a:buSzPts val="1600"/>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Skin, rash or pruritus</a:t>
                </a:r>
                <a:endParaRPr kumimoji="0" sz="9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cxnSp>
            <p:nvCxnSpPr>
              <p:cNvPr id="90" name="Google Shape;924;p13">
                <a:extLst>
                  <a:ext uri="{FF2B5EF4-FFF2-40B4-BE49-F238E27FC236}">
                    <a16:creationId xmlns:a16="http://schemas.microsoft.com/office/drawing/2014/main" id="{4DA2A93D-6604-48BE-AA61-72144831086C}"/>
                  </a:ext>
                </a:extLst>
              </p:cNvPr>
              <p:cNvCxnSpPr>
                <a:cxnSpLocks/>
              </p:cNvCxnSpPr>
              <p:nvPr/>
            </p:nvCxnSpPr>
            <p:spPr>
              <a:xfrm>
                <a:off x="5810233" y="4428278"/>
                <a:ext cx="150019" cy="0"/>
              </a:xfrm>
              <a:prstGeom prst="straightConnector1">
                <a:avLst/>
              </a:prstGeom>
              <a:noFill/>
              <a:ln w="25400" cap="rnd" cmpd="sng">
                <a:solidFill>
                  <a:schemeClr val="accent3"/>
                </a:solidFill>
                <a:prstDash val="solid"/>
                <a:round/>
                <a:headEnd type="none" w="sm" len="sm"/>
                <a:tailEnd type="none" w="sm" len="sm"/>
              </a:ln>
            </p:spPr>
          </p:cxnSp>
        </p:grpSp>
        <p:grpSp>
          <p:nvGrpSpPr>
            <p:cNvPr id="86" name="Group 85">
              <a:extLst>
                <a:ext uri="{FF2B5EF4-FFF2-40B4-BE49-F238E27FC236}">
                  <a16:creationId xmlns:a16="http://schemas.microsoft.com/office/drawing/2014/main" id="{EC389B9A-A0A0-400A-93C9-20F4B858E3A7}"/>
                </a:ext>
              </a:extLst>
            </p:cNvPr>
            <p:cNvGrpSpPr/>
            <p:nvPr/>
          </p:nvGrpSpPr>
          <p:grpSpPr>
            <a:xfrm>
              <a:off x="7264860" y="4355823"/>
              <a:ext cx="841679" cy="144911"/>
              <a:chOff x="5810233" y="4355823"/>
              <a:chExt cx="841679" cy="144911"/>
            </a:xfrm>
          </p:grpSpPr>
          <p:sp>
            <p:nvSpPr>
              <p:cNvPr id="87" name="Google Shape;960;p14">
                <a:extLst>
                  <a:ext uri="{FF2B5EF4-FFF2-40B4-BE49-F238E27FC236}">
                    <a16:creationId xmlns:a16="http://schemas.microsoft.com/office/drawing/2014/main" id="{BFB05FBC-4FFF-42D4-A1BF-A9A181BC7A05}"/>
                  </a:ext>
                </a:extLst>
              </p:cNvPr>
              <p:cNvSpPr txBox="1"/>
              <p:nvPr/>
            </p:nvSpPr>
            <p:spPr>
              <a:xfrm>
                <a:off x="6015519" y="4355823"/>
                <a:ext cx="636393" cy="144911"/>
              </a:xfrm>
              <a:prstGeom prst="rect">
                <a:avLst/>
              </a:prstGeom>
              <a:noFill/>
              <a:ln>
                <a:noFill/>
              </a:ln>
            </p:spPr>
            <p:txBody>
              <a:bodyPr spcFirstLastPara="1" wrap="none" lIns="0" tIns="6350" rIns="0" bIns="0" anchor="t" anchorCtr="0">
                <a:spAutoFit/>
              </a:bodyPr>
              <a:lstStyle/>
              <a:p>
                <a:pPr marL="0" marR="0" lvl="0" indent="0" algn="l" defTabSz="914400" rtl="0" eaLnBrk="1" fontAlgn="auto" latinLnBrk="0" hangingPunct="1">
                  <a:lnSpc>
                    <a:spcPct val="100000"/>
                  </a:lnSpc>
                  <a:spcBef>
                    <a:spcPts val="0"/>
                  </a:spcBef>
                  <a:spcAft>
                    <a:spcPts val="0"/>
                  </a:spcAft>
                  <a:buClr>
                    <a:srgbClr val="545859"/>
                  </a:buClr>
                  <a:buSzPts val="1600"/>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Pneumonitis</a:t>
                </a:r>
              </a:p>
            </p:txBody>
          </p:sp>
          <p:cxnSp>
            <p:nvCxnSpPr>
              <p:cNvPr id="88" name="Google Shape;924;p13">
                <a:extLst>
                  <a:ext uri="{FF2B5EF4-FFF2-40B4-BE49-F238E27FC236}">
                    <a16:creationId xmlns:a16="http://schemas.microsoft.com/office/drawing/2014/main" id="{D07AEB6E-431F-4B8D-9AC3-95F4B0385007}"/>
                  </a:ext>
                </a:extLst>
              </p:cNvPr>
              <p:cNvCxnSpPr>
                <a:cxnSpLocks/>
              </p:cNvCxnSpPr>
              <p:nvPr/>
            </p:nvCxnSpPr>
            <p:spPr>
              <a:xfrm>
                <a:off x="5810233" y="4428278"/>
                <a:ext cx="150019" cy="0"/>
              </a:xfrm>
              <a:prstGeom prst="straightConnector1">
                <a:avLst/>
              </a:prstGeom>
              <a:noFill/>
              <a:ln w="25400" cap="rnd" cmpd="sng">
                <a:solidFill>
                  <a:schemeClr val="accent5"/>
                </a:solidFill>
                <a:prstDash val="solid"/>
                <a:round/>
                <a:headEnd type="none" w="sm" len="sm"/>
                <a:tailEnd type="none" w="sm" len="sm"/>
              </a:ln>
            </p:spPr>
          </p:cxnSp>
        </p:grpSp>
      </p:grpSp>
      <p:sp>
        <p:nvSpPr>
          <p:cNvPr id="91" name="Rectangle 90">
            <a:extLst>
              <a:ext uri="{FF2B5EF4-FFF2-40B4-BE49-F238E27FC236}">
                <a16:creationId xmlns:a16="http://schemas.microsoft.com/office/drawing/2014/main" id="{48D85709-BFEA-420F-92E9-94FA59382825}"/>
              </a:ext>
            </a:extLst>
          </p:cNvPr>
          <p:cNvSpPr/>
          <p:nvPr/>
        </p:nvSpPr>
        <p:spPr>
          <a:xfrm>
            <a:off x="380997" y="1192089"/>
            <a:ext cx="4099550" cy="27504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545859"/>
              </a:buClr>
              <a:buSzPts val="1800"/>
              <a:buFont typeface="Arial"/>
              <a:buNone/>
              <a:tabLst/>
              <a:defRPr/>
            </a:pPr>
            <a:r>
              <a:rPr kumimoji="0" lang="en-US" sz="900" b="1"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rPr>
              <a:t>CTLA-4 Antagonists</a:t>
            </a:r>
            <a:endParaRPr kumimoji="0" lang="en-US" sz="900" b="0"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endParaRPr>
          </a:p>
        </p:txBody>
      </p:sp>
      <p:sp>
        <p:nvSpPr>
          <p:cNvPr id="92" name="Rectangle 91">
            <a:extLst>
              <a:ext uri="{FF2B5EF4-FFF2-40B4-BE49-F238E27FC236}">
                <a16:creationId xmlns:a16="http://schemas.microsoft.com/office/drawing/2014/main" id="{B83DB1BE-F91F-40EE-B574-E820C3124A13}"/>
              </a:ext>
            </a:extLst>
          </p:cNvPr>
          <p:cNvSpPr/>
          <p:nvPr/>
        </p:nvSpPr>
        <p:spPr>
          <a:xfrm>
            <a:off x="4662799" y="1192089"/>
            <a:ext cx="4099550" cy="27504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
                <a:srgbClr val="545859"/>
              </a:buClr>
              <a:buSzPts val="1800"/>
              <a:buFont typeface="Arial"/>
              <a:buNone/>
              <a:tabLst/>
              <a:defRPr/>
            </a:pPr>
            <a:r>
              <a:rPr kumimoji="0" lang="en-US" sz="900" b="1"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rPr>
              <a:t>PD-1/PD-L1 Antagonists</a:t>
            </a:r>
            <a:endParaRPr kumimoji="0" lang="en-US" sz="900" b="0" i="0" u="none" strike="noStrike" kern="0" cap="none" spc="0" normalizeH="0" baseline="0" noProof="0" dirty="0">
              <a:ln>
                <a:noFill/>
              </a:ln>
              <a:solidFill>
                <a:srgbClr val="FFFFFF"/>
              </a:solidFill>
              <a:effectLst/>
              <a:uLnTx/>
              <a:uFillTx/>
              <a:latin typeface="Gene Sans Light" panose="00000400000000000000" pitchFamily="50" charset="0"/>
              <a:ea typeface="+mn-ea"/>
              <a:cs typeface="+mn-cs"/>
              <a:sym typeface="Arial"/>
            </a:endParaRPr>
          </a:p>
        </p:txBody>
      </p:sp>
    </p:spTree>
    <p:extLst>
      <p:ext uri="{BB962C8B-B14F-4D97-AF65-F5344CB8AC3E}">
        <p14:creationId xmlns:p14="http://schemas.microsoft.com/office/powerpoint/2010/main" val="960823424"/>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 name="Rectangle 152">
            <a:extLst>
              <a:ext uri="{FF2B5EF4-FFF2-40B4-BE49-F238E27FC236}">
                <a16:creationId xmlns:a16="http://schemas.microsoft.com/office/drawing/2014/main" id="{5AD19C83-57F6-42EE-9F2B-0C2656211B08}"/>
              </a:ext>
            </a:extLst>
          </p:cNvPr>
          <p:cNvSpPr/>
          <p:nvPr/>
        </p:nvSpPr>
        <p:spPr>
          <a:xfrm>
            <a:off x="0" y="1302524"/>
            <a:ext cx="9144000" cy="15294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 name="Text Placeholder 1">
            <a:extLst>
              <a:ext uri="{FF2B5EF4-FFF2-40B4-BE49-F238E27FC236}">
                <a16:creationId xmlns:a16="http://schemas.microsoft.com/office/drawing/2014/main" id="{5C95D54E-9E33-44AB-9D5D-7A4703CE0CDE}"/>
              </a:ext>
            </a:extLst>
          </p:cNvPr>
          <p:cNvSpPr>
            <a:spLocks noGrp="1"/>
          </p:cNvSpPr>
          <p:nvPr>
            <p:ph type="body" idx="1"/>
          </p:nvPr>
        </p:nvSpPr>
        <p:spPr/>
        <p:txBody>
          <a:bodyPr/>
          <a:lstStyle/>
          <a:p>
            <a:endParaRPr lang="en-US"/>
          </a:p>
        </p:txBody>
      </p:sp>
      <p:sp>
        <p:nvSpPr>
          <p:cNvPr id="3" name="Text Placeholder 2">
            <a:extLst>
              <a:ext uri="{FF2B5EF4-FFF2-40B4-BE49-F238E27FC236}">
                <a16:creationId xmlns:a16="http://schemas.microsoft.com/office/drawing/2014/main" id="{04F67E10-3325-41B5-B0E4-369B28ADE24E}"/>
              </a:ext>
            </a:extLst>
          </p:cNvPr>
          <p:cNvSpPr>
            <a:spLocks noGrp="1"/>
          </p:cNvSpPr>
          <p:nvPr>
            <p:ph type="body" idx="2"/>
          </p:nvPr>
        </p:nvSpPr>
        <p:spPr/>
        <p:txBody>
          <a:bodyPr/>
          <a:lstStyle/>
          <a:p>
            <a:pPr marL="0" indent="0"/>
            <a:r>
              <a:rPr lang="fr-FR" dirty="0">
                <a:latin typeface="Gene Sans Light" panose="00000400000000000000" pitchFamily="50" charset="0"/>
              </a:rPr>
              <a:t>1. </a:t>
            </a:r>
            <a:r>
              <a:rPr lang="fr-FR" dirty="0" err="1">
                <a:latin typeface="Gene Sans Light" panose="00000400000000000000" pitchFamily="50" charset="0"/>
              </a:rPr>
              <a:t>Naidoo</a:t>
            </a:r>
            <a:r>
              <a:rPr lang="fr-FR" dirty="0">
                <a:latin typeface="Gene Sans Light" panose="00000400000000000000" pitchFamily="50" charset="0"/>
              </a:rPr>
              <a:t> J, et al. </a:t>
            </a:r>
            <a:r>
              <a:rPr lang="fr-FR" i="1" dirty="0">
                <a:latin typeface="Gene Sans Light" panose="00000400000000000000" pitchFamily="50" charset="0"/>
              </a:rPr>
              <a:t>J Clin </a:t>
            </a:r>
            <a:r>
              <a:rPr lang="fr-FR" i="1" dirty="0" err="1">
                <a:latin typeface="Gene Sans Light" panose="00000400000000000000" pitchFamily="50" charset="0"/>
              </a:rPr>
              <a:t>Oncol</a:t>
            </a:r>
            <a:r>
              <a:rPr lang="fr-FR" i="1" dirty="0">
                <a:latin typeface="Gene Sans Light" panose="00000400000000000000" pitchFamily="50" charset="0"/>
              </a:rPr>
              <a:t>. </a:t>
            </a:r>
            <a:r>
              <a:rPr lang="fr-FR" dirty="0">
                <a:latin typeface="Gene Sans Light" panose="00000400000000000000" pitchFamily="50" charset="0"/>
              </a:rPr>
              <a:t>2017;35:709-717. </a:t>
            </a:r>
          </a:p>
        </p:txBody>
      </p:sp>
      <p:sp>
        <p:nvSpPr>
          <p:cNvPr id="5" name="Title 4">
            <a:extLst>
              <a:ext uri="{FF2B5EF4-FFF2-40B4-BE49-F238E27FC236}">
                <a16:creationId xmlns:a16="http://schemas.microsoft.com/office/drawing/2014/main" id="{F01D18BE-0443-4628-94BF-FCFDC3C196C3}"/>
              </a:ext>
            </a:extLst>
          </p:cNvPr>
          <p:cNvSpPr>
            <a:spLocks noGrp="1"/>
          </p:cNvSpPr>
          <p:nvPr>
            <p:ph type="title"/>
          </p:nvPr>
        </p:nvSpPr>
        <p:spPr/>
        <p:txBody>
          <a:bodyPr/>
          <a:lstStyle/>
          <a:p>
            <a:r>
              <a:rPr lang="en-US" dirty="0"/>
              <a:t>Clinical Course of Pneumonitis With Anti–PD-1/PD-L1 Therapy</a:t>
            </a:r>
            <a:r>
              <a:rPr lang="en-US" baseline="30000" dirty="0"/>
              <a:t>1</a:t>
            </a:r>
          </a:p>
        </p:txBody>
      </p:sp>
      <p:sp>
        <p:nvSpPr>
          <p:cNvPr id="6" name="Google Shape;122;p3">
            <a:extLst>
              <a:ext uri="{FF2B5EF4-FFF2-40B4-BE49-F238E27FC236}">
                <a16:creationId xmlns:a16="http://schemas.microsoft.com/office/drawing/2014/main" id="{E471B720-21C1-4494-8635-9FEBD8B63980}"/>
              </a:ext>
            </a:extLst>
          </p:cNvPr>
          <p:cNvSpPr txBox="1">
            <a:spLocks/>
          </p:cNvSpPr>
          <p:nvPr/>
        </p:nvSpPr>
        <p:spPr>
          <a:xfrm>
            <a:off x="381000" y="94526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
        <p:nvSpPr>
          <p:cNvPr id="145" name="TextBox 144">
            <a:extLst>
              <a:ext uri="{FF2B5EF4-FFF2-40B4-BE49-F238E27FC236}">
                <a16:creationId xmlns:a16="http://schemas.microsoft.com/office/drawing/2014/main" id="{6329E209-D87D-4FEE-A6F4-947B59EEF1A2}"/>
              </a:ext>
            </a:extLst>
          </p:cNvPr>
          <p:cNvSpPr txBox="1"/>
          <p:nvPr/>
        </p:nvSpPr>
        <p:spPr>
          <a:xfrm>
            <a:off x="892174" y="1494813"/>
            <a:ext cx="7870177" cy="49244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
                <a:srgbClr val="545859"/>
              </a:buClr>
              <a:buSzPts val="2400"/>
              <a:buFont typeface="Arial"/>
              <a:buNone/>
              <a:tabLst/>
              <a:defRPr/>
            </a:pPr>
            <a:r>
              <a:rPr kumimoji="0" lang="en-US" sz="1600" b="1" i="0" u="none" strike="noStrike" kern="0" cap="none" spc="0" normalizeH="0" baseline="0" noProof="0" dirty="0">
                <a:ln>
                  <a:noFill/>
                </a:ln>
                <a:solidFill>
                  <a:srgbClr val="FFFFFF"/>
                </a:solidFill>
                <a:effectLst/>
                <a:uLnTx/>
                <a:uFillTx/>
                <a:latin typeface="Gene Sans" panose="00000500000000000000" pitchFamily="50" charset="0"/>
                <a:cs typeface="Arial"/>
                <a:sym typeface="Arial"/>
              </a:rPr>
              <a:t>915 patients received anti–PD-1 or anti–PD-L1 as monotherapy or in combination with </a:t>
            </a:r>
            <a:br>
              <a:rPr kumimoji="0" lang="en-US" sz="1600" b="1" i="0" u="none" strike="noStrike" kern="0" cap="none" spc="0" normalizeH="0" baseline="0" noProof="0" dirty="0">
                <a:ln>
                  <a:noFill/>
                </a:ln>
                <a:solidFill>
                  <a:srgbClr val="FFFFFF"/>
                </a:solidFill>
                <a:effectLst/>
                <a:uLnTx/>
                <a:uFillTx/>
                <a:latin typeface="Gene Sans" panose="00000500000000000000" pitchFamily="50" charset="0"/>
                <a:cs typeface="Arial"/>
                <a:sym typeface="Arial"/>
              </a:rPr>
            </a:br>
            <a:r>
              <a:rPr kumimoji="0" lang="en-US" sz="1600" b="1" i="0" u="none" strike="noStrike" kern="0" cap="none" spc="0" normalizeH="0" baseline="0" noProof="0" dirty="0">
                <a:ln>
                  <a:noFill/>
                </a:ln>
                <a:solidFill>
                  <a:srgbClr val="FFFFFF"/>
                </a:solidFill>
                <a:effectLst/>
                <a:uLnTx/>
                <a:uFillTx/>
                <a:latin typeface="Gene Sans" panose="00000500000000000000" pitchFamily="50" charset="0"/>
                <a:cs typeface="Arial"/>
                <a:sym typeface="Arial"/>
              </a:rPr>
              <a:t>anti–CTLA-4</a:t>
            </a:r>
            <a:r>
              <a:rPr kumimoji="0" lang="en-US" sz="1600" b="1" i="0" u="none" strike="noStrike" kern="0" cap="none" spc="0" normalizeH="0" baseline="30000" noProof="0" dirty="0">
                <a:ln>
                  <a:noFill/>
                </a:ln>
                <a:solidFill>
                  <a:srgbClr val="FFFFFF"/>
                </a:solidFill>
                <a:effectLst/>
                <a:uLnTx/>
                <a:uFillTx/>
                <a:latin typeface="Gene Sans" panose="00000500000000000000" pitchFamily="50" charset="0"/>
                <a:cs typeface="Arial"/>
                <a:sym typeface="Arial"/>
              </a:rPr>
              <a:t>1</a:t>
            </a:r>
          </a:p>
        </p:txBody>
      </p:sp>
      <p:sp>
        <p:nvSpPr>
          <p:cNvPr id="160" name="Rectangle 159">
            <a:extLst>
              <a:ext uri="{FF2B5EF4-FFF2-40B4-BE49-F238E27FC236}">
                <a16:creationId xmlns:a16="http://schemas.microsoft.com/office/drawing/2014/main" id="{FF1B6B24-9C82-4169-ABE5-50726EEDDC14}"/>
              </a:ext>
            </a:extLst>
          </p:cNvPr>
          <p:cNvSpPr/>
          <p:nvPr/>
        </p:nvSpPr>
        <p:spPr>
          <a:xfrm>
            <a:off x="381000" y="2179545"/>
            <a:ext cx="2654084" cy="2378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1" name="Rectangle 160">
            <a:extLst>
              <a:ext uri="{FF2B5EF4-FFF2-40B4-BE49-F238E27FC236}">
                <a16:creationId xmlns:a16="http://schemas.microsoft.com/office/drawing/2014/main" id="{14C0C9C1-34F0-4654-8B1A-30DF6C987A77}"/>
              </a:ext>
            </a:extLst>
          </p:cNvPr>
          <p:cNvSpPr/>
          <p:nvPr/>
        </p:nvSpPr>
        <p:spPr>
          <a:xfrm>
            <a:off x="3244634" y="2179545"/>
            <a:ext cx="2654084" cy="2378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2" name="Rectangle 161">
            <a:extLst>
              <a:ext uri="{FF2B5EF4-FFF2-40B4-BE49-F238E27FC236}">
                <a16:creationId xmlns:a16="http://schemas.microsoft.com/office/drawing/2014/main" id="{7C43396B-5DE3-42F2-B08F-B99F441AA099}"/>
              </a:ext>
            </a:extLst>
          </p:cNvPr>
          <p:cNvSpPr/>
          <p:nvPr/>
        </p:nvSpPr>
        <p:spPr>
          <a:xfrm>
            <a:off x="6108268" y="2179545"/>
            <a:ext cx="2654084" cy="23781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3" name="TextBox 162">
            <a:extLst>
              <a:ext uri="{FF2B5EF4-FFF2-40B4-BE49-F238E27FC236}">
                <a16:creationId xmlns:a16="http://schemas.microsoft.com/office/drawing/2014/main" id="{3FDE695C-3A80-451F-86C8-45307C5D5FB8}"/>
              </a:ext>
            </a:extLst>
          </p:cNvPr>
          <p:cNvSpPr txBox="1"/>
          <p:nvPr/>
        </p:nvSpPr>
        <p:spPr>
          <a:xfrm>
            <a:off x="6317818" y="2800919"/>
            <a:ext cx="2234984" cy="738664"/>
          </a:xfrm>
          <a:prstGeom prst="rect">
            <a:avLst/>
          </a:prstGeom>
          <a:noFill/>
        </p:spPr>
        <p:txBody>
          <a:bodyPr wrap="square" lIns="0" tIns="0" rIns="0" bIns="0">
            <a:spAutoFit/>
          </a:bodyPr>
          <a:lstStyle/>
          <a:p>
            <a:pPr marL="0" marR="0" lvl="1" indent="0" algn="l" defTabSz="914400" rtl="0" eaLnBrk="1" fontAlgn="auto" latinLnBrk="0" hangingPunct="1">
              <a:lnSpc>
                <a:spcPct val="100000"/>
              </a:lnSpc>
              <a:spcBef>
                <a:spcPts val="0"/>
              </a:spcBef>
              <a:spcAft>
                <a:spcPts val="0"/>
              </a:spcAft>
              <a:buClr>
                <a:srgbClr val="545859"/>
              </a:buClr>
              <a:buSzPts val="2400"/>
              <a:buFont typeface="Arial"/>
              <a:buNone/>
              <a:tabLst/>
              <a:defRPr/>
            </a:pPr>
            <a:r>
              <a:rPr kumimoji="0" lang="en-US" sz="12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rPr>
              <a:t>100% of patients (5/5) who received an </a:t>
            </a:r>
            <a:r>
              <a:rPr kumimoji="0" lang="en-US" sz="1200" b="0" i="0" u="none" strike="noStrike" kern="0" cap="none" spc="0" normalizeH="0" baseline="0" noProof="0" dirty="0" err="1">
                <a:ln>
                  <a:noFill/>
                </a:ln>
                <a:solidFill>
                  <a:srgbClr val="000000"/>
                </a:solidFill>
                <a:effectLst/>
                <a:uLnTx/>
                <a:uFillTx/>
                <a:latin typeface="Gene Sans Light" panose="00000400000000000000" pitchFamily="50" charset="0"/>
                <a:cs typeface="Arial"/>
                <a:sym typeface="Arial"/>
              </a:rPr>
              <a:t>aTNF</a:t>
            </a:r>
            <a:r>
              <a:rPr kumimoji="0" lang="en-US" sz="12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rPr>
              <a:t> ± </a:t>
            </a:r>
            <a:r>
              <a:rPr kumimoji="0" lang="en-US" sz="1200" b="0" i="0" u="none" strike="noStrike" kern="0" cap="none" spc="0" normalizeH="0" baseline="0" noProof="0" dirty="0" err="1">
                <a:ln>
                  <a:noFill/>
                </a:ln>
                <a:solidFill>
                  <a:srgbClr val="000000"/>
                </a:solidFill>
                <a:effectLst/>
                <a:uLnTx/>
                <a:uFillTx/>
                <a:latin typeface="Gene Sans Light" panose="00000400000000000000" pitchFamily="50" charset="0"/>
                <a:cs typeface="Arial"/>
                <a:sym typeface="Arial"/>
              </a:rPr>
              <a:t>csDMARDs</a:t>
            </a:r>
            <a:r>
              <a:rPr kumimoji="0" lang="en-US" sz="12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rPr>
              <a:t> for worsening pneumonitis ultimately died</a:t>
            </a:r>
          </a:p>
        </p:txBody>
      </p:sp>
      <p:grpSp>
        <p:nvGrpSpPr>
          <p:cNvPr id="25" name="Group 24">
            <a:extLst>
              <a:ext uri="{FF2B5EF4-FFF2-40B4-BE49-F238E27FC236}">
                <a16:creationId xmlns:a16="http://schemas.microsoft.com/office/drawing/2014/main" id="{B75699C0-EE37-443C-AC85-29544350CA6A}"/>
              </a:ext>
            </a:extLst>
          </p:cNvPr>
          <p:cNvGrpSpPr/>
          <p:nvPr/>
        </p:nvGrpSpPr>
        <p:grpSpPr>
          <a:xfrm>
            <a:off x="6317818" y="3725889"/>
            <a:ext cx="2234984" cy="738664"/>
            <a:chOff x="6317818" y="3557466"/>
            <a:chExt cx="2234984" cy="738664"/>
          </a:xfrm>
        </p:grpSpPr>
        <p:sp>
          <p:nvSpPr>
            <p:cNvPr id="164" name="TextBox 163">
              <a:extLst>
                <a:ext uri="{FF2B5EF4-FFF2-40B4-BE49-F238E27FC236}">
                  <a16:creationId xmlns:a16="http://schemas.microsoft.com/office/drawing/2014/main" id="{86E28DD4-5EA9-4523-8E9D-EF3FBD594F1B}"/>
                </a:ext>
              </a:extLst>
            </p:cNvPr>
            <p:cNvSpPr txBox="1"/>
            <p:nvPr/>
          </p:nvSpPr>
          <p:spPr>
            <a:xfrm>
              <a:off x="6591300" y="3557466"/>
              <a:ext cx="1961502" cy="738664"/>
            </a:xfrm>
            <a:prstGeom prst="rect">
              <a:avLst/>
            </a:prstGeom>
            <a:noFill/>
          </p:spPr>
          <p:txBody>
            <a:bodyPr wrap="square" lIns="0" tIns="0" rIns="0" bIns="0">
              <a:spAutoFit/>
            </a:bodyPr>
            <a:lstStyle/>
            <a:p>
              <a:pPr marL="0" marR="0" lvl="2" indent="0" algn="l" defTabSz="914400" rtl="0" eaLnBrk="1" fontAlgn="auto" latinLnBrk="0" hangingPunct="1">
                <a:lnSpc>
                  <a:spcPct val="100000"/>
                </a:lnSpc>
                <a:spcBef>
                  <a:spcPts val="0"/>
                </a:spcBef>
                <a:spcAft>
                  <a:spcPts val="0"/>
                </a:spcAft>
                <a:buClr>
                  <a:srgbClr val="545859"/>
                </a:buClr>
                <a:buSzPts val="2400"/>
                <a:buFont typeface="Arial"/>
                <a:buNone/>
                <a:tabLst/>
                <a:defRPr/>
              </a:pPr>
              <a:r>
                <a:rPr kumimoji="0" lang="en-US" sz="12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rPr>
                <a:t>Pneumonitis (1), infections associated with immunosuppression (3), progressive cancer (1)</a:t>
              </a:r>
            </a:p>
          </p:txBody>
        </p:sp>
        <p:sp>
          <p:nvSpPr>
            <p:cNvPr id="165" name="Freeform 35">
              <a:extLst>
                <a:ext uri="{FF2B5EF4-FFF2-40B4-BE49-F238E27FC236}">
                  <a16:creationId xmlns:a16="http://schemas.microsoft.com/office/drawing/2014/main" id="{156A3EEF-8653-4989-BF6B-095D0B662959}"/>
                </a:ext>
              </a:extLst>
            </p:cNvPr>
            <p:cNvSpPr>
              <a:spLocks noEditPoints="1"/>
            </p:cNvSpPr>
            <p:nvPr/>
          </p:nvSpPr>
          <p:spPr bwMode="auto">
            <a:xfrm>
              <a:off x="6317818" y="3587225"/>
              <a:ext cx="140132" cy="140749"/>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2 h 96"/>
                <a:gd name="T12" fmla="*/ 53 w 96"/>
                <a:gd name="T13" fmla="*/ 76 h 96"/>
                <a:gd name="T14" fmla="*/ 48 w 96"/>
                <a:gd name="T15" fmla="*/ 77 h 96"/>
                <a:gd name="T16" fmla="*/ 44 w 96"/>
                <a:gd name="T17" fmla="*/ 76 h 96"/>
                <a:gd name="T18" fmla="*/ 43 w 96"/>
                <a:gd name="T19" fmla="*/ 75 h 96"/>
                <a:gd name="T20" fmla="*/ 43 w 96"/>
                <a:gd name="T21" fmla="*/ 66 h 96"/>
                <a:gd name="T22" fmla="*/ 52 w 96"/>
                <a:gd name="T23" fmla="*/ 56 h 96"/>
                <a:gd name="T24" fmla="*/ 22 w 96"/>
                <a:gd name="T25" fmla="*/ 56 h 96"/>
                <a:gd name="T26" fmla="*/ 16 w 96"/>
                <a:gd name="T27" fmla="*/ 50 h 96"/>
                <a:gd name="T28" fmla="*/ 16 w 96"/>
                <a:gd name="T29" fmla="*/ 46 h 96"/>
                <a:gd name="T30" fmla="*/ 22 w 96"/>
                <a:gd name="T31" fmla="*/ 40 h 96"/>
                <a:gd name="T32" fmla="*/ 52 w 96"/>
                <a:gd name="T33" fmla="*/ 40 h 96"/>
                <a:gd name="T34" fmla="*/ 42 w 96"/>
                <a:gd name="T35" fmla="*/ 30 h 96"/>
                <a:gd name="T36" fmla="*/ 43 w 96"/>
                <a:gd name="T37" fmla="*/ 22 h 96"/>
                <a:gd name="T38" fmla="*/ 44 w 96"/>
                <a:gd name="T39" fmla="*/ 20 h 96"/>
                <a:gd name="T40" fmla="*/ 52 w 96"/>
                <a:gd name="T41" fmla="*/ 20 h 96"/>
                <a:gd name="T42" fmla="*/ 75 w 96"/>
                <a:gd name="T43" fmla="*/ 44 h 96"/>
                <a:gd name="T44" fmla="*/ 75 w 96"/>
                <a:gd name="T45" fmla="*/ 5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2"/>
                  </a:moveTo>
                  <a:cubicBezTo>
                    <a:pt x="53" y="76"/>
                    <a:pt x="53" y="76"/>
                    <a:pt x="53" y="76"/>
                  </a:cubicBezTo>
                  <a:cubicBezTo>
                    <a:pt x="52" y="77"/>
                    <a:pt x="50" y="77"/>
                    <a:pt x="48" y="77"/>
                  </a:cubicBezTo>
                  <a:cubicBezTo>
                    <a:pt x="47" y="77"/>
                    <a:pt x="45" y="77"/>
                    <a:pt x="44" y="76"/>
                  </a:cubicBezTo>
                  <a:cubicBezTo>
                    <a:pt x="43" y="75"/>
                    <a:pt x="43" y="75"/>
                    <a:pt x="43" y="75"/>
                  </a:cubicBezTo>
                  <a:cubicBezTo>
                    <a:pt x="41" y="72"/>
                    <a:pt x="41" y="68"/>
                    <a:pt x="43" y="66"/>
                  </a:cubicBezTo>
                  <a:cubicBezTo>
                    <a:pt x="52" y="56"/>
                    <a:pt x="52" y="56"/>
                    <a:pt x="52" y="56"/>
                  </a:cubicBezTo>
                  <a:cubicBezTo>
                    <a:pt x="22" y="56"/>
                    <a:pt x="22" y="56"/>
                    <a:pt x="22" y="56"/>
                  </a:cubicBezTo>
                  <a:cubicBezTo>
                    <a:pt x="19" y="56"/>
                    <a:pt x="16" y="53"/>
                    <a:pt x="16" y="50"/>
                  </a:cubicBezTo>
                  <a:cubicBezTo>
                    <a:pt x="16" y="46"/>
                    <a:pt x="16" y="46"/>
                    <a:pt x="16" y="46"/>
                  </a:cubicBezTo>
                  <a:cubicBezTo>
                    <a:pt x="16" y="43"/>
                    <a:pt x="19" y="40"/>
                    <a:pt x="22" y="40"/>
                  </a:cubicBezTo>
                  <a:cubicBezTo>
                    <a:pt x="52" y="40"/>
                    <a:pt x="52" y="40"/>
                    <a:pt x="52" y="40"/>
                  </a:cubicBezTo>
                  <a:cubicBezTo>
                    <a:pt x="42" y="30"/>
                    <a:pt x="42" y="30"/>
                    <a:pt x="42" y="30"/>
                  </a:cubicBezTo>
                  <a:cubicBezTo>
                    <a:pt x="40" y="28"/>
                    <a:pt x="40" y="24"/>
                    <a:pt x="43" y="22"/>
                  </a:cubicBezTo>
                  <a:cubicBezTo>
                    <a:pt x="44" y="20"/>
                    <a:pt x="44" y="20"/>
                    <a:pt x="44" y="20"/>
                  </a:cubicBezTo>
                  <a:cubicBezTo>
                    <a:pt x="46" y="18"/>
                    <a:pt x="50" y="18"/>
                    <a:pt x="52" y="20"/>
                  </a:cubicBezTo>
                  <a:cubicBezTo>
                    <a:pt x="75" y="44"/>
                    <a:pt x="75" y="44"/>
                    <a:pt x="75" y="44"/>
                  </a:cubicBezTo>
                  <a:cubicBezTo>
                    <a:pt x="77" y="46"/>
                    <a:pt x="77" y="50"/>
                    <a:pt x="75" y="5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26" name="Rectangle 25">
            <a:extLst>
              <a:ext uri="{FF2B5EF4-FFF2-40B4-BE49-F238E27FC236}">
                <a16:creationId xmlns:a16="http://schemas.microsoft.com/office/drawing/2014/main" id="{D3E2C341-E4E6-4330-9199-351F2E5E8469}"/>
              </a:ext>
            </a:extLst>
          </p:cNvPr>
          <p:cNvSpPr/>
          <p:nvPr/>
        </p:nvSpPr>
        <p:spPr>
          <a:xfrm>
            <a:off x="6317818" y="2272698"/>
            <a:ext cx="435068" cy="43506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29" name="Straight Connector 28">
            <a:extLst>
              <a:ext uri="{FF2B5EF4-FFF2-40B4-BE49-F238E27FC236}">
                <a16:creationId xmlns:a16="http://schemas.microsoft.com/office/drawing/2014/main" id="{F16289E6-C51F-4E07-A020-1F6D9E1D3605}"/>
              </a:ext>
            </a:extLst>
          </p:cNvPr>
          <p:cNvCxnSpPr>
            <a:cxnSpLocks/>
          </p:cNvCxnSpPr>
          <p:nvPr/>
        </p:nvCxnSpPr>
        <p:spPr>
          <a:xfrm>
            <a:off x="6108268" y="4557705"/>
            <a:ext cx="2654084"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EC8997C6-70DB-4072-A5E2-A775CDEC1D05}"/>
              </a:ext>
            </a:extLst>
          </p:cNvPr>
          <p:cNvCxnSpPr>
            <a:cxnSpLocks/>
          </p:cNvCxnSpPr>
          <p:nvPr/>
        </p:nvCxnSpPr>
        <p:spPr>
          <a:xfrm>
            <a:off x="6317818" y="3632736"/>
            <a:ext cx="2234984"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8" name="TextBox 167">
            <a:extLst>
              <a:ext uri="{FF2B5EF4-FFF2-40B4-BE49-F238E27FC236}">
                <a16:creationId xmlns:a16="http://schemas.microsoft.com/office/drawing/2014/main" id="{7B1315CE-D336-4E1C-AAC1-243237C79E0F}"/>
              </a:ext>
            </a:extLst>
          </p:cNvPr>
          <p:cNvSpPr txBox="1"/>
          <p:nvPr/>
        </p:nvSpPr>
        <p:spPr>
          <a:xfrm>
            <a:off x="3454184" y="2800919"/>
            <a:ext cx="2234984" cy="553998"/>
          </a:xfrm>
          <a:prstGeom prst="rect">
            <a:avLst/>
          </a:prstGeom>
          <a:noFill/>
        </p:spPr>
        <p:txBody>
          <a:bodyPr wrap="square" lIns="0" tIns="0" rIns="0" bIns="0">
            <a:spAutoFit/>
          </a:bodyPr>
          <a:lstStyle/>
          <a:p>
            <a:pPr marL="0" marR="0" lvl="1" indent="0" algn="l" defTabSz="914400" rtl="0" eaLnBrk="1" fontAlgn="auto" latinLnBrk="0" hangingPunct="1">
              <a:lnSpc>
                <a:spcPct val="100000"/>
              </a:lnSpc>
              <a:spcBef>
                <a:spcPts val="0"/>
              </a:spcBef>
              <a:spcAft>
                <a:spcPts val="0"/>
              </a:spcAft>
              <a:buClr>
                <a:srgbClr val="545859"/>
              </a:buClr>
              <a:buSzPts val="2400"/>
              <a:buFont typeface="Arial"/>
              <a:buNone/>
              <a:tabLst/>
              <a:defRPr/>
            </a:pPr>
            <a:r>
              <a:rPr kumimoji="0" lang="en-US" sz="12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rPr>
              <a:t>Radiologic and pathologic features of pneumonitis were diverse</a:t>
            </a:r>
          </a:p>
        </p:txBody>
      </p:sp>
      <p:sp>
        <p:nvSpPr>
          <p:cNvPr id="169" name="Rectangle 168">
            <a:extLst>
              <a:ext uri="{FF2B5EF4-FFF2-40B4-BE49-F238E27FC236}">
                <a16:creationId xmlns:a16="http://schemas.microsoft.com/office/drawing/2014/main" id="{153708A9-F75A-4ABC-AC15-F9F1E83B1083}"/>
              </a:ext>
            </a:extLst>
          </p:cNvPr>
          <p:cNvSpPr/>
          <p:nvPr/>
        </p:nvSpPr>
        <p:spPr>
          <a:xfrm>
            <a:off x="3454184" y="2272698"/>
            <a:ext cx="435068" cy="43506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0" name="TextBox 169">
            <a:extLst>
              <a:ext uri="{FF2B5EF4-FFF2-40B4-BE49-F238E27FC236}">
                <a16:creationId xmlns:a16="http://schemas.microsoft.com/office/drawing/2014/main" id="{DE6F972B-CA86-4680-A753-4990C61722E7}"/>
              </a:ext>
            </a:extLst>
          </p:cNvPr>
          <p:cNvSpPr txBox="1"/>
          <p:nvPr/>
        </p:nvSpPr>
        <p:spPr>
          <a:xfrm>
            <a:off x="590550" y="2800919"/>
            <a:ext cx="2234984" cy="1107996"/>
          </a:xfrm>
          <a:prstGeom prst="rect">
            <a:avLst/>
          </a:prstGeom>
          <a:noFill/>
        </p:spPr>
        <p:txBody>
          <a:bodyPr wrap="square" lIns="0" tIns="0" rIns="0" bIns="0">
            <a:spAutoFit/>
          </a:bodyPr>
          <a:lstStyle/>
          <a:p>
            <a:pPr marL="0" marR="0" lvl="1" indent="0" algn="l" defTabSz="914400" rtl="0" eaLnBrk="1" fontAlgn="auto" latinLnBrk="0" hangingPunct="1">
              <a:lnSpc>
                <a:spcPct val="100000"/>
              </a:lnSpc>
              <a:spcBef>
                <a:spcPts val="0"/>
              </a:spcBef>
              <a:spcAft>
                <a:spcPts val="0"/>
              </a:spcAft>
              <a:buClr>
                <a:srgbClr val="545859"/>
              </a:buClr>
              <a:buSzPts val="2400"/>
              <a:buFont typeface="Arial"/>
              <a:buNone/>
              <a:tabLst/>
              <a:defRPr/>
            </a:pPr>
            <a:r>
              <a:rPr kumimoji="0" lang="en-US" sz="12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rPr>
              <a:t>Overall incidence of pneumonitis was 5%, with a greater incidence in patients who received combination therapy than in those who received monotherapy (10% vs 3%; P &lt; 0.001)</a:t>
            </a:r>
          </a:p>
        </p:txBody>
      </p:sp>
      <p:sp>
        <p:nvSpPr>
          <p:cNvPr id="171" name="Rectangle 170">
            <a:extLst>
              <a:ext uri="{FF2B5EF4-FFF2-40B4-BE49-F238E27FC236}">
                <a16:creationId xmlns:a16="http://schemas.microsoft.com/office/drawing/2014/main" id="{FB8C6BBF-224C-4286-9609-CF44728F2B5F}"/>
              </a:ext>
            </a:extLst>
          </p:cNvPr>
          <p:cNvSpPr/>
          <p:nvPr/>
        </p:nvSpPr>
        <p:spPr>
          <a:xfrm>
            <a:off x="590550" y="2272698"/>
            <a:ext cx="435068" cy="43506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173" name="Straight Connector 172">
            <a:extLst>
              <a:ext uri="{FF2B5EF4-FFF2-40B4-BE49-F238E27FC236}">
                <a16:creationId xmlns:a16="http://schemas.microsoft.com/office/drawing/2014/main" id="{CE3C0008-80D7-4D27-A6DA-2843ECBDA3AB}"/>
              </a:ext>
            </a:extLst>
          </p:cNvPr>
          <p:cNvCxnSpPr>
            <a:cxnSpLocks/>
          </p:cNvCxnSpPr>
          <p:nvPr/>
        </p:nvCxnSpPr>
        <p:spPr>
          <a:xfrm>
            <a:off x="3244634" y="4557705"/>
            <a:ext cx="2654084"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FB8465FD-EDD3-42E8-9879-D871ED74081D}"/>
              </a:ext>
            </a:extLst>
          </p:cNvPr>
          <p:cNvCxnSpPr>
            <a:cxnSpLocks/>
          </p:cNvCxnSpPr>
          <p:nvPr/>
        </p:nvCxnSpPr>
        <p:spPr>
          <a:xfrm>
            <a:off x="381000" y="4557705"/>
            <a:ext cx="2654084" cy="0"/>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75" name="Group 174">
            <a:extLst>
              <a:ext uri="{FF2B5EF4-FFF2-40B4-BE49-F238E27FC236}">
                <a16:creationId xmlns:a16="http://schemas.microsoft.com/office/drawing/2014/main" id="{D510DF0C-06CA-409B-A089-53AF7E82E2E8}"/>
              </a:ext>
            </a:extLst>
          </p:cNvPr>
          <p:cNvGrpSpPr/>
          <p:nvPr/>
        </p:nvGrpSpPr>
        <p:grpSpPr>
          <a:xfrm>
            <a:off x="381000" y="1583078"/>
            <a:ext cx="344488" cy="315913"/>
            <a:chOff x="7005638" y="2909888"/>
            <a:chExt cx="344488" cy="315913"/>
          </a:xfrm>
        </p:grpSpPr>
        <p:sp>
          <p:nvSpPr>
            <p:cNvPr id="176" name="Oval 302">
              <a:extLst>
                <a:ext uri="{FF2B5EF4-FFF2-40B4-BE49-F238E27FC236}">
                  <a16:creationId xmlns:a16="http://schemas.microsoft.com/office/drawing/2014/main" id="{69206326-EABA-450B-94EE-15B59F059EB4}"/>
                </a:ext>
              </a:extLst>
            </p:cNvPr>
            <p:cNvSpPr>
              <a:spLocks noChangeArrowheads="1"/>
            </p:cNvSpPr>
            <p:nvPr/>
          </p:nvSpPr>
          <p:spPr bwMode="auto">
            <a:xfrm>
              <a:off x="7140575" y="2909888"/>
              <a:ext cx="74613" cy="76200"/>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77" name="Oval 303">
              <a:extLst>
                <a:ext uri="{FF2B5EF4-FFF2-40B4-BE49-F238E27FC236}">
                  <a16:creationId xmlns:a16="http://schemas.microsoft.com/office/drawing/2014/main" id="{DDD40C13-B807-47C3-AFBB-4D9238740730}"/>
                </a:ext>
              </a:extLst>
            </p:cNvPr>
            <p:cNvSpPr>
              <a:spLocks noChangeArrowheads="1"/>
            </p:cNvSpPr>
            <p:nvPr/>
          </p:nvSpPr>
          <p:spPr bwMode="auto">
            <a:xfrm>
              <a:off x="7261225" y="2940051"/>
              <a:ext cx="44450" cy="46038"/>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78" name="Oval 304">
              <a:extLst>
                <a:ext uri="{FF2B5EF4-FFF2-40B4-BE49-F238E27FC236}">
                  <a16:creationId xmlns:a16="http://schemas.microsoft.com/office/drawing/2014/main" id="{B40E6ED9-1CB1-4965-9F88-45827197C4D9}"/>
                </a:ext>
              </a:extLst>
            </p:cNvPr>
            <p:cNvSpPr>
              <a:spLocks noChangeArrowheads="1"/>
            </p:cNvSpPr>
            <p:nvPr/>
          </p:nvSpPr>
          <p:spPr bwMode="auto">
            <a:xfrm>
              <a:off x="7050088" y="2940051"/>
              <a:ext cx="44450" cy="46038"/>
            </a:xfrm>
            <a:prstGeom prst="ellipse">
              <a:avLst/>
            </a:pr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79" name="Freeform 305">
              <a:extLst>
                <a:ext uri="{FF2B5EF4-FFF2-40B4-BE49-F238E27FC236}">
                  <a16:creationId xmlns:a16="http://schemas.microsoft.com/office/drawing/2014/main" id="{193E2456-E5FB-4FDE-9334-658C675092C8}"/>
                </a:ext>
              </a:extLst>
            </p:cNvPr>
            <p:cNvSpPr>
              <a:spLocks/>
            </p:cNvSpPr>
            <p:nvPr/>
          </p:nvSpPr>
          <p:spPr bwMode="auto">
            <a:xfrm>
              <a:off x="7005638" y="3170238"/>
              <a:ext cx="344488" cy="55563"/>
            </a:xfrm>
            <a:custGeom>
              <a:avLst/>
              <a:gdLst>
                <a:gd name="T0" fmla="*/ 66 w 92"/>
                <a:gd name="T1" fmla="*/ 0 h 15"/>
                <a:gd name="T2" fmla="*/ 92 w 92"/>
                <a:gd name="T3" fmla="*/ 7 h 15"/>
                <a:gd name="T4" fmla="*/ 46 w 92"/>
                <a:gd name="T5" fmla="*/ 15 h 15"/>
                <a:gd name="T6" fmla="*/ 0 w 92"/>
                <a:gd name="T7" fmla="*/ 7 h 15"/>
                <a:gd name="T8" fmla="*/ 26 w 92"/>
                <a:gd name="T9" fmla="*/ 0 h 15"/>
              </a:gdLst>
              <a:ahLst/>
              <a:cxnLst>
                <a:cxn ang="0">
                  <a:pos x="T0" y="T1"/>
                </a:cxn>
                <a:cxn ang="0">
                  <a:pos x="T2" y="T3"/>
                </a:cxn>
                <a:cxn ang="0">
                  <a:pos x="T4" y="T5"/>
                </a:cxn>
                <a:cxn ang="0">
                  <a:pos x="T6" y="T7"/>
                </a:cxn>
                <a:cxn ang="0">
                  <a:pos x="T8" y="T9"/>
                </a:cxn>
              </a:cxnLst>
              <a:rect l="0" t="0" r="r" b="b"/>
              <a:pathLst>
                <a:path w="92" h="15">
                  <a:moveTo>
                    <a:pt x="66" y="0"/>
                  </a:moveTo>
                  <a:cubicBezTo>
                    <a:pt x="81" y="1"/>
                    <a:pt x="92" y="4"/>
                    <a:pt x="92" y="7"/>
                  </a:cubicBezTo>
                  <a:cubicBezTo>
                    <a:pt x="92" y="11"/>
                    <a:pt x="71" y="15"/>
                    <a:pt x="46" y="15"/>
                  </a:cubicBezTo>
                  <a:cubicBezTo>
                    <a:pt x="21" y="15"/>
                    <a:pt x="0" y="11"/>
                    <a:pt x="0" y="7"/>
                  </a:cubicBezTo>
                  <a:cubicBezTo>
                    <a:pt x="0" y="4"/>
                    <a:pt x="11" y="1"/>
                    <a:pt x="26" y="0"/>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80" name="Freeform 306">
              <a:extLst>
                <a:ext uri="{FF2B5EF4-FFF2-40B4-BE49-F238E27FC236}">
                  <a16:creationId xmlns:a16="http://schemas.microsoft.com/office/drawing/2014/main" id="{44DC9BBB-8D7C-4D5E-B058-CBF5F06B6F84}"/>
                </a:ext>
              </a:extLst>
            </p:cNvPr>
            <p:cNvSpPr>
              <a:spLocks/>
            </p:cNvSpPr>
            <p:nvPr/>
          </p:nvSpPr>
          <p:spPr bwMode="auto">
            <a:xfrm>
              <a:off x="7140575" y="3014663"/>
              <a:ext cx="74613" cy="136525"/>
            </a:xfrm>
            <a:custGeom>
              <a:avLst/>
              <a:gdLst>
                <a:gd name="T0" fmla="*/ 20 w 20"/>
                <a:gd name="T1" fmla="*/ 36 h 36"/>
                <a:gd name="T2" fmla="*/ 0 w 20"/>
                <a:gd name="T3" fmla="*/ 36 h 36"/>
                <a:gd name="T4" fmla="*/ 0 w 20"/>
                <a:gd name="T5" fmla="*/ 10 h 36"/>
                <a:gd name="T6" fmla="*/ 10 w 20"/>
                <a:gd name="T7" fmla="*/ 0 h 36"/>
                <a:gd name="T8" fmla="*/ 20 w 20"/>
                <a:gd name="T9" fmla="*/ 10 h 36"/>
                <a:gd name="T10" fmla="*/ 20 w 20"/>
                <a:gd name="T11" fmla="*/ 36 h 36"/>
              </a:gdLst>
              <a:ahLst/>
              <a:cxnLst>
                <a:cxn ang="0">
                  <a:pos x="T0" y="T1"/>
                </a:cxn>
                <a:cxn ang="0">
                  <a:pos x="T2" y="T3"/>
                </a:cxn>
                <a:cxn ang="0">
                  <a:pos x="T4" y="T5"/>
                </a:cxn>
                <a:cxn ang="0">
                  <a:pos x="T6" y="T7"/>
                </a:cxn>
                <a:cxn ang="0">
                  <a:pos x="T8" y="T9"/>
                </a:cxn>
                <a:cxn ang="0">
                  <a:pos x="T10" y="T11"/>
                </a:cxn>
              </a:cxnLst>
              <a:rect l="0" t="0" r="r" b="b"/>
              <a:pathLst>
                <a:path w="20" h="36">
                  <a:moveTo>
                    <a:pt x="20" y="36"/>
                  </a:moveTo>
                  <a:cubicBezTo>
                    <a:pt x="0" y="36"/>
                    <a:pt x="0" y="36"/>
                    <a:pt x="0" y="36"/>
                  </a:cubicBezTo>
                  <a:cubicBezTo>
                    <a:pt x="0" y="10"/>
                    <a:pt x="0" y="10"/>
                    <a:pt x="0" y="10"/>
                  </a:cubicBezTo>
                  <a:cubicBezTo>
                    <a:pt x="0" y="4"/>
                    <a:pt x="4" y="0"/>
                    <a:pt x="10" y="0"/>
                  </a:cubicBezTo>
                  <a:cubicBezTo>
                    <a:pt x="16" y="0"/>
                    <a:pt x="20" y="4"/>
                    <a:pt x="20" y="10"/>
                  </a:cubicBezTo>
                  <a:lnTo>
                    <a:pt x="20" y="36"/>
                  </a:ln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Freeform 307">
              <a:extLst>
                <a:ext uri="{FF2B5EF4-FFF2-40B4-BE49-F238E27FC236}">
                  <a16:creationId xmlns:a16="http://schemas.microsoft.com/office/drawing/2014/main" id="{E76577D1-CB6B-4F70-8F16-D4E24545AD3D}"/>
                </a:ext>
              </a:extLst>
            </p:cNvPr>
            <p:cNvSpPr>
              <a:spLocks/>
            </p:cNvSpPr>
            <p:nvPr/>
          </p:nvSpPr>
          <p:spPr bwMode="auto">
            <a:xfrm>
              <a:off x="7261225"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82" name="Freeform 308">
              <a:extLst>
                <a:ext uri="{FF2B5EF4-FFF2-40B4-BE49-F238E27FC236}">
                  <a16:creationId xmlns:a16="http://schemas.microsoft.com/office/drawing/2014/main" id="{816CBE79-B03E-4C79-8394-BA575A47F6B3}"/>
                </a:ext>
              </a:extLst>
            </p:cNvPr>
            <p:cNvSpPr>
              <a:spLocks/>
            </p:cNvSpPr>
            <p:nvPr/>
          </p:nvSpPr>
          <p:spPr bwMode="auto">
            <a:xfrm>
              <a:off x="7050088" y="3014663"/>
              <a:ext cx="44450" cy="106363"/>
            </a:xfrm>
            <a:custGeom>
              <a:avLst/>
              <a:gdLst>
                <a:gd name="T0" fmla="*/ 12 w 12"/>
                <a:gd name="T1" fmla="*/ 28 h 28"/>
                <a:gd name="T2" fmla="*/ 0 w 12"/>
                <a:gd name="T3" fmla="*/ 28 h 28"/>
                <a:gd name="T4" fmla="*/ 0 w 12"/>
                <a:gd name="T5" fmla="*/ 6 h 28"/>
                <a:gd name="T6" fmla="*/ 6 w 12"/>
                <a:gd name="T7" fmla="*/ 0 h 28"/>
                <a:gd name="T8" fmla="*/ 12 w 12"/>
                <a:gd name="T9" fmla="*/ 6 h 28"/>
                <a:gd name="T10" fmla="*/ 12 w 12"/>
                <a:gd name="T11" fmla="*/ 28 h 28"/>
              </a:gdLst>
              <a:ahLst/>
              <a:cxnLst>
                <a:cxn ang="0">
                  <a:pos x="T0" y="T1"/>
                </a:cxn>
                <a:cxn ang="0">
                  <a:pos x="T2" y="T3"/>
                </a:cxn>
                <a:cxn ang="0">
                  <a:pos x="T4" y="T5"/>
                </a:cxn>
                <a:cxn ang="0">
                  <a:pos x="T6" y="T7"/>
                </a:cxn>
                <a:cxn ang="0">
                  <a:pos x="T8" y="T9"/>
                </a:cxn>
                <a:cxn ang="0">
                  <a:pos x="T10" y="T11"/>
                </a:cxn>
              </a:cxnLst>
              <a:rect l="0" t="0" r="r" b="b"/>
              <a:pathLst>
                <a:path w="12" h="28">
                  <a:moveTo>
                    <a:pt x="12" y="28"/>
                  </a:moveTo>
                  <a:cubicBezTo>
                    <a:pt x="0" y="28"/>
                    <a:pt x="0" y="28"/>
                    <a:pt x="0" y="28"/>
                  </a:cubicBezTo>
                  <a:cubicBezTo>
                    <a:pt x="0" y="6"/>
                    <a:pt x="0" y="6"/>
                    <a:pt x="0" y="6"/>
                  </a:cubicBezTo>
                  <a:cubicBezTo>
                    <a:pt x="0" y="3"/>
                    <a:pt x="3" y="0"/>
                    <a:pt x="6" y="0"/>
                  </a:cubicBezTo>
                  <a:cubicBezTo>
                    <a:pt x="9" y="0"/>
                    <a:pt x="12" y="3"/>
                    <a:pt x="12" y="6"/>
                  </a:cubicBezTo>
                  <a:lnTo>
                    <a:pt x="12" y="28"/>
                  </a:lnTo>
                  <a:close/>
                </a:path>
              </a:pathLst>
            </a:custGeom>
            <a:noFill/>
            <a:ln w="14288"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183" name="TextBox 182">
            <a:extLst>
              <a:ext uri="{FF2B5EF4-FFF2-40B4-BE49-F238E27FC236}">
                <a16:creationId xmlns:a16="http://schemas.microsoft.com/office/drawing/2014/main" id="{6CBB6F5D-2A1B-4FB3-B83E-294F9E2CA39A}"/>
              </a:ext>
            </a:extLst>
          </p:cNvPr>
          <p:cNvSpPr txBox="1"/>
          <p:nvPr/>
        </p:nvSpPr>
        <p:spPr>
          <a:xfrm>
            <a:off x="6408715" y="2367122"/>
            <a:ext cx="253274" cy="246221"/>
          </a:xfrm>
          <a:prstGeom prst="rect">
            <a:avLst/>
          </a:prstGeom>
          <a:noFill/>
        </p:spPr>
        <p:txBody>
          <a:bodyPr wrap="none" lIns="0" tIns="0" rIns="0" bIns="0">
            <a:spAutoFit/>
          </a:bodyPr>
          <a:lstStyle/>
          <a:p>
            <a:pPr marL="0" marR="0" lvl="1" indent="0" algn="l" defTabSz="914400" rtl="0" eaLnBrk="1" fontAlgn="auto" latinLnBrk="0" hangingPunct="1">
              <a:lnSpc>
                <a:spcPct val="100000"/>
              </a:lnSpc>
              <a:spcBef>
                <a:spcPts val="0"/>
              </a:spcBef>
              <a:spcAft>
                <a:spcPts val="0"/>
              </a:spcAft>
              <a:buClr>
                <a:srgbClr val="545859"/>
              </a:buClr>
              <a:buSzPts val="2400"/>
              <a:buFont typeface="Arial"/>
              <a:buNone/>
              <a:tabLst/>
              <a:defRPr/>
            </a:pPr>
            <a:r>
              <a:rPr kumimoji="0" lang="en-US" sz="1600" b="1" i="0" u="none" strike="noStrike" kern="0" cap="none" spc="0" normalizeH="0" baseline="0" noProof="0" dirty="0">
                <a:ln>
                  <a:noFill/>
                </a:ln>
                <a:solidFill>
                  <a:srgbClr val="FFFFFF"/>
                </a:solidFill>
                <a:effectLst/>
                <a:uLnTx/>
                <a:uFillTx/>
                <a:latin typeface="Gene Sans" panose="00000500000000000000" pitchFamily="50" charset="0"/>
                <a:cs typeface="Arial"/>
                <a:sym typeface="Arial"/>
              </a:rPr>
              <a:t>03</a:t>
            </a:r>
          </a:p>
        </p:txBody>
      </p:sp>
      <p:sp>
        <p:nvSpPr>
          <p:cNvPr id="184" name="TextBox 183">
            <a:extLst>
              <a:ext uri="{FF2B5EF4-FFF2-40B4-BE49-F238E27FC236}">
                <a16:creationId xmlns:a16="http://schemas.microsoft.com/office/drawing/2014/main" id="{4AE81BFF-6600-48A3-B458-BEE8764968F7}"/>
              </a:ext>
            </a:extLst>
          </p:cNvPr>
          <p:cNvSpPr txBox="1"/>
          <p:nvPr/>
        </p:nvSpPr>
        <p:spPr>
          <a:xfrm>
            <a:off x="3548287" y="2367122"/>
            <a:ext cx="246862" cy="246221"/>
          </a:xfrm>
          <a:prstGeom prst="rect">
            <a:avLst/>
          </a:prstGeom>
          <a:noFill/>
        </p:spPr>
        <p:txBody>
          <a:bodyPr wrap="none" lIns="0" tIns="0" rIns="0" bIns="0">
            <a:spAutoFit/>
          </a:bodyPr>
          <a:lstStyle/>
          <a:p>
            <a:pPr marL="0" marR="0" lvl="1" indent="0" algn="l" defTabSz="914400" rtl="0" eaLnBrk="1" fontAlgn="auto" latinLnBrk="0" hangingPunct="1">
              <a:lnSpc>
                <a:spcPct val="100000"/>
              </a:lnSpc>
              <a:spcBef>
                <a:spcPts val="0"/>
              </a:spcBef>
              <a:spcAft>
                <a:spcPts val="0"/>
              </a:spcAft>
              <a:buClr>
                <a:srgbClr val="545859"/>
              </a:buClr>
              <a:buSzPts val="2400"/>
              <a:buFont typeface="Arial"/>
              <a:buNone/>
              <a:tabLst/>
              <a:defRPr/>
            </a:pPr>
            <a:r>
              <a:rPr kumimoji="0" lang="en-US" sz="1600" b="1" i="0" u="none" strike="noStrike" kern="0" cap="none" spc="0" normalizeH="0" baseline="0" noProof="0" dirty="0">
                <a:ln>
                  <a:noFill/>
                </a:ln>
                <a:solidFill>
                  <a:srgbClr val="FFFFFF"/>
                </a:solidFill>
                <a:effectLst/>
                <a:uLnTx/>
                <a:uFillTx/>
                <a:latin typeface="Gene Sans" panose="00000500000000000000" pitchFamily="50" charset="0"/>
                <a:cs typeface="Arial"/>
                <a:sym typeface="Arial"/>
              </a:rPr>
              <a:t>02</a:t>
            </a:r>
          </a:p>
        </p:txBody>
      </p:sp>
      <p:sp>
        <p:nvSpPr>
          <p:cNvPr id="185" name="TextBox 184">
            <a:extLst>
              <a:ext uri="{FF2B5EF4-FFF2-40B4-BE49-F238E27FC236}">
                <a16:creationId xmlns:a16="http://schemas.microsoft.com/office/drawing/2014/main" id="{93630705-A5BC-4C10-8F42-81A6C22C389E}"/>
              </a:ext>
            </a:extLst>
          </p:cNvPr>
          <p:cNvSpPr txBox="1"/>
          <p:nvPr/>
        </p:nvSpPr>
        <p:spPr>
          <a:xfrm>
            <a:off x="687859" y="2367122"/>
            <a:ext cx="240450" cy="246221"/>
          </a:xfrm>
          <a:prstGeom prst="rect">
            <a:avLst/>
          </a:prstGeom>
          <a:noFill/>
        </p:spPr>
        <p:txBody>
          <a:bodyPr wrap="none" lIns="0" tIns="0" rIns="0" bIns="0">
            <a:spAutoFit/>
          </a:bodyPr>
          <a:lstStyle/>
          <a:p>
            <a:pPr marL="0" marR="0" lvl="1" indent="0" algn="l" defTabSz="914400" rtl="0" eaLnBrk="1" fontAlgn="auto" latinLnBrk="0" hangingPunct="1">
              <a:lnSpc>
                <a:spcPct val="100000"/>
              </a:lnSpc>
              <a:spcBef>
                <a:spcPts val="0"/>
              </a:spcBef>
              <a:spcAft>
                <a:spcPts val="0"/>
              </a:spcAft>
              <a:buClr>
                <a:srgbClr val="545859"/>
              </a:buClr>
              <a:buSzPts val="2400"/>
              <a:buFont typeface="Arial"/>
              <a:buNone/>
              <a:tabLst/>
              <a:defRPr/>
            </a:pPr>
            <a:r>
              <a:rPr kumimoji="0" lang="en-US" sz="1600" b="1" i="0" u="none" strike="noStrike" kern="0" cap="none" spc="0" normalizeH="0" baseline="0" noProof="0" dirty="0">
                <a:ln>
                  <a:noFill/>
                </a:ln>
                <a:solidFill>
                  <a:srgbClr val="FFFFFF"/>
                </a:solidFill>
                <a:effectLst/>
                <a:uLnTx/>
                <a:uFillTx/>
                <a:latin typeface="Gene Sans" panose="00000500000000000000" pitchFamily="50" charset="0"/>
                <a:cs typeface="Arial"/>
                <a:sym typeface="Arial"/>
              </a:rPr>
              <a:t>01</a:t>
            </a:r>
          </a:p>
        </p:txBody>
      </p:sp>
    </p:spTree>
    <p:extLst>
      <p:ext uri="{BB962C8B-B14F-4D97-AF65-F5344CB8AC3E}">
        <p14:creationId xmlns:p14="http://schemas.microsoft.com/office/powerpoint/2010/main" val="3702533185"/>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8919721-26A3-42F3-9457-BEC7EB663E45}"/>
              </a:ext>
            </a:extLst>
          </p:cNvPr>
          <p:cNvSpPr/>
          <p:nvPr/>
        </p:nvSpPr>
        <p:spPr>
          <a:xfrm>
            <a:off x="287425" y="1609967"/>
            <a:ext cx="3309642" cy="267364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52" name="Rectangle 51">
            <a:extLst>
              <a:ext uri="{FF2B5EF4-FFF2-40B4-BE49-F238E27FC236}">
                <a16:creationId xmlns:a16="http://schemas.microsoft.com/office/drawing/2014/main" id="{5AD19C83-57F6-42EE-9F2B-0C2656211B08}"/>
              </a:ext>
            </a:extLst>
          </p:cNvPr>
          <p:cNvSpPr/>
          <p:nvPr/>
        </p:nvSpPr>
        <p:spPr>
          <a:xfrm>
            <a:off x="8455" y="1318352"/>
            <a:ext cx="3597067" cy="5941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 name="Text Placeholder 1"/>
          <p:cNvSpPr>
            <a:spLocks noGrp="1"/>
          </p:cNvSpPr>
          <p:nvPr>
            <p:ph type="body" idx="1"/>
          </p:nvPr>
        </p:nvSpPr>
        <p:spPr/>
        <p:txBody>
          <a:bodyPr/>
          <a:lstStyle/>
          <a:p>
            <a:endParaRPr lang="en-US"/>
          </a:p>
        </p:txBody>
      </p:sp>
      <p:sp>
        <p:nvSpPr>
          <p:cNvPr id="3" name="Text Placeholder 2"/>
          <p:cNvSpPr>
            <a:spLocks noGrp="1"/>
          </p:cNvSpPr>
          <p:nvPr>
            <p:ph type="body" idx="2"/>
          </p:nvPr>
        </p:nvSpPr>
        <p:spPr>
          <a:xfrm>
            <a:off x="381648" y="4588184"/>
            <a:ext cx="8385048" cy="267867"/>
          </a:xfrm>
        </p:spPr>
        <p:txBody>
          <a:bodyPr/>
          <a:lstStyle/>
          <a:p>
            <a:pPr marL="0">
              <a:spcBef>
                <a:spcPts val="0"/>
              </a:spcBef>
            </a:pPr>
            <a:r>
              <a:rPr lang="en-US" sz="600" dirty="0">
                <a:latin typeface="Gene Sans Light" panose="00000400000000000000" pitchFamily="50" charset="0"/>
              </a:rPr>
              <a:t>Notes: *The </a:t>
            </a:r>
            <a:r>
              <a:rPr lang="en-US" sz="600" i="1" dirty="0">
                <a:latin typeface="Gene Sans Light" panose="00000400000000000000" pitchFamily="50" charset="0"/>
              </a:rPr>
              <a:t>χ</a:t>
            </a:r>
            <a:r>
              <a:rPr lang="en-US" sz="600" baseline="30000" dirty="0">
                <a:latin typeface="Gene Sans Light" panose="00000400000000000000" pitchFamily="50" charset="0"/>
              </a:rPr>
              <a:t>2</a:t>
            </a:r>
            <a:r>
              <a:rPr lang="en-US" sz="600" dirty="0">
                <a:latin typeface="Gene Sans Light" panose="00000400000000000000" pitchFamily="50" charset="0"/>
              </a:rPr>
              <a:t> test and </a:t>
            </a:r>
            <a:r>
              <a:rPr lang="en-US" sz="600" i="1" dirty="0">
                <a:latin typeface="Gene Sans Light" panose="00000400000000000000" pitchFamily="50" charset="0"/>
              </a:rPr>
              <a:t>I</a:t>
            </a:r>
            <a:r>
              <a:rPr lang="en-US" sz="600" baseline="30000" dirty="0">
                <a:latin typeface="Gene Sans Light" panose="00000400000000000000" pitchFamily="50" charset="0"/>
              </a:rPr>
              <a:t>2</a:t>
            </a:r>
            <a:r>
              <a:rPr lang="en-US" sz="600" dirty="0">
                <a:latin typeface="Gene Sans Light" panose="00000400000000000000" pitchFamily="50" charset="0"/>
              </a:rPr>
              <a:t> statistic were applied to estimate the between-study heterogeneity. Significant heterogeneity was</a:t>
            </a:r>
            <a:r>
              <a:rPr lang="en-US" sz="600" b="1" dirty="0">
                <a:latin typeface="Gene Sans Light" panose="00000400000000000000" pitchFamily="50" charset="0"/>
              </a:rPr>
              <a:t> </a:t>
            </a:r>
            <a:r>
              <a:rPr lang="en-US" sz="600" dirty="0">
                <a:latin typeface="Gene Sans Light" panose="00000400000000000000" pitchFamily="50" charset="0"/>
              </a:rPr>
              <a:t>indicated if </a:t>
            </a:r>
            <a:r>
              <a:rPr lang="en-US" sz="600" i="1" dirty="0">
                <a:latin typeface="Gene Sans Light" panose="00000400000000000000" pitchFamily="50" charset="0"/>
              </a:rPr>
              <a:t>p &lt;</a:t>
            </a:r>
            <a:r>
              <a:rPr lang="en-US" sz="600" dirty="0">
                <a:latin typeface="Gene Sans Light" panose="00000400000000000000" pitchFamily="50" charset="0"/>
              </a:rPr>
              <a:t> 0.10 for the </a:t>
            </a:r>
            <a:r>
              <a:rPr lang="en-US" sz="600" i="1" dirty="0">
                <a:latin typeface="Gene Sans Light" panose="00000400000000000000" pitchFamily="50" charset="0"/>
              </a:rPr>
              <a:t>χ</a:t>
            </a:r>
            <a:r>
              <a:rPr lang="en-US" sz="600" baseline="30000" dirty="0">
                <a:latin typeface="Gene Sans Light" panose="00000400000000000000" pitchFamily="50" charset="0"/>
              </a:rPr>
              <a:t>2</a:t>
            </a:r>
            <a:r>
              <a:rPr lang="en-US" sz="600" dirty="0">
                <a:latin typeface="Gene Sans Light" panose="00000400000000000000" pitchFamily="50" charset="0"/>
              </a:rPr>
              <a:t> test or </a:t>
            </a:r>
            <a:r>
              <a:rPr lang="en-US" sz="600" i="1" dirty="0">
                <a:latin typeface="Gene Sans Light" panose="00000400000000000000" pitchFamily="50" charset="0"/>
              </a:rPr>
              <a:t>I</a:t>
            </a:r>
            <a:r>
              <a:rPr lang="en-US" sz="600" baseline="30000" dirty="0">
                <a:latin typeface="Gene Sans Light" panose="00000400000000000000" pitchFamily="50" charset="0"/>
              </a:rPr>
              <a:t>2</a:t>
            </a:r>
            <a:r>
              <a:rPr lang="en-US" sz="600" dirty="0">
                <a:latin typeface="Gene Sans Light" panose="00000400000000000000" pitchFamily="50" charset="0"/>
              </a:rPr>
              <a:t> &gt; 50% </a:t>
            </a:r>
          </a:p>
          <a:p>
            <a:pPr marL="0">
              <a:spcBef>
                <a:spcPts val="0"/>
              </a:spcBef>
            </a:pPr>
            <a:r>
              <a:rPr lang="en-US" sz="600" dirty="0">
                <a:latin typeface="Gene Sans Light" panose="00000400000000000000" pitchFamily="50" charset="0"/>
              </a:rPr>
              <a:t>1. Zhou X, et al. BMC Med 2020:18(1). 2. </a:t>
            </a:r>
            <a:r>
              <a:rPr lang="en-US" sz="600" dirty="0" err="1">
                <a:latin typeface="Gene Sans Light" panose="00000400000000000000" pitchFamily="50" charset="0"/>
              </a:rPr>
              <a:t>Petrelli</a:t>
            </a:r>
            <a:r>
              <a:rPr lang="en-US" sz="600" dirty="0">
                <a:latin typeface="Gene Sans Light" panose="00000400000000000000" pitchFamily="50" charset="0"/>
              </a:rPr>
              <a:t>, F et al. </a:t>
            </a:r>
            <a:r>
              <a:rPr lang="en-US" sz="600" i="1" dirty="0">
                <a:latin typeface="Gene Sans Light" panose="00000400000000000000" pitchFamily="50" charset="0"/>
              </a:rPr>
              <a:t>J </a:t>
            </a:r>
            <a:r>
              <a:rPr lang="en-US" sz="600" i="1" dirty="0" err="1">
                <a:latin typeface="Gene Sans Light" panose="00000400000000000000" pitchFamily="50" charset="0"/>
              </a:rPr>
              <a:t>Immuno</a:t>
            </a:r>
            <a:r>
              <a:rPr lang="en-US" sz="600" i="1" dirty="0">
                <a:latin typeface="Gene Sans Light" panose="00000400000000000000" pitchFamily="50" charset="0"/>
              </a:rPr>
              <a:t> </a:t>
            </a:r>
            <a:r>
              <a:rPr lang="en-US" sz="600" dirty="0">
                <a:latin typeface="Gene Sans Light" panose="00000400000000000000" pitchFamily="50" charset="0"/>
              </a:rPr>
              <a:t>2020;43(1):1-7 </a:t>
            </a:r>
          </a:p>
        </p:txBody>
      </p:sp>
      <p:sp>
        <p:nvSpPr>
          <p:cNvPr id="7" name="Title 4">
            <a:extLst>
              <a:ext uri="{FF2B5EF4-FFF2-40B4-BE49-F238E27FC236}">
                <a16:creationId xmlns:a16="http://schemas.microsoft.com/office/drawing/2014/main" id="{F01D18BE-0443-4628-94BF-FCFDC3C196C3}"/>
              </a:ext>
            </a:extLst>
          </p:cNvPr>
          <p:cNvSpPr>
            <a:spLocks noGrp="1"/>
          </p:cNvSpPr>
          <p:nvPr>
            <p:ph type="title"/>
          </p:nvPr>
        </p:nvSpPr>
        <p:spPr/>
        <p:txBody>
          <a:bodyPr/>
          <a:lstStyle/>
          <a:p>
            <a:r>
              <a:rPr lang="en-US" dirty="0"/>
              <a:t>Association Between </a:t>
            </a:r>
            <a:r>
              <a:rPr lang="en-US" dirty="0" err="1"/>
              <a:t>irAEs</a:t>
            </a:r>
            <a:r>
              <a:rPr lang="en-US" dirty="0"/>
              <a:t> and Outcomes</a:t>
            </a:r>
          </a:p>
        </p:txBody>
      </p:sp>
      <p:sp>
        <p:nvSpPr>
          <p:cNvPr id="8" name="Google Shape;122;p3">
            <a:extLst>
              <a:ext uri="{FF2B5EF4-FFF2-40B4-BE49-F238E27FC236}">
                <a16:creationId xmlns:a16="http://schemas.microsoft.com/office/drawing/2014/main" id="{E471B720-21C1-4494-8635-9FEBD8B63980}"/>
              </a:ext>
            </a:extLst>
          </p:cNvPr>
          <p:cNvSpPr txBox="1">
            <a:spLocks/>
          </p:cNvSpPr>
          <p:nvPr/>
        </p:nvSpPr>
        <p:spPr>
          <a:xfrm>
            <a:off x="381000" y="94526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
        <p:nvSpPr>
          <p:cNvPr id="11" name="TextBox 10"/>
          <p:cNvSpPr txBox="1"/>
          <p:nvPr/>
        </p:nvSpPr>
        <p:spPr>
          <a:xfrm>
            <a:off x="378917" y="2009042"/>
            <a:ext cx="3323705" cy="1938992"/>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rPr>
              <a:t>Patients who developed </a:t>
            </a:r>
            <a:r>
              <a:rPr kumimoji="0" lang="en-US" sz="1200" b="0" i="0" u="none" strike="noStrike" kern="0" cap="none" spc="0" normalizeH="0" baseline="0" noProof="0" dirty="0" err="1">
                <a:ln>
                  <a:noFill/>
                </a:ln>
                <a:solidFill>
                  <a:srgbClr val="000000"/>
                </a:solidFill>
                <a:effectLst/>
                <a:uLnTx/>
                <a:uFillTx/>
                <a:latin typeface="Gene Sans Light" panose="00000400000000000000" pitchFamily="50" charset="0"/>
                <a:cs typeface="Arial"/>
                <a:sym typeface="Arial"/>
              </a:rPr>
              <a:t>irAEs</a:t>
            </a:r>
            <a:r>
              <a:rPr kumimoji="0" lang="en-US" sz="12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rPr>
              <a:t> experienced both an OS benefit and a PFS benefit from ICI therapy compared to patients who did not develop </a:t>
            </a:r>
            <a:r>
              <a:rPr kumimoji="0" lang="en-US" sz="1200" b="0" i="0" u="none" strike="noStrike" kern="0" cap="none" spc="0" normalizeH="0" baseline="0" noProof="0" dirty="0" err="1">
                <a:ln>
                  <a:noFill/>
                </a:ln>
                <a:solidFill>
                  <a:srgbClr val="000000"/>
                </a:solidFill>
                <a:effectLst/>
                <a:uLnTx/>
                <a:uFillTx/>
                <a:latin typeface="Gene Sans Light" panose="00000400000000000000" pitchFamily="50" charset="0"/>
                <a:cs typeface="Arial"/>
                <a:sym typeface="Arial"/>
              </a:rPr>
              <a:t>irAEs</a:t>
            </a:r>
            <a:r>
              <a:rPr kumimoji="0" lang="en-US" sz="12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rPr>
              <a:t>.  This was particularly evident in endocrine, dermatological, and low-grade irAEs.</a:t>
            </a:r>
            <a:r>
              <a:rPr kumimoji="0" lang="en-US" sz="1200" b="0" i="0" u="none" strike="noStrike" kern="0" cap="none" spc="0" normalizeH="0" baseline="30000" noProof="0" dirty="0">
                <a:ln>
                  <a:noFill/>
                </a:ln>
                <a:solidFill>
                  <a:srgbClr val="000000"/>
                </a:solidFill>
                <a:effectLst/>
                <a:uLnTx/>
                <a:uFillTx/>
                <a:latin typeface="Gene Sans Light" panose="00000400000000000000" pitchFamily="50" charset="0"/>
                <a:cs typeface="Arial"/>
                <a:sym typeface="Arial"/>
              </a:rPr>
              <a:t>1</a:t>
            </a:r>
          </a:p>
          <a:p>
            <a:pPr marL="171450" marR="0" lvl="4"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a:p>
            <a:pPr marL="171450" marR="0" lvl="4"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rPr>
              <a:t>Another large meta-analyses has reported overall OS and PFS benefit in patients developing </a:t>
            </a:r>
            <a:r>
              <a:rPr kumimoji="0" lang="en-US" sz="1200" b="0" i="0" u="none" strike="noStrike" kern="0" cap="none" spc="0" normalizeH="0" baseline="0" noProof="0" dirty="0" err="1">
                <a:ln>
                  <a:noFill/>
                </a:ln>
                <a:solidFill>
                  <a:srgbClr val="000000"/>
                </a:solidFill>
                <a:effectLst/>
                <a:uLnTx/>
                <a:uFillTx/>
                <a:latin typeface="Gene Sans Light" panose="00000400000000000000" pitchFamily="50" charset="0"/>
                <a:cs typeface="Arial"/>
                <a:sym typeface="Arial"/>
              </a:rPr>
              <a:t>irAE</a:t>
            </a:r>
            <a:r>
              <a:rPr kumimoji="0" lang="en-US" sz="12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rPr>
              <a:t> while on ICI treatment.</a:t>
            </a:r>
            <a:r>
              <a:rPr kumimoji="0" lang="en-US" sz="1200" b="0" i="0" u="none" strike="noStrike" kern="0" cap="none" spc="0" normalizeH="0" baseline="30000" noProof="0" dirty="0">
                <a:ln>
                  <a:noFill/>
                </a:ln>
                <a:solidFill>
                  <a:srgbClr val="000000"/>
                </a:solidFill>
                <a:effectLst/>
                <a:uLnTx/>
                <a:uFillTx/>
                <a:latin typeface="Gene Sans Light" panose="00000400000000000000" pitchFamily="50" charset="0"/>
                <a:cs typeface="Arial"/>
                <a:sym typeface="Arial"/>
              </a:rPr>
              <a:t>2</a:t>
            </a:r>
          </a:p>
        </p:txBody>
      </p:sp>
      <p:grpSp>
        <p:nvGrpSpPr>
          <p:cNvPr id="15" name="Group 14">
            <a:extLst>
              <a:ext uri="{FF2B5EF4-FFF2-40B4-BE49-F238E27FC236}">
                <a16:creationId xmlns:a16="http://schemas.microsoft.com/office/drawing/2014/main" id="{9700816A-FD95-409D-BD65-07A2C14532B4}"/>
              </a:ext>
            </a:extLst>
          </p:cNvPr>
          <p:cNvGrpSpPr/>
          <p:nvPr/>
        </p:nvGrpSpPr>
        <p:grpSpPr>
          <a:xfrm>
            <a:off x="6196609" y="1541403"/>
            <a:ext cx="227488" cy="231587"/>
            <a:chOff x="6996113" y="3249613"/>
            <a:chExt cx="352425" cy="358775"/>
          </a:xfrm>
          <a:solidFill>
            <a:schemeClr val="bg1"/>
          </a:solidFill>
        </p:grpSpPr>
        <p:sp>
          <p:nvSpPr>
            <p:cNvPr id="16" name="Freeform 194">
              <a:extLst>
                <a:ext uri="{FF2B5EF4-FFF2-40B4-BE49-F238E27FC236}">
                  <a16:creationId xmlns:a16="http://schemas.microsoft.com/office/drawing/2014/main" id="{A90B3646-3B88-461F-B57A-0A9CBAE32EF0}"/>
                </a:ext>
              </a:extLst>
            </p:cNvPr>
            <p:cNvSpPr>
              <a:spLocks noEditPoints="1"/>
            </p:cNvSpPr>
            <p:nvPr/>
          </p:nvSpPr>
          <p:spPr bwMode="auto">
            <a:xfrm>
              <a:off x="7153275" y="3414713"/>
              <a:ext cx="195263" cy="193675"/>
            </a:xfrm>
            <a:custGeom>
              <a:avLst/>
              <a:gdLst>
                <a:gd name="T0" fmla="*/ 304 w 860"/>
                <a:gd name="T1" fmla="*/ 852 h 857"/>
                <a:gd name="T2" fmla="*/ 290 w 860"/>
                <a:gd name="T3" fmla="*/ 756 h 857"/>
                <a:gd name="T4" fmla="*/ 157 w 860"/>
                <a:gd name="T5" fmla="*/ 749 h 857"/>
                <a:gd name="T6" fmla="*/ 126 w 860"/>
                <a:gd name="T7" fmla="*/ 750 h 857"/>
                <a:gd name="T8" fmla="*/ 2 w 860"/>
                <a:gd name="T9" fmla="*/ 544 h 857"/>
                <a:gd name="T10" fmla="*/ 11 w 860"/>
                <a:gd name="T11" fmla="*/ 508 h 857"/>
                <a:gd name="T12" fmla="*/ 74 w 860"/>
                <a:gd name="T13" fmla="*/ 429 h 857"/>
                <a:gd name="T14" fmla="*/ 7 w 860"/>
                <a:gd name="T15" fmla="*/ 344 h 857"/>
                <a:gd name="T16" fmla="*/ 5 w 860"/>
                <a:gd name="T17" fmla="*/ 308 h 857"/>
                <a:gd name="T18" fmla="*/ 133 w 860"/>
                <a:gd name="T19" fmla="*/ 106 h 857"/>
                <a:gd name="T20" fmla="*/ 217 w 860"/>
                <a:gd name="T21" fmla="*/ 143 h 857"/>
                <a:gd name="T22" fmla="*/ 290 w 860"/>
                <a:gd name="T23" fmla="*/ 33 h 857"/>
                <a:gd name="T24" fmla="*/ 311 w 860"/>
                <a:gd name="T25" fmla="*/ 2 h 857"/>
                <a:gd name="T26" fmla="*/ 552 w 860"/>
                <a:gd name="T27" fmla="*/ 2 h 857"/>
                <a:gd name="T28" fmla="*/ 572 w 860"/>
                <a:gd name="T29" fmla="*/ 33 h 857"/>
                <a:gd name="T30" fmla="*/ 644 w 860"/>
                <a:gd name="T31" fmla="*/ 143 h 857"/>
                <a:gd name="T32" fmla="*/ 728 w 860"/>
                <a:gd name="T33" fmla="*/ 106 h 857"/>
                <a:gd name="T34" fmla="*/ 855 w 860"/>
                <a:gd name="T35" fmla="*/ 308 h 857"/>
                <a:gd name="T36" fmla="*/ 857 w 860"/>
                <a:gd name="T37" fmla="*/ 339 h 857"/>
                <a:gd name="T38" fmla="*/ 787 w 860"/>
                <a:gd name="T39" fmla="*/ 408 h 857"/>
                <a:gd name="T40" fmla="*/ 843 w 860"/>
                <a:gd name="T41" fmla="*/ 504 h 857"/>
                <a:gd name="T42" fmla="*/ 860 w 860"/>
                <a:gd name="T43" fmla="*/ 531 h 857"/>
                <a:gd name="T44" fmla="*/ 744 w 860"/>
                <a:gd name="T45" fmla="*/ 742 h 857"/>
                <a:gd name="T46" fmla="*/ 715 w 860"/>
                <a:gd name="T47" fmla="*/ 753 h 857"/>
                <a:gd name="T48" fmla="*/ 610 w 860"/>
                <a:gd name="T49" fmla="*/ 737 h 857"/>
                <a:gd name="T50" fmla="*/ 569 w 860"/>
                <a:gd name="T51" fmla="*/ 838 h 857"/>
                <a:gd name="T52" fmla="*/ 539 w 860"/>
                <a:gd name="T53" fmla="*/ 857 h 857"/>
                <a:gd name="T54" fmla="*/ 506 w 860"/>
                <a:gd name="T55" fmla="*/ 729 h 857"/>
                <a:gd name="T56" fmla="*/ 523 w 860"/>
                <a:gd name="T57" fmla="*/ 705 h 857"/>
                <a:gd name="T58" fmla="*/ 619 w 860"/>
                <a:gd name="T59" fmla="*/ 650 h 857"/>
                <a:gd name="T60" fmla="*/ 643 w 860"/>
                <a:gd name="T61" fmla="*/ 642 h 857"/>
                <a:gd name="T62" fmla="*/ 732 w 860"/>
                <a:gd name="T63" fmla="*/ 517 h 857"/>
                <a:gd name="T64" fmla="*/ 716 w 860"/>
                <a:gd name="T65" fmla="*/ 497 h 857"/>
                <a:gd name="T66" fmla="*/ 720 w 860"/>
                <a:gd name="T67" fmla="*/ 442 h 857"/>
                <a:gd name="T68" fmla="*/ 716 w 860"/>
                <a:gd name="T69" fmla="*/ 376 h 857"/>
                <a:gd name="T70" fmla="*/ 723 w 860"/>
                <a:gd name="T71" fmla="*/ 348 h 857"/>
                <a:gd name="T72" fmla="*/ 657 w 860"/>
                <a:gd name="T73" fmla="*/ 211 h 857"/>
                <a:gd name="T74" fmla="*/ 628 w 860"/>
                <a:gd name="T75" fmla="*/ 213 h 857"/>
                <a:gd name="T76" fmla="*/ 553 w 860"/>
                <a:gd name="T77" fmla="*/ 165 h 857"/>
                <a:gd name="T78" fmla="*/ 511 w 860"/>
                <a:gd name="T79" fmla="*/ 143 h 857"/>
                <a:gd name="T80" fmla="*/ 356 w 860"/>
                <a:gd name="T81" fmla="*/ 67 h 857"/>
                <a:gd name="T82" fmla="*/ 350 w 860"/>
                <a:gd name="T83" fmla="*/ 143 h 857"/>
                <a:gd name="T84" fmla="*/ 308 w 860"/>
                <a:gd name="T85" fmla="*/ 166 h 857"/>
                <a:gd name="T86" fmla="*/ 237 w 860"/>
                <a:gd name="T87" fmla="*/ 211 h 857"/>
                <a:gd name="T88" fmla="*/ 208 w 860"/>
                <a:gd name="T89" fmla="*/ 213 h 857"/>
                <a:gd name="T90" fmla="*/ 133 w 860"/>
                <a:gd name="T91" fmla="*/ 344 h 857"/>
                <a:gd name="T92" fmla="*/ 145 w 860"/>
                <a:gd name="T93" fmla="*/ 371 h 857"/>
                <a:gd name="T94" fmla="*/ 140 w 860"/>
                <a:gd name="T95" fmla="*/ 442 h 857"/>
                <a:gd name="T96" fmla="*/ 144 w 860"/>
                <a:gd name="T97" fmla="*/ 497 h 857"/>
                <a:gd name="T98" fmla="*/ 79 w 860"/>
                <a:gd name="T99" fmla="*/ 546 h 857"/>
                <a:gd name="T100" fmla="*/ 218 w 860"/>
                <a:gd name="T101" fmla="*/ 642 h 857"/>
                <a:gd name="T102" fmla="*/ 242 w 860"/>
                <a:gd name="T103" fmla="*/ 650 h 857"/>
                <a:gd name="T104" fmla="*/ 334 w 860"/>
                <a:gd name="T105" fmla="*/ 703 h 857"/>
                <a:gd name="T106" fmla="*/ 355 w 860"/>
                <a:gd name="T107" fmla="*/ 724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0" h="857">
                  <a:moveTo>
                    <a:pt x="539" y="857"/>
                  </a:moveTo>
                  <a:lnTo>
                    <a:pt x="323" y="857"/>
                  </a:lnTo>
                  <a:lnTo>
                    <a:pt x="323" y="857"/>
                  </a:lnTo>
                  <a:lnTo>
                    <a:pt x="317" y="857"/>
                  </a:lnTo>
                  <a:lnTo>
                    <a:pt x="311" y="855"/>
                  </a:lnTo>
                  <a:lnTo>
                    <a:pt x="304" y="852"/>
                  </a:lnTo>
                  <a:lnTo>
                    <a:pt x="299" y="848"/>
                  </a:lnTo>
                  <a:lnTo>
                    <a:pt x="296" y="843"/>
                  </a:lnTo>
                  <a:lnTo>
                    <a:pt x="293" y="838"/>
                  </a:lnTo>
                  <a:lnTo>
                    <a:pt x="291" y="831"/>
                  </a:lnTo>
                  <a:lnTo>
                    <a:pt x="290" y="825"/>
                  </a:lnTo>
                  <a:lnTo>
                    <a:pt x="290" y="756"/>
                  </a:lnTo>
                  <a:lnTo>
                    <a:pt x="290" y="756"/>
                  </a:lnTo>
                  <a:lnTo>
                    <a:pt x="273" y="749"/>
                  </a:lnTo>
                  <a:lnTo>
                    <a:pt x="255" y="738"/>
                  </a:lnTo>
                  <a:lnTo>
                    <a:pt x="236" y="728"/>
                  </a:lnTo>
                  <a:lnTo>
                    <a:pt x="217" y="714"/>
                  </a:lnTo>
                  <a:lnTo>
                    <a:pt x="157" y="749"/>
                  </a:lnTo>
                  <a:lnTo>
                    <a:pt x="157" y="749"/>
                  </a:lnTo>
                  <a:lnTo>
                    <a:pt x="151" y="752"/>
                  </a:lnTo>
                  <a:lnTo>
                    <a:pt x="145" y="753"/>
                  </a:lnTo>
                  <a:lnTo>
                    <a:pt x="139" y="753"/>
                  </a:lnTo>
                  <a:lnTo>
                    <a:pt x="133" y="752"/>
                  </a:lnTo>
                  <a:lnTo>
                    <a:pt x="126" y="750"/>
                  </a:lnTo>
                  <a:lnTo>
                    <a:pt x="121" y="747"/>
                  </a:lnTo>
                  <a:lnTo>
                    <a:pt x="116" y="742"/>
                  </a:lnTo>
                  <a:lnTo>
                    <a:pt x="113" y="737"/>
                  </a:lnTo>
                  <a:lnTo>
                    <a:pt x="4" y="550"/>
                  </a:lnTo>
                  <a:lnTo>
                    <a:pt x="4" y="550"/>
                  </a:lnTo>
                  <a:lnTo>
                    <a:pt x="2" y="544"/>
                  </a:lnTo>
                  <a:lnTo>
                    <a:pt x="0" y="537"/>
                  </a:lnTo>
                  <a:lnTo>
                    <a:pt x="0" y="531"/>
                  </a:lnTo>
                  <a:lnTo>
                    <a:pt x="1" y="525"/>
                  </a:lnTo>
                  <a:lnTo>
                    <a:pt x="3" y="519"/>
                  </a:lnTo>
                  <a:lnTo>
                    <a:pt x="7" y="514"/>
                  </a:lnTo>
                  <a:lnTo>
                    <a:pt x="11" y="508"/>
                  </a:lnTo>
                  <a:lnTo>
                    <a:pt x="17" y="504"/>
                  </a:lnTo>
                  <a:lnTo>
                    <a:pt x="76" y="470"/>
                  </a:lnTo>
                  <a:lnTo>
                    <a:pt x="76" y="470"/>
                  </a:lnTo>
                  <a:lnTo>
                    <a:pt x="74" y="449"/>
                  </a:lnTo>
                  <a:lnTo>
                    <a:pt x="74" y="429"/>
                  </a:lnTo>
                  <a:lnTo>
                    <a:pt x="74" y="429"/>
                  </a:lnTo>
                  <a:lnTo>
                    <a:pt x="74" y="408"/>
                  </a:lnTo>
                  <a:lnTo>
                    <a:pt x="76" y="387"/>
                  </a:lnTo>
                  <a:lnTo>
                    <a:pt x="17" y="353"/>
                  </a:lnTo>
                  <a:lnTo>
                    <a:pt x="17" y="353"/>
                  </a:lnTo>
                  <a:lnTo>
                    <a:pt x="11" y="349"/>
                  </a:lnTo>
                  <a:lnTo>
                    <a:pt x="7" y="344"/>
                  </a:lnTo>
                  <a:lnTo>
                    <a:pt x="3" y="339"/>
                  </a:lnTo>
                  <a:lnTo>
                    <a:pt x="1" y="333"/>
                  </a:lnTo>
                  <a:lnTo>
                    <a:pt x="0" y="326"/>
                  </a:lnTo>
                  <a:lnTo>
                    <a:pt x="0" y="320"/>
                  </a:lnTo>
                  <a:lnTo>
                    <a:pt x="2" y="314"/>
                  </a:lnTo>
                  <a:lnTo>
                    <a:pt x="5" y="308"/>
                  </a:lnTo>
                  <a:lnTo>
                    <a:pt x="113" y="121"/>
                  </a:lnTo>
                  <a:lnTo>
                    <a:pt x="113" y="121"/>
                  </a:lnTo>
                  <a:lnTo>
                    <a:pt x="117" y="115"/>
                  </a:lnTo>
                  <a:lnTo>
                    <a:pt x="121" y="111"/>
                  </a:lnTo>
                  <a:lnTo>
                    <a:pt x="127" y="108"/>
                  </a:lnTo>
                  <a:lnTo>
                    <a:pt x="133" y="106"/>
                  </a:lnTo>
                  <a:lnTo>
                    <a:pt x="139" y="105"/>
                  </a:lnTo>
                  <a:lnTo>
                    <a:pt x="146" y="105"/>
                  </a:lnTo>
                  <a:lnTo>
                    <a:pt x="152" y="106"/>
                  </a:lnTo>
                  <a:lnTo>
                    <a:pt x="158" y="109"/>
                  </a:lnTo>
                  <a:lnTo>
                    <a:pt x="217" y="143"/>
                  </a:lnTo>
                  <a:lnTo>
                    <a:pt x="217" y="143"/>
                  </a:lnTo>
                  <a:lnTo>
                    <a:pt x="236" y="130"/>
                  </a:lnTo>
                  <a:lnTo>
                    <a:pt x="255" y="119"/>
                  </a:lnTo>
                  <a:lnTo>
                    <a:pt x="273" y="109"/>
                  </a:lnTo>
                  <a:lnTo>
                    <a:pt x="290" y="102"/>
                  </a:lnTo>
                  <a:lnTo>
                    <a:pt x="290" y="33"/>
                  </a:lnTo>
                  <a:lnTo>
                    <a:pt x="290" y="33"/>
                  </a:lnTo>
                  <a:lnTo>
                    <a:pt x="291" y="26"/>
                  </a:lnTo>
                  <a:lnTo>
                    <a:pt x="293" y="20"/>
                  </a:lnTo>
                  <a:lnTo>
                    <a:pt x="296" y="15"/>
                  </a:lnTo>
                  <a:lnTo>
                    <a:pt x="299" y="10"/>
                  </a:lnTo>
                  <a:lnTo>
                    <a:pt x="304" y="5"/>
                  </a:lnTo>
                  <a:lnTo>
                    <a:pt x="311" y="2"/>
                  </a:lnTo>
                  <a:lnTo>
                    <a:pt x="317" y="0"/>
                  </a:lnTo>
                  <a:lnTo>
                    <a:pt x="323" y="0"/>
                  </a:lnTo>
                  <a:lnTo>
                    <a:pt x="539" y="0"/>
                  </a:lnTo>
                  <a:lnTo>
                    <a:pt x="539" y="0"/>
                  </a:lnTo>
                  <a:lnTo>
                    <a:pt x="545" y="0"/>
                  </a:lnTo>
                  <a:lnTo>
                    <a:pt x="552" y="2"/>
                  </a:lnTo>
                  <a:lnTo>
                    <a:pt x="558" y="5"/>
                  </a:lnTo>
                  <a:lnTo>
                    <a:pt x="562" y="10"/>
                  </a:lnTo>
                  <a:lnTo>
                    <a:pt x="566" y="15"/>
                  </a:lnTo>
                  <a:lnTo>
                    <a:pt x="569" y="20"/>
                  </a:lnTo>
                  <a:lnTo>
                    <a:pt x="571" y="26"/>
                  </a:lnTo>
                  <a:lnTo>
                    <a:pt x="572" y="33"/>
                  </a:lnTo>
                  <a:lnTo>
                    <a:pt x="572" y="102"/>
                  </a:lnTo>
                  <a:lnTo>
                    <a:pt x="572" y="102"/>
                  </a:lnTo>
                  <a:lnTo>
                    <a:pt x="591" y="110"/>
                  </a:lnTo>
                  <a:lnTo>
                    <a:pt x="610" y="120"/>
                  </a:lnTo>
                  <a:lnTo>
                    <a:pt x="627" y="132"/>
                  </a:lnTo>
                  <a:lnTo>
                    <a:pt x="644" y="143"/>
                  </a:lnTo>
                  <a:lnTo>
                    <a:pt x="702" y="109"/>
                  </a:lnTo>
                  <a:lnTo>
                    <a:pt x="702" y="109"/>
                  </a:lnTo>
                  <a:lnTo>
                    <a:pt x="708" y="106"/>
                  </a:lnTo>
                  <a:lnTo>
                    <a:pt x="714" y="105"/>
                  </a:lnTo>
                  <a:lnTo>
                    <a:pt x="721" y="105"/>
                  </a:lnTo>
                  <a:lnTo>
                    <a:pt x="728" y="106"/>
                  </a:lnTo>
                  <a:lnTo>
                    <a:pt x="728" y="106"/>
                  </a:lnTo>
                  <a:lnTo>
                    <a:pt x="734" y="108"/>
                  </a:lnTo>
                  <a:lnTo>
                    <a:pt x="739" y="111"/>
                  </a:lnTo>
                  <a:lnTo>
                    <a:pt x="744" y="115"/>
                  </a:lnTo>
                  <a:lnTo>
                    <a:pt x="747" y="121"/>
                  </a:lnTo>
                  <a:lnTo>
                    <a:pt x="855" y="308"/>
                  </a:lnTo>
                  <a:lnTo>
                    <a:pt x="855" y="308"/>
                  </a:lnTo>
                  <a:lnTo>
                    <a:pt x="858" y="314"/>
                  </a:lnTo>
                  <a:lnTo>
                    <a:pt x="860" y="320"/>
                  </a:lnTo>
                  <a:lnTo>
                    <a:pt x="860" y="326"/>
                  </a:lnTo>
                  <a:lnTo>
                    <a:pt x="859" y="333"/>
                  </a:lnTo>
                  <a:lnTo>
                    <a:pt x="857" y="339"/>
                  </a:lnTo>
                  <a:lnTo>
                    <a:pt x="853" y="344"/>
                  </a:lnTo>
                  <a:lnTo>
                    <a:pt x="849" y="349"/>
                  </a:lnTo>
                  <a:lnTo>
                    <a:pt x="843" y="353"/>
                  </a:lnTo>
                  <a:lnTo>
                    <a:pt x="785" y="387"/>
                  </a:lnTo>
                  <a:lnTo>
                    <a:pt x="785" y="387"/>
                  </a:lnTo>
                  <a:lnTo>
                    <a:pt x="787" y="408"/>
                  </a:lnTo>
                  <a:lnTo>
                    <a:pt x="787" y="429"/>
                  </a:lnTo>
                  <a:lnTo>
                    <a:pt x="787" y="429"/>
                  </a:lnTo>
                  <a:lnTo>
                    <a:pt x="787" y="449"/>
                  </a:lnTo>
                  <a:lnTo>
                    <a:pt x="785" y="470"/>
                  </a:lnTo>
                  <a:lnTo>
                    <a:pt x="843" y="504"/>
                  </a:lnTo>
                  <a:lnTo>
                    <a:pt x="843" y="504"/>
                  </a:lnTo>
                  <a:lnTo>
                    <a:pt x="849" y="508"/>
                  </a:lnTo>
                  <a:lnTo>
                    <a:pt x="853" y="513"/>
                  </a:lnTo>
                  <a:lnTo>
                    <a:pt x="857" y="519"/>
                  </a:lnTo>
                  <a:lnTo>
                    <a:pt x="859" y="525"/>
                  </a:lnTo>
                  <a:lnTo>
                    <a:pt x="859" y="525"/>
                  </a:lnTo>
                  <a:lnTo>
                    <a:pt x="860" y="531"/>
                  </a:lnTo>
                  <a:lnTo>
                    <a:pt x="860" y="537"/>
                  </a:lnTo>
                  <a:lnTo>
                    <a:pt x="858" y="544"/>
                  </a:lnTo>
                  <a:lnTo>
                    <a:pt x="856" y="550"/>
                  </a:lnTo>
                  <a:lnTo>
                    <a:pt x="747" y="737"/>
                  </a:lnTo>
                  <a:lnTo>
                    <a:pt x="747" y="737"/>
                  </a:lnTo>
                  <a:lnTo>
                    <a:pt x="744" y="742"/>
                  </a:lnTo>
                  <a:lnTo>
                    <a:pt x="739" y="747"/>
                  </a:lnTo>
                  <a:lnTo>
                    <a:pt x="734" y="750"/>
                  </a:lnTo>
                  <a:lnTo>
                    <a:pt x="728" y="752"/>
                  </a:lnTo>
                  <a:lnTo>
                    <a:pt x="728" y="752"/>
                  </a:lnTo>
                  <a:lnTo>
                    <a:pt x="721" y="754"/>
                  </a:lnTo>
                  <a:lnTo>
                    <a:pt x="715" y="753"/>
                  </a:lnTo>
                  <a:lnTo>
                    <a:pt x="708" y="752"/>
                  </a:lnTo>
                  <a:lnTo>
                    <a:pt x="703" y="749"/>
                  </a:lnTo>
                  <a:lnTo>
                    <a:pt x="644" y="714"/>
                  </a:lnTo>
                  <a:lnTo>
                    <a:pt x="644" y="714"/>
                  </a:lnTo>
                  <a:lnTo>
                    <a:pt x="627" y="727"/>
                  </a:lnTo>
                  <a:lnTo>
                    <a:pt x="610" y="737"/>
                  </a:lnTo>
                  <a:lnTo>
                    <a:pt x="591" y="748"/>
                  </a:lnTo>
                  <a:lnTo>
                    <a:pt x="572" y="756"/>
                  </a:lnTo>
                  <a:lnTo>
                    <a:pt x="572" y="825"/>
                  </a:lnTo>
                  <a:lnTo>
                    <a:pt x="572" y="825"/>
                  </a:lnTo>
                  <a:lnTo>
                    <a:pt x="571" y="831"/>
                  </a:lnTo>
                  <a:lnTo>
                    <a:pt x="569" y="838"/>
                  </a:lnTo>
                  <a:lnTo>
                    <a:pt x="566" y="843"/>
                  </a:lnTo>
                  <a:lnTo>
                    <a:pt x="562" y="848"/>
                  </a:lnTo>
                  <a:lnTo>
                    <a:pt x="558" y="852"/>
                  </a:lnTo>
                  <a:lnTo>
                    <a:pt x="552" y="855"/>
                  </a:lnTo>
                  <a:lnTo>
                    <a:pt x="545" y="857"/>
                  </a:lnTo>
                  <a:lnTo>
                    <a:pt x="539" y="857"/>
                  </a:lnTo>
                  <a:lnTo>
                    <a:pt x="539" y="857"/>
                  </a:lnTo>
                  <a:close/>
                  <a:moveTo>
                    <a:pt x="356" y="792"/>
                  </a:moveTo>
                  <a:lnTo>
                    <a:pt x="506" y="792"/>
                  </a:lnTo>
                  <a:lnTo>
                    <a:pt x="506" y="734"/>
                  </a:lnTo>
                  <a:lnTo>
                    <a:pt x="506" y="734"/>
                  </a:lnTo>
                  <a:lnTo>
                    <a:pt x="506" y="729"/>
                  </a:lnTo>
                  <a:lnTo>
                    <a:pt x="507" y="724"/>
                  </a:lnTo>
                  <a:lnTo>
                    <a:pt x="509" y="720"/>
                  </a:lnTo>
                  <a:lnTo>
                    <a:pt x="511" y="716"/>
                  </a:lnTo>
                  <a:lnTo>
                    <a:pt x="514" y="711"/>
                  </a:lnTo>
                  <a:lnTo>
                    <a:pt x="519" y="708"/>
                  </a:lnTo>
                  <a:lnTo>
                    <a:pt x="523" y="705"/>
                  </a:lnTo>
                  <a:lnTo>
                    <a:pt x="528" y="703"/>
                  </a:lnTo>
                  <a:lnTo>
                    <a:pt x="528" y="703"/>
                  </a:lnTo>
                  <a:lnTo>
                    <a:pt x="553" y="693"/>
                  </a:lnTo>
                  <a:lnTo>
                    <a:pt x="576" y="679"/>
                  </a:lnTo>
                  <a:lnTo>
                    <a:pt x="599" y="666"/>
                  </a:lnTo>
                  <a:lnTo>
                    <a:pt x="619" y="650"/>
                  </a:lnTo>
                  <a:lnTo>
                    <a:pt x="619" y="650"/>
                  </a:lnTo>
                  <a:lnTo>
                    <a:pt x="623" y="647"/>
                  </a:lnTo>
                  <a:lnTo>
                    <a:pt x="628" y="644"/>
                  </a:lnTo>
                  <a:lnTo>
                    <a:pt x="632" y="643"/>
                  </a:lnTo>
                  <a:lnTo>
                    <a:pt x="638" y="642"/>
                  </a:lnTo>
                  <a:lnTo>
                    <a:pt x="643" y="642"/>
                  </a:lnTo>
                  <a:lnTo>
                    <a:pt x="648" y="643"/>
                  </a:lnTo>
                  <a:lnTo>
                    <a:pt x="653" y="644"/>
                  </a:lnTo>
                  <a:lnTo>
                    <a:pt x="657" y="646"/>
                  </a:lnTo>
                  <a:lnTo>
                    <a:pt x="707" y="675"/>
                  </a:lnTo>
                  <a:lnTo>
                    <a:pt x="781" y="546"/>
                  </a:lnTo>
                  <a:lnTo>
                    <a:pt x="732" y="517"/>
                  </a:lnTo>
                  <a:lnTo>
                    <a:pt x="732" y="517"/>
                  </a:lnTo>
                  <a:lnTo>
                    <a:pt x="728" y="514"/>
                  </a:lnTo>
                  <a:lnTo>
                    <a:pt x="723" y="511"/>
                  </a:lnTo>
                  <a:lnTo>
                    <a:pt x="720" y="506"/>
                  </a:lnTo>
                  <a:lnTo>
                    <a:pt x="718" y="502"/>
                  </a:lnTo>
                  <a:lnTo>
                    <a:pt x="716" y="497"/>
                  </a:lnTo>
                  <a:lnTo>
                    <a:pt x="715" y="492"/>
                  </a:lnTo>
                  <a:lnTo>
                    <a:pt x="715" y="487"/>
                  </a:lnTo>
                  <a:lnTo>
                    <a:pt x="716" y="482"/>
                  </a:lnTo>
                  <a:lnTo>
                    <a:pt x="716" y="482"/>
                  </a:lnTo>
                  <a:lnTo>
                    <a:pt x="719" y="455"/>
                  </a:lnTo>
                  <a:lnTo>
                    <a:pt x="720" y="442"/>
                  </a:lnTo>
                  <a:lnTo>
                    <a:pt x="720" y="429"/>
                  </a:lnTo>
                  <a:lnTo>
                    <a:pt x="720" y="429"/>
                  </a:lnTo>
                  <a:lnTo>
                    <a:pt x="720" y="415"/>
                  </a:lnTo>
                  <a:lnTo>
                    <a:pt x="719" y="403"/>
                  </a:lnTo>
                  <a:lnTo>
                    <a:pt x="716" y="376"/>
                  </a:lnTo>
                  <a:lnTo>
                    <a:pt x="716" y="376"/>
                  </a:lnTo>
                  <a:lnTo>
                    <a:pt x="715" y="371"/>
                  </a:lnTo>
                  <a:lnTo>
                    <a:pt x="715" y="366"/>
                  </a:lnTo>
                  <a:lnTo>
                    <a:pt x="716" y="360"/>
                  </a:lnTo>
                  <a:lnTo>
                    <a:pt x="718" y="356"/>
                  </a:lnTo>
                  <a:lnTo>
                    <a:pt x="720" y="351"/>
                  </a:lnTo>
                  <a:lnTo>
                    <a:pt x="723" y="348"/>
                  </a:lnTo>
                  <a:lnTo>
                    <a:pt x="728" y="344"/>
                  </a:lnTo>
                  <a:lnTo>
                    <a:pt x="732" y="341"/>
                  </a:lnTo>
                  <a:lnTo>
                    <a:pt x="781" y="312"/>
                  </a:lnTo>
                  <a:lnTo>
                    <a:pt x="707" y="182"/>
                  </a:lnTo>
                  <a:lnTo>
                    <a:pt x="657" y="211"/>
                  </a:lnTo>
                  <a:lnTo>
                    <a:pt x="657" y="211"/>
                  </a:lnTo>
                  <a:lnTo>
                    <a:pt x="653" y="213"/>
                  </a:lnTo>
                  <a:lnTo>
                    <a:pt x="648" y="216"/>
                  </a:lnTo>
                  <a:lnTo>
                    <a:pt x="643" y="216"/>
                  </a:lnTo>
                  <a:lnTo>
                    <a:pt x="638" y="216"/>
                  </a:lnTo>
                  <a:lnTo>
                    <a:pt x="632" y="215"/>
                  </a:lnTo>
                  <a:lnTo>
                    <a:pt x="628" y="213"/>
                  </a:lnTo>
                  <a:lnTo>
                    <a:pt x="623" y="211"/>
                  </a:lnTo>
                  <a:lnTo>
                    <a:pt x="619" y="208"/>
                  </a:lnTo>
                  <a:lnTo>
                    <a:pt x="619" y="208"/>
                  </a:lnTo>
                  <a:lnTo>
                    <a:pt x="599" y="192"/>
                  </a:lnTo>
                  <a:lnTo>
                    <a:pt x="576" y="178"/>
                  </a:lnTo>
                  <a:lnTo>
                    <a:pt x="553" y="165"/>
                  </a:lnTo>
                  <a:lnTo>
                    <a:pt x="528" y="154"/>
                  </a:lnTo>
                  <a:lnTo>
                    <a:pt x="528" y="154"/>
                  </a:lnTo>
                  <a:lnTo>
                    <a:pt x="523" y="152"/>
                  </a:lnTo>
                  <a:lnTo>
                    <a:pt x="519" y="149"/>
                  </a:lnTo>
                  <a:lnTo>
                    <a:pt x="514" y="146"/>
                  </a:lnTo>
                  <a:lnTo>
                    <a:pt x="511" y="143"/>
                  </a:lnTo>
                  <a:lnTo>
                    <a:pt x="509" y="138"/>
                  </a:lnTo>
                  <a:lnTo>
                    <a:pt x="507" y="134"/>
                  </a:lnTo>
                  <a:lnTo>
                    <a:pt x="506" y="129"/>
                  </a:lnTo>
                  <a:lnTo>
                    <a:pt x="506" y="123"/>
                  </a:lnTo>
                  <a:lnTo>
                    <a:pt x="506" y="67"/>
                  </a:lnTo>
                  <a:lnTo>
                    <a:pt x="356" y="67"/>
                  </a:lnTo>
                  <a:lnTo>
                    <a:pt x="356" y="123"/>
                  </a:lnTo>
                  <a:lnTo>
                    <a:pt x="356" y="123"/>
                  </a:lnTo>
                  <a:lnTo>
                    <a:pt x="356" y="129"/>
                  </a:lnTo>
                  <a:lnTo>
                    <a:pt x="355" y="134"/>
                  </a:lnTo>
                  <a:lnTo>
                    <a:pt x="353" y="138"/>
                  </a:lnTo>
                  <a:lnTo>
                    <a:pt x="350" y="143"/>
                  </a:lnTo>
                  <a:lnTo>
                    <a:pt x="347" y="146"/>
                  </a:lnTo>
                  <a:lnTo>
                    <a:pt x="344" y="149"/>
                  </a:lnTo>
                  <a:lnTo>
                    <a:pt x="340" y="152"/>
                  </a:lnTo>
                  <a:lnTo>
                    <a:pt x="334" y="154"/>
                  </a:lnTo>
                  <a:lnTo>
                    <a:pt x="334" y="154"/>
                  </a:lnTo>
                  <a:lnTo>
                    <a:pt x="308" y="166"/>
                  </a:lnTo>
                  <a:lnTo>
                    <a:pt x="285" y="178"/>
                  </a:lnTo>
                  <a:lnTo>
                    <a:pt x="262" y="193"/>
                  </a:lnTo>
                  <a:lnTo>
                    <a:pt x="252" y="200"/>
                  </a:lnTo>
                  <a:lnTo>
                    <a:pt x="242" y="208"/>
                  </a:lnTo>
                  <a:lnTo>
                    <a:pt x="242" y="208"/>
                  </a:lnTo>
                  <a:lnTo>
                    <a:pt x="237" y="211"/>
                  </a:lnTo>
                  <a:lnTo>
                    <a:pt x="233" y="213"/>
                  </a:lnTo>
                  <a:lnTo>
                    <a:pt x="228" y="215"/>
                  </a:lnTo>
                  <a:lnTo>
                    <a:pt x="224" y="216"/>
                  </a:lnTo>
                  <a:lnTo>
                    <a:pt x="218" y="216"/>
                  </a:lnTo>
                  <a:lnTo>
                    <a:pt x="213" y="216"/>
                  </a:lnTo>
                  <a:lnTo>
                    <a:pt x="208" y="213"/>
                  </a:lnTo>
                  <a:lnTo>
                    <a:pt x="204" y="211"/>
                  </a:lnTo>
                  <a:lnTo>
                    <a:pt x="153" y="182"/>
                  </a:lnTo>
                  <a:lnTo>
                    <a:pt x="79" y="313"/>
                  </a:lnTo>
                  <a:lnTo>
                    <a:pt x="128" y="341"/>
                  </a:lnTo>
                  <a:lnTo>
                    <a:pt x="128" y="341"/>
                  </a:lnTo>
                  <a:lnTo>
                    <a:pt x="133" y="344"/>
                  </a:lnTo>
                  <a:lnTo>
                    <a:pt x="137" y="348"/>
                  </a:lnTo>
                  <a:lnTo>
                    <a:pt x="140" y="351"/>
                  </a:lnTo>
                  <a:lnTo>
                    <a:pt x="142" y="356"/>
                  </a:lnTo>
                  <a:lnTo>
                    <a:pt x="144" y="360"/>
                  </a:lnTo>
                  <a:lnTo>
                    <a:pt x="145" y="366"/>
                  </a:lnTo>
                  <a:lnTo>
                    <a:pt x="145" y="371"/>
                  </a:lnTo>
                  <a:lnTo>
                    <a:pt x="144" y="376"/>
                  </a:lnTo>
                  <a:lnTo>
                    <a:pt x="144" y="376"/>
                  </a:lnTo>
                  <a:lnTo>
                    <a:pt x="141" y="403"/>
                  </a:lnTo>
                  <a:lnTo>
                    <a:pt x="140" y="429"/>
                  </a:lnTo>
                  <a:lnTo>
                    <a:pt x="140" y="429"/>
                  </a:lnTo>
                  <a:lnTo>
                    <a:pt x="140" y="442"/>
                  </a:lnTo>
                  <a:lnTo>
                    <a:pt x="141" y="455"/>
                  </a:lnTo>
                  <a:lnTo>
                    <a:pt x="144" y="482"/>
                  </a:lnTo>
                  <a:lnTo>
                    <a:pt x="144" y="482"/>
                  </a:lnTo>
                  <a:lnTo>
                    <a:pt x="145" y="487"/>
                  </a:lnTo>
                  <a:lnTo>
                    <a:pt x="145" y="492"/>
                  </a:lnTo>
                  <a:lnTo>
                    <a:pt x="144" y="497"/>
                  </a:lnTo>
                  <a:lnTo>
                    <a:pt x="142" y="502"/>
                  </a:lnTo>
                  <a:lnTo>
                    <a:pt x="140" y="506"/>
                  </a:lnTo>
                  <a:lnTo>
                    <a:pt x="137" y="511"/>
                  </a:lnTo>
                  <a:lnTo>
                    <a:pt x="133" y="514"/>
                  </a:lnTo>
                  <a:lnTo>
                    <a:pt x="128" y="517"/>
                  </a:lnTo>
                  <a:lnTo>
                    <a:pt x="79" y="546"/>
                  </a:lnTo>
                  <a:lnTo>
                    <a:pt x="153" y="675"/>
                  </a:lnTo>
                  <a:lnTo>
                    <a:pt x="204" y="646"/>
                  </a:lnTo>
                  <a:lnTo>
                    <a:pt x="204" y="646"/>
                  </a:lnTo>
                  <a:lnTo>
                    <a:pt x="208" y="644"/>
                  </a:lnTo>
                  <a:lnTo>
                    <a:pt x="213" y="643"/>
                  </a:lnTo>
                  <a:lnTo>
                    <a:pt x="218" y="642"/>
                  </a:lnTo>
                  <a:lnTo>
                    <a:pt x="224" y="642"/>
                  </a:lnTo>
                  <a:lnTo>
                    <a:pt x="228" y="643"/>
                  </a:lnTo>
                  <a:lnTo>
                    <a:pt x="233" y="644"/>
                  </a:lnTo>
                  <a:lnTo>
                    <a:pt x="237" y="647"/>
                  </a:lnTo>
                  <a:lnTo>
                    <a:pt x="242" y="650"/>
                  </a:lnTo>
                  <a:lnTo>
                    <a:pt x="242" y="650"/>
                  </a:lnTo>
                  <a:lnTo>
                    <a:pt x="252" y="658"/>
                  </a:lnTo>
                  <a:lnTo>
                    <a:pt x="262" y="665"/>
                  </a:lnTo>
                  <a:lnTo>
                    <a:pt x="285" y="679"/>
                  </a:lnTo>
                  <a:lnTo>
                    <a:pt x="308" y="692"/>
                  </a:lnTo>
                  <a:lnTo>
                    <a:pt x="334" y="703"/>
                  </a:lnTo>
                  <a:lnTo>
                    <a:pt x="334" y="703"/>
                  </a:lnTo>
                  <a:lnTo>
                    <a:pt x="340" y="705"/>
                  </a:lnTo>
                  <a:lnTo>
                    <a:pt x="344" y="708"/>
                  </a:lnTo>
                  <a:lnTo>
                    <a:pt x="347" y="711"/>
                  </a:lnTo>
                  <a:lnTo>
                    <a:pt x="350" y="716"/>
                  </a:lnTo>
                  <a:lnTo>
                    <a:pt x="353" y="720"/>
                  </a:lnTo>
                  <a:lnTo>
                    <a:pt x="355" y="724"/>
                  </a:lnTo>
                  <a:lnTo>
                    <a:pt x="356" y="729"/>
                  </a:lnTo>
                  <a:lnTo>
                    <a:pt x="356" y="734"/>
                  </a:lnTo>
                  <a:lnTo>
                    <a:pt x="356" y="7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7" name="Freeform 195">
              <a:extLst>
                <a:ext uri="{FF2B5EF4-FFF2-40B4-BE49-F238E27FC236}">
                  <a16:creationId xmlns:a16="http://schemas.microsoft.com/office/drawing/2014/main" id="{95F6BBF0-2DFB-4DF4-8A0B-895CFCF40A8D}"/>
                </a:ext>
              </a:extLst>
            </p:cNvPr>
            <p:cNvSpPr>
              <a:spLocks noEditPoints="1"/>
            </p:cNvSpPr>
            <p:nvPr/>
          </p:nvSpPr>
          <p:spPr bwMode="auto">
            <a:xfrm>
              <a:off x="7210425" y="3471863"/>
              <a:ext cx="80963" cy="79375"/>
            </a:xfrm>
            <a:custGeom>
              <a:avLst/>
              <a:gdLst>
                <a:gd name="T0" fmla="*/ 159 w 355"/>
                <a:gd name="T1" fmla="*/ 353 h 354"/>
                <a:gd name="T2" fmla="*/ 108 w 355"/>
                <a:gd name="T3" fmla="*/ 340 h 354"/>
                <a:gd name="T4" fmla="*/ 65 w 355"/>
                <a:gd name="T5" fmla="*/ 313 h 354"/>
                <a:gd name="T6" fmla="*/ 31 w 355"/>
                <a:gd name="T7" fmla="*/ 276 h 354"/>
                <a:gd name="T8" fmla="*/ 8 w 355"/>
                <a:gd name="T9" fmla="*/ 230 h 354"/>
                <a:gd name="T10" fmla="*/ 0 w 355"/>
                <a:gd name="T11" fmla="*/ 177 h 354"/>
                <a:gd name="T12" fmla="*/ 4 w 355"/>
                <a:gd name="T13" fmla="*/ 142 h 354"/>
                <a:gd name="T14" fmla="*/ 21 w 355"/>
                <a:gd name="T15" fmla="*/ 93 h 354"/>
                <a:gd name="T16" fmla="*/ 52 w 355"/>
                <a:gd name="T17" fmla="*/ 52 h 354"/>
                <a:gd name="T18" fmla="*/ 93 w 355"/>
                <a:gd name="T19" fmla="*/ 22 h 354"/>
                <a:gd name="T20" fmla="*/ 141 w 355"/>
                <a:gd name="T21" fmla="*/ 4 h 354"/>
                <a:gd name="T22" fmla="*/ 177 w 355"/>
                <a:gd name="T23" fmla="*/ 0 h 354"/>
                <a:gd name="T24" fmla="*/ 229 w 355"/>
                <a:gd name="T25" fmla="*/ 8 h 354"/>
                <a:gd name="T26" fmla="*/ 276 w 355"/>
                <a:gd name="T27" fmla="*/ 30 h 354"/>
                <a:gd name="T28" fmla="*/ 313 w 355"/>
                <a:gd name="T29" fmla="*/ 64 h 354"/>
                <a:gd name="T30" fmla="*/ 340 w 355"/>
                <a:gd name="T31" fmla="*/ 108 h 354"/>
                <a:gd name="T32" fmla="*/ 354 w 355"/>
                <a:gd name="T33" fmla="*/ 159 h 354"/>
                <a:gd name="T34" fmla="*/ 354 w 355"/>
                <a:gd name="T35" fmla="*/ 194 h 354"/>
                <a:gd name="T36" fmla="*/ 340 w 355"/>
                <a:gd name="T37" fmla="*/ 246 h 354"/>
                <a:gd name="T38" fmla="*/ 313 w 355"/>
                <a:gd name="T39" fmla="*/ 290 h 354"/>
                <a:gd name="T40" fmla="*/ 276 w 355"/>
                <a:gd name="T41" fmla="*/ 324 h 354"/>
                <a:gd name="T42" fmla="*/ 229 w 355"/>
                <a:gd name="T43" fmla="*/ 346 h 354"/>
                <a:gd name="T44" fmla="*/ 177 w 355"/>
                <a:gd name="T45" fmla="*/ 354 h 354"/>
                <a:gd name="T46" fmla="*/ 177 w 355"/>
                <a:gd name="T47" fmla="*/ 66 h 354"/>
                <a:gd name="T48" fmla="*/ 144 w 355"/>
                <a:gd name="T49" fmla="*/ 71 h 354"/>
                <a:gd name="T50" fmla="*/ 115 w 355"/>
                <a:gd name="T51" fmla="*/ 85 h 354"/>
                <a:gd name="T52" fmla="*/ 92 w 355"/>
                <a:gd name="T53" fmla="*/ 106 h 354"/>
                <a:gd name="T54" fmla="*/ 75 w 355"/>
                <a:gd name="T55" fmla="*/ 133 h 354"/>
                <a:gd name="T56" fmla="*/ 67 w 355"/>
                <a:gd name="T57" fmla="*/ 165 h 354"/>
                <a:gd name="T58" fmla="*/ 67 w 355"/>
                <a:gd name="T59" fmla="*/ 188 h 354"/>
                <a:gd name="T60" fmla="*/ 75 w 355"/>
                <a:gd name="T61" fmla="*/ 220 h 354"/>
                <a:gd name="T62" fmla="*/ 92 w 355"/>
                <a:gd name="T63" fmla="*/ 247 h 354"/>
                <a:gd name="T64" fmla="*/ 115 w 355"/>
                <a:gd name="T65" fmla="*/ 269 h 354"/>
                <a:gd name="T66" fmla="*/ 144 w 355"/>
                <a:gd name="T67" fmla="*/ 282 h 354"/>
                <a:gd name="T68" fmla="*/ 177 w 355"/>
                <a:gd name="T69" fmla="*/ 288 h 354"/>
                <a:gd name="T70" fmla="*/ 199 w 355"/>
                <a:gd name="T71" fmla="*/ 285 h 354"/>
                <a:gd name="T72" fmla="*/ 229 w 355"/>
                <a:gd name="T73" fmla="*/ 274 h 354"/>
                <a:gd name="T74" fmla="*/ 255 w 355"/>
                <a:gd name="T75" fmla="*/ 255 h 354"/>
                <a:gd name="T76" fmla="*/ 275 w 355"/>
                <a:gd name="T77" fmla="*/ 230 h 354"/>
                <a:gd name="T78" fmla="*/ 285 w 355"/>
                <a:gd name="T79" fmla="*/ 200 h 354"/>
                <a:gd name="T80" fmla="*/ 288 w 355"/>
                <a:gd name="T81" fmla="*/ 177 h 354"/>
                <a:gd name="T82" fmla="*/ 283 w 355"/>
                <a:gd name="T83" fmla="*/ 144 h 354"/>
                <a:gd name="T84" fmla="*/ 269 w 355"/>
                <a:gd name="T85" fmla="*/ 115 h 354"/>
                <a:gd name="T86" fmla="*/ 248 w 355"/>
                <a:gd name="T87" fmla="*/ 91 h 354"/>
                <a:gd name="T88" fmla="*/ 220 w 355"/>
                <a:gd name="T89" fmla="*/ 74 h 354"/>
                <a:gd name="T90" fmla="*/ 188 w 355"/>
                <a:gd name="T91"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5" h="354">
                  <a:moveTo>
                    <a:pt x="177" y="354"/>
                  </a:moveTo>
                  <a:lnTo>
                    <a:pt x="177" y="354"/>
                  </a:lnTo>
                  <a:lnTo>
                    <a:pt x="159" y="353"/>
                  </a:lnTo>
                  <a:lnTo>
                    <a:pt x="141" y="351"/>
                  </a:lnTo>
                  <a:lnTo>
                    <a:pt x="125" y="346"/>
                  </a:lnTo>
                  <a:lnTo>
                    <a:pt x="108" y="340"/>
                  </a:lnTo>
                  <a:lnTo>
                    <a:pt x="93" y="332"/>
                  </a:lnTo>
                  <a:lnTo>
                    <a:pt x="78" y="324"/>
                  </a:lnTo>
                  <a:lnTo>
                    <a:pt x="65" y="313"/>
                  </a:lnTo>
                  <a:lnTo>
                    <a:pt x="52" y="302"/>
                  </a:lnTo>
                  <a:lnTo>
                    <a:pt x="41" y="290"/>
                  </a:lnTo>
                  <a:lnTo>
                    <a:pt x="31" y="276"/>
                  </a:lnTo>
                  <a:lnTo>
                    <a:pt x="21" y="261"/>
                  </a:lnTo>
                  <a:lnTo>
                    <a:pt x="14" y="246"/>
                  </a:lnTo>
                  <a:lnTo>
                    <a:pt x="8" y="230"/>
                  </a:lnTo>
                  <a:lnTo>
                    <a:pt x="4" y="212"/>
                  </a:lnTo>
                  <a:lnTo>
                    <a:pt x="1" y="194"/>
                  </a:lnTo>
                  <a:lnTo>
                    <a:pt x="0" y="177"/>
                  </a:lnTo>
                  <a:lnTo>
                    <a:pt x="0" y="177"/>
                  </a:lnTo>
                  <a:lnTo>
                    <a:pt x="1" y="159"/>
                  </a:lnTo>
                  <a:lnTo>
                    <a:pt x="4" y="142"/>
                  </a:lnTo>
                  <a:lnTo>
                    <a:pt x="8" y="124"/>
                  </a:lnTo>
                  <a:lnTo>
                    <a:pt x="14" y="108"/>
                  </a:lnTo>
                  <a:lnTo>
                    <a:pt x="21" y="93"/>
                  </a:lnTo>
                  <a:lnTo>
                    <a:pt x="31" y="77"/>
                  </a:lnTo>
                  <a:lnTo>
                    <a:pt x="41" y="64"/>
                  </a:lnTo>
                  <a:lnTo>
                    <a:pt x="52" y="52"/>
                  </a:lnTo>
                  <a:lnTo>
                    <a:pt x="65" y="40"/>
                  </a:lnTo>
                  <a:lnTo>
                    <a:pt x="78" y="30"/>
                  </a:lnTo>
                  <a:lnTo>
                    <a:pt x="93" y="22"/>
                  </a:lnTo>
                  <a:lnTo>
                    <a:pt x="108" y="13"/>
                  </a:lnTo>
                  <a:lnTo>
                    <a:pt x="125" y="8"/>
                  </a:lnTo>
                  <a:lnTo>
                    <a:pt x="141" y="4"/>
                  </a:lnTo>
                  <a:lnTo>
                    <a:pt x="159" y="1"/>
                  </a:lnTo>
                  <a:lnTo>
                    <a:pt x="177" y="0"/>
                  </a:lnTo>
                  <a:lnTo>
                    <a:pt x="177" y="0"/>
                  </a:lnTo>
                  <a:lnTo>
                    <a:pt x="195" y="1"/>
                  </a:lnTo>
                  <a:lnTo>
                    <a:pt x="213" y="4"/>
                  </a:lnTo>
                  <a:lnTo>
                    <a:pt x="229" y="8"/>
                  </a:lnTo>
                  <a:lnTo>
                    <a:pt x="246" y="13"/>
                  </a:lnTo>
                  <a:lnTo>
                    <a:pt x="261" y="22"/>
                  </a:lnTo>
                  <a:lnTo>
                    <a:pt x="276" y="30"/>
                  </a:lnTo>
                  <a:lnTo>
                    <a:pt x="289" y="40"/>
                  </a:lnTo>
                  <a:lnTo>
                    <a:pt x="302" y="52"/>
                  </a:lnTo>
                  <a:lnTo>
                    <a:pt x="313" y="64"/>
                  </a:lnTo>
                  <a:lnTo>
                    <a:pt x="323" y="77"/>
                  </a:lnTo>
                  <a:lnTo>
                    <a:pt x="333" y="93"/>
                  </a:lnTo>
                  <a:lnTo>
                    <a:pt x="340" y="108"/>
                  </a:lnTo>
                  <a:lnTo>
                    <a:pt x="346" y="124"/>
                  </a:lnTo>
                  <a:lnTo>
                    <a:pt x="350" y="142"/>
                  </a:lnTo>
                  <a:lnTo>
                    <a:pt x="354" y="159"/>
                  </a:lnTo>
                  <a:lnTo>
                    <a:pt x="355" y="177"/>
                  </a:lnTo>
                  <a:lnTo>
                    <a:pt x="355" y="177"/>
                  </a:lnTo>
                  <a:lnTo>
                    <a:pt x="354" y="194"/>
                  </a:lnTo>
                  <a:lnTo>
                    <a:pt x="350" y="212"/>
                  </a:lnTo>
                  <a:lnTo>
                    <a:pt x="346" y="230"/>
                  </a:lnTo>
                  <a:lnTo>
                    <a:pt x="340" y="246"/>
                  </a:lnTo>
                  <a:lnTo>
                    <a:pt x="333" y="261"/>
                  </a:lnTo>
                  <a:lnTo>
                    <a:pt x="323" y="276"/>
                  </a:lnTo>
                  <a:lnTo>
                    <a:pt x="313" y="290"/>
                  </a:lnTo>
                  <a:lnTo>
                    <a:pt x="302" y="302"/>
                  </a:lnTo>
                  <a:lnTo>
                    <a:pt x="289" y="313"/>
                  </a:lnTo>
                  <a:lnTo>
                    <a:pt x="276" y="324"/>
                  </a:lnTo>
                  <a:lnTo>
                    <a:pt x="261" y="332"/>
                  </a:lnTo>
                  <a:lnTo>
                    <a:pt x="246" y="340"/>
                  </a:lnTo>
                  <a:lnTo>
                    <a:pt x="229" y="346"/>
                  </a:lnTo>
                  <a:lnTo>
                    <a:pt x="213" y="351"/>
                  </a:lnTo>
                  <a:lnTo>
                    <a:pt x="195" y="353"/>
                  </a:lnTo>
                  <a:lnTo>
                    <a:pt x="177" y="354"/>
                  </a:lnTo>
                  <a:lnTo>
                    <a:pt x="177" y="354"/>
                  </a:lnTo>
                  <a:close/>
                  <a:moveTo>
                    <a:pt x="177" y="66"/>
                  </a:moveTo>
                  <a:lnTo>
                    <a:pt x="177" y="66"/>
                  </a:lnTo>
                  <a:lnTo>
                    <a:pt x="166" y="66"/>
                  </a:lnTo>
                  <a:lnTo>
                    <a:pt x="155" y="68"/>
                  </a:lnTo>
                  <a:lnTo>
                    <a:pt x="144" y="71"/>
                  </a:lnTo>
                  <a:lnTo>
                    <a:pt x="134" y="74"/>
                  </a:lnTo>
                  <a:lnTo>
                    <a:pt x="124" y="79"/>
                  </a:lnTo>
                  <a:lnTo>
                    <a:pt x="115" y="85"/>
                  </a:lnTo>
                  <a:lnTo>
                    <a:pt x="106" y="91"/>
                  </a:lnTo>
                  <a:lnTo>
                    <a:pt x="99" y="98"/>
                  </a:lnTo>
                  <a:lnTo>
                    <a:pt x="92" y="106"/>
                  </a:lnTo>
                  <a:lnTo>
                    <a:pt x="85" y="115"/>
                  </a:lnTo>
                  <a:lnTo>
                    <a:pt x="79" y="124"/>
                  </a:lnTo>
                  <a:lnTo>
                    <a:pt x="75" y="133"/>
                  </a:lnTo>
                  <a:lnTo>
                    <a:pt x="71" y="144"/>
                  </a:lnTo>
                  <a:lnTo>
                    <a:pt x="68" y="154"/>
                  </a:lnTo>
                  <a:lnTo>
                    <a:pt x="67" y="165"/>
                  </a:lnTo>
                  <a:lnTo>
                    <a:pt x="66" y="177"/>
                  </a:lnTo>
                  <a:lnTo>
                    <a:pt x="66" y="177"/>
                  </a:lnTo>
                  <a:lnTo>
                    <a:pt x="67" y="188"/>
                  </a:lnTo>
                  <a:lnTo>
                    <a:pt x="68" y="200"/>
                  </a:lnTo>
                  <a:lnTo>
                    <a:pt x="71" y="210"/>
                  </a:lnTo>
                  <a:lnTo>
                    <a:pt x="75" y="220"/>
                  </a:lnTo>
                  <a:lnTo>
                    <a:pt x="79" y="230"/>
                  </a:lnTo>
                  <a:lnTo>
                    <a:pt x="85" y="239"/>
                  </a:lnTo>
                  <a:lnTo>
                    <a:pt x="92" y="247"/>
                  </a:lnTo>
                  <a:lnTo>
                    <a:pt x="99" y="255"/>
                  </a:lnTo>
                  <a:lnTo>
                    <a:pt x="106" y="263"/>
                  </a:lnTo>
                  <a:lnTo>
                    <a:pt x="115" y="269"/>
                  </a:lnTo>
                  <a:lnTo>
                    <a:pt x="124" y="274"/>
                  </a:lnTo>
                  <a:lnTo>
                    <a:pt x="134" y="279"/>
                  </a:lnTo>
                  <a:lnTo>
                    <a:pt x="144" y="282"/>
                  </a:lnTo>
                  <a:lnTo>
                    <a:pt x="155" y="285"/>
                  </a:lnTo>
                  <a:lnTo>
                    <a:pt x="166" y="288"/>
                  </a:lnTo>
                  <a:lnTo>
                    <a:pt x="177" y="288"/>
                  </a:lnTo>
                  <a:lnTo>
                    <a:pt x="177" y="288"/>
                  </a:lnTo>
                  <a:lnTo>
                    <a:pt x="188" y="288"/>
                  </a:lnTo>
                  <a:lnTo>
                    <a:pt x="199" y="285"/>
                  </a:lnTo>
                  <a:lnTo>
                    <a:pt x="210" y="282"/>
                  </a:lnTo>
                  <a:lnTo>
                    <a:pt x="220" y="279"/>
                  </a:lnTo>
                  <a:lnTo>
                    <a:pt x="229" y="274"/>
                  </a:lnTo>
                  <a:lnTo>
                    <a:pt x="239" y="269"/>
                  </a:lnTo>
                  <a:lnTo>
                    <a:pt x="248" y="263"/>
                  </a:lnTo>
                  <a:lnTo>
                    <a:pt x="255" y="255"/>
                  </a:lnTo>
                  <a:lnTo>
                    <a:pt x="262" y="247"/>
                  </a:lnTo>
                  <a:lnTo>
                    <a:pt x="269" y="239"/>
                  </a:lnTo>
                  <a:lnTo>
                    <a:pt x="275" y="230"/>
                  </a:lnTo>
                  <a:lnTo>
                    <a:pt x="279" y="220"/>
                  </a:lnTo>
                  <a:lnTo>
                    <a:pt x="283" y="210"/>
                  </a:lnTo>
                  <a:lnTo>
                    <a:pt x="285" y="200"/>
                  </a:lnTo>
                  <a:lnTo>
                    <a:pt x="287" y="188"/>
                  </a:lnTo>
                  <a:lnTo>
                    <a:pt x="288" y="177"/>
                  </a:lnTo>
                  <a:lnTo>
                    <a:pt x="288" y="177"/>
                  </a:lnTo>
                  <a:lnTo>
                    <a:pt x="287" y="165"/>
                  </a:lnTo>
                  <a:lnTo>
                    <a:pt x="285" y="154"/>
                  </a:lnTo>
                  <a:lnTo>
                    <a:pt x="283" y="144"/>
                  </a:lnTo>
                  <a:lnTo>
                    <a:pt x="279" y="133"/>
                  </a:lnTo>
                  <a:lnTo>
                    <a:pt x="275" y="124"/>
                  </a:lnTo>
                  <a:lnTo>
                    <a:pt x="269" y="115"/>
                  </a:lnTo>
                  <a:lnTo>
                    <a:pt x="262" y="106"/>
                  </a:lnTo>
                  <a:lnTo>
                    <a:pt x="255" y="98"/>
                  </a:lnTo>
                  <a:lnTo>
                    <a:pt x="248" y="91"/>
                  </a:lnTo>
                  <a:lnTo>
                    <a:pt x="239" y="85"/>
                  </a:lnTo>
                  <a:lnTo>
                    <a:pt x="229" y="79"/>
                  </a:lnTo>
                  <a:lnTo>
                    <a:pt x="220" y="74"/>
                  </a:lnTo>
                  <a:lnTo>
                    <a:pt x="210" y="71"/>
                  </a:lnTo>
                  <a:lnTo>
                    <a:pt x="199" y="68"/>
                  </a:lnTo>
                  <a:lnTo>
                    <a:pt x="188" y="66"/>
                  </a:lnTo>
                  <a:lnTo>
                    <a:pt x="177" y="66"/>
                  </a:lnTo>
                  <a:lnTo>
                    <a:pt x="17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8" name="Freeform 196">
              <a:extLst>
                <a:ext uri="{FF2B5EF4-FFF2-40B4-BE49-F238E27FC236}">
                  <a16:creationId xmlns:a16="http://schemas.microsoft.com/office/drawing/2014/main" id="{6B916A0E-12B2-4DF6-B7B1-A91562BEFE78}"/>
                </a:ext>
              </a:extLst>
            </p:cNvPr>
            <p:cNvSpPr>
              <a:spLocks/>
            </p:cNvSpPr>
            <p:nvPr/>
          </p:nvSpPr>
          <p:spPr bwMode="auto">
            <a:xfrm>
              <a:off x="6996113" y="3249613"/>
              <a:ext cx="300038" cy="314325"/>
            </a:xfrm>
            <a:custGeom>
              <a:avLst/>
              <a:gdLst>
                <a:gd name="T0" fmla="*/ 33 w 1322"/>
                <a:gd name="T1" fmla="*/ 1389 h 1389"/>
                <a:gd name="T2" fmla="*/ 27 w 1322"/>
                <a:gd name="T3" fmla="*/ 1388 h 1389"/>
                <a:gd name="T4" fmla="*/ 14 w 1322"/>
                <a:gd name="T5" fmla="*/ 1382 h 1389"/>
                <a:gd name="T6" fmla="*/ 6 w 1322"/>
                <a:gd name="T7" fmla="*/ 1374 h 1389"/>
                <a:gd name="T8" fmla="*/ 1 w 1322"/>
                <a:gd name="T9" fmla="*/ 1362 h 1389"/>
                <a:gd name="T10" fmla="*/ 0 w 1322"/>
                <a:gd name="T11" fmla="*/ 33 h 1389"/>
                <a:gd name="T12" fmla="*/ 1 w 1322"/>
                <a:gd name="T13" fmla="*/ 25 h 1389"/>
                <a:gd name="T14" fmla="*/ 6 w 1322"/>
                <a:gd name="T15" fmla="*/ 14 h 1389"/>
                <a:gd name="T16" fmla="*/ 14 w 1322"/>
                <a:gd name="T17" fmla="*/ 5 h 1389"/>
                <a:gd name="T18" fmla="*/ 27 w 1322"/>
                <a:gd name="T19" fmla="*/ 0 h 1389"/>
                <a:gd name="T20" fmla="*/ 1289 w 1322"/>
                <a:gd name="T21" fmla="*/ 0 h 1389"/>
                <a:gd name="T22" fmla="*/ 1296 w 1322"/>
                <a:gd name="T23" fmla="*/ 0 h 1389"/>
                <a:gd name="T24" fmla="*/ 1308 w 1322"/>
                <a:gd name="T25" fmla="*/ 5 h 1389"/>
                <a:gd name="T26" fmla="*/ 1317 w 1322"/>
                <a:gd name="T27" fmla="*/ 14 h 1389"/>
                <a:gd name="T28" fmla="*/ 1322 w 1322"/>
                <a:gd name="T29" fmla="*/ 25 h 1389"/>
                <a:gd name="T30" fmla="*/ 1322 w 1322"/>
                <a:gd name="T31" fmla="*/ 628 h 1389"/>
                <a:gd name="T32" fmla="*/ 1322 w 1322"/>
                <a:gd name="T33" fmla="*/ 634 h 1389"/>
                <a:gd name="T34" fmla="*/ 1317 w 1322"/>
                <a:gd name="T35" fmla="*/ 647 h 1389"/>
                <a:gd name="T36" fmla="*/ 1308 w 1322"/>
                <a:gd name="T37" fmla="*/ 655 h 1389"/>
                <a:gd name="T38" fmla="*/ 1296 w 1322"/>
                <a:gd name="T39" fmla="*/ 660 h 1389"/>
                <a:gd name="T40" fmla="*/ 1289 w 1322"/>
                <a:gd name="T41" fmla="*/ 661 h 1389"/>
                <a:gd name="T42" fmla="*/ 1277 w 1322"/>
                <a:gd name="T43" fmla="*/ 658 h 1389"/>
                <a:gd name="T44" fmla="*/ 1266 w 1322"/>
                <a:gd name="T45" fmla="*/ 651 h 1389"/>
                <a:gd name="T46" fmla="*/ 1259 w 1322"/>
                <a:gd name="T47" fmla="*/ 640 h 1389"/>
                <a:gd name="T48" fmla="*/ 1256 w 1322"/>
                <a:gd name="T49" fmla="*/ 628 h 1389"/>
                <a:gd name="T50" fmla="*/ 66 w 1322"/>
                <a:gd name="T51" fmla="*/ 66 h 1389"/>
                <a:gd name="T52" fmla="*/ 628 w 1322"/>
                <a:gd name="T53" fmla="*/ 1322 h 1389"/>
                <a:gd name="T54" fmla="*/ 635 w 1322"/>
                <a:gd name="T55" fmla="*/ 1322 h 1389"/>
                <a:gd name="T56" fmla="*/ 646 w 1322"/>
                <a:gd name="T57" fmla="*/ 1328 h 1389"/>
                <a:gd name="T58" fmla="*/ 656 w 1322"/>
                <a:gd name="T59" fmla="*/ 1337 h 1389"/>
                <a:gd name="T60" fmla="*/ 661 w 1322"/>
                <a:gd name="T61" fmla="*/ 1348 h 1389"/>
                <a:gd name="T62" fmla="*/ 661 w 1322"/>
                <a:gd name="T63" fmla="*/ 1356 h 1389"/>
                <a:gd name="T64" fmla="*/ 659 w 1322"/>
                <a:gd name="T65" fmla="*/ 1368 h 1389"/>
                <a:gd name="T66" fmla="*/ 652 w 1322"/>
                <a:gd name="T67" fmla="*/ 1378 h 1389"/>
                <a:gd name="T68" fmla="*/ 641 w 1322"/>
                <a:gd name="T69" fmla="*/ 1386 h 1389"/>
                <a:gd name="T70" fmla="*/ 628 w 1322"/>
                <a:gd name="T71" fmla="*/ 138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22" h="1389">
                  <a:moveTo>
                    <a:pt x="628" y="1389"/>
                  </a:moveTo>
                  <a:lnTo>
                    <a:pt x="33" y="1389"/>
                  </a:lnTo>
                  <a:lnTo>
                    <a:pt x="33" y="1389"/>
                  </a:lnTo>
                  <a:lnTo>
                    <a:pt x="27" y="1388"/>
                  </a:lnTo>
                  <a:lnTo>
                    <a:pt x="20" y="1386"/>
                  </a:lnTo>
                  <a:lnTo>
                    <a:pt x="14" y="1382"/>
                  </a:lnTo>
                  <a:lnTo>
                    <a:pt x="10" y="1378"/>
                  </a:lnTo>
                  <a:lnTo>
                    <a:pt x="6" y="1374"/>
                  </a:lnTo>
                  <a:lnTo>
                    <a:pt x="3" y="1368"/>
                  </a:lnTo>
                  <a:lnTo>
                    <a:pt x="1" y="1362"/>
                  </a:lnTo>
                  <a:lnTo>
                    <a:pt x="0" y="1356"/>
                  </a:lnTo>
                  <a:lnTo>
                    <a:pt x="0" y="33"/>
                  </a:lnTo>
                  <a:lnTo>
                    <a:pt x="0" y="33"/>
                  </a:lnTo>
                  <a:lnTo>
                    <a:pt x="1" y="25"/>
                  </a:lnTo>
                  <a:lnTo>
                    <a:pt x="3" y="19"/>
                  </a:lnTo>
                  <a:lnTo>
                    <a:pt x="6" y="14"/>
                  </a:lnTo>
                  <a:lnTo>
                    <a:pt x="10" y="9"/>
                  </a:lnTo>
                  <a:lnTo>
                    <a:pt x="14" y="5"/>
                  </a:lnTo>
                  <a:lnTo>
                    <a:pt x="20" y="2"/>
                  </a:lnTo>
                  <a:lnTo>
                    <a:pt x="27" y="0"/>
                  </a:lnTo>
                  <a:lnTo>
                    <a:pt x="33" y="0"/>
                  </a:lnTo>
                  <a:lnTo>
                    <a:pt x="1289" y="0"/>
                  </a:lnTo>
                  <a:lnTo>
                    <a:pt x="1289" y="0"/>
                  </a:lnTo>
                  <a:lnTo>
                    <a:pt x="1296" y="0"/>
                  </a:lnTo>
                  <a:lnTo>
                    <a:pt x="1303" y="2"/>
                  </a:lnTo>
                  <a:lnTo>
                    <a:pt x="1308" y="5"/>
                  </a:lnTo>
                  <a:lnTo>
                    <a:pt x="1313" y="9"/>
                  </a:lnTo>
                  <a:lnTo>
                    <a:pt x="1317" y="14"/>
                  </a:lnTo>
                  <a:lnTo>
                    <a:pt x="1320" y="19"/>
                  </a:lnTo>
                  <a:lnTo>
                    <a:pt x="1322" y="25"/>
                  </a:lnTo>
                  <a:lnTo>
                    <a:pt x="1322" y="33"/>
                  </a:lnTo>
                  <a:lnTo>
                    <a:pt x="1322" y="628"/>
                  </a:lnTo>
                  <a:lnTo>
                    <a:pt x="1322" y="628"/>
                  </a:lnTo>
                  <a:lnTo>
                    <a:pt x="1322" y="634"/>
                  </a:lnTo>
                  <a:lnTo>
                    <a:pt x="1320" y="640"/>
                  </a:lnTo>
                  <a:lnTo>
                    <a:pt x="1317" y="647"/>
                  </a:lnTo>
                  <a:lnTo>
                    <a:pt x="1313" y="651"/>
                  </a:lnTo>
                  <a:lnTo>
                    <a:pt x="1308" y="655"/>
                  </a:lnTo>
                  <a:lnTo>
                    <a:pt x="1303" y="658"/>
                  </a:lnTo>
                  <a:lnTo>
                    <a:pt x="1296" y="660"/>
                  </a:lnTo>
                  <a:lnTo>
                    <a:pt x="1289" y="661"/>
                  </a:lnTo>
                  <a:lnTo>
                    <a:pt x="1289" y="661"/>
                  </a:lnTo>
                  <a:lnTo>
                    <a:pt x="1283" y="660"/>
                  </a:lnTo>
                  <a:lnTo>
                    <a:pt x="1277" y="658"/>
                  </a:lnTo>
                  <a:lnTo>
                    <a:pt x="1270" y="655"/>
                  </a:lnTo>
                  <a:lnTo>
                    <a:pt x="1266" y="651"/>
                  </a:lnTo>
                  <a:lnTo>
                    <a:pt x="1262" y="647"/>
                  </a:lnTo>
                  <a:lnTo>
                    <a:pt x="1259" y="640"/>
                  </a:lnTo>
                  <a:lnTo>
                    <a:pt x="1257" y="634"/>
                  </a:lnTo>
                  <a:lnTo>
                    <a:pt x="1256" y="628"/>
                  </a:lnTo>
                  <a:lnTo>
                    <a:pt x="1256" y="66"/>
                  </a:lnTo>
                  <a:lnTo>
                    <a:pt x="66" y="66"/>
                  </a:lnTo>
                  <a:lnTo>
                    <a:pt x="66" y="1322"/>
                  </a:lnTo>
                  <a:lnTo>
                    <a:pt x="628" y="1322"/>
                  </a:lnTo>
                  <a:lnTo>
                    <a:pt x="628" y="1322"/>
                  </a:lnTo>
                  <a:lnTo>
                    <a:pt x="635" y="1322"/>
                  </a:lnTo>
                  <a:lnTo>
                    <a:pt x="641" y="1325"/>
                  </a:lnTo>
                  <a:lnTo>
                    <a:pt x="646" y="1328"/>
                  </a:lnTo>
                  <a:lnTo>
                    <a:pt x="652" y="1332"/>
                  </a:lnTo>
                  <a:lnTo>
                    <a:pt x="656" y="1337"/>
                  </a:lnTo>
                  <a:lnTo>
                    <a:pt x="659" y="1342"/>
                  </a:lnTo>
                  <a:lnTo>
                    <a:pt x="661" y="1348"/>
                  </a:lnTo>
                  <a:lnTo>
                    <a:pt x="661" y="1356"/>
                  </a:lnTo>
                  <a:lnTo>
                    <a:pt x="661" y="1356"/>
                  </a:lnTo>
                  <a:lnTo>
                    <a:pt x="661" y="1362"/>
                  </a:lnTo>
                  <a:lnTo>
                    <a:pt x="659" y="1368"/>
                  </a:lnTo>
                  <a:lnTo>
                    <a:pt x="656" y="1374"/>
                  </a:lnTo>
                  <a:lnTo>
                    <a:pt x="652" y="1378"/>
                  </a:lnTo>
                  <a:lnTo>
                    <a:pt x="646" y="1382"/>
                  </a:lnTo>
                  <a:lnTo>
                    <a:pt x="641" y="1386"/>
                  </a:lnTo>
                  <a:lnTo>
                    <a:pt x="635" y="1388"/>
                  </a:lnTo>
                  <a:lnTo>
                    <a:pt x="628" y="1389"/>
                  </a:lnTo>
                  <a:lnTo>
                    <a:pt x="628" y="1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9" name="Freeform 197">
              <a:extLst>
                <a:ext uri="{FF2B5EF4-FFF2-40B4-BE49-F238E27FC236}">
                  <a16:creationId xmlns:a16="http://schemas.microsoft.com/office/drawing/2014/main" id="{15E2FD3A-2917-41DD-960C-6CFA9531C3CB}"/>
                </a:ext>
              </a:extLst>
            </p:cNvPr>
            <p:cNvSpPr>
              <a:spLocks/>
            </p:cNvSpPr>
            <p:nvPr/>
          </p:nvSpPr>
          <p:spPr bwMode="auto">
            <a:xfrm>
              <a:off x="7227888" y="3249613"/>
              <a:ext cx="15875" cy="36513"/>
            </a:xfrm>
            <a:custGeom>
              <a:avLst/>
              <a:gdLst>
                <a:gd name="T0" fmla="*/ 33 w 66"/>
                <a:gd name="T1" fmla="*/ 164 h 164"/>
                <a:gd name="T2" fmla="*/ 33 w 66"/>
                <a:gd name="T3" fmla="*/ 164 h 164"/>
                <a:gd name="T4" fmla="*/ 26 w 66"/>
                <a:gd name="T5" fmla="*/ 164 h 164"/>
                <a:gd name="T6" fmla="*/ 20 w 66"/>
                <a:gd name="T7" fmla="*/ 162 h 164"/>
                <a:gd name="T8" fmla="*/ 15 w 66"/>
                <a:gd name="T9" fmla="*/ 159 h 164"/>
                <a:gd name="T10" fmla="*/ 10 w 66"/>
                <a:gd name="T11" fmla="*/ 155 h 164"/>
                <a:gd name="T12" fmla="*/ 5 w 66"/>
                <a:gd name="T13" fmla="*/ 150 h 164"/>
                <a:gd name="T14" fmla="*/ 2 w 66"/>
                <a:gd name="T15" fmla="*/ 145 h 164"/>
                <a:gd name="T16" fmla="*/ 0 w 66"/>
                <a:gd name="T17" fmla="*/ 138 h 164"/>
                <a:gd name="T18" fmla="*/ 0 w 66"/>
                <a:gd name="T19" fmla="*/ 132 h 164"/>
                <a:gd name="T20" fmla="*/ 0 w 66"/>
                <a:gd name="T21" fmla="*/ 33 h 164"/>
                <a:gd name="T22" fmla="*/ 0 w 66"/>
                <a:gd name="T23" fmla="*/ 33 h 164"/>
                <a:gd name="T24" fmla="*/ 0 w 66"/>
                <a:gd name="T25" fmla="*/ 25 h 164"/>
                <a:gd name="T26" fmla="*/ 2 w 66"/>
                <a:gd name="T27" fmla="*/ 19 h 164"/>
                <a:gd name="T28" fmla="*/ 5 w 66"/>
                <a:gd name="T29" fmla="*/ 14 h 164"/>
                <a:gd name="T30" fmla="*/ 10 w 66"/>
                <a:gd name="T31" fmla="*/ 9 h 164"/>
                <a:gd name="T32" fmla="*/ 15 w 66"/>
                <a:gd name="T33" fmla="*/ 5 h 164"/>
                <a:gd name="T34" fmla="*/ 20 w 66"/>
                <a:gd name="T35" fmla="*/ 2 h 164"/>
                <a:gd name="T36" fmla="*/ 26 w 66"/>
                <a:gd name="T37" fmla="*/ 0 h 164"/>
                <a:gd name="T38" fmla="*/ 33 w 66"/>
                <a:gd name="T39" fmla="*/ 0 h 164"/>
                <a:gd name="T40" fmla="*/ 33 w 66"/>
                <a:gd name="T41" fmla="*/ 0 h 164"/>
                <a:gd name="T42" fmla="*/ 40 w 66"/>
                <a:gd name="T43" fmla="*/ 0 h 164"/>
                <a:gd name="T44" fmla="*/ 46 w 66"/>
                <a:gd name="T45" fmla="*/ 2 h 164"/>
                <a:gd name="T46" fmla="*/ 51 w 66"/>
                <a:gd name="T47" fmla="*/ 5 h 164"/>
                <a:gd name="T48" fmla="*/ 56 w 66"/>
                <a:gd name="T49" fmla="*/ 9 h 164"/>
                <a:gd name="T50" fmla="*/ 60 w 66"/>
                <a:gd name="T51" fmla="*/ 14 h 164"/>
                <a:gd name="T52" fmla="*/ 63 w 66"/>
                <a:gd name="T53" fmla="*/ 19 h 164"/>
                <a:gd name="T54" fmla="*/ 65 w 66"/>
                <a:gd name="T55" fmla="*/ 25 h 164"/>
                <a:gd name="T56" fmla="*/ 66 w 66"/>
                <a:gd name="T57" fmla="*/ 33 h 164"/>
                <a:gd name="T58" fmla="*/ 66 w 66"/>
                <a:gd name="T59" fmla="*/ 132 h 164"/>
                <a:gd name="T60" fmla="*/ 66 w 66"/>
                <a:gd name="T61" fmla="*/ 132 h 164"/>
                <a:gd name="T62" fmla="*/ 65 w 66"/>
                <a:gd name="T63" fmla="*/ 138 h 164"/>
                <a:gd name="T64" fmla="*/ 63 w 66"/>
                <a:gd name="T65" fmla="*/ 145 h 164"/>
                <a:gd name="T66" fmla="*/ 60 w 66"/>
                <a:gd name="T67" fmla="*/ 150 h 164"/>
                <a:gd name="T68" fmla="*/ 56 w 66"/>
                <a:gd name="T69" fmla="*/ 155 h 164"/>
                <a:gd name="T70" fmla="*/ 51 w 66"/>
                <a:gd name="T71" fmla="*/ 159 h 164"/>
                <a:gd name="T72" fmla="*/ 46 w 66"/>
                <a:gd name="T73" fmla="*/ 162 h 164"/>
                <a:gd name="T74" fmla="*/ 40 w 66"/>
                <a:gd name="T75" fmla="*/ 164 h 164"/>
                <a:gd name="T76" fmla="*/ 33 w 66"/>
                <a:gd name="T77" fmla="*/ 164 h 164"/>
                <a:gd name="T78" fmla="*/ 33 w 66"/>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64">
                  <a:moveTo>
                    <a:pt x="33" y="164"/>
                  </a:moveTo>
                  <a:lnTo>
                    <a:pt x="33" y="164"/>
                  </a:lnTo>
                  <a:lnTo>
                    <a:pt x="26" y="164"/>
                  </a:lnTo>
                  <a:lnTo>
                    <a:pt x="20" y="162"/>
                  </a:lnTo>
                  <a:lnTo>
                    <a:pt x="15" y="159"/>
                  </a:lnTo>
                  <a:lnTo>
                    <a:pt x="10" y="155"/>
                  </a:lnTo>
                  <a:lnTo>
                    <a:pt x="5" y="150"/>
                  </a:lnTo>
                  <a:lnTo>
                    <a:pt x="2" y="145"/>
                  </a:lnTo>
                  <a:lnTo>
                    <a:pt x="0" y="138"/>
                  </a:lnTo>
                  <a:lnTo>
                    <a:pt x="0" y="132"/>
                  </a:lnTo>
                  <a:lnTo>
                    <a:pt x="0" y="33"/>
                  </a:lnTo>
                  <a:lnTo>
                    <a:pt x="0" y="33"/>
                  </a:lnTo>
                  <a:lnTo>
                    <a:pt x="0" y="25"/>
                  </a:lnTo>
                  <a:lnTo>
                    <a:pt x="2" y="19"/>
                  </a:lnTo>
                  <a:lnTo>
                    <a:pt x="5" y="14"/>
                  </a:lnTo>
                  <a:lnTo>
                    <a:pt x="10" y="9"/>
                  </a:lnTo>
                  <a:lnTo>
                    <a:pt x="15" y="5"/>
                  </a:lnTo>
                  <a:lnTo>
                    <a:pt x="20" y="2"/>
                  </a:lnTo>
                  <a:lnTo>
                    <a:pt x="26" y="0"/>
                  </a:lnTo>
                  <a:lnTo>
                    <a:pt x="33" y="0"/>
                  </a:lnTo>
                  <a:lnTo>
                    <a:pt x="33" y="0"/>
                  </a:lnTo>
                  <a:lnTo>
                    <a:pt x="40" y="0"/>
                  </a:lnTo>
                  <a:lnTo>
                    <a:pt x="46" y="2"/>
                  </a:lnTo>
                  <a:lnTo>
                    <a:pt x="51" y="5"/>
                  </a:lnTo>
                  <a:lnTo>
                    <a:pt x="56" y="9"/>
                  </a:lnTo>
                  <a:lnTo>
                    <a:pt x="60" y="14"/>
                  </a:lnTo>
                  <a:lnTo>
                    <a:pt x="63" y="19"/>
                  </a:lnTo>
                  <a:lnTo>
                    <a:pt x="65" y="25"/>
                  </a:lnTo>
                  <a:lnTo>
                    <a:pt x="66" y="33"/>
                  </a:lnTo>
                  <a:lnTo>
                    <a:pt x="66" y="132"/>
                  </a:lnTo>
                  <a:lnTo>
                    <a:pt x="66" y="132"/>
                  </a:lnTo>
                  <a:lnTo>
                    <a:pt x="65" y="138"/>
                  </a:lnTo>
                  <a:lnTo>
                    <a:pt x="63" y="145"/>
                  </a:lnTo>
                  <a:lnTo>
                    <a:pt x="60" y="150"/>
                  </a:lnTo>
                  <a:lnTo>
                    <a:pt x="56" y="155"/>
                  </a:lnTo>
                  <a:lnTo>
                    <a:pt x="51" y="159"/>
                  </a:lnTo>
                  <a:lnTo>
                    <a:pt x="46" y="162"/>
                  </a:lnTo>
                  <a:lnTo>
                    <a:pt x="40" y="164"/>
                  </a:lnTo>
                  <a:lnTo>
                    <a:pt x="33" y="164"/>
                  </a:lnTo>
                  <a:lnTo>
                    <a:pt x="3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0" name="Freeform 198">
              <a:extLst>
                <a:ext uri="{FF2B5EF4-FFF2-40B4-BE49-F238E27FC236}">
                  <a16:creationId xmlns:a16="http://schemas.microsoft.com/office/drawing/2014/main" id="{C8E9A13F-A2CD-4A19-B30E-8E7330E182FD}"/>
                </a:ext>
              </a:extLst>
            </p:cNvPr>
            <p:cNvSpPr>
              <a:spLocks/>
            </p:cNvSpPr>
            <p:nvPr/>
          </p:nvSpPr>
          <p:spPr bwMode="auto">
            <a:xfrm>
              <a:off x="7167563" y="3249613"/>
              <a:ext cx="15875" cy="36513"/>
            </a:xfrm>
            <a:custGeom>
              <a:avLst/>
              <a:gdLst>
                <a:gd name="T0" fmla="*/ 33 w 67"/>
                <a:gd name="T1" fmla="*/ 164 h 164"/>
                <a:gd name="T2" fmla="*/ 33 w 67"/>
                <a:gd name="T3" fmla="*/ 164 h 164"/>
                <a:gd name="T4" fmla="*/ 27 w 67"/>
                <a:gd name="T5" fmla="*/ 164 h 164"/>
                <a:gd name="T6" fmla="*/ 21 w 67"/>
                <a:gd name="T7" fmla="*/ 162 h 164"/>
                <a:gd name="T8" fmla="*/ 15 w 67"/>
                <a:gd name="T9" fmla="*/ 159 h 164"/>
                <a:gd name="T10" fmla="*/ 10 w 67"/>
                <a:gd name="T11" fmla="*/ 155 h 164"/>
                <a:gd name="T12" fmla="*/ 7 w 67"/>
                <a:gd name="T13" fmla="*/ 150 h 164"/>
                <a:gd name="T14" fmla="*/ 3 w 67"/>
                <a:gd name="T15" fmla="*/ 145 h 164"/>
                <a:gd name="T16" fmla="*/ 1 w 67"/>
                <a:gd name="T17" fmla="*/ 138 h 164"/>
                <a:gd name="T18" fmla="*/ 0 w 67"/>
                <a:gd name="T19" fmla="*/ 132 h 164"/>
                <a:gd name="T20" fmla="*/ 0 w 67"/>
                <a:gd name="T21" fmla="*/ 33 h 164"/>
                <a:gd name="T22" fmla="*/ 0 w 67"/>
                <a:gd name="T23" fmla="*/ 33 h 164"/>
                <a:gd name="T24" fmla="*/ 1 w 67"/>
                <a:gd name="T25" fmla="*/ 25 h 164"/>
                <a:gd name="T26" fmla="*/ 3 w 67"/>
                <a:gd name="T27" fmla="*/ 19 h 164"/>
                <a:gd name="T28" fmla="*/ 7 w 67"/>
                <a:gd name="T29" fmla="*/ 14 h 164"/>
                <a:gd name="T30" fmla="*/ 10 w 67"/>
                <a:gd name="T31" fmla="*/ 9 h 164"/>
                <a:gd name="T32" fmla="*/ 15 w 67"/>
                <a:gd name="T33" fmla="*/ 5 h 164"/>
                <a:gd name="T34" fmla="*/ 21 w 67"/>
                <a:gd name="T35" fmla="*/ 2 h 164"/>
                <a:gd name="T36" fmla="*/ 27 w 67"/>
                <a:gd name="T37" fmla="*/ 0 h 164"/>
                <a:gd name="T38" fmla="*/ 33 w 67"/>
                <a:gd name="T39" fmla="*/ 0 h 164"/>
                <a:gd name="T40" fmla="*/ 33 w 67"/>
                <a:gd name="T41" fmla="*/ 0 h 164"/>
                <a:gd name="T42" fmla="*/ 40 w 67"/>
                <a:gd name="T43" fmla="*/ 0 h 164"/>
                <a:gd name="T44" fmla="*/ 46 w 67"/>
                <a:gd name="T45" fmla="*/ 2 h 164"/>
                <a:gd name="T46" fmla="*/ 52 w 67"/>
                <a:gd name="T47" fmla="*/ 5 h 164"/>
                <a:gd name="T48" fmla="*/ 57 w 67"/>
                <a:gd name="T49" fmla="*/ 9 h 164"/>
                <a:gd name="T50" fmla="*/ 60 w 67"/>
                <a:gd name="T51" fmla="*/ 14 h 164"/>
                <a:gd name="T52" fmla="*/ 63 w 67"/>
                <a:gd name="T53" fmla="*/ 19 h 164"/>
                <a:gd name="T54" fmla="*/ 66 w 67"/>
                <a:gd name="T55" fmla="*/ 25 h 164"/>
                <a:gd name="T56" fmla="*/ 67 w 67"/>
                <a:gd name="T57" fmla="*/ 33 h 164"/>
                <a:gd name="T58" fmla="*/ 67 w 67"/>
                <a:gd name="T59" fmla="*/ 132 h 164"/>
                <a:gd name="T60" fmla="*/ 67 w 67"/>
                <a:gd name="T61" fmla="*/ 132 h 164"/>
                <a:gd name="T62" fmla="*/ 66 w 67"/>
                <a:gd name="T63" fmla="*/ 138 h 164"/>
                <a:gd name="T64" fmla="*/ 63 w 67"/>
                <a:gd name="T65" fmla="*/ 145 h 164"/>
                <a:gd name="T66" fmla="*/ 60 w 67"/>
                <a:gd name="T67" fmla="*/ 150 h 164"/>
                <a:gd name="T68" fmla="*/ 57 w 67"/>
                <a:gd name="T69" fmla="*/ 155 h 164"/>
                <a:gd name="T70" fmla="*/ 52 w 67"/>
                <a:gd name="T71" fmla="*/ 159 h 164"/>
                <a:gd name="T72" fmla="*/ 46 w 67"/>
                <a:gd name="T73" fmla="*/ 162 h 164"/>
                <a:gd name="T74" fmla="*/ 40 w 67"/>
                <a:gd name="T75" fmla="*/ 164 h 164"/>
                <a:gd name="T76" fmla="*/ 33 w 67"/>
                <a:gd name="T77" fmla="*/ 164 h 164"/>
                <a:gd name="T78" fmla="*/ 33 w 67"/>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 h="164">
                  <a:moveTo>
                    <a:pt x="33" y="164"/>
                  </a:moveTo>
                  <a:lnTo>
                    <a:pt x="33" y="164"/>
                  </a:lnTo>
                  <a:lnTo>
                    <a:pt x="27" y="164"/>
                  </a:lnTo>
                  <a:lnTo>
                    <a:pt x="21" y="162"/>
                  </a:lnTo>
                  <a:lnTo>
                    <a:pt x="15" y="159"/>
                  </a:lnTo>
                  <a:lnTo>
                    <a:pt x="10" y="155"/>
                  </a:lnTo>
                  <a:lnTo>
                    <a:pt x="7" y="150"/>
                  </a:lnTo>
                  <a:lnTo>
                    <a:pt x="3" y="145"/>
                  </a:lnTo>
                  <a:lnTo>
                    <a:pt x="1" y="138"/>
                  </a:lnTo>
                  <a:lnTo>
                    <a:pt x="0" y="132"/>
                  </a:lnTo>
                  <a:lnTo>
                    <a:pt x="0" y="33"/>
                  </a:lnTo>
                  <a:lnTo>
                    <a:pt x="0" y="33"/>
                  </a:lnTo>
                  <a:lnTo>
                    <a:pt x="1" y="25"/>
                  </a:lnTo>
                  <a:lnTo>
                    <a:pt x="3" y="19"/>
                  </a:lnTo>
                  <a:lnTo>
                    <a:pt x="7" y="14"/>
                  </a:lnTo>
                  <a:lnTo>
                    <a:pt x="10" y="9"/>
                  </a:lnTo>
                  <a:lnTo>
                    <a:pt x="15" y="5"/>
                  </a:lnTo>
                  <a:lnTo>
                    <a:pt x="21" y="2"/>
                  </a:lnTo>
                  <a:lnTo>
                    <a:pt x="27" y="0"/>
                  </a:lnTo>
                  <a:lnTo>
                    <a:pt x="33" y="0"/>
                  </a:lnTo>
                  <a:lnTo>
                    <a:pt x="33" y="0"/>
                  </a:lnTo>
                  <a:lnTo>
                    <a:pt x="40" y="0"/>
                  </a:lnTo>
                  <a:lnTo>
                    <a:pt x="46" y="2"/>
                  </a:lnTo>
                  <a:lnTo>
                    <a:pt x="52" y="5"/>
                  </a:lnTo>
                  <a:lnTo>
                    <a:pt x="57" y="9"/>
                  </a:lnTo>
                  <a:lnTo>
                    <a:pt x="60" y="14"/>
                  </a:lnTo>
                  <a:lnTo>
                    <a:pt x="63" y="19"/>
                  </a:lnTo>
                  <a:lnTo>
                    <a:pt x="66" y="25"/>
                  </a:lnTo>
                  <a:lnTo>
                    <a:pt x="67" y="33"/>
                  </a:lnTo>
                  <a:lnTo>
                    <a:pt x="67" y="132"/>
                  </a:lnTo>
                  <a:lnTo>
                    <a:pt x="67" y="132"/>
                  </a:lnTo>
                  <a:lnTo>
                    <a:pt x="66" y="138"/>
                  </a:lnTo>
                  <a:lnTo>
                    <a:pt x="63" y="145"/>
                  </a:lnTo>
                  <a:lnTo>
                    <a:pt x="60" y="150"/>
                  </a:lnTo>
                  <a:lnTo>
                    <a:pt x="57" y="155"/>
                  </a:lnTo>
                  <a:lnTo>
                    <a:pt x="52" y="159"/>
                  </a:lnTo>
                  <a:lnTo>
                    <a:pt x="46" y="162"/>
                  </a:lnTo>
                  <a:lnTo>
                    <a:pt x="40" y="164"/>
                  </a:lnTo>
                  <a:lnTo>
                    <a:pt x="33" y="164"/>
                  </a:lnTo>
                  <a:lnTo>
                    <a:pt x="3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1" name="Freeform 199">
              <a:extLst>
                <a:ext uri="{FF2B5EF4-FFF2-40B4-BE49-F238E27FC236}">
                  <a16:creationId xmlns:a16="http://schemas.microsoft.com/office/drawing/2014/main" id="{A08B44B0-1BF4-445D-8CB6-C361C797D9F9}"/>
                </a:ext>
              </a:extLst>
            </p:cNvPr>
            <p:cNvSpPr>
              <a:spLocks/>
            </p:cNvSpPr>
            <p:nvPr/>
          </p:nvSpPr>
          <p:spPr bwMode="auto">
            <a:xfrm>
              <a:off x="7108825" y="3249613"/>
              <a:ext cx="14288" cy="36513"/>
            </a:xfrm>
            <a:custGeom>
              <a:avLst/>
              <a:gdLst>
                <a:gd name="T0" fmla="*/ 33 w 67"/>
                <a:gd name="T1" fmla="*/ 164 h 164"/>
                <a:gd name="T2" fmla="*/ 33 w 67"/>
                <a:gd name="T3" fmla="*/ 164 h 164"/>
                <a:gd name="T4" fmla="*/ 27 w 67"/>
                <a:gd name="T5" fmla="*/ 164 h 164"/>
                <a:gd name="T6" fmla="*/ 21 w 67"/>
                <a:gd name="T7" fmla="*/ 162 h 164"/>
                <a:gd name="T8" fmla="*/ 16 w 67"/>
                <a:gd name="T9" fmla="*/ 159 h 164"/>
                <a:gd name="T10" fmla="*/ 11 w 67"/>
                <a:gd name="T11" fmla="*/ 155 h 164"/>
                <a:gd name="T12" fmla="*/ 7 w 67"/>
                <a:gd name="T13" fmla="*/ 150 h 164"/>
                <a:gd name="T14" fmla="*/ 3 w 67"/>
                <a:gd name="T15" fmla="*/ 145 h 164"/>
                <a:gd name="T16" fmla="*/ 1 w 67"/>
                <a:gd name="T17" fmla="*/ 138 h 164"/>
                <a:gd name="T18" fmla="*/ 0 w 67"/>
                <a:gd name="T19" fmla="*/ 132 h 164"/>
                <a:gd name="T20" fmla="*/ 0 w 67"/>
                <a:gd name="T21" fmla="*/ 33 h 164"/>
                <a:gd name="T22" fmla="*/ 0 w 67"/>
                <a:gd name="T23" fmla="*/ 33 h 164"/>
                <a:gd name="T24" fmla="*/ 1 w 67"/>
                <a:gd name="T25" fmla="*/ 25 h 164"/>
                <a:gd name="T26" fmla="*/ 3 w 67"/>
                <a:gd name="T27" fmla="*/ 19 h 164"/>
                <a:gd name="T28" fmla="*/ 7 w 67"/>
                <a:gd name="T29" fmla="*/ 14 h 164"/>
                <a:gd name="T30" fmla="*/ 11 w 67"/>
                <a:gd name="T31" fmla="*/ 9 h 164"/>
                <a:gd name="T32" fmla="*/ 16 w 67"/>
                <a:gd name="T33" fmla="*/ 5 h 164"/>
                <a:gd name="T34" fmla="*/ 21 w 67"/>
                <a:gd name="T35" fmla="*/ 2 h 164"/>
                <a:gd name="T36" fmla="*/ 27 w 67"/>
                <a:gd name="T37" fmla="*/ 0 h 164"/>
                <a:gd name="T38" fmla="*/ 33 w 67"/>
                <a:gd name="T39" fmla="*/ 0 h 164"/>
                <a:gd name="T40" fmla="*/ 33 w 67"/>
                <a:gd name="T41" fmla="*/ 0 h 164"/>
                <a:gd name="T42" fmla="*/ 41 w 67"/>
                <a:gd name="T43" fmla="*/ 0 h 164"/>
                <a:gd name="T44" fmla="*/ 47 w 67"/>
                <a:gd name="T45" fmla="*/ 2 h 164"/>
                <a:gd name="T46" fmla="*/ 52 w 67"/>
                <a:gd name="T47" fmla="*/ 5 h 164"/>
                <a:gd name="T48" fmla="*/ 57 w 67"/>
                <a:gd name="T49" fmla="*/ 9 h 164"/>
                <a:gd name="T50" fmla="*/ 61 w 67"/>
                <a:gd name="T51" fmla="*/ 14 h 164"/>
                <a:gd name="T52" fmla="*/ 65 w 67"/>
                <a:gd name="T53" fmla="*/ 19 h 164"/>
                <a:gd name="T54" fmla="*/ 67 w 67"/>
                <a:gd name="T55" fmla="*/ 25 h 164"/>
                <a:gd name="T56" fmla="*/ 67 w 67"/>
                <a:gd name="T57" fmla="*/ 33 h 164"/>
                <a:gd name="T58" fmla="*/ 67 w 67"/>
                <a:gd name="T59" fmla="*/ 132 h 164"/>
                <a:gd name="T60" fmla="*/ 67 w 67"/>
                <a:gd name="T61" fmla="*/ 132 h 164"/>
                <a:gd name="T62" fmla="*/ 67 w 67"/>
                <a:gd name="T63" fmla="*/ 138 h 164"/>
                <a:gd name="T64" fmla="*/ 65 w 67"/>
                <a:gd name="T65" fmla="*/ 145 h 164"/>
                <a:gd name="T66" fmla="*/ 61 w 67"/>
                <a:gd name="T67" fmla="*/ 150 h 164"/>
                <a:gd name="T68" fmla="*/ 57 w 67"/>
                <a:gd name="T69" fmla="*/ 155 h 164"/>
                <a:gd name="T70" fmla="*/ 52 w 67"/>
                <a:gd name="T71" fmla="*/ 159 h 164"/>
                <a:gd name="T72" fmla="*/ 47 w 67"/>
                <a:gd name="T73" fmla="*/ 162 h 164"/>
                <a:gd name="T74" fmla="*/ 41 w 67"/>
                <a:gd name="T75" fmla="*/ 164 h 164"/>
                <a:gd name="T76" fmla="*/ 33 w 67"/>
                <a:gd name="T77" fmla="*/ 164 h 164"/>
                <a:gd name="T78" fmla="*/ 33 w 67"/>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 h="164">
                  <a:moveTo>
                    <a:pt x="33" y="164"/>
                  </a:moveTo>
                  <a:lnTo>
                    <a:pt x="33" y="164"/>
                  </a:lnTo>
                  <a:lnTo>
                    <a:pt x="27" y="164"/>
                  </a:lnTo>
                  <a:lnTo>
                    <a:pt x="21" y="162"/>
                  </a:lnTo>
                  <a:lnTo>
                    <a:pt x="16" y="159"/>
                  </a:lnTo>
                  <a:lnTo>
                    <a:pt x="11" y="155"/>
                  </a:lnTo>
                  <a:lnTo>
                    <a:pt x="7" y="150"/>
                  </a:lnTo>
                  <a:lnTo>
                    <a:pt x="3" y="145"/>
                  </a:lnTo>
                  <a:lnTo>
                    <a:pt x="1" y="138"/>
                  </a:lnTo>
                  <a:lnTo>
                    <a:pt x="0" y="132"/>
                  </a:lnTo>
                  <a:lnTo>
                    <a:pt x="0" y="33"/>
                  </a:lnTo>
                  <a:lnTo>
                    <a:pt x="0" y="33"/>
                  </a:lnTo>
                  <a:lnTo>
                    <a:pt x="1" y="25"/>
                  </a:lnTo>
                  <a:lnTo>
                    <a:pt x="3" y="19"/>
                  </a:lnTo>
                  <a:lnTo>
                    <a:pt x="7" y="14"/>
                  </a:lnTo>
                  <a:lnTo>
                    <a:pt x="11" y="9"/>
                  </a:lnTo>
                  <a:lnTo>
                    <a:pt x="16" y="5"/>
                  </a:lnTo>
                  <a:lnTo>
                    <a:pt x="21" y="2"/>
                  </a:lnTo>
                  <a:lnTo>
                    <a:pt x="27" y="0"/>
                  </a:lnTo>
                  <a:lnTo>
                    <a:pt x="33" y="0"/>
                  </a:lnTo>
                  <a:lnTo>
                    <a:pt x="33" y="0"/>
                  </a:lnTo>
                  <a:lnTo>
                    <a:pt x="41" y="0"/>
                  </a:lnTo>
                  <a:lnTo>
                    <a:pt x="47" y="2"/>
                  </a:lnTo>
                  <a:lnTo>
                    <a:pt x="52" y="5"/>
                  </a:lnTo>
                  <a:lnTo>
                    <a:pt x="57" y="9"/>
                  </a:lnTo>
                  <a:lnTo>
                    <a:pt x="61" y="14"/>
                  </a:lnTo>
                  <a:lnTo>
                    <a:pt x="65" y="19"/>
                  </a:lnTo>
                  <a:lnTo>
                    <a:pt x="67" y="25"/>
                  </a:lnTo>
                  <a:lnTo>
                    <a:pt x="67" y="33"/>
                  </a:lnTo>
                  <a:lnTo>
                    <a:pt x="67" y="132"/>
                  </a:lnTo>
                  <a:lnTo>
                    <a:pt x="67" y="132"/>
                  </a:lnTo>
                  <a:lnTo>
                    <a:pt x="67" y="138"/>
                  </a:lnTo>
                  <a:lnTo>
                    <a:pt x="65" y="145"/>
                  </a:lnTo>
                  <a:lnTo>
                    <a:pt x="61" y="150"/>
                  </a:lnTo>
                  <a:lnTo>
                    <a:pt x="57" y="155"/>
                  </a:lnTo>
                  <a:lnTo>
                    <a:pt x="52" y="159"/>
                  </a:lnTo>
                  <a:lnTo>
                    <a:pt x="47" y="162"/>
                  </a:lnTo>
                  <a:lnTo>
                    <a:pt x="41" y="164"/>
                  </a:lnTo>
                  <a:lnTo>
                    <a:pt x="33" y="164"/>
                  </a:lnTo>
                  <a:lnTo>
                    <a:pt x="3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2" name="Freeform 200">
              <a:extLst>
                <a:ext uri="{FF2B5EF4-FFF2-40B4-BE49-F238E27FC236}">
                  <a16:creationId xmlns:a16="http://schemas.microsoft.com/office/drawing/2014/main" id="{0ABE852B-30C5-402A-8791-89EBEE2EC64E}"/>
                </a:ext>
              </a:extLst>
            </p:cNvPr>
            <p:cNvSpPr>
              <a:spLocks/>
            </p:cNvSpPr>
            <p:nvPr/>
          </p:nvSpPr>
          <p:spPr bwMode="auto">
            <a:xfrm>
              <a:off x="7048500" y="3249613"/>
              <a:ext cx="14288" cy="36513"/>
            </a:xfrm>
            <a:custGeom>
              <a:avLst/>
              <a:gdLst>
                <a:gd name="T0" fmla="*/ 34 w 67"/>
                <a:gd name="T1" fmla="*/ 164 h 164"/>
                <a:gd name="T2" fmla="*/ 34 w 67"/>
                <a:gd name="T3" fmla="*/ 164 h 164"/>
                <a:gd name="T4" fmla="*/ 26 w 67"/>
                <a:gd name="T5" fmla="*/ 164 h 164"/>
                <a:gd name="T6" fmla="*/ 20 w 67"/>
                <a:gd name="T7" fmla="*/ 162 h 164"/>
                <a:gd name="T8" fmla="*/ 15 w 67"/>
                <a:gd name="T9" fmla="*/ 159 h 164"/>
                <a:gd name="T10" fmla="*/ 10 w 67"/>
                <a:gd name="T11" fmla="*/ 155 h 164"/>
                <a:gd name="T12" fmla="*/ 6 w 67"/>
                <a:gd name="T13" fmla="*/ 150 h 164"/>
                <a:gd name="T14" fmla="*/ 3 w 67"/>
                <a:gd name="T15" fmla="*/ 145 h 164"/>
                <a:gd name="T16" fmla="*/ 0 w 67"/>
                <a:gd name="T17" fmla="*/ 138 h 164"/>
                <a:gd name="T18" fmla="*/ 0 w 67"/>
                <a:gd name="T19" fmla="*/ 132 h 164"/>
                <a:gd name="T20" fmla="*/ 0 w 67"/>
                <a:gd name="T21" fmla="*/ 33 h 164"/>
                <a:gd name="T22" fmla="*/ 0 w 67"/>
                <a:gd name="T23" fmla="*/ 33 h 164"/>
                <a:gd name="T24" fmla="*/ 0 w 67"/>
                <a:gd name="T25" fmla="*/ 25 h 164"/>
                <a:gd name="T26" fmla="*/ 3 w 67"/>
                <a:gd name="T27" fmla="*/ 19 h 164"/>
                <a:gd name="T28" fmla="*/ 6 w 67"/>
                <a:gd name="T29" fmla="*/ 14 h 164"/>
                <a:gd name="T30" fmla="*/ 10 w 67"/>
                <a:gd name="T31" fmla="*/ 9 h 164"/>
                <a:gd name="T32" fmla="*/ 15 w 67"/>
                <a:gd name="T33" fmla="*/ 5 h 164"/>
                <a:gd name="T34" fmla="*/ 20 w 67"/>
                <a:gd name="T35" fmla="*/ 2 h 164"/>
                <a:gd name="T36" fmla="*/ 26 w 67"/>
                <a:gd name="T37" fmla="*/ 0 h 164"/>
                <a:gd name="T38" fmla="*/ 34 w 67"/>
                <a:gd name="T39" fmla="*/ 0 h 164"/>
                <a:gd name="T40" fmla="*/ 34 w 67"/>
                <a:gd name="T41" fmla="*/ 0 h 164"/>
                <a:gd name="T42" fmla="*/ 40 w 67"/>
                <a:gd name="T43" fmla="*/ 0 h 164"/>
                <a:gd name="T44" fmla="*/ 46 w 67"/>
                <a:gd name="T45" fmla="*/ 2 h 164"/>
                <a:gd name="T46" fmla="*/ 52 w 67"/>
                <a:gd name="T47" fmla="*/ 5 h 164"/>
                <a:gd name="T48" fmla="*/ 56 w 67"/>
                <a:gd name="T49" fmla="*/ 9 h 164"/>
                <a:gd name="T50" fmla="*/ 61 w 67"/>
                <a:gd name="T51" fmla="*/ 14 h 164"/>
                <a:gd name="T52" fmla="*/ 64 w 67"/>
                <a:gd name="T53" fmla="*/ 19 h 164"/>
                <a:gd name="T54" fmla="*/ 66 w 67"/>
                <a:gd name="T55" fmla="*/ 25 h 164"/>
                <a:gd name="T56" fmla="*/ 67 w 67"/>
                <a:gd name="T57" fmla="*/ 33 h 164"/>
                <a:gd name="T58" fmla="*/ 67 w 67"/>
                <a:gd name="T59" fmla="*/ 132 h 164"/>
                <a:gd name="T60" fmla="*/ 67 w 67"/>
                <a:gd name="T61" fmla="*/ 132 h 164"/>
                <a:gd name="T62" fmla="*/ 66 w 67"/>
                <a:gd name="T63" fmla="*/ 138 h 164"/>
                <a:gd name="T64" fmla="*/ 64 w 67"/>
                <a:gd name="T65" fmla="*/ 145 h 164"/>
                <a:gd name="T66" fmla="*/ 61 w 67"/>
                <a:gd name="T67" fmla="*/ 150 h 164"/>
                <a:gd name="T68" fmla="*/ 56 w 67"/>
                <a:gd name="T69" fmla="*/ 155 h 164"/>
                <a:gd name="T70" fmla="*/ 52 w 67"/>
                <a:gd name="T71" fmla="*/ 159 h 164"/>
                <a:gd name="T72" fmla="*/ 46 w 67"/>
                <a:gd name="T73" fmla="*/ 162 h 164"/>
                <a:gd name="T74" fmla="*/ 40 w 67"/>
                <a:gd name="T75" fmla="*/ 164 h 164"/>
                <a:gd name="T76" fmla="*/ 34 w 67"/>
                <a:gd name="T77" fmla="*/ 164 h 164"/>
                <a:gd name="T78" fmla="*/ 34 w 67"/>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 h="164">
                  <a:moveTo>
                    <a:pt x="34" y="164"/>
                  </a:moveTo>
                  <a:lnTo>
                    <a:pt x="34" y="164"/>
                  </a:lnTo>
                  <a:lnTo>
                    <a:pt x="26" y="164"/>
                  </a:lnTo>
                  <a:lnTo>
                    <a:pt x="20" y="162"/>
                  </a:lnTo>
                  <a:lnTo>
                    <a:pt x="15" y="159"/>
                  </a:lnTo>
                  <a:lnTo>
                    <a:pt x="10" y="155"/>
                  </a:lnTo>
                  <a:lnTo>
                    <a:pt x="6" y="150"/>
                  </a:lnTo>
                  <a:lnTo>
                    <a:pt x="3" y="145"/>
                  </a:lnTo>
                  <a:lnTo>
                    <a:pt x="0" y="138"/>
                  </a:lnTo>
                  <a:lnTo>
                    <a:pt x="0" y="132"/>
                  </a:lnTo>
                  <a:lnTo>
                    <a:pt x="0" y="33"/>
                  </a:lnTo>
                  <a:lnTo>
                    <a:pt x="0" y="33"/>
                  </a:lnTo>
                  <a:lnTo>
                    <a:pt x="0" y="25"/>
                  </a:lnTo>
                  <a:lnTo>
                    <a:pt x="3" y="19"/>
                  </a:lnTo>
                  <a:lnTo>
                    <a:pt x="6" y="14"/>
                  </a:lnTo>
                  <a:lnTo>
                    <a:pt x="10" y="9"/>
                  </a:lnTo>
                  <a:lnTo>
                    <a:pt x="15" y="5"/>
                  </a:lnTo>
                  <a:lnTo>
                    <a:pt x="20" y="2"/>
                  </a:lnTo>
                  <a:lnTo>
                    <a:pt x="26" y="0"/>
                  </a:lnTo>
                  <a:lnTo>
                    <a:pt x="34" y="0"/>
                  </a:lnTo>
                  <a:lnTo>
                    <a:pt x="34" y="0"/>
                  </a:lnTo>
                  <a:lnTo>
                    <a:pt x="40" y="0"/>
                  </a:lnTo>
                  <a:lnTo>
                    <a:pt x="46" y="2"/>
                  </a:lnTo>
                  <a:lnTo>
                    <a:pt x="52" y="5"/>
                  </a:lnTo>
                  <a:lnTo>
                    <a:pt x="56" y="9"/>
                  </a:lnTo>
                  <a:lnTo>
                    <a:pt x="61" y="14"/>
                  </a:lnTo>
                  <a:lnTo>
                    <a:pt x="64" y="19"/>
                  </a:lnTo>
                  <a:lnTo>
                    <a:pt x="66" y="25"/>
                  </a:lnTo>
                  <a:lnTo>
                    <a:pt x="67" y="33"/>
                  </a:lnTo>
                  <a:lnTo>
                    <a:pt x="67" y="132"/>
                  </a:lnTo>
                  <a:lnTo>
                    <a:pt x="67" y="132"/>
                  </a:lnTo>
                  <a:lnTo>
                    <a:pt x="66" y="138"/>
                  </a:lnTo>
                  <a:lnTo>
                    <a:pt x="64" y="145"/>
                  </a:lnTo>
                  <a:lnTo>
                    <a:pt x="61" y="150"/>
                  </a:lnTo>
                  <a:lnTo>
                    <a:pt x="56" y="155"/>
                  </a:lnTo>
                  <a:lnTo>
                    <a:pt x="52" y="159"/>
                  </a:lnTo>
                  <a:lnTo>
                    <a:pt x="46" y="162"/>
                  </a:lnTo>
                  <a:lnTo>
                    <a:pt x="40" y="164"/>
                  </a:lnTo>
                  <a:lnTo>
                    <a:pt x="34" y="164"/>
                  </a:lnTo>
                  <a:lnTo>
                    <a:pt x="34"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3" name="Freeform 201">
              <a:extLst>
                <a:ext uri="{FF2B5EF4-FFF2-40B4-BE49-F238E27FC236}">
                  <a16:creationId xmlns:a16="http://schemas.microsoft.com/office/drawing/2014/main" id="{A8563604-A23A-429A-B737-DCCEF2F900E3}"/>
                </a:ext>
              </a:extLst>
            </p:cNvPr>
            <p:cNvSpPr>
              <a:spLocks/>
            </p:cNvSpPr>
            <p:nvPr/>
          </p:nvSpPr>
          <p:spPr bwMode="auto">
            <a:xfrm>
              <a:off x="7040563"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4" name="Freeform 202">
              <a:extLst>
                <a:ext uri="{FF2B5EF4-FFF2-40B4-BE49-F238E27FC236}">
                  <a16:creationId xmlns:a16="http://schemas.microsoft.com/office/drawing/2014/main" id="{443C0401-494B-491E-9C0E-13F51B143BCD}"/>
                </a:ext>
              </a:extLst>
            </p:cNvPr>
            <p:cNvSpPr>
              <a:spLocks/>
            </p:cNvSpPr>
            <p:nvPr/>
          </p:nvSpPr>
          <p:spPr bwMode="auto">
            <a:xfrm>
              <a:off x="7100888"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5" name="Freeform 203">
              <a:extLst>
                <a:ext uri="{FF2B5EF4-FFF2-40B4-BE49-F238E27FC236}">
                  <a16:creationId xmlns:a16="http://schemas.microsoft.com/office/drawing/2014/main" id="{F6F38F5D-26B6-4E47-BB37-F219AC91BEAB}"/>
                </a:ext>
              </a:extLst>
            </p:cNvPr>
            <p:cNvSpPr>
              <a:spLocks/>
            </p:cNvSpPr>
            <p:nvPr/>
          </p:nvSpPr>
          <p:spPr bwMode="auto">
            <a:xfrm>
              <a:off x="7161213"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6" name="Freeform 204">
              <a:extLst>
                <a:ext uri="{FF2B5EF4-FFF2-40B4-BE49-F238E27FC236}">
                  <a16:creationId xmlns:a16="http://schemas.microsoft.com/office/drawing/2014/main" id="{17E397C1-6BC0-49BE-B86F-F3B36CD7BAD7}"/>
                </a:ext>
              </a:extLst>
            </p:cNvPr>
            <p:cNvSpPr>
              <a:spLocks/>
            </p:cNvSpPr>
            <p:nvPr/>
          </p:nvSpPr>
          <p:spPr bwMode="auto">
            <a:xfrm>
              <a:off x="7221538"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7" name="Group 26">
            <a:extLst>
              <a:ext uri="{FF2B5EF4-FFF2-40B4-BE49-F238E27FC236}">
                <a16:creationId xmlns:a16="http://schemas.microsoft.com/office/drawing/2014/main" id="{9700816A-FD95-409D-BD65-07A2C14532B4}"/>
              </a:ext>
            </a:extLst>
          </p:cNvPr>
          <p:cNvGrpSpPr/>
          <p:nvPr/>
        </p:nvGrpSpPr>
        <p:grpSpPr>
          <a:xfrm>
            <a:off x="6349009" y="1693803"/>
            <a:ext cx="227488" cy="231587"/>
            <a:chOff x="6996113" y="3249613"/>
            <a:chExt cx="352425" cy="358775"/>
          </a:xfrm>
          <a:solidFill>
            <a:schemeClr val="bg1"/>
          </a:solidFill>
        </p:grpSpPr>
        <p:sp>
          <p:nvSpPr>
            <p:cNvPr id="28" name="Freeform 194">
              <a:extLst>
                <a:ext uri="{FF2B5EF4-FFF2-40B4-BE49-F238E27FC236}">
                  <a16:creationId xmlns:a16="http://schemas.microsoft.com/office/drawing/2014/main" id="{A90B3646-3B88-461F-B57A-0A9CBAE32EF0}"/>
                </a:ext>
              </a:extLst>
            </p:cNvPr>
            <p:cNvSpPr>
              <a:spLocks noEditPoints="1"/>
            </p:cNvSpPr>
            <p:nvPr/>
          </p:nvSpPr>
          <p:spPr bwMode="auto">
            <a:xfrm>
              <a:off x="7153275" y="3414713"/>
              <a:ext cx="195263" cy="193675"/>
            </a:xfrm>
            <a:custGeom>
              <a:avLst/>
              <a:gdLst>
                <a:gd name="T0" fmla="*/ 304 w 860"/>
                <a:gd name="T1" fmla="*/ 852 h 857"/>
                <a:gd name="T2" fmla="*/ 290 w 860"/>
                <a:gd name="T3" fmla="*/ 756 h 857"/>
                <a:gd name="T4" fmla="*/ 157 w 860"/>
                <a:gd name="T5" fmla="*/ 749 h 857"/>
                <a:gd name="T6" fmla="*/ 126 w 860"/>
                <a:gd name="T7" fmla="*/ 750 h 857"/>
                <a:gd name="T8" fmla="*/ 2 w 860"/>
                <a:gd name="T9" fmla="*/ 544 h 857"/>
                <a:gd name="T10" fmla="*/ 11 w 860"/>
                <a:gd name="T11" fmla="*/ 508 h 857"/>
                <a:gd name="T12" fmla="*/ 74 w 860"/>
                <a:gd name="T13" fmla="*/ 429 h 857"/>
                <a:gd name="T14" fmla="*/ 7 w 860"/>
                <a:gd name="T15" fmla="*/ 344 h 857"/>
                <a:gd name="T16" fmla="*/ 5 w 860"/>
                <a:gd name="T17" fmla="*/ 308 h 857"/>
                <a:gd name="T18" fmla="*/ 133 w 860"/>
                <a:gd name="T19" fmla="*/ 106 h 857"/>
                <a:gd name="T20" fmla="*/ 217 w 860"/>
                <a:gd name="T21" fmla="*/ 143 h 857"/>
                <a:gd name="T22" fmla="*/ 290 w 860"/>
                <a:gd name="T23" fmla="*/ 33 h 857"/>
                <a:gd name="T24" fmla="*/ 311 w 860"/>
                <a:gd name="T25" fmla="*/ 2 h 857"/>
                <a:gd name="T26" fmla="*/ 552 w 860"/>
                <a:gd name="T27" fmla="*/ 2 h 857"/>
                <a:gd name="T28" fmla="*/ 572 w 860"/>
                <a:gd name="T29" fmla="*/ 33 h 857"/>
                <a:gd name="T30" fmla="*/ 644 w 860"/>
                <a:gd name="T31" fmla="*/ 143 h 857"/>
                <a:gd name="T32" fmla="*/ 728 w 860"/>
                <a:gd name="T33" fmla="*/ 106 h 857"/>
                <a:gd name="T34" fmla="*/ 855 w 860"/>
                <a:gd name="T35" fmla="*/ 308 h 857"/>
                <a:gd name="T36" fmla="*/ 857 w 860"/>
                <a:gd name="T37" fmla="*/ 339 h 857"/>
                <a:gd name="T38" fmla="*/ 787 w 860"/>
                <a:gd name="T39" fmla="*/ 408 h 857"/>
                <a:gd name="T40" fmla="*/ 843 w 860"/>
                <a:gd name="T41" fmla="*/ 504 h 857"/>
                <a:gd name="T42" fmla="*/ 860 w 860"/>
                <a:gd name="T43" fmla="*/ 531 h 857"/>
                <a:gd name="T44" fmla="*/ 744 w 860"/>
                <a:gd name="T45" fmla="*/ 742 h 857"/>
                <a:gd name="T46" fmla="*/ 715 w 860"/>
                <a:gd name="T47" fmla="*/ 753 h 857"/>
                <a:gd name="T48" fmla="*/ 610 w 860"/>
                <a:gd name="T49" fmla="*/ 737 h 857"/>
                <a:gd name="T50" fmla="*/ 569 w 860"/>
                <a:gd name="T51" fmla="*/ 838 h 857"/>
                <a:gd name="T52" fmla="*/ 539 w 860"/>
                <a:gd name="T53" fmla="*/ 857 h 857"/>
                <a:gd name="T54" fmla="*/ 506 w 860"/>
                <a:gd name="T55" fmla="*/ 729 h 857"/>
                <a:gd name="T56" fmla="*/ 523 w 860"/>
                <a:gd name="T57" fmla="*/ 705 h 857"/>
                <a:gd name="T58" fmla="*/ 619 w 860"/>
                <a:gd name="T59" fmla="*/ 650 h 857"/>
                <a:gd name="T60" fmla="*/ 643 w 860"/>
                <a:gd name="T61" fmla="*/ 642 h 857"/>
                <a:gd name="T62" fmla="*/ 732 w 860"/>
                <a:gd name="T63" fmla="*/ 517 h 857"/>
                <a:gd name="T64" fmla="*/ 716 w 860"/>
                <a:gd name="T65" fmla="*/ 497 h 857"/>
                <a:gd name="T66" fmla="*/ 720 w 860"/>
                <a:gd name="T67" fmla="*/ 442 h 857"/>
                <a:gd name="T68" fmla="*/ 716 w 860"/>
                <a:gd name="T69" fmla="*/ 376 h 857"/>
                <a:gd name="T70" fmla="*/ 723 w 860"/>
                <a:gd name="T71" fmla="*/ 348 h 857"/>
                <a:gd name="T72" fmla="*/ 657 w 860"/>
                <a:gd name="T73" fmla="*/ 211 h 857"/>
                <a:gd name="T74" fmla="*/ 628 w 860"/>
                <a:gd name="T75" fmla="*/ 213 h 857"/>
                <a:gd name="T76" fmla="*/ 553 w 860"/>
                <a:gd name="T77" fmla="*/ 165 h 857"/>
                <a:gd name="T78" fmla="*/ 511 w 860"/>
                <a:gd name="T79" fmla="*/ 143 h 857"/>
                <a:gd name="T80" fmla="*/ 356 w 860"/>
                <a:gd name="T81" fmla="*/ 67 h 857"/>
                <a:gd name="T82" fmla="*/ 350 w 860"/>
                <a:gd name="T83" fmla="*/ 143 h 857"/>
                <a:gd name="T84" fmla="*/ 308 w 860"/>
                <a:gd name="T85" fmla="*/ 166 h 857"/>
                <a:gd name="T86" fmla="*/ 237 w 860"/>
                <a:gd name="T87" fmla="*/ 211 h 857"/>
                <a:gd name="T88" fmla="*/ 208 w 860"/>
                <a:gd name="T89" fmla="*/ 213 h 857"/>
                <a:gd name="T90" fmla="*/ 133 w 860"/>
                <a:gd name="T91" fmla="*/ 344 h 857"/>
                <a:gd name="T92" fmla="*/ 145 w 860"/>
                <a:gd name="T93" fmla="*/ 371 h 857"/>
                <a:gd name="T94" fmla="*/ 140 w 860"/>
                <a:gd name="T95" fmla="*/ 442 h 857"/>
                <a:gd name="T96" fmla="*/ 144 w 860"/>
                <a:gd name="T97" fmla="*/ 497 h 857"/>
                <a:gd name="T98" fmla="*/ 79 w 860"/>
                <a:gd name="T99" fmla="*/ 546 h 857"/>
                <a:gd name="T100" fmla="*/ 218 w 860"/>
                <a:gd name="T101" fmla="*/ 642 h 857"/>
                <a:gd name="T102" fmla="*/ 242 w 860"/>
                <a:gd name="T103" fmla="*/ 650 h 857"/>
                <a:gd name="T104" fmla="*/ 334 w 860"/>
                <a:gd name="T105" fmla="*/ 703 h 857"/>
                <a:gd name="T106" fmla="*/ 355 w 860"/>
                <a:gd name="T107" fmla="*/ 724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0" h="857">
                  <a:moveTo>
                    <a:pt x="539" y="857"/>
                  </a:moveTo>
                  <a:lnTo>
                    <a:pt x="323" y="857"/>
                  </a:lnTo>
                  <a:lnTo>
                    <a:pt x="323" y="857"/>
                  </a:lnTo>
                  <a:lnTo>
                    <a:pt x="317" y="857"/>
                  </a:lnTo>
                  <a:lnTo>
                    <a:pt x="311" y="855"/>
                  </a:lnTo>
                  <a:lnTo>
                    <a:pt x="304" y="852"/>
                  </a:lnTo>
                  <a:lnTo>
                    <a:pt x="299" y="848"/>
                  </a:lnTo>
                  <a:lnTo>
                    <a:pt x="296" y="843"/>
                  </a:lnTo>
                  <a:lnTo>
                    <a:pt x="293" y="838"/>
                  </a:lnTo>
                  <a:lnTo>
                    <a:pt x="291" y="831"/>
                  </a:lnTo>
                  <a:lnTo>
                    <a:pt x="290" y="825"/>
                  </a:lnTo>
                  <a:lnTo>
                    <a:pt x="290" y="756"/>
                  </a:lnTo>
                  <a:lnTo>
                    <a:pt x="290" y="756"/>
                  </a:lnTo>
                  <a:lnTo>
                    <a:pt x="273" y="749"/>
                  </a:lnTo>
                  <a:lnTo>
                    <a:pt x="255" y="738"/>
                  </a:lnTo>
                  <a:lnTo>
                    <a:pt x="236" y="728"/>
                  </a:lnTo>
                  <a:lnTo>
                    <a:pt x="217" y="714"/>
                  </a:lnTo>
                  <a:lnTo>
                    <a:pt x="157" y="749"/>
                  </a:lnTo>
                  <a:lnTo>
                    <a:pt x="157" y="749"/>
                  </a:lnTo>
                  <a:lnTo>
                    <a:pt x="151" y="752"/>
                  </a:lnTo>
                  <a:lnTo>
                    <a:pt x="145" y="753"/>
                  </a:lnTo>
                  <a:lnTo>
                    <a:pt x="139" y="753"/>
                  </a:lnTo>
                  <a:lnTo>
                    <a:pt x="133" y="752"/>
                  </a:lnTo>
                  <a:lnTo>
                    <a:pt x="126" y="750"/>
                  </a:lnTo>
                  <a:lnTo>
                    <a:pt x="121" y="747"/>
                  </a:lnTo>
                  <a:lnTo>
                    <a:pt x="116" y="742"/>
                  </a:lnTo>
                  <a:lnTo>
                    <a:pt x="113" y="737"/>
                  </a:lnTo>
                  <a:lnTo>
                    <a:pt x="4" y="550"/>
                  </a:lnTo>
                  <a:lnTo>
                    <a:pt x="4" y="550"/>
                  </a:lnTo>
                  <a:lnTo>
                    <a:pt x="2" y="544"/>
                  </a:lnTo>
                  <a:lnTo>
                    <a:pt x="0" y="537"/>
                  </a:lnTo>
                  <a:lnTo>
                    <a:pt x="0" y="531"/>
                  </a:lnTo>
                  <a:lnTo>
                    <a:pt x="1" y="525"/>
                  </a:lnTo>
                  <a:lnTo>
                    <a:pt x="3" y="519"/>
                  </a:lnTo>
                  <a:lnTo>
                    <a:pt x="7" y="514"/>
                  </a:lnTo>
                  <a:lnTo>
                    <a:pt x="11" y="508"/>
                  </a:lnTo>
                  <a:lnTo>
                    <a:pt x="17" y="504"/>
                  </a:lnTo>
                  <a:lnTo>
                    <a:pt x="76" y="470"/>
                  </a:lnTo>
                  <a:lnTo>
                    <a:pt x="76" y="470"/>
                  </a:lnTo>
                  <a:lnTo>
                    <a:pt x="74" y="449"/>
                  </a:lnTo>
                  <a:lnTo>
                    <a:pt x="74" y="429"/>
                  </a:lnTo>
                  <a:lnTo>
                    <a:pt x="74" y="429"/>
                  </a:lnTo>
                  <a:lnTo>
                    <a:pt x="74" y="408"/>
                  </a:lnTo>
                  <a:lnTo>
                    <a:pt x="76" y="387"/>
                  </a:lnTo>
                  <a:lnTo>
                    <a:pt x="17" y="353"/>
                  </a:lnTo>
                  <a:lnTo>
                    <a:pt x="17" y="353"/>
                  </a:lnTo>
                  <a:lnTo>
                    <a:pt x="11" y="349"/>
                  </a:lnTo>
                  <a:lnTo>
                    <a:pt x="7" y="344"/>
                  </a:lnTo>
                  <a:lnTo>
                    <a:pt x="3" y="339"/>
                  </a:lnTo>
                  <a:lnTo>
                    <a:pt x="1" y="333"/>
                  </a:lnTo>
                  <a:lnTo>
                    <a:pt x="0" y="326"/>
                  </a:lnTo>
                  <a:lnTo>
                    <a:pt x="0" y="320"/>
                  </a:lnTo>
                  <a:lnTo>
                    <a:pt x="2" y="314"/>
                  </a:lnTo>
                  <a:lnTo>
                    <a:pt x="5" y="308"/>
                  </a:lnTo>
                  <a:lnTo>
                    <a:pt x="113" y="121"/>
                  </a:lnTo>
                  <a:lnTo>
                    <a:pt x="113" y="121"/>
                  </a:lnTo>
                  <a:lnTo>
                    <a:pt x="117" y="115"/>
                  </a:lnTo>
                  <a:lnTo>
                    <a:pt x="121" y="111"/>
                  </a:lnTo>
                  <a:lnTo>
                    <a:pt x="127" y="108"/>
                  </a:lnTo>
                  <a:lnTo>
                    <a:pt x="133" y="106"/>
                  </a:lnTo>
                  <a:lnTo>
                    <a:pt x="139" y="105"/>
                  </a:lnTo>
                  <a:lnTo>
                    <a:pt x="146" y="105"/>
                  </a:lnTo>
                  <a:lnTo>
                    <a:pt x="152" y="106"/>
                  </a:lnTo>
                  <a:lnTo>
                    <a:pt x="158" y="109"/>
                  </a:lnTo>
                  <a:lnTo>
                    <a:pt x="217" y="143"/>
                  </a:lnTo>
                  <a:lnTo>
                    <a:pt x="217" y="143"/>
                  </a:lnTo>
                  <a:lnTo>
                    <a:pt x="236" y="130"/>
                  </a:lnTo>
                  <a:lnTo>
                    <a:pt x="255" y="119"/>
                  </a:lnTo>
                  <a:lnTo>
                    <a:pt x="273" y="109"/>
                  </a:lnTo>
                  <a:lnTo>
                    <a:pt x="290" y="102"/>
                  </a:lnTo>
                  <a:lnTo>
                    <a:pt x="290" y="33"/>
                  </a:lnTo>
                  <a:lnTo>
                    <a:pt x="290" y="33"/>
                  </a:lnTo>
                  <a:lnTo>
                    <a:pt x="291" y="26"/>
                  </a:lnTo>
                  <a:lnTo>
                    <a:pt x="293" y="20"/>
                  </a:lnTo>
                  <a:lnTo>
                    <a:pt x="296" y="15"/>
                  </a:lnTo>
                  <a:lnTo>
                    <a:pt x="299" y="10"/>
                  </a:lnTo>
                  <a:lnTo>
                    <a:pt x="304" y="5"/>
                  </a:lnTo>
                  <a:lnTo>
                    <a:pt x="311" y="2"/>
                  </a:lnTo>
                  <a:lnTo>
                    <a:pt x="317" y="0"/>
                  </a:lnTo>
                  <a:lnTo>
                    <a:pt x="323" y="0"/>
                  </a:lnTo>
                  <a:lnTo>
                    <a:pt x="539" y="0"/>
                  </a:lnTo>
                  <a:lnTo>
                    <a:pt x="539" y="0"/>
                  </a:lnTo>
                  <a:lnTo>
                    <a:pt x="545" y="0"/>
                  </a:lnTo>
                  <a:lnTo>
                    <a:pt x="552" y="2"/>
                  </a:lnTo>
                  <a:lnTo>
                    <a:pt x="558" y="5"/>
                  </a:lnTo>
                  <a:lnTo>
                    <a:pt x="562" y="10"/>
                  </a:lnTo>
                  <a:lnTo>
                    <a:pt x="566" y="15"/>
                  </a:lnTo>
                  <a:lnTo>
                    <a:pt x="569" y="20"/>
                  </a:lnTo>
                  <a:lnTo>
                    <a:pt x="571" y="26"/>
                  </a:lnTo>
                  <a:lnTo>
                    <a:pt x="572" y="33"/>
                  </a:lnTo>
                  <a:lnTo>
                    <a:pt x="572" y="102"/>
                  </a:lnTo>
                  <a:lnTo>
                    <a:pt x="572" y="102"/>
                  </a:lnTo>
                  <a:lnTo>
                    <a:pt x="591" y="110"/>
                  </a:lnTo>
                  <a:lnTo>
                    <a:pt x="610" y="120"/>
                  </a:lnTo>
                  <a:lnTo>
                    <a:pt x="627" y="132"/>
                  </a:lnTo>
                  <a:lnTo>
                    <a:pt x="644" y="143"/>
                  </a:lnTo>
                  <a:lnTo>
                    <a:pt x="702" y="109"/>
                  </a:lnTo>
                  <a:lnTo>
                    <a:pt x="702" y="109"/>
                  </a:lnTo>
                  <a:lnTo>
                    <a:pt x="708" y="106"/>
                  </a:lnTo>
                  <a:lnTo>
                    <a:pt x="714" y="105"/>
                  </a:lnTo>
                  <a:lnTo>
                    <a:pt x="721" y="105"/>
                  </a:lnTo>
                  <a:lnTo>
                    <a:pt x="728" y="106"/>
                  </a:lnTo>
                  <a:lnTo>
                    <a:pt x="728" y="106"/>
                  </a:lnTo>
                  <a:lnTo>
                    <a:pt x="734" y="108"/>
                  </a:lnTo>
                  <a:lnTo>
                    <a:pt x="739" y="111"/>
                  </a:lnTo>
                  <a:lnTo>
                    <a:pt x="744" y="115"/>
                  </a:lnTo>
                  <a:lnTo>
                    <a:pt x="747" y="121"/>
                  </a:lnTo>
                  <a:lnTo>
                    <a:pt x="855" y="308"/>
                  </a:lnTo>
                  <a:lnTo>
                    <a:pt x="855" y="308"/>
                  </a:lnTo>
                  <a:lnTo>
                    <a:pt x="858" y="314"/>
                  </a:lnTo>
                  <a:lnTo>
                    <a:pt x="860" y="320"/>
                  </a:lnTo>
                  <a:lnTo>
                    <a:pt x="860" y="326"/>
                  </a:lnTo>
                  <a:lnTo>
                    <a:pt x="859" y="333"/>
                  </a:lnTo>
                  <a:lnTo>
                    <a:pt x="857" y="339"/>
                  </a:lnTo>
                  <a:lnTo>
                    <a:pt x="853" y="344"/>
                  </a:lnTo>
                  <a:lnTo>
                    <a:pt x="849" y="349"/>
                  </a:lnTo>
                  <a:lnTo>
                    <a:pt x="843" y="353"/>
                  </a:lnTo>
                  <a:lnTo>
                    <a:pt x="785" y="387"/>
                  </a:lnTo>
                  <a:lnTo>
                    <a:pt x="785" y="387"/>
                  </a:lnTo>
                  <a:lnTo>
                    <a:pt x="787" y="408"/>
                  </a:lnTo>
                  <a:lnTo>
                    <a:pt x="787" y="429"/>
                  </a:lnTo>
                  <a:lnTo>
                    <a:pt x="787" y="429"/>
                  </a:lnTo>
                  <a:lnTo>
                    <a:pt x="787" y="449"/>
                  </a:lnTo>
                  <a:lnTo>
                    <a:pt x="785" y="470"/>
                  </a:lnTo>
                  <a:lnTo>
                    <a:pt x="843" y="504"/>
                  </a:lnTo>
                  <a:lnTo>
                    <a:pt x="843" y="504"/>
                  </a:lnTo>
                  <a:lnTo>
                    <a:pt x="849" y="508"/>
                  </a:lnTo>
                  <a:lnTo>
                    <a:pt x="853" y="513"/>
                  </a:lnTo>
                  <a:lnTo>
                    <a:pt x="857" y="519"/>
                  </a:lnTo>
                  <a:lnTo>
                    <a:pt x="859" y="525"/>
                  </a:lnTo>
                  <a:lnTo>
                    <a:pt x="859" y="525"/>
                  </a:lnTo>
                  <a:lnTo>
                    <a:pt x="860" y="531"/>
                  </a:lnTo>
                  <a:lnTo>
                    <a:pt x="860" y="537"/>
                  </a:lnTo>
                  <a:lnTo>
                    <a:pt x="858" y="544"/>
                  </a:lnTo>
                  <a:lnTo>
                    <a:pt x="856" y="550"/>
                  </a:lnTo>
                  <a:lnTo>
                    <a:pt x="747" y="737"/>
                  </a:lnTo>
                  <a:lnTo>
                    <a:pt x="747" y="737"/>
                  </a:lnTo>
                  <a:lnTo>
                    <a:pt x="744" y="742"/>
                  </a:lnTo>
                  <a:lnTo>
                    <a:pt x="739" y="747"/>
                  </a:lnTo>
                  <a:lnTo>
                    <a:pt x="734" y="750"/>
                  </a:lnTo>
                  <a:lnTo>
                    <a:pt x="728" y="752"/>
                  </a:lnTo>
                  <a:lnTo>
                    <a:pt x="728" y="752"/>
                  </a:lnTo>
                  <a:lnTo>
                    <a:pt x="721" y="754"/>
                  </a:lnTo>
                  <a:lnTo>
                    <a:pt x="715" y="753"/>
                  </a:lnTo>
                  <a:lnTo>
                    <a:pt x="708" y="752"/>
                  </a:lnTo>
                  <a:lnTo>
                    <a:pt x="703" y="749"/>
                  </a:lnTo>
                  <a:lnTo>
                    <a:pt x="644" y="714"/>
                  </a:lnTo>
                  <a:lnTo>
                    <a:pt x="644" y="714"/>
                  </a:lnTo>
                  <a:lnTo>
                    <a:pt x="627" y="727"/>
                  </a:lnTo>
                  <a:lnTo>
                    <a:pt x="610" y="737"/>
                  </a:lnTo>
                  <a:lnTo>
                    <a:pt x="591" y="748"/>
                  </a:lnTo>
                  <a:lnTo>
                    <a:pt x="572" y="756"/>
                  </a:lnTo>
                  <a:lnTo>
                    <a:pt x="572" y="825"/>
                  </a:lnTo>
                  <a:lnTo>
                    <a:pt x="572" y="825"/>
                  </a:lnTo>
                  <a:lnTo>
                    <a:pt x="571" y="831"/>
                  </a:lnTo>
                  <a:lnTo>
                    <a:pt x="569" y="838"/>
                  </a:lnTo>
                  <a:lnTo>
                    <a:pt x="566" y="843"/>
                  </a:lnTo>
                  <a:lnTo>
                    <a:pt x="562" y="848"/>
                  </a:lnTo>
                  <a:lnTo>
                    <a:pt x="558" y="852"/>
                  </a:lnTo>
                  <a:lnTo>
                    <a:pt x="552" y="855"/>
                  </a:lnTo>
                  <a:lnTo>
                    <a:pt x="545" y="857"/>
                  </a:lnTo>
                  <a:lnTo>
                    <a:pt x="539" y="857"/>
                  </a:lnTo>
                  <a:lnTo>
                    <a:pt x="539" y="857"/>
                  </a:lnTo>
                  <a:close/>
                  <a:moveTo>
                    <a:pt x="356" y="792"/>
                  </a:moveTo>
                  <a:lnTo>
                    <a:pt x="506" y="792"/>
                  </a:lnTo>
                  <a:lnTo>
                    <a:pt x="506" y="734"/>
                  </a:lnTo>
                  <a:lnTo>
                    <a:pt x="506" y="734"/>
                  </a:lnTo>
                  <a:lnTo>
                    <a:pt x="506" y="729"/>
                  </a:lnTo>
                  <a:lnTo>
                    <a:pt x="507" y="724"/>
                  </a:lnTo>
                  <a:lnTo>
                    <a:pt x="509" y="720"/>
                  </a:lnTo>
                  <a:lnTo>
                    <a:pt x="511" y="716"/>
                  </a:lnTo>
                  <a:lnTo>
                    <a:pt x="514" y="711"/>
                  </a:lnTo>
                  <a:lnTo>
                    <a:pt x="519" y="708"/>
                  </a:lnTo>
                  <a:lnTo>
                    <a:pt x="523" y="705"/>
                  </a:lnTo>
                  <a:lnTo>
                    <a:pt x="528" y="703"/>
                  </a:lnTo>
                  <a:lnTo>
                    <a:pt x="528" y="703"/>
                  </a:lnTo>
                  <a:lnTo>
                    <a:pt x="553" y="693"/>
                  </a:lnTo>
                  <a:lnTo>
                    <a:pt x="576" y="679"/>
                  </a:lnTo>
                  <a:lnTo>
                    <a:pt x="599" y="666"/>
                  </a:lnTo>
                  <a:lnTo>
                    <a:pt x="619" y="650"/>
                  </a:lnTo>
                  <a:lnTo>
                    <a:pt x="619" y="650"/>
                  </a:lnTo>
                  <a:lnTo>
                    <a:pt x="623" y="647"/>
                  </a:lnTo>
                  <a:lnTo>
                    <a:pt x="628" y="644"/>
                  </a:lnTo>
                  <a:lnTo>
                    <a:pt x="632" y="643"/>
                  </a:lnTo>
                  <a:lnTo>
                    <a:pt x="638" y="642"/>
                  </a:lnTo>
                  <a:lnTo>
                    <a:pt x="643" y="642"/>
                  </a:lnTo>
                  <a:lnTo>
                    <a:pt x="648" y="643"/>
                  </a:lnTo>
                  <a:lnTo>
                    <a:pt x="653" y="644"/>
                  </a:lnTo>
                  <a:lnTo>
                    <a:pt x="657" y="646"/>
                  </a:lnTo>
                  <a:lnTo>
                    <a:pt x="707" y="675"/>
                  </a:lnTo>
                  <a:lnTo>
                    <a:pt x="781" y="546"/>
                  </a:lnTo>
                  <a:lnTo>
                    <a:pt x="732" y="517"/>
                  </a:lnTo>
                  <a:lnTo>
                    <a:pt x="732" y="517"/>
                  </a:lnTo>
                  <a:lnTo>
                    <a:pt x="728" y="514"/>
                  </a:lnTo>
                  <a:lnTo>
                    <a:pt x="723" y="511"/>
                  </a:lnTo>
                  <a:lnTo>
                    <a:pt x="720" y="506"/>
                  </a:lnTo>
                  <a:lnTo>
                    <a:pt x="718" y="502"/>
                  </a:lnTo>
                  <a:lnTo>
                    <a:pt x="716" y="497"/>
                  </a:lnTo>
                  <a:lnTo>
                    <a:pt x="715" y="492"/>
                  </a:lnTo>
                  <a:lnTo>
                    <a:pt x="715" y="487"/>
                  </a:lnTo>
                  <a:lnTo>
                    <a:pt x="716" y="482"/>
                  </a:lnTo>
                  <a:lnTo>
                    <a:pt x="716" y="482"/>
                  </a:lnTo>
                  <a:lnTo>
                    <a:pt x="719" y="455"/>
                  </a:lnTo>
                  <a:lnTo>
                    <a:pt x="720" y="442"/>
                  </a:lnTo>
                  <a:lnTo>
                    <a:pt x="720" y="429"/>
                  </a:lnTo>
                  <a:lnTo>
                    <a:pt x="720" y="429"/>
                  </a:lnTo>
                  <a:lnTo>
                    <a:pt x="720" y="415"/>
                  </a:lnTo>
                  <a:lnTo>
                    <a:pt x="719" y="403"/>
                  </a:lnTo>
                  <a:lnTo>
                    <a:pt x="716" y="376"/>
                  </a:lnTo>
                  <a:lnTo>
                    <a:pt x="716" y="376"/>
                  </a:lnTo>
                  <a:lnTo>
                    <a:pt x="715" y="371"/>
                  </a:lnTo>
                  <a:lnTo>
                    <a:pt x="715" y="366"/>
                  </a:lnTo>
                  <a:lnTo>
                    <a:pt x="716" y="360"/>
                  </a:lnTo>
                  <a:lnTo>
                    <a:pt x="718" y="356"/>
                  </a:lnTo>
                  <a:lnTo>
                    <a:pt x="720" y="351"/>
                  </a:lnTo>
                  <a:lnTo>
                    <a:pt x="723" y="348"/>
                  </a:lnTo>
                  <a:lnTo>
                    <a:pt x="728" y="344"/>
                  </a:lnTo>
                  <a:lnTo>
                    <a:pt x="732" y="341"/>
                  </a:lnTo>
                  <a:lnTo>
                    <a:pt x="781" y="312"/>
                  </a:lnTo>
                  <a:lnTo>
                    <a:pt x="707" y="182"/>
                  </a:lnTo>
                  <a:lnTo>
                    <a:pt x="657" y="211"/>
                  </a:lnTo>
                  <a:lnTo>
                    <a:pt x="657" y="211"/>
                  </a:lnTo>
                  <a:lnTo>
                    <a:pt x="653" y="213"/>
                  </a:lnTo>
                  <a:lnTo>
                    <a:pt x="648" y="216"/>
                  </a:lnTo>
                  <a:lnTo>
                    <a:pt x="643" y="216"/>
                  </a:lnTo>
                  <a:lnTo>
                    <a:pt x="638" y="216"/>
                  </a:lnTo>
                  <a:lnTo>
                    <a:pt x="632" y="215"/>
                  </a:lnTo>
                  <a:lnTo>
                    <a:pt x="628" y="213"/>
                  </a:lnTo>
                  <a:lnTo>
                    <a:pt x="623" y="211"/>
                  </a:lnTo>
                  <a:lnTo>
                    <a:pt x="619" y="208"/>
                  </a:lnTo>
                  <a:lnTo>
                    <a:pt x="619" y="208"/>
                  </a:lnTo>
                  <a:lnTo>
                    <a:pt x="599" y="192"/>
                  </a:lnTo>
                  <a:lnTo>
                    <a:pt x="576" y="178"/>
                  </a:lnTo>
                  <a:lnTo>
                    <a:pt x="553" y="165"/>
                  </a:lnTo>
                  <a:lnTo>
                    <a:pt x="528" y="154"/>
                  </a:lnTo>
                  <a:lnTo>
                    <a:pt x="528" y="154"/>
                  </a:lnTo>
                  <a:lnTo>
                    <a:pt x="523" y="152"/>
                  </a:lnTo>
                  <a:lnTo>
                    <a:pt x="519" y="149"/>
                  </a:lnTo>
                  <a:lnTo>
                    <a:pt x="514" y="146"/>
                  </a:lnTo>
                  <a:lnTo>
                    <a:pt x="511" y="143"/>
                  </a:lnTo>
                  <a:lnTo>
                    <a:pt x="509" y="138"/>
                  </a:lnTo>
                  <a:lnTo>
                    <a:pt x="507" y="134"/>
                  </a:lnTo>
                  <a:lnTo>
                    <a:pt x="506" y="129"/>
                  </a:lnTo>
                  <a:lnTo>
                    <a:pt x="506" y="123"/>
                  </a:lnTo>
                  <a:lnTo>
                    <a:pt x="506" y="67"/>
                  </a:lnTo>
                  <a:lnTo>
                    <a:pt x="356" y="67"/>
                  </a:lnTo>
                  <a:lnTo>
                    <a:pt x="356" y="123"/>
                  </a:lnTo>
                  <a:lnTo>
                    <a:pt x="356" y="123"/>
                  </a:lnTo>
                  <a:lnTo>
                    <a:pt x="356" y="129"/>
                  </a:lnTo>
                  <a:lnTo>
                    <a:pt x="355" y="134"/>
                  </a:lnTo>
                  <a:lnTo>
                    <a:pt x="353" y="138"/>
                  </a:lnTo>
                  <a:lnTo>
                    <a:pt x="350" y="143"/>
                  </a:lnTo>
                  <a:lnTo>
                    <a:pt x="347" y="146"/>
                  </a:lnTo>
                  <a:lnTo>
                    <a:pt x="344" y="149"/>
                  </a:lnTo>
                  <a:lnTo>
                    <a:pt x="340" y="152"/>
                  </a:lnTo>
                  <a:lnTo>
                    <a:pt x="334" y="154"/>
                  </a:lnTo>
                  <a:lnTo>
                    <a:pt x="334" y="154"/>
                  </a:lnTo>
                  <a:lnTo>
                    <a:pt x="308" y="166"/>
                  </a:lnTo>
                  <a:lnTo>
                    <a:pt x="285" y="178"/>
                  </a:lnTo>
                  <a:lnTo>
                    <a:pt x="262" y="193"/>
                  </a:lnTo>
                  <a:lnTo>
                    <a:pt x="252" y="200"/>
                  </a:lnTo>
                  <a:lnTo>
                    <a:pt x="242" y="208"/>
                  </a:lnTo>
                  <a:lnTo>
                    <a:pt x="242" y="208"/>
                  </a:lnTo>
                  <a:lnTo>
                    <a:pt x="237" y="211"/>
                  </a:lnTo>
                  <a:lnTo>
                    <a:pt x="233" y="213"/>
                  </a:lnTo>
                  <a:lnTo>
                    <a:pt x="228" y="215"/>
                  </a:lnTo>
                  <a:lnTo>
                    <a:pt x="224" y="216"/>
                  </a:lnTo>
                  <a:lnTo>
                    <a:pt x="218" y="216"/>
                  </a:lnTo>
                  <a:lnTo>
                    <a:pt x="213" y="216"/>
                  </a:lnTo>
                  <a:lnTo>
                    <a:pt x="208" y="213"/>
                  </a:lnTo>
                  <a:lnTo>
                    <a:pt x="204" y="211"/>
                  </a:lnTo>
                  <a:lnTo>
                    <a:pt x="153" y="182"/>
                  </a:lnTo>
                  <a:lnTo>
                    <a:pt x="79" y="313"/>
                  </a:lnTo>
                  <a:lnTo>
                    <a:pt x="128" y="341"/>
                  </a:lnTo>
                  <a:lnTo>
                    <a:pt x="128" y="341"/>
                  </a:lnTo>
                  <a:lnTo>
                    <a:pt x="133" y="344"/>
                  </a:lnTo>
                  <a:lnTo>
                    <a:pt x="137" y="348"/>
                  </a:lnTo>
                  <a:lnTo>
                    <a:pt x="140" y="351"/>
                  </a:lnTo>
                  <a:lnTo>
                    <a:pt x="142" y="356"/>
                  </a:lnTo>
                  <a:lnTo>
                    <a:pt x="144" y="360"/>
                  </a:lnTo>
                  <a:lnTo>
                    <a:pt x="145" y="366"/>
                  </a:lnTo>
                  <a:lnTo>
                    <a:pt x="145" y="371"/>
                  </a:lnTo>
                  <a:lnTo>
                    <a:pt x="144" y="376"/>
                  </a:lnTo>
                  <a:lnTo>
                    <a:pt x="144" y="376"/>
                  </a:lnTo>
                  <a:lnTo>
                    <a:pt x="141" y="403"/>
                  </a:lnTo>
                  <a:lnTo>
                    <a:pt x="140" y="429"/>
                  </a:lnTo>
                  <a:lnTo>
                    <a:pt x="140" y="429"/>
                  </a:lnTo>
                  <a:lnTo>
                    <a:pt x="140" y="442"/>
                  </a:lnTo>
                  <a:lnTo>
                    <a:pt x="141" y="455"/>
                  </a:lnTo>
                  <a:lnTo>
                    <a:pt x="144" y="482"/>
                  </a:lnTo>
                  <a:lnTo>
                    <a:pt x="144" y="482"/>
                  </a:lnTo>
                  <a:lnTo>
                    <a:pt x="145" y="487"/>
                  </a:lnTo>
                  <a:lnTo>
                    <a:pt x="145" y="492"/>
                  </a:lnTo>
                  <a:lnTo>
                    <a:pt x="144" y="497"/>
                  </a:lnTo>
                  <a:lnTo>
                    <a:pt x="142" y="502"/>
                  </a:lnTo>
                  <a:lnTo>
                    <a:pt x="140" y="506"/>
                  </a:lnTo>
                  <a:lnTo>
                    <a:pt x="137" y="511"/>
                  </a:lnTo>
                  <a:lnTo>
                    <a:pt x="133" y="514"/>
                  </a:lnTo>
                  <a:lnTo>
                    <a:pt x="128" y="517"/>
                  </a:lnTo>
                  <a:lnTo>
                    <a:pt x="79" y="546"/>
                  </a:lnTo>
                  <a:lnTo>
                    <a:pt x="153" y="675"/>
                  </a:lnTo>
                  <a:lnTo>
                    <a:pt x="204" y="646"/>
                  </a:lnTo>
                  <a:lnTo>
                    <a:pt x="204" y="646"/>
                  </a:lnTo>
                  <a:lnTo>
                    <a:pt x="208" y="644"/>
                  </a:lnTo>
                  <a:lnTo>
                    <a:pt x="213" y="643"/>
                  </a:lnTo>
                  <a:lnTo>
                    <a:pt x="218" y="642"/>
                  </a:lnTo>
                  <a:lnTo>
                    <a:pt x="224" y="642"/>
                  </a:lnTo>
                  <a:lnTo>
                    <a:pt x="228" y="643"/>
                  </a:lnTo>
                  <a:lnTo>
                    <a:pt x="233" y="644"/>
                  </a:lnTo>
                  <a:lnTo>
                    <a:pt x="237" y="647"/>
                  </a:lnTo>
                  <a:lnTo>
                    <a:pt x="242" y="650"/>
                  </a:lnTo>
                  <a:lnTo>
                    <a:pt x="242" y="650"/>
                  </a:lnTo>
                  <a:lnTo>
                    <a:pt x="252" y="658"/>
                  </a:lnTo>
                  <a:lnTo>
                    <a:pt x="262" y="665"/>
                  </a:lnTo>
                  <a:lnTo>
                    <a:pt x="285" y="679"/>
                  </a:lnTo>
                  <a:lnTo>
                    <a:pt x="308" y="692"/>
                  </a:lnTo>
                  <a:lnTo>
                    <a:pt x="334" y="703"/>
                  </a:lnTo>
                  <a:lnTo>
                    <a:pt x="334" y="703"/>
                  </a:lnTo>
                  <a:lnTo>
                    <a:pt x="340" y="705"/>
                  </a:lnTo>
                  <a:lnTo>
                    <a:pt x="344" y="708"/>
                  </a:lnTo>
                  <a:lnTo>
                    <a:pt x="347" y="711"/>
                  </a:lnTo>
                  <a:lnTo>
                    <a:pt x="350" y="716"/>
                  </a:lnTo>
                  <a:lnTo>
                    <a:pt x="353" y="720"/>
                  </a:lnTo>
                  <a:lnTo>
                    <a:pt x="355" y="724"/>
                  </a:lnTo>
                  <a:lnTo>
                    <a:pt x="356" y="729"/>
                  </a:lnTo>
                  <a:lnTo>
                    <a:pt x="356" y="734"/>
                  </a:lnTo>
                  <a:lnTo>
                    <a:pt x="356" y="7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9" name="Freeform 195">
              <a:extLst>
                <a:ext uri="{FF2B5EF4-FFF2-40B4-BE49-F238E27FC236}">
                  <a16:creationId xmlns:a16="http://schemas.microsoft.com/office/drawing/2014/main" id="{95F6BBF0-2DFB-4DF4-8A0B-895CFCF40A8D}"/>
                </a:ext>
              </a:extLst>
            </p:cNvPr>
            <p:cNvSpPr>
              <a:spLocks noEditPoints="1"/>
            </p:cNvSpPr>
            <p:nvPr/>
          </p:nvSpPr>
          <p:spPr bwMode="auto">
            <a:xfrm>
              <a:off x="7210425" y="3471863"/>
              <a:ext cx="80963" cy="79375"/>
            </a:xfrm>
            <a:custGeom>
              <a:avLst/>
              <a:gdLst>
                <a:gd name="T0" fmla="*/ 159 w 355"/>
                <a:gd name="T1" fmla="*/ 353 h 354"/>
                <a:gd name="T2" fmla="*/ 108 w 355"/>
                <a:gd name="T3" fmla="*/ 340 h 354"/>
                <a:gd name="T4" fmla="*/ 65 w 355"/>
                <a:gd name="T5" fmla="*/ 313 h 354"/>
                <a:gd name="T6" fmla="*/ 31 w 355"/>
                <a:gd name="T7" fmla="*/ 276 h 354"/>
                <a:gd name="T8" fmla="*/ 8 w 355"/>
                <a:gd name="T9" fmla="*/ 230 h 354"/>
                <a:gd name="T10" fmla="*/ 0 w 355"/>
                <a:gd name="T11" fmla="*/ 177 h 354"/>
                <a:gd name="T12" fmla="*/ 4 w 355"/>
                <a:gd name="T13" fmla="*/ 142 h 354"/>
                <a:gd name="T14" fmla="*/ 21 w 355"/>
                <a:gd name="T15" fmla="*/ 93 h 354"/>
                <a:gd name="T16" fmla="*/ 52 w 355"/>
                <a:gd name="T17" fmla="*/ 52 h 354"/>
                <a:gd name="T18" fmla="*/ 93 w 355"/>
                <a:gd name="T19" fmla="*/ 22 h 354"/>
                <a:gd name="T20" fmla="*/ 141 w 355"/>
                <a:gd name="T21" fmla="*/ 4 h 354"/>
                <a:gd name="T22" fmla="*/ 177 w 355"/>
                <a:gd name="T23" fmla="*/ 0 h 354"/>
                <a:gd name="T24" fmla="*/ 229 w 355"/>
                <a:gd name="T25" fmla="*/ 8 h 354"/>
                <a:gd name="T26" fmla="*/ 276 w 355"/>
                <a:gd name="T27" fmla="*/ 30 h 354"/>
                <a:gd name="T28" fmla="*/ 313 w 355"/>
                <a:gd name="T29" fmla="*/ 64 h 354"/>
                <a:gd name="T30" fmla="*/ 340 w 355"/>
                <a:gd name="T31" fmla="*/ 108 h 354"/>
                <a:gd name="T32" fmla="*/ 354 w 355"/>
                <a:gd name="T33" fmla="*/ 159 h 354"/>
                <a:gd name="T34" fmla="*/ 354 w 355"/>
                <a:gd name="T35" fmla="*/ 194 h 354"/>
                <a:gd name="T36" fmla="*/ 340 w 355"/>
                <a:gd name="T37" fmla="*/ 246 h 354"/>
                <a:gd name="T38" fmla="*/ 313 w 355"/>
                <a:gd name="T39" fmla="*/ 290 h 354"/>
                <a:gd name="T40" fmla="*/ 276 w 355"/>
                <a:gd name="T41" fmla="*/ 324 h 354"/>
                <a:gd name="T42" fmla="*/ 229 w 355"/>
                <a:gd name="T43" fmla="*/ 346 h 354"/>
                <a:gd name="T44" fmla="*/ 177 w 355"/>
                <a:gd name="T45" fmla="*/ 354 h 354"/>
                <a:gd name="T46" fmla="*/ 177 w 355"/>
                <a:gd name="T47" fmla="*/ 66 h 354"/>
                <a:gd name="T48" fmla="*/ 144 w 355"/>
                <a:gd name="T49" fmla="*/ 71 h 354"/>
                <a:gd name="T50" fmla="*/ 115 w 355"/>
                <a:gd name="T51" fmla="*/ 85 h 354"/>
                <a:gd name="T52" fmla="*/ 92 w 355"/>
                <a:gd name="T53" fmla="*/ 106 h 354"/>
                <a:gd name="T54" fmla="*/ 75 w 355"/>
                <a:gd name="T55" fmla="*/ 133 h 354"/>
                <a:gd name="T56" fmla="*/ 67 w 355"/>
                <a:gd name="T57" fmla="*/ 165 h 354"/>
                <a:gd name="T58" fmla="*/ 67 w 355"/>
                <a:gd name="T59" fmla="*/ 188 h 354"/>
                <a:gd name="T60" fmla="*/ 75 w 355"/>
                <a:gd name="T61" fmla="*/ 220 h 354"/>
                <a:gd name="T62" fmla="*/ 92 w 355"/>
                <a:gd name="T63" fmla="*/ 247 h 354"/>
                <a:gd name="T64" fmla="*/ 115 w 355"/>
                <a:gd name="T65" fmla="*/ 269 h 354"/>
                <a:gd name="T66" fmla="*/ 144 w 355"/>
                <a:gd name="T67" fmla="*/ 282 h 354"/>
                <a:gd name="T68" fmla="*/ 177 w 355"/>
                <a:gd name="T69" fmla="*/ 288 h 354"/>
                <a:gd name="T70" fmla="*/ 199 w 355"/>
                <a:gd name="T71" fmla="*/ 285 h 354"/>
                <a:gd name="T72" fmla="*/ 229 w 355"/>
                <a:gd name="T73" fmla="*/ 274 h 354"/>
                <a:gd name="T74" fmla="*/ 255 w 355"/>
                <a:gd name="T75" fmla="*/ 255 h 354"/>
                <a:gd name="T76" fmla="*/ 275 w 355"/>
                <a:gd name="T77" fmla="*/ 230 h 354"/>
                <a:gd name="T78" fmla="*/ 285 w 355"/>
                <a:gd name="T79" fmla="*/ 200 h 354"/>
                <a:gd name="T80" fmla="*/ 288 w 355"/>
                <a:gd name="T81" fmla="*/ 177 h 354"/>
                <a:gd name="T82" fmla="*/ 283 w 355"/>
                <a:gd name="T83" fmla="*/ 144 h 354"/>
                <a:gd name="T84" fmla="*/ 269 w 355"/>
                <a:gd name="T85" fmla="*/ 115 h 354"/>
                <a:gd name="T86" fmla="*/ 248 w 355"/>
                <a:gd name="T87" fmla="*/ 91 h 354"/>
                <a:gd name="T88" fmla="*/ 220 w 355"/>
                <a:gd name="T89" fmla="*/ 74 h 354"/>
                <a:gd name="T90" fmla="*/ 188 w 355"/>
                <a:gd name="T91"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5" h="354">
                  <a:moveTo>
                    <a:pt x="177" y="354"/>
                  </a:moveTo>
                  <a:lnTo>
                    <a:pt x="177" y="354"/>
                  </a:lnTo>
                  <a:lnTo>
                    <a:pt x="159" y="353"/>
                  </a:lnTo>
                  <a:lnTo>
                    <a:pt x="141" y="351"/>
                  </a:lnTo>
                  <a:lnTo>
                    <a:pt x="125" y="346"/>
                  </a:lnTo>
                  <a:lnTo>
                    <a:pt x="108" y="340"/>
                  </a:lnTo>
                  <a:lnTo>
                    <a:pt x="93" y="332"/>
                  </a:lnTo>
                  <a:lnTo>
                    <a:pt x="78" y="324"/>
                  </a:lnTo>
                  <a:lnTo>
                    <a:pt x="65" y="313"/>
                  </a:lnTo>
                  <a:lnTo>
                    <a:pt x="52" y="302"/>
                  </a:lnTo>
                  <a:lnTo>
                    <a:pt x="41" y="290"/>
                  </a:lnTo>
                  <a:lnTo>
                    <a:pt x="31" y="276"/>
                  </a:lnTo>
                  <a:lnTo>
                    <a:pt x="21" y="261"/>
                  </a:lnTo>
                  <a:lnTo>
                    <a:pt x="14" y="246"/>
                  </a:lnTo>
                  <a:lnTo>
                    <a:pt x="8" y="230"/>
                  </a:lnTo>
                  <a:lnTo>
                    <a:pt x="4" y="212"/>
                  </a:lnTo>
                  <a:lnTo>
                    <a:pt x="1" y="194"/>
                  </a:lnTo>
                  <a:lnTo>
                    <a:pt x="0" y="177"/>
                  </a:lnTo>
                  <a:lnTo>
                    <a:pt x="0" y="177"/>
                  </a:lnTo>
                  <a:lnTo>
                    <a:pt x="1" y="159"/>
                  </a:lnTo>
                  <a:lnTo>
                    <a:pt x="4" y="142"/>
                  </a:lnTo>
                  <a:lnTo>
                    <a:pt x="8" y="124"/>
                  </a:lnTo>
                  <a:lnTo>
                    <a:pt x="14" y="108"/>
                  </a:lnTo>
                  <a:lnTo>
                    <a:pt x="21" y="93"/>
                  </a:lnTo>
                  <a:lnTo>
                    <a:pt x="31" y="77"/>
                  </a:lnTo>
                  <a:lnTo>
                    <a:pt x="41" y="64"/>
                  </a:lnTo>
                  <a:lnTo>
                    <a:pt x="52" y="52"/>
                  </a:lnTo>
                  <a:lnTo>
                    <a:pt x="65" y="40"/>
                  </a:lnTo>
                  <a:lnTo>
                    <a:pt x="78" y="30"/>
                  </a:lnTo>
                  <a:lnTo>
                    <a:pt x="93" y="22"/>
                  </a:lnTo>
                  <a:lnTo>
                    <a:pt x="108" y="13"/>
                  </a:lnTo>
                  <a:lnTo>
                    <a:pt x="125" y="8"/>
                  </a:lnTo>
                  <a:lnTo>
                    <a:pt x="141" y="4"/>
                  </a:lnTo>
                  <a:lnTo>
                    <a:pt x="159" y="1"/>
                  </a:lnTo>
                  <a:lnTo>
                    <a:pt x="177" y="0"/>
                  </a:lnTo>
                  <a:lnTo>
                    <a:pt x="177" y="0"/>
                  </a:lnTo>
                  <a:lnTo>
                    <a:pt x="195" y="1"/>
                  </a:lnTo>
                  <a:lnTo>
                    <a:pt x="213" y="4"/>
                  </a:lnTo>
                  <a:lnTo>
                    <a:pt x="229" y="8"/>
                  </a:lnTo>
                  <a:lnTo>
                    <a:pt x="246" y="13"/>
                  </a:lnTo>
                  <a:lnTo>
                    <a:pt x="261" y="22"/>
                  </a:lnTo>
                  <a:lnTo>
                    <a:pt x="276" y="30"/>
                  </a:lnTo>
                  <a:lnTo>
                    <a:pt x="289" y="40"/>
                  </a:lnTo>
                  <a:lnTo>
                    <a:pt x="302" y="52"/>
                  </a:lnTo>
                  <a:lnTo>
                    <a:pt x="313" y="64"/>
                  </a:lnTo>
                  <a:lnTo>
                    <a:pt x="323" y="77"/>
                  </a:lnTo>
                  <a:lnTo>
                    <a:pt x="333" y="93"/>
                  </a:lnTo>
                  <a:lnTo>
                    <a:pt x="340" y="108"/>
                  </a:lnTo>
                  <a:lnTo>
                    <a:pt x="346" y="124"/>
                  </a:lnTo>
                  <a:lnTo>
                    <a:pt x="350" y="142"/>
                  </a:lnTo>
                  <a:lnTo>
                    <a:pt x="354" y="159"/>
                  </a:lnTo>
                  <a:lnTo>
                    <a:pt x="355" y="177"/>
                  </a:lnTo>
                  <a:lnTo>
                    <a:pt x="355" y="177"/>
                  </a:lnTo>
                  <a:lnTo>
                    <a:pt x="354" y="194"/>
                  </a:lnTo>
                  <a:lnTo>
                    <a:pt x="350" y="212"/>
                  </a:lnTo>
                  <a:lnTo>
                    <a:pt x="346" y="230"/>
                  </a:lnTo>
                  <a:lnTo>
                    <a:pt x="340" y="246"/>
                  </a:lnTo>
                  <a:lnTo>
                    <a:pt x="333" y="261"/>
                  </a:lnTo>
                  <a:lnTo>
                    <a:pt x="323" y="276"/>
                  </a:lnTo>
                  <a:lnTo>
                    <a:pt x="313" y="290"/>
                  </a:lnTo>
                  <a:lnTo>
                    <a:pt x="302" y="302"/>
                  </a:lnTo>
                  <a:lnTo>
                    <a:pt x="289" y="313"/>
                  </a:lnTo>
                  <a:lnTo>
                    <a:pt x="276" y="324"/>
                  </a:lnTo>
                  <a:lnTo>
                    <a:pt x="261" y="332"/>
                  </a:lnTo>
                  <a:lnTo>
                    <a:pt x="246" y="340"/>
                  </a:lnTo>
                  <a:lnTo>
                    <a:pt x="229" y="346"/>
                  </a:lnTo>
                  <a:lnTo>
                    <a:pt x="213" y="351"/>
                  </a:lnTo>
                  <a:lnTo>
                    <a:pt x="195" y="353"/>
                  </a:lnTo>
                  <a:lnTo>
                    <a:pt x="177" y="354"/>
                  </a:lnTo>
                  <a:lnTo>
                    <a:pt x="177" y="354"/>
                  </a:lnTo>
                  <a:close/>
                  <a:moveTo>
                    <a:pt x="177" y="66"/>
                  </a:moveTo>
                  <a:lnTo>
                    <a:pt x="177" y="66"/>
                  </a:lnTo>
                  <a:lnTo>
                    <a:pt x="166" y="66"/>
                  </a:lnTo>
                  <a:lnTo>
                    <a:pt x="155" y="68"/>
                  </a:lnTo>
                  <a:lnTo>
                    <a:pt x="144" y="71"/>
                  </a:lnTo>
                  <a:lnTo>
                    <a:pt x="134" y="74"/>
                  </a:lnTo>
                  <a:lnTo>
                    <a:pt x="124" y="79"/>
                  </a:lnTo>
                  <a:lnTo>
                    <a:pt x="115" y="85"/>
                  </a:lnTo>
                  <a:lnTo>
                    <a:pt x="106" y="91"/>
                  </a:lnTo>
                  <a:lnTo>
                    <a:pt x="99" y="98"/>
                  </a:lnTo>
                  <a:lnTo>
                    <a:pt x="92" y="106"/>
                  </a:lnTo>
                  <a:lnTo>
                    <a:pt x="85" y="115"/>
                  </a:lnTo>
                  <a:lnTo>
                    <a:pt x="79" y="124"/>
                  </a:lnTo>
                  <a:lnTo>
                    <a:pt x="75" y="133"/>
                  </a:lnTo>
                  <a:lnTo>
                    <a:pt x="71" y="144"/>
                  </a:lnTo>
                  <a:lnTo>
                    <a:pt x="68" y="154"/>
                  </a:lnTo>
                  <a:lnTo>
                    <a:pt x="67" y="165"/>
                  </a:lnTo>
                  <a:lnTo>
                    <a:pt x="66" y="177"/>
                  </a:lnTo>
                  <a:lnTo>
                    <a:pt x="66" y="177"/>
                  </a:lnTo>
                  <a:lnTo>
                    <a:pt x="67" y="188"/>
                  </a:lnTo>
                  <a:lnTo>
                    <a:pt x="68" y="200"/>
                  </a:lnTo>
                  <a:lnTo>
                    <a:pt x="71" y="210"/>
                  </a:lnTo>
                  <a:lnTo>
                    <a:pt x="75" y="220"/>
                  </a:lnTo>
                  <a:lnTo>
                    <a:pt x="79" y="230"/>
                  </a:lnTo>
                  <a:lnTo>
                    <a:pt x="85" y="239"/>
                  </a:lnTo>
                  <a:lnTo>
                    <a:pt x="92" y="247"/>
                  </a:lnTo>
                  <a:lnTo>
                    <a:pt x="99" y="255"/>
                  </a:lnTo>
                  <a:lnTo>
                    <a:pt x="106" y="263"/>
                  </a:lnTo>
                  <a:lnTo>
                    <a:pt x="115" y="269"/>
                  </a:lnTo>
                  <a:lnTo>
                    <a:pt x="124" y="274"/>
                  </a:lnTo>
                  <a:lnTo>
                    <a:pt x="134" y="279"/>
                  </a:lnTo>
                  <a:lnTo>
                    <a:pt x="144" y="282"/>
                  </a:lnTo>
                  <a:lnTo>
                    <a:pt x="155" y="285"/>
                  </a:lnTo>
                  <a:lnTo>
                    <a:pt x="166" y="288"/>
                  </a:lnTo>
                  <a:lnTo>
                    <a:pt x="177" y="288"/>
                  </a:lnTo>
                  <a:lnTo>
                    <a:pt x="177" y="288"/>
                  </a:lnTo>
                  <a:lnTo>
                    <a:pt x="188" y="288"/>
                  </a:lnTo>
                  <a:lnTo>
                    <a:pt x="199" y="285"/>
                  </a:lnTo>
                  <a:lnTo>
                    <a:pt x="210" y="282"/>
                  </a:lnTo>
                  <a:lnTo>
                    <a:pt x="220" y="279"/>
                  </a:lnTo>
                  <a:lnTo>
                    <a:pt x="229" y="274"/>
                  </a:lnTo>
                  <a:lnTo>
                    <a:pt x="239" y="269"/>
                  </a:lnTo>
                  <a:lnTo>
                    <a:pt x="248" y="263"/>
                  </a:lnTo>
                  <a:lnTo>
                    <a:pt x="255" y="255"/>
                  </a:lnTo>
                  <a:lnTo>
                    <a:pt x="262" y="247"/>
                  </a:lnTo>
                  <a:lnTo>
                    <a:pt x="269" y="239"/>
                  </a:lnTo>
                  <a:lnTo>
                    <a:pt x="275" y="230"/>
                  </a:lnTo>
                  <a:lnTo>
                    <a:pt x="279" y="220"/>
                  </a:lnTo>
                  <a:lnTo>
                    <a:pt x="283" y="210"/>
                  </a:lnTo>
                  <a:lnTo>
                    <a:pt x="285" y="200"/>
                  </a:lnTo>
                  <a:lnTo>
                    <a:pt x="287" y="188"/>
                  </a:lnTo>
                  <a:lnTo>
                    <a:pt x="288" y="177"/>
                  </a:lnTo>
                  <a:lnTo>
                    <a:pt x="288" y="177"/>
                  </a:lnTo>
                  <a:lnTo>
                    <a:pt x="287" y="165"/>
                  </a:lnTo>
                  <a:lnTo>
                    <a:pt x="285" y="154"/>
                  </a:lnTo>
                  <a:lnTo>
                    <a:pt x="283" y="144"/>
                  </a:lnTo>
                  <a:lnTo>
                    <a:pt x="279" y="133"/>
                  </a:lnTo>
                  <a:lnTo>
                    <a:pt x="275" y="124"/>
                  </a:lnTo>
                  <a:lnTo>
                    <a:pt x="269" y="115"/>
                  </a:lnTo>
                  <a:lnTo>
                    <a:pt x="262" y="106"/>
                  </a:lnTo>
                  <a:lnTo>
                    <a:pt x="255" y="98"/>
                  </a:lnTo>
                  <a:lnTo>
                    <a:pt x="248" y="91"/>
                  </a:lnTo>
                  <a:lnTo>
                    <a:pt x="239" y="85"/>
                  </a:lnTo>
                  <a:lnTo>
                    <a:pt x="229" y="79"/>
                  </a:lnTo>
                  <a:lnTo>
                    <a:pt x="220" y="74"/>
                  </a:lnTo>
                  <a:lnTo>
                    <a:pt x="210" y="71"/>
                  </a:lnTo>
                  <a:lnTo>
                    <a:pt x="199" y="68"/>
                  </a:lnTo>
                  <a:lnTo>
                    <a:pt x="188" y="66"/>
                  </a:lnTo>
                  <a:lnTo>
                    <a:pt x="177" y="66"/>
                  </a:lnTo>
                  <a:lnTo>
                    <a:pt x="17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0" name="Freeform 196">
              <a:extLst>
                <a:ext uri="{FF2B5EF4-FFF2-40B4-BE49-F238E27FC236}">
                  <a16:creationId xmlns:a16="http://schemas.microsoft.com/office/drawing/2014/main" id="{6B916A0E-12B2-4DF6-B7B1-A91562BEFE78}"/>
                </a:ext>
              </a:extLst>
            </p:cNvPr>
            <p:cNvSpPr>
              <a:spLocks/>
            </p:cNvSpPr>
            <p:nvPr/>
          </p:nvSpPr>
          <p:spPr bwMode="auto">
            <a:xfrm>
              <a:off x="6996113" y="3249613"/>
              <a:ext cx="300038" cy="314325"/>
            </a:xfrm>
            <a:custGeom>
              <a:avLst/>
              <a:gdLst>
                <a:gd name="T0" fmla="*/ 33 w 1322"/>
                <a:gd name="T1" fmla="*/ 1389 h 1389"/>
                <a:gd name="T2" fmla="*/ 27 w 1322"/>
                <a:gd name="T3" fmla="*/ 1388 h 1389"/>
                <a:gd name="T4" fmla="*/ 14 w 1322"/>
                <a:gd name="T5" fmla="*/ 1382 h 1389"/>
                <a:gd name="T6" fmla="*/ 6 w 1322"/>
                <a:gd name="T7" fmla="*/ 1374 h 1389"/>
                <a:gd name="T8" fmla="*/ 1 w 1322"/>
                <a:gd name="T9" fmla="*/ 1362 h 1389"/>
                <a:gd name="T10" fmla="*/ 0 w 1322"/>
                <a:gd name="T11" fmla="*/ 33 h 1389"/>
                <a:gd name="T12" fmla="*/ 1 w 1322"/>
                <a:gd name="T13" fmla="*/ 25 h 1389"/>
                <a:gd name="T14" fmla="*/ 6 w 1322"/>
                <a:gd name="T15" fmla="*/ 14 h 1389"/>
                <a:gd name="T16" fmla="*/ 14 w 1322"/>
                <a:gd name="T17" fmla="*/ 5 h 1389"/>
                <a:gd name="T18" fmla="*/ 27 w 1322"/>
                <a:gd name="T19" fmla="*/ 0 h 1389"/>
                <a:gd name="T20" fmla="*/ 1289 w 1322"/>
                <a:gd name="T21" fmla="*/ 0 h 1389"/>
                <a:gd name="T22" fmla="*/ 1296 w 1322"/>
                <a:gd name="T23" fmla="*/ 0 h 1389"/>
                <a:gd name="T24" fmla="*/ 1308 w 1322"/>
                <a:gd name="T25" fmla="*/ 5 h 1389"/>
                <a:gd name="T26" fmla="*/ 1317 w 1322"/>
                <a:gd name="T27" fmla="*/ 14 h 1389"/>
                <a:gd name="T28" fmla="*/ 1322 w 1322"/>
                <a:gd name="T29" fmla="*/ 25 h 1389"/>
                <a:gd name="T30" fmla="*/ 1322 w 1322"/>
                <a:gd name="T31" fmla="*/ 628 h 1389"/>
                <a:gd name="T32" fmla="*/ 1322 w 1322"/>
                <a:gd name="T33" fmla="*/ 634 h 1389"/>
                <a:gd name="T34" fmla="*/ 1317 w 1322"/>
                <a:gd name="T35" fmla="*/ 647 h 1389"/>
                <a:gd name="T36" fmla="*/ 1308 w 1322"/>
                <a:gd name="T37" fmla="*/ 655 h 1389"/>
                <a:gd name="T38" fmla="*/ 1296 w 1322"/>
                <a:gd name="T39" fmla="*/ 660 h 1389"/>
                <a:gd name="T40" fmla="*/ 1289 w 1322"/>
                <a:gd name="T41" fmla="*/ 661 h 1389"/>
                <a:gd name="T42" fmla="*/ 1277 w 1322"/>
                <a:gd name="T43" fmla="*/ 658 h 1389"/>
                <a:gd name="T44" fmla="*/ 1266 w 1322"/>
                <a:gd name="T45" fmla="*/ 651 h 1389"/>
                <a:gd name="T46" fmla="*/ 1259 w 1322"/>
                <a:gd name="T47" fmla="*/ 640 h 1389"/>
                <a:gd name="T48" fmla="*/ 1256 w 1322"/>
                <a:gd name="T49" fmla="*/ 628 h 1389"/>
                <a:gd name="T50" fmla="*/ 66 w 1322"/>
                <a:gd name="T51" fmla="*/ 66 h 1389"/>
                <a:gd name="T52" fmla="*/ 628 w 1322"/>
                <a:gd name="T53" fmla="*/ 1322 h 1389"/>
                <a:gd name="T54" fmla="*/ 635 w 1322"/>
                <a:gd name="T55" fmla="*/ 1322 h 1389"/>
                <a:gd name="T56" fmla="*/ 646 w 1322"/>
                <a:gd name="T57" fmla="*/ 1328 h 1389"/>
                <a:gd name="T58" fmla="*/ 656 w 1322"/>
                <a:gd name="T59" fmla="*/ 1337 h 1389"/>
                <a:gd name="T60" fmla="*/ 661 w 1322"/>
                <a:gd name="T61" fmla="*/ 1348 h 1389"/>
                <a:gd name="T62" fmla="*/ 661 w 1322"/>
                <a:gd name="T63" fmla="*/ 1356 h 1389"/>
                <a:gd name="T64" fmla="*/ 659 w 1322"/>
                <a:gd name="T65" fmla="*/ 1368 h 1389"/>
                <a:gd name="T66" fmla="*/ 652 w 1322"/>
                <a:gd name="T67" fmla="*/ 1378 h 1389"/>
                <a:gd name="T68" fmla="*/ 641 w 1322"/>
                <a:gd name="T69" fmla="*/ 1386 h 1389"/>
                <a:gd name="T70" fmla="*/ 628 w 1322"/>
                <a:gd name="T71" fmla="*/ 138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22" h="1389">
                  <a:moveTo>
                    <a:pt x="628" y="1389"/>
                  </a:moveTo>
                  <a:lnTo>
                    <a:pt x="33" y="1389"/>
                  </a:lnTo>
                  <a:lnTo>
                    <a:pt x="33" y="1389"/>
                  </a:lnTo>
                  <a:lnTo>
                    <a:pt x="27" y="1388"/>
                  </a:lnTo>
                  <a:lnTo>
                    <a:pt x="20" y="1386"/>
                  </a:lnTo>
                  <a:lnTo>
                    <a:pt x="14" y="1382"/>
                  </a:lnTo>
                  <a:lnTo>
                    <a:pt x="10" y="1378"/>
                  </a:lnTo>
                  <a:lnTo>
                    <a:pt x="6" y="1374"/>
                  </a:lnTo>
                  <a:lnTo>
                    <a:pt x="3" y="1368"/>
                  </a:lnTo>
                  <a:lnTo>
                    <a:pt x="1" y="1362"/>
                  </a:lnTo>
                  <a:lnTo>
                    <a:pt x="0" y="1356"/>
                  </a:lnTo>
                  <a:lnTo>
                    <a:pt x="0" y="33"/>
                  </a:lnTo>
                  <a:lnTo>
                    <a:pt x="0" y="33"/>
                  </a:lnTo>
                  <a:lnTo>
                    <a:pt x="1" y="25"/>
                  </a:lnTo>
                  <a:lnTo>
                    <a:pt x="3" y="19"/>
                  </a:lnTo>
                  <a:lnTo>
                    <a:pt x="6" y="14"/>
                  </a:lnTo>
                  <a:lnTo>
                    <a:pt x="10" y="9"/>
                  </a:lnTo>
                  <a:lnTo>
                    <a:pt x="14" y="5"/>
                  </a:lnTo>
                  <a:lnTo>
                    <a:pt x="20" y="2"/>
                  </a:lnTo>
                  <a:lnTo>
                    <a:pt x="27" y="0"/>
                  </a:lnTo>
                  <a:lnTo>
                    <a:pt x="33" y="0"/>
                  </a:lnTo>
                  <a:lnTo>
                    <a:pt x="1289" y="0"/>
                  </a:lnTo>
                  <a:lnTo>
                    <a:pt x="1289" y="0"/>
                  </a:lnTo>
                  <a:lnTo>
                    <a:pt x="1296" y="0"/>
                  </a:lnTo>
                  <a:lnTo>
                    <a:pt x="1303" y="2"/>
                  </a:lnTo>
                  <a:lnTo>
                    <a:pt x="1308" y="5"/>
                  </a:lnTo>
                  <a:lnTo>
                    <a:pt x="1313" y="9"/>
                  </a:lnTo>
                  <a:lnTo>
                    <a:pt x="1317" y="14"/>
                  </a:lnTo>
                  <a:lnTo>
                    <a:pt x="1320" y="19"/>
                  </a:lnTo>
                  <a:lnTo>
                    <a:pt x="1322" y="25"/>
                  </a:lnTo>
                  <a:lnTo>
                    <a:pt x="1322" y="33"/>
                  </a:lnTo>
                  <a:lnTo>
                    <a:pt x="1322" y="628"/>
                  </a:lnTo>
                  <a:lnTo>
                    <a:pt x="1322" y="628"/>
                  </a:lnTo>
                  <a:lnTo>
                    <a:pt x="1322" y="634"/>
                  </a:lnTo>
                  <a:lnTo>
                    <a:pt x="1320" y="640"/>
                  </a:lnTo>
                  <a:lnTo>
                    <a:pt x="1317" y="647"/>
                  </a:lnTo>
                  <a:lnTo>
                    <a:pt x="1313" y="651"/>
                  </a:lnTo>
                  <a:lnTo>
                    <a:pt x="1308" y="655"/>
                  </a:lnTo>
                  <a:lnTo>
                    <a:pt x="1303" y="658"/>
                  </a:lnTo>
                  <a:lnTo>
                    <a:pt x="1296" y="660"/>
                  </a:lnTo>
                  <a:lnTo>
                    <a:pt x="1289" y="661"/>
                  </a:lnTo>
                  <a:lnTo>
                    <a:pt x="1289" y="661"/>
                  </a:lnTo>
                  <a:lnTo>
                    <a:pt x="1283" y="660"/>
                  </a:lnTo>
                  <a:lnTo>
                    <a:pt x="1277" y="658"/>
                  </a:lnTo>
                  <a:lnTo>
                    <a:pt x="1270" y="655"/>
                  </a:lnTo>
                  <a:lnTo>
                    <a:pt x="1266" y="651"/>
                  </a:lnTo>
                  <a:lnTo>
                    <a:pt x="1262" y="647"/>
                  </a:lnTo>
                  <a:lnTo>
                    <a:pt x="1259" y="640"/>
                  </a:lnTo>
                  <a:lnTo>
                    <a:pt x="1257" y="634"/>
                  </a:lnTo>
                  <a:lnTo>
                    <a:pt x="1256" y="628"/>
                  </a:lnTo>
                  <a:lnTo>
                    <a:pt x="1256" y="66"/>
                  </a:lnTo>
                  <a:lnTo>
                    <a:pt x="66" y="66"/>
                  </a:lnTo>
                  <a:lnTo>
                    <a:pt x="66" y="1322"/>
                  </a:lnTo>
                  <a:lnTo>
                    <a:pt x="628" y="1322"/>
                  </a:lnTo>
                  <a:lnTo>
                    <a:pt x="628" y="1322"/>
                  </a:lnTo>
                  <a:lnTo>
                    <a:pt x="635" y="1322"/>
                  </a:lnTo>
                  <a:lnTo>
                    <a:pt x="641" y="1325"/>
                  </a:lnTo>
                  <a:lnTo>
                    <a:pt x="646" y="1328"/>
                  </a:lnTo>
                  <a:lnTo>
                    <a:pt x="652" y="1332"/>
                  </a:lnTo>
                  <a:lnTo>
                    <a:pt x="656" y="1337"/>
                  </a:lnTo>
                  <a:lnTo>
                    <a:pt x="659" y="1342"/>
                  </a:lnTo>
                  <a:lnTo>
                    <a:pt x="661" y="1348"/>
                  </a:lnTo>
                  <a:lnTo>
                    <a:pt x="661" y="1356"/>
                  </a:lnTo>
                  <a:lnTo>
                    <a:pt x="661" y="1356"/>
                  </a:lnTo>
                  <a:lnTo>
                    <a:pt x="661" y="1362"/>
                  </a:lnTo>
                  <a:lnTo>
                    <a:pt x="659" y="1368"/>
                  </a:lnTo>
                  <a:lnTo>
                    <a:pt x="656" y="1374"/>
                  </a:lnTo>
                  <a:lnTo>
                    <a:pt x="652" y="1378"/>
                  </a:lnTo>
                  <a:lnTo>
                    <a:pt x="646" y="1382"/>
                  </a:lnTo>
                  <a:lnTo>
                    <a:pt x="641" y="1386"/>
                  </a:lnTo>
                  <a:lnTo>
                    <a:pt x="635" y="1388"/>
                  </a:lnTo>
                  <a:lnTo>
                    <a:pt x="628" y="1389"/>
                  </a:lnTo>
                  <a:lnTo>
                    <a:pt x="628" y="1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1" name="Freeform 197">
              <a:extLst>
                <a:ext uri="{FF2B5EF4-FFF2-40B4-BE49-F238E27FC236}">
                  <a16:creationId xmlns:a16="http://schemas.microsoft.com/office/drawing/2014/main" id="{15E2FD3A-2917-41DD-960C-6CFA9531C3CB}"/>
                </a:ext>
              </a:extLst>
            </p:cNvPr>
            <p:cNvSpPr>
              <a:spLocks/>
            </p:cNvSpPr>
            <p:nvPr/>
          </p:nvSpPr>
          <p:spPr bwMode="auto">
            <a:xfrm>
              <a:off x="7227888" y="3249613"/>
              <a:ext cx="15875" cy="36513"/>
            </a:xfrm>
            <a:custGeom>
              <a:avLst/>
              <a:gdLst>
                <a:gd name="T0" fmla="*/ 33 w 66"/>
                <a:gd name="T1" fmla="*/ 164 h 164"/>
                <a:gd name="T2" fmla="*/ 33 w 66"/>
                <a:gd name="T3" fmla="*/ 164 h 164"/>
                <a:gd name="T4" fmla="*/ 26 w 66"/>
                <a:gd name="T5" fmla="*/ 164 h 164"/>
                <a:gd name="T6" fmla="*/ 20 w 66"/>
                <a:gd name="T7" fmla="*/ 162 h 164"/>
                <a:gd name="T8" fmla="*/ 15 w 66"/>
                <a:gd name="T9" fmla="*/ 159 h 164"/>
                <a:gd name="T10" fmla="*/ 10 w 66"/>
                <a:gd name="T11" fmla="*/ 155 h 164"/>
                <a:gd name="T12" fmla="*/ 5 w 66"/>
                <a:gd name="T13" fmla="*/ 150 h 164"/>
                <a:gd name="T14" fmla="*/ 2 w 66"/>
                <a:gd name="T15" fmla="*/ 145 h 164"/>
                <a:gd name="T16" fmla="*/ 0 w 66"/>
                <a:gd name="T17" fmla="*/ 138 h 164"/>
                <a:gd name="T18" fmla="*/ 0 w 66"/>
                <a:gd name="T19" fmla="*/ 132 h 164"/>
                <a:gd name="T20" fmla="*/ 0 w 66"/>
                <a:gd name="T21" fmla="*/ 33 h 164"/>
                <a:gd name="T22" fmla="*/ 0 w 66"/>
                <a:gd name="T23" fmla="*/ 33 h 164"/>
                <a:gd name="T24" fmla="*/ 0 w 66"/>
                <a:gd name="T25" fmla="*/ 25 h 164"/>
                <a:gd name="T26" fmla="*/ 2 w 66"/>
                <a:gd name="T27" fmla="*/ 19 h 164"/>
                <a:gd name="T28" fmla="*/ 5 w 66"/>
                <a:gd name="T29" fmla="*/ 14 h 164"/>
                <a:gd name="T30" fmla="*/ 10 w 66"/>
                <a:gd name="T31" fmla="*/ 9 h 164"/>
                <a:gd name="T32" fmla="*/ 15 w 66"/>
                <a:gd name="T33" fmla="*/ 5 h 164"/>
                <a:gd name="T34" fmla="*/ 20 w 66"/>
                <a:gd name="T35" fmla="*/ 2 h 164"/>
                <a:gd name="T36" fmla="*/ 26 w 66"/>
                <a:gd name="T37" fmla="*/ 0 h 164"/>
                <a:gd name="T38" fmla="*/ 33 w 66"/>
                <a:gd name="T39" fmla="*/ 0 h 164"/>
                <a:gd name="T40" fmla="*/ 33 w 66"/>
                <a:gd name="T41" fmla="*/ 0 h 164"/>
                <a:gd name="T42" fmla="*/ 40 w 66"/>
                <a:gd name="T43" fmla="*/ 0 h 164"/>
                <a:gd name="T44" fmla="*/ 46 w 66"/>
                <a:gd name="T45" fmla="*/ 2 h 164"/>
                <a:gd name="T46" fmla="*/ 51 w 66"/>
                <a:gd name="T47" fmla="*/ 5 h 164"/>
                <a:gd name="T48" fmla="*/ 56 w 66"/>
                <a:gd name="T49" fmla="*/ 9 h 164"/>
                <a:gd name="T50" fmla="*/ 60 w 66"/>
                <a:gd name="T51" fmla="*/ 14 h 164"/>
                <a:gd name="T52" fmla="*/ 63 w 66"/>
                <a:gd name="T53" fmla="*/ 19 h 164"/>
                <a:gd name="T54" fmla="*/ 65 w 66"/>
                <a:gd name="T55" fmla="*/ 25 h 164"/>
                <a:gd name="T56" fmla="*/ 66 w 66"/>
                <a:gd name="T57" fmla="*/ 33 h 164"/>
                <a:gd name="T58" fmla="*/ 66 w 66"/>
                <a:gd name="T59" fmla="*/ 132 h 164"/>
                <a:gd name="T60" fmla="*/ 66 w 66"/>
                <a:gd name="T61" fmla="*/ 132 h 164"/>
                <a:gd name="T62" fmla="*/ 65 w 66"/>
                <a:gd name="T63" fmla="*/ 138 h 164"/>
                <a:gd name="T64" fmla="*/ 63 w 66"/>
                <a:gd name="T65" fmla="*/ 145 h 164"/>
                <a:gd name="T66" fmla="*/ 60 w 66"/>
                <a:gd name="T67" fmla="*/ 150 h 164"/>
                <a:gd name="T68" fmla="*/ 56 w 66"/>
                <a:gd name="T69" fmla="*/ 155 h 164"/>
                <a:gd name="T70" fmla="*/ 51 w 66"/>
                <a:gd name="T71" fmla="*/ 159 h 164"/>
                <a:gd name="T72" fmla="*/ 46 w 66"/>
                <a:gd name="T73" fmla="*/ 162 h 164"/>
                <a:gd name="T74" fmla="*/ 40 w 66"/>
                <a:gd name="T75" fmla="*/ 164 h 164"/>
                <a:gd name="T76" fmla="*/ 33 w 66"/>
                <a:gd name="T77" fmla="*/ 164 h 164"/>
                <a:gd name="T78" fmla="*/ 33 w 66"/>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64">
                  <a:moveTo>
                    <a:pt x="33" y="164"/>
                  </a:moveTo>
                  <a:lnTo>
                    <a:pt x="33" y="164"/>
                  </a:lnTo>
                  <a:lnTo>
                    <a:pt x="26" y="164"/>
                  </a:lnTo>
                  <a:lnTo>
                    <a:pt x="20" y="162"/>
                  </a:lnTo>
                  <a:lnTo>
                    <a:pt x="15" y="159"/>
                  </a:lnTo>
                  <a:lnTo>
                    <a:pt x="10" y="155"/>
                  </a:lnTo>
                  <a:lnTo>
                    <a:pt x="5" y="150"/>
                  </a:lnTo>
                  <a:lnTo>
                    <a:pt x="2" y="145"/>
                  </a:lnTo>
                  <a:lnTo>
                    <a:pt x="0" y="138"/>
                  </a:lnTo>
                  <a:lnTo>
                    <a:pt x="0" y="132"/>
                  </a:lnTo>
                  <a:lnTo>
                    <a:pt x="0" y="33"/>
                  </a:lnTo>
                  <a:lnTo>
                    <a:pt x="0" y="33"/>
                  </a:lnTo>
                  <a:lnTo>
                    <a:pt x="0" y="25"/>
                  </a:lnTo>
                  <a:lnTo>
                    <a:pt x="2" y="19"/>
                  </a:lnTo>
                  <a:lnTo>
                    <a:pt x="5" y="14"/>
                  </a:lnTo>
                  <a:lnTo>
                    <a:pt x="10" y="9"/>
                  </a:lnTo>
                  <a:lnTo>
                    <a:pt x="15" y="5"/>
                  </a:lnTo>
                  <a:lnTo>
                    <a:pt x="20" y="2"/>
                  </a:lnTo>
                  <a:lnTo>
                    <a:pt x="26" y="0"/>
                  </a:lnTo>
                  <a:lnTo>
                    <a:pt x="33" y="0"/>
                  </a:lnTo>
                  <a:lnTo>
                    <a:pt x="33" y="0"/>
                  </a:lnTo>
                  <a:lnTo>
                    <a:pt x="40" y="0"/>
                  </a:lnTo>
                  <a:lnTo>
                    <a:pt x="46" y="2"/>
                  </a:lnTo>
                  <a:lnTo>
                    <a:pt x="51" y="5"/>
                  </a:lnTo>
                  <a:lnTo>
                    <a:pt x="56" y="9"/>
                  </a:lnTo>
                  <a:lnTo>
                    <a:pt x="60" y="14"/>
                  </a:lnTo>
                  <a:lnTo>
                    <a:pt x="63" y="19"/>
                  </a:lnTo>
                  <a:lnTo>
                    <a:pt x="65" y="25"/>
                  </a:lnTo>
                  <a:lnTo>
                    <a:pt x="66" y="33"/>
                  </a:lnTo>
                  <a:lnTo>
                    <a:pt x="66" y="132"/>
                  </a:lnTo>
                  <a:lnTo>
                    <a:pt x="66" y="132"/>
                  </a:lnTo>
                  <a:lnTo>
                    <a:pt x="65" y="138"/>
                  </a:lnTo>
                  <a:lnTo>
                    <a:pt x="63" y="145"/>
                  </a:lnTo>
                  <a:lnTo>
                    <a:pt x="60" y="150"/>
                  </a:lnTo>
                  <a:lnTo>
                    <a:pt x="56" y="155"/>
                  </a:lnTo>
                  <a:lnTo>
                    <a:pt x="51" y="159"/>
                  </a:lnTo>
                  <a:lnTo>
                    <a:pt x="46" y="162"/>
                  </a:lnTo>
                  <a:lnTo>
                    <a:pt x="40" y="164"/>
                  </a:lnTo>
                  <a:lnTo>
                    <a:pt x="33" y="164"/>
                  </a:lnTo>
                  <a:lnTo>
                    <a:pt x="3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2" name="Freeform 198">
              <a:extLst>
                <a:ext uri="{FF2B5EF4-FFF2-40B4-BE49-F238E27FC236}">
                  <a16:creationId xmlns:a16="http://schemas.microsoft.com/office/drawing/2014/main" id="{C8E9A13F-A2CD-4A19-B30E-8E7330E182FD}"/>
                </a:ext>
              </a:extLst>
            </p:cNvPr>
            <p:cNvSpPr>
              <a:spLocks/>
            </p:cNvSpPr>
            <p:nvPr/>
          </p:nvSpPr>
          <p:spPr bwMode="auto">
            <a:xfrm>
              <a:off x="7167563" y="3249613"/>
              <a:ext cx="15875" cy="36513"/>
            </a:xfrm>
            <a:custGeom>
              <a:avLst/>
              <a:gdLst>
                <a:gd name="T0" fmla="*/ 33 w 67"/>
                <a:gd name="T1" fmla="*/ 164 h 164"/>
                <a:gd name="T2" fmla="*/ 33 w 67"/>
                <a:gd name="T3" fmla="*/ 164 h 164"/>
                <a:gd name="T4" fmla="*/ 27 w 67"/>
                <a:gd name="T5" fmla="*/ 164 h 164"/>
                <a:gd name="T6" fmla="*/ 21 w 67"/>
                <a:gd name="T7" fmla="*/ 162 h 164"/>
                <a:gd name="T8" fmla="*/ 15 w 67"/>
                <a:gd name="T9" fmla="*/ 159 h 164"/>
                <a:gd name="T10" fmla="*/ 10 w 67"/>
                <a:gd name="T11" fmla="*/ 155 h 164"/>
                <a:gd name="T12" fmla="*/ 7 w 67"/>
                <a:gd name="T13" fmla="*/ 150 h 164"/>
                <a:gd name="T14" fmla="*/ 3 w 67"/>
                <a:gd name="T15" fmla="*/ 145 h 164"/>
                <a:gd name="T16" fmla="*/ 1 w 67"/>
                <a:gd name="T17" fmla="*/ 138 h 164"/>
                <a:gd name="T18" fmla="*/ 0 w 67"/>
                <a:gd name="T19" fmla="*/ 132 h 164"/>
                <a:gd name="T20" fmla="*/ 0 w 67"/>
                <a:gd name="T21" fmla="*/ 33 h 164"/>
                <a:gd name="T22" fmla="*/ 0 w 67"/>
                <a:gd name="T23" fmla="*/ 33 h 164"/>
                <a:gd name="T24" fmla="*/ 1 w 67"/>
                <a:gd name="T25" fmla="*/ 25 h 164"/>
                <a:gd name="T26" fmla="*/ 3 w 67"/>
                <a:gd name="T27" fmla="*/ 19 h 164"/>
                <a:gd name="T28" fmla="*/ 7 w 67"/>
                <a:gd name="T29" fmla="*/ 14 h 164"/>
                <a:gd name="T30" fmla="*/ 10 w 67"/>
                <a:gd name="T31" fmla="*/ 9 h 164"/>
                <a:gd name="T32" fmla="*/ 15 w 67"/>
                <a:gd name="T33" fmla="*/ 5 h 164"/>
                <a:gd name="T34" fmla="*/ 21 w 67"/>
                <a:gd name="T35" fmla="*/ 2 h 164"/>
                <a:gd name="T36" fmla="*/ 27 w 67"/>
                <a:gd name="T37" fmla="*/ 0 h 164"/>
                <a:gd name="T38" fmla="*/ 33 w 67"/>
                <a:gd name="T39" fmla="*/ 0 h 164"/>
                <a:gd name="T40" fmla="*/ 33 w 67"/>
                <a:gd name="T41" fmla="*/ 0 h 164"/>
                <a:gd name="T42" fmla="*/ 40 w 67"/>
                <a:gd name="T43" fmla="*/ 0 h 164"/>
                <a:gd name="T44" fmla="*/ 46 w 67"/>
                <a:gd name="T45" fmla="*/ 2 h 164"/>
                <a:gd name="T46" fmla="*/ 52 w 67"/>
                <a:gd name="T47" fmla="*/ 5 h 164"/>
                <a:gd name="T48" fmla="*/ 57 w 67"/>
                <a:gd name="T49" fmla="*/ 9 h 164"/>
                <a:gd name="T50" fmla="*/ 60 w 67"/>
                <a:gd name="T51" fmla="*/ 14 h 164"/>
                <a:gd name="T52" fmla="*/ 63 w 67"/>
                <a:gd name="T53" fmla="*/ 19 h 164"/>
                <a:gd name="T54" fmla="*/ 66 w 67"/>
                <a:gd name="T55" fmla="*/ 25 h 164"/>
                <a:gd name="T56" fmla="*/ 67 w 67"/>
                <a:gd name="T57" fmla="*/ 33 h 164"/>
                <a:gd name="T58" fmla="*/ 67 w 67"/>
                <a:gd name="T59" fmla="*/ 132 h 164"/>
                <a:gd name="T60" fmla="*/ 67 w 67"/>
                <a:gd name="T61" fmla="*/ 132 h 164"/>
                <a:gd name="T62" fmla="*/ 66 w 67"/>
                <a:gd name="T63" fmla="*/ 138 h 164"/>
                <a:gd name="T64" fmla="*/ 63 w 67"/>
                <a:gd name="T65" fmla="*/ 145 h 164"/>
                <a:gd name="T66" fmla="*/ 60 w 67"/>
                <a:gd name="T67" fmla="*/ 150 h 164"/>
                <a:gd name="T68" fmla="*/ 57 w 67"/>
                <a:gd name="T69" fmla="*/ 155 h 164"/>
                <a:gd name="T70" fmla="*/ 52 w 67"/>
                <a:gd name="T71" fmla="*/ 159 h 164"/>
                <a:gd name="T72" fmla="*/ 46 w 67"/>
                <a:gd name="T73" fmla="*/ 162 h 164"/>
                <a:gd name="T74" fmla="*/ 40 w 67"/>
                <a:gd name="T75" fmla="*/ 164 h 164"/>
                <a:gd name="T76" fmla="*/ 33 w 67"/>
                <a:gd name="T77" fmla="*/ 164 h 164"/>
                <a:gd name="T78" fmla="*/ 33 w 67"/>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 h="164">
                  <a:moveTo>
                    <a:pt x="33" y="164"/>
                  </a:moveTo>
                  <a:lnTo>
                    <a:pt x="33" y="164"/>
                  </a:lnTo>
                  <a:lnTo>
                    <a:pt x="27" y="164"/>
                  </a:lnTo>
                  <a:lnTo>
                    <a:pt x="21" y="162"/>
                  </a:lnTo>
                  <a:lnTo>
                    <a:pt x="15" y="159"/>
                  </a:lnTo>
                  <a:lnTo>
                    <a:pt x="10" y="155"/>
                  </a:lnTo>
                  <a:lnTo>
                    <a:pt x="7" y="150"/>
                  </a:lnTo>
                  <a:lnTo>
                    <a:pt x="3" y="145"/>
                  </a:lnTo>
                  <a:lnTo>
                    <a:pt x="1" y="138"/>
                  </a:lnTo>
                  <a:lnTo>
                    <a:pt x="0" y="132"/>
                  </a:lnTo>
                  <a:lnTo>
                    <a:pt x="0" y="33"/>
                  </a:lnTo>
                  <a:lnTo>
                    <a:pt x="0" y="33"/>
                  </a:lnTo>
                  <a:lnTo>
                    <a:pt x="1" y="25"/>
                  </a:lnTo>
                  <a:lnTo>
                    <a:pt x="3" y="19"/>
                  </a:lnTo>
                  <a:lnTo>
                    <a:pt x="7" y="14"/>
                  </a:lnTo>
                  <a:lnTo>
                    <a:pt x="10" y="9"/>
                  </a:lnTo>
                  <a:lnTo>
                    <a:pt x="15" y="5"/>
                  </a:lnTo>
                  <a:lnTo>
                    <a:pt x="21" y="2"/>
                  </a:lnTo>
                  <a:lnTo>
                    <a:pt x="27" y="0"/>
                  </a:lnTo>
                  <a:lnTo>
                    <a:pt x="33" y="0"/>
                  </a:lnTo>
                  <a:lnTo>
                    <a:pt x="33" y="0"/>
                  </a:lnTo>
                  <a:lnTo>
                    <a:pt x="40" y="0"/>
                  </a:lnTo>
                  <a:lnTo>
                    <a:pt x="46" y="2"/>
                  </a:lnTo>
                  <a:lnTo>
                    <a:pt x="52" y="5"/>
                  </a:lnTo>
                  <a:lnTo>
                    <a:pt x="57" y="9"/>
                  </a:lnTo>
                  <a:lnTo>
                    <a:pt x="60" y="14"/>
                  </a:lnTo>
                  <a:lnTo>
                    <a:pt x="63" y="19"/>
                  </a:lnTo>
                  <a:lnTo>
                    <a:pt x="66" y="25"/>
                  </a:lnTo>
                  <a:lnTo>
                    <a:pt x="67" y="33"/>
                  </a:lnTo>
                  <a:lnTo>
                    <a:pt x="67" y="132"/>
                  </a:lnTo>
                  <a:lnTo>
                    <a:pt x="67" y="132"/>
                  </a:lnTo>
                  <a:lnTo>
                    <a:pt x="66" y="138"/>
                  </a:lnTo>
                  <a:lnTo>
                    <a:pt x="63" y="145"/>
                  </a:lnTo>
                  <a:lnTo>
                    <a:pt x="60" y="150"/>
                  </a:lnTo>
                  <a:lnTo>
                    <a:pt x="57" y="155"/>
                  </a:lnTo>
                  <a:lnTo>
                    <a:pt x="52" y="159"/>
                  </a:lnTo>
                  <a:lnTo>
                    <a:pt x="46" y="162"/>
                  </a:lnTo>
                  <a:lnTo>
                    <a:pt x="40" y="164"/>
                  </a:lnTo>
                  <a:lnTo>
                    <a:pt x="33" y="164"/>
                  </a:lnTo>
                  <a:lnTo>
                    <a:pt x="3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Freeform 199">
              <a:extLst>
                <a:ext uri="{FF2B5EF4-FFF2-40B4-BE49-F238E27FC236}">
                  <a16:creationId xmlns:a16="http://schemas.microsoft.com/office/drawing/2014/main" id="{A08B44B0-1BF4-445D-8CB6-C361C797D9F9}"/>
                </a:ext>
              </a:extLst>
            </p:cNvPr>
            <p:cNvSpPr>
              <a:spLocks/>
            </p:cNvSpPr>
            <p:nvPr/>
          </p:nvSpPr>
          <p:spPr bwMode="auto">
            <a:xfrm>
              <a:off x="7108825" y="3249613"/>
              <a:ext cx="14288" cy="36513"/>
            </a:xfrm>
            <a:custGeom>
              <a:avLst/>
              <a:gdLst>
                <a:gd name="T0" fmla="*/ 33 w 67"/>
                <a:gd name="T1" fmla="*/ 164 h 164"/>
                <a:gd name="T2" fmla="*/ 33 w 67"/>
                <a:gd name="T3" fmla="*/ 164 h 164"/>
                <a:gd name="T4" fmla="*/ 27 w 67"/>
                <a:gd name="T5" fmla="*/ 164 h 164"/>
                <a:gd name="T6" fmla="*/ 21 w 67"/>
                <a:gd name="T7" fmla="*/ 162 h 164"/>
                <a:gd name="T8" fmla="*/ 16 w 67"/>
                <a:gd name="T9" fmla="*/ 159 h 164"/>
                <a:gd name="T10" fmla="*/ 11 w 67"/>
                <a:gd name="T11" fmla="*/ 155 h 164"/>
                <a:gd name="T12" fmla="*/ 7 w 67"/>
                <a:gd name="T13" fmla="*/ 150 h 164"/>
                <a:gd name="T14" fmla="*/ 3 w 67"/>
                <a:gd name="T15" fmla="*/ 145 h 164"/>
                <a:gd name="T16" fmla="*/ 1 w 67"/>
                <a:gd name="T17" fmla="*/ 138 h 164"/>
                <a:gd name="T18" fmla="*/ 0 w 67"/>
                <a:gd name="T19" fmla="*/ 132 h 164"/>
                <a:gd name="T20" fmla="*/ 0 w 67"/>
                <a:gd name="T21" fmla="*/ 33 h 164"/>
                <a:gd name="T22" fmla="*/ 0 w 67"/>
                <a:gd name="T23" fmla="*/ 33 h 164"/>
                <a:gd name="T24" fmla="*/ 1 w 67"/>
                <a:gd name="T25" fmla="*/ 25 h 164"/>
                <a:gd name="T26" fmla="*/ 3 w 67"/>
                <a:gd name="T27" fmla="*/ 19 h 164"/>
                <a:gd name="T28" fmla="*/ 7 w 67"/>
                <a:gd name="T29" fmla="*/ 14 h 164"/>
                <a:gd name="T30" fmla="*/ 11 w 67"/>
                <a:gd name="T31" fmla="*/ 9 h 164"/>
                <a:gd name="T32" fmla="*/ 16 w 67"/>
                <a:gd name="T33" fmla="*/ 5 h 164"/>
                <a:gd name="T34" fmla="*/ 21 w 67"/>
                <a:gd name="T35" fmla="*/ 2 h 164"/>
                <a:gd name="T36" fmla="*/ 27 w 67"/>
                <a:gd name="T37" fmla="*/ 0 h 164"/>
                <a:gd name="T38" fmla="*/ 33 w 67"/>
                <a:gd name="T39" fmla="*/ 0 h 164"/>
                <a:gd name="T40" fmla="*/ 33 w 67"/>
                <a:gd name="T41" fmla="*/ 0 h 164"/>
                <a:gd name="T42" fmla="*/ 41 w 67"/>
                <a:gd name="T43" fmla="*/ 0 h 164"/>
                <a:gd name="T44" fmla="*/ 47 w 67"/>
                <a:gd name="T45" fmla="*/ 2 h 164"/>
                <a:gd name="T46" fmla="*/ 52 w 67"/>
                <a:gd name="T47" fmla="*/ 5 h 164"/>
                <a:gd name="T48" fmla="*/ 57 w 67"/>
                <a:gd name="T49" fmla="*/ 9 h 164"/>
                <a:gd name="T50" fmla="*/ 61 w 67"/>
                <a:gd name="T51" fmla="*/ 14 h 164"/>
                <a:gd name="T52" fmla="*/ 65 w 67"/>
                <a:gd name="T53" fmla="*/ 19 h 164"/>
                <a:gd name="T54" fmla="*/ 67 w 67"/>
                <a:gd name="T55" fmla="*/ 25 h 164"/>
                <a:gd name="T56" fmla="*/ 67 w 67"/>
                <a:gd name="T57" fmla="*/ 33 h 164"/>
                <a:gd name="T58" fmla="*/ 67 w 67"/>
                <a:gd name="T59" fmla="*/ 132 h 164"/>
                <a:gd name="T60" fmla="*/ 67 w 67"/>
                <a:gd name="T61" fmla="*/ 132 h 164"/>
                <a:gd name="T62" fmla="*/ 67 w 67"/>
                <a:gd name="T63" fmla="*/ 138 h 164"/>
                <a:gd name="T64" fmla="*/ 65 w 67"/>
                <a:gd name="T65" fmla="*/ 145 h 164"/>
                <a:gd name="T66" fmla="*/ 61 w 67"/>
                <a:gd name="T67" fmla="*/ 150 h 164"/>
                <a:gd name="T68" fmla="*/ 57 w 67"/>
                <a:gd name="T69" fmla="*/ 155 h 164"/>
                <a:gd name="T70" fmla="*/ 52 w 67"/>
                <a:gd name="T71" fmla="*/ 159 h 164"/>
                <a:gd name="T72" fmla="*/ 47 w 67"/>
                <a:gd name="T73" fmla="*/ 162 h 164"/>
                <a:gd name="T74" fmla="*/ 41 w 67"/>
                <a:gd name="T75" fmla="*/ 164 h 164"/>
                <a:gd name="T76" fmla="*/ 33 w 67"/>
                <a:gd name="T77" fmla="*/ 164 h 164"/>
                <a:gd name="T78" fmla="*/ 33 w 67"/>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 h="164">
                  <a:moveTo>
                    <a:pt x="33" y="164"/>
                  </a:moveTo>
                  <a:lnTo>
                    <a:pt x="33" y="164"/>
                  </a:lnTo>
                  <a:lnTo>
                    <a:pt x="27" y="164"/>
                  </a:lnTo>
                  <a:lnTo>
                    <a:pt x="21" y="162"/>
                  </a:lnTo>
                  <a:lnTo>
                    <a:pt x="16" y="159"/>
                  </a:lnTo>
                  <a:lnTo>
                    <a:pt x="11" y="155"/>
                  </a:lnTo>
                  <a:lnTo>
                    <a:pt x="7" y="150"/>
                  </a:lnTo>
                  <a:lnTo>
                    <a:pt x="3" y="145"/>
                  </a:lnTo>
                  <a:lnTo>
                    <a:pt x="1" y="138"/>
                  </a:lnTo>
                  <a:lnTo>
                    <a:pt x="0" y="132"/>
                  </a:lnTo>
                  <a:lnTo>
                    <a:pt x="0" y="33"/>
                  </a:lnTo>
                  <a:lnTo>
                    <a:pt x="0" y="33"/>
                  </a:lnTo>
                  <a:lnTo>
                    <a:pt x="1" y="25"/>
                  </a:lnTo>
                  <a:lnTo>
                    <a:pt x="3" y="19"/>
                  </a:lnTo>
                  <a:lnTo>
                    <a:pt x="7" y="14"/>
                  </a:lnTo>
                  <a:lnTo>
                    <a:pt x="11" y="9"/>
                  </a:lnTo>
                  <a:lnTo>
                    <a:pt x="16" y="5"/>
                  </a:lnTo>
                  <a:lnTo>
                    <a:pt x="21" y="2"/>
                  </a:lnTo>
                  <a:lnTo>
                    <a:pt x="27" y="0"/>
                  </a:lnTo>
                  <a:lnTo>
                    <a:pt x="33" y="0"/>
                  </a:lnTo>
                  <a:lnTo>
                    <a:pt x="33" y="0"/>
                  </a:lnTo>
                  <a:lnTo>
                    <a:pt x="41" y="0"/>
                  </a:lnTo>
                  <a:lnTo>
                    <a:pt x="47" y="2"/>
                  </a:lnTo>
                  <a:lnTo>
                    <a:pt x="52" y="5"/>
                  </a:lnTo>
                  <a:lnTo>
                    <a:pt x="57" y="9"/>
                  </a:lnTo>
                  <a:lnTo>
                    <a:pt x="61" y="14"/>
                  </a:lnTo>
                  <a:lnTo>
                    <a:pt x="65" y="19"/>
                  </a:lnTo>
                  <a:lnTo>
                    <a:pt x="67" y="25"/>
                  </a:lnTo>
                  <a:lnTo>
                    <a:pt x="67" y="33"/>
                  </a:lnTo>
                  <a:lnTo>
                    <a:pt x="67" y="132"/>
                  </a:lnTo>
                  <a:lnTo>
                    <a:pt x="67" y="132"/>
                  </a:lnTo>
                  <a:lnTo>
                    <a:pt x="67" y="138"/>
                  </a:lnTo>
                  <a:lnTo>
                    <a:pt x="65" y="145"/>
                  </a:lnTo>
                  <a:lnTo>
                    <a:pt x="61" y="150"/>
                  </a:lnTo>
                  <a:lnTo>
                    <a:pt x="57" y="155"/>
                  </a:lnTo>
                  <a:lnTo>
                    <a:pt x="52" y="159"/>
                  </a:lnTo>
                  <a:lnTo>
                    <a:pt x="47" y="162"/>
                  </a:lnTo>
                  <a:lnTo>
                    <a:pt x="41" y="164"/>
                  </a:lnTo>
                  <a:lnTo>
                    <a:pt x="33" y="164"/>
                  </a:lnTo>
                  <a:lnTo>
                    <a:pt x="3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Freeform 200">
              <a:extLst>
                <a:ext uri="{FF2B5EF4-FFF2-40B4-BE49-F238E27FC236}">
                  <a16:creationId xmlns:a16="http://schemas.microsoft.com/office/drawing/2014/main" id="{0ABE852B-30C5-402A-8791-89EBEE2EC64E}"/>
                </a:ext>
              </a:extLst>
            </p:cNvPr>
            <p:cNvSpPr>
              <a:spLocks/>
            </p:cNvSpPr>
            <p:nvPr/>
          </p:nvSpPr>
          <p:spPr bwMode="auto">
            <a:xfrm>
              <a:off x="7048500" y="3249613"/>
              <a:ext cx="14288" cy="36513"/>
            </a:xfrm>
            <a:custGeom>
              <a:avLst/>
              <a:gdLst>
                <a:gd name="T0" fmla="*/ 34 w 67"/>
                <a:gd name="T1" fmla="*/ 164 h 164"/>
                <a:gd name="T2" fmla="*/ 34 w 67"/>
                <a:gd name="T3" fmla="*/ 164 h 164"/>
                <a:gd name="T4" fmla="*/ 26 w 67"/>
                <a:gd name="T5" fmla="*/ 164 h 164"/>
                <a:gd name="T6" fmla="*/ 20 w 67"/>
                <a:gd name="T7" fmla="*/ 162 h 164"/>
                <a:gd name="T8" fmla="*/ 15 w 67"/>
                <a:gd name="T9" fmla="*/ 159 h 164"/>
                <a:gd name="T10" fmla="*/ 10 w 67"/>
                <a:gd name="T11" fmla="*/ 155 h 164"/>
                <a:gd name="T12" fmla="*/ 6 w 67"/>
                <a:gd name="T13" fmla="*/ 150 h 164"/>
                <a:gd name="T14" fmla="*/ 3 w 67"/>
                <a:gd name="T15" fmla="*/ 145 h 164"/>
                <a:gd name="T16" fmla="*/ 0 w 67"/>
                <a:gd name="T17" fmla="*/ 138 h 164"/>
                <a:gd name="T18" fmla="*/ 0 w 67"/>
                <a:gd name="T19" fmla="*/ 132 h 164"/>
                <a:gd name="T20" fmla="*/ 0 w 67"/>
                <a:gd name="T21" fmla="*/ 33 h 164"/>
                <a:gd name="T22" fmla="*/ 0 w 67"/>
                <a:gd name="T23" fmla="*/ 33 h 164"/>
                <a:gd name="T24" fmla="*/ 0 w 67"/>
                <a:gd name="T25" fmla="*/ 25 h 164"/>
                <a:gd name="T26" fmla="*/ 3 w 67"/>
                <a:gd name="T27" fmla="*/ 19 h 164"/>
                <a:gd name="T28" fmla="*/ 6 w 67"/>
                <a:gd name="T29" fmla="*/ 14 h 164"/>
                <a:gd name="T30" fmla="*/ 10 w 67"/>
                <a:gd name="T31" fmla="*/ 9 h 164"/>
                <a:gd name="T32" fmla="*/ 15 w 67"/>
                <a:gd name="T33" fmla="*/ 5 h 164"/>
                <a:gd name="T34" fmla="*/ 20 w 67"/>
                <a:gd name="T35" fmla="*/ 2 h 164"/>
                <a:gd name="T36" fmla="*/ 26 w 67"/>
                <a:gd name="T37" fmla="*/ 0 h 164"/>
                <a:gd name="T38" fmla="*/ 34 w 67"/>
                <a:gd name="T39" fmla="*/ 0 h 164"/>
                <a:gd name="T40" fmla="*/ 34 w 67"/>
                <a:gd name="T41" fmla="*/ 0 h 164"/>
                <a:gd name="T42" fmla="*/ 40 w 67"/>
                <a:gd name="T43" fmla="*/ 0 h 164"/>
                <a:gd name="T44" fmla="*/ 46 w 67"/>
                <a:gd name="T45" fmla="*/ 2 h 164"/>
                <a:gd name="T46" fmla="*/ 52 w 67"/>
                <a:gd name="T47" fmla="*/ 5 h 164"/>
                <a:gd name="T48" fmla="*/ 56 w 67"/>
                <a:gd name="T49" fmla="*/ 9 h 164"/>
                <a:gd name="T50" fmla="*/ 61 w 67"/>
                <a:gd name="T51" fmla="*/ 14 h 164"/>
                <a:gd name="T52" fmla="*/ 64 w 67"/>
                <a:gd name="T53" fmla="*/ 19 h 164"/>
                <a:gd name="T54" fmla="*/ 66 w 67"/>
                <a:gd name="T55" fmla="*/ 25 h 164"/>
                <a:gd name="T56" fmla="*/ 67 w 67"/>
                <a:gd name="T57" fmla="*/ 33 h 164"/>
                <a:gd name="T58" fmla="*/ 67 w 67"/>
                <a:gd name="T59" fmla="*/ 132 h 164"/>
                <a:gd name="T60" fmla="*/ 67 w 67"/>
                <a:gd name="T61" fmla="*/ 132 h 164"/>
                <a:gd name="T62" fmla="*/ 66 w 67"/>
                <a:gd name="T63" fmla="*/ 138 h 164"/>
                <a:gd name="T64" fmla="*/ 64 w 67"/>
                <a:gd name="T65" fmla="*/ 145 h 164"/>
                <a:gd name="T66" fmla="*/ 61 w 67"/>
                <a:gd name="T67" fmla="*/ 150 h 164"/>
                <a:gd name="T68" fmla="*/ 56 w 67"/>
                <a:gd name="T69" fmla="*/ 155 h 164"/>
                <a:gd name="T70" fmla="*/ 52 w 67"/>
                <a:gd name="T71" fmla="*/ 159 h 164"/>
                <a:gd name="T72" fmla="*/ 46 w 67"/>
                <a:gd name="T73" fmla="*/ 162 h 164"/>
                <a:gd name="T74" fmla="*/ 40 w 67"/>
                <a:gd name="T75" fmla="*/ 164 h 164"/>
                <a:gd name="T76" fmla="*/ 34 w 67"/>
                <a:gd name="T77" fmla="*/ 164 h 164"/>
                <a:gd name="T78" fmla="*/ 34 w 67"/>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 h="164">
                  <a:moveTo>
                    <a:pt x="34" y="164"/>
                  </a:moveTo>
                  <a:lnTo>
                    <a:pt x="34" y="164"/>
                  </a:lnTo>
                  <a:lnTo>
                    <a:pt x="26" y="164"/>
                  </a:lnTo>
                  <a:lnTo>
                    <a:pt x="20" y="162"/>
                  </a:lnTo>
                  <a:lnTo>
                    <a:pt x="15" y="159"/>
                  </a:lnTo>
                  <a:lnTo>
                    <a:pt x="10" y="155"/>
                  </a:lnTo>
                  <a:lnTo>
                    <a:pt x="6" y="150"/>
                  </a:lnTo>
                  <a:lnTo>
                    <a:pt x="3" y="145"/>
                  </a:lnTo>
                  <a:lnTo>
                    <a:pt x="0" y="138"/>
                  </a:lnTo>
                  <a:lnTo>
                    <a:pt x="0" y="132"/>
                  </a:lnTo>
                  <a:lnTo>
                    <a:pt x="0" y="33"/>
                  </a:lnTo>
                  <a:lnTo>
                    <a:pt x="0" y="33"/>
                  </a:lnTo>
                  <a:lnTo>
                    <a:pt x="0" y="25"/>
                  </a:lnTo>
                  <a:lnTo>
                    <a:pt x="3" y="19"/>
                  </a:lnTo>
                  <a:lnTo>
                    <a:pt x="6" y="14"/>
                  </a:lnTo>
                  <a:lnTo>
                    <a:pt x="10" y="9"/>
                  </a:lnTo>
                  <a:lnTo>
                    <a:pt x="15" y="5"/>
                  </a:lnTo>
                  <a:lnTo>
                    <a:pt x="20" y="2"/>
                  </a:lnTo>
                  <a:lnTo>
                    <a:pt x="26" y="0"/>
                  </a:lnTo>
                  <a:lnTo>
                    <a:pt x="34" y="0"/>
                  </a:lnTo>
                  <a:lnTo>
                    <a:pt x="34" y="0"/>
                  </a:lnTo>
                  <a:lnTo>
                    <a:pt x="40" y="0"/>
                  </a:lnTo>
                  <a:lnTo>
                    <a:pt x="46" y="2"/>
                  </a:lnTo>
                  <a:lnTo>
                    <a:pt x="52" y="5"/>
                  </a:lnTo>
                  <a:lnTo>
                    <a:pt x="56" y="9"/>
                  </a:lnTo>
                  <a:lnTo>
                    <a:pt x="61" y="14"/>
                  </a:lnTo>
                  <a:lnTo>
                    <a:pt x="64" y="19"/>
                  </a:lnTo>
                  <a:lnTo>
                    <a:pt x="66" y="25"/>
                  </a:lnTo>
                  <a:lnTo>
                    <a:pt x="67" y="33"/>
                  </a:lnTo>
                  <a:lnTo>
                    <a:pt x="67" y="132"/>
                  </a:lnTo>
                  <a:lnTo>
                    <a:pt x="67" y="132"/>
                  </a:lnTo>
                  <a:lnTo>
                    <a:pt x="66" y="138"/>
                  </a:lnTo>
                  <a:lnTo>
                    <a:pt x="64" y="145"/>
                  </a:lnTo>
                  <a:lnTo>
                    <a:pt x="61" y="150"/>
                  </a:lnTo>
                  <a:lnTo>
                    <a:pt x="56" y="155"/>
                  </a:lnTo>
                  <a:lnTo>
                    <a:pt x="52" y="159"/>
                  </a:lnTo>
                  <a:lnTo>
                    <a:pt x="46" y="162"/>
                  </a:lnTo>
                  <a:lnTo>
                    <a:pt x="40" y="164"/>
                  </a:lnTo>
                  <a:lnTo>
                    <a:pt x="34" y="164"/>
                  </a:lnTo>
                  <a:lnTo>
                    <a:pt x="34"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Freeform 201">
              <a:extLst>
                <a:ext uri="{FF2B5EF4-FFF2-40B4-BE49-F238E27FC236}">
                  <a16:creationId xmlns:a16="http://schemas.microsoft.com/office/drawing/2014/main" id="{A8563604-A23A-429A-B737-DCCEF2F900E3}"/>
                </a:ext>
              </a:extLst>
            </p:cNvPr>
            <p:cNvSpPr>
              <a:spLocks/>
            </p:cNvSpPr>
            <p:nvPr/>
          </p:nvSpPr>
          <p:spPr bwMode="auto">
            <a:xfrm>
              <a:off x="7040563"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Freeform 202">
              <a:extLst>
                <a:ext uri="{FF2B5EF4-FFF2-40B4-BE49-F238E27FC236}">
                  <a16:creationId xmlns:a16="http://schemas.microsoft.com/office/drawing/2014/main" id="{443C0401-494B-491E-9C0E-13F51B143BCD}"/>
                </a:ext>
              </a:extLst>
            </p:cNvPr>
            <p:cNvSpPr>
              <a:spLocks/>
            </p:cNvSpPr>
            <p:nvPr/>
          </p:nvSpPr>
          <p:spPr bwMode="auto">
            <a:xfrm>
              <a:off x="7100888"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Freeform 203">
              <a:extLst>
                <a:ext uri="{FF2B5EF4-FFF2-40B4-BE49-F238E27FC236}">
                  <a16:creationId xmlns:a16="http://schemas.microsoft.com/office/drawing/2014/main" id="{F6F38F5D-26B6-4E47-BB37-F219AC91BEAB}"/>
                </a:ext>
              </a:extLst>
            </p:cNvPr>
            <p:cNvSpPr>
              <a:spLocks/>
            </p:cNvSpPr>
            <p:nvPr/>
          </p:nvSpPr>
          <p:spPr bwMode="auto">
            <a:xfrm>
              <a:off x="7161213"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Freeform 204">
              <a:extLst>
                <a:ext uri="{FF2B5EF4-FFF2-40B4-BE49-F238E27FC236}">
                  <a16:creationId xmlns:a16="http://schemas.microsoft.com/office/drawing/2014/main" id="{17E397C1-6BC0-49BE-B86F-F3B36CD7BAD7}"/>
                </a:ext>
              </a:extLst>
            </p:cNvPr>
            <p:cNvSpPr>
              <a:spLocks/>
            </p:cNvSpPr>
            <p:nvPr/>
          </p:nvSpPr>
          <p:spPr bwMode="auto">
            <a:xfrm>
              <a:off x="7221538"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51" name="Rectangle 50"/>
          <p:cNvSpPr/>
          <p:nvPr/>
        </p:nvSpPr>
        <p:spPr>
          <a:xfrm>
            <a:off x="387761" y="1440060"/>
            <a:ext cx="3180679"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FFFFFF"/>
                </a:solidFill>
                <a:effectLst/>
                <a:uLnTx/>
                <a:uFillTx/>
                <a:latin typeface="Gene Sans" panose="00000500000000000000" pitchFamily="50" charset="0"/>
                <a:cs typeface="Arial"/>
                <a:sym typeface="Arial"/>
              </a:rPr>
              <a:t>Meta-analysis of 30 studies (n=4971) </a:t>
            </a:r>
          </a:p>
        </p:txBody>
      </p:sp>
      <p:graphicFrame>
        <p:nvGraphicFramePr>
          <p:cNvPr id="4" name="Table 3">
            <a:extLst>
              <a:ext uri="{FF2B5EF4-FFF2-40B4-BE49-F238E27FC236}">
                <a16:creationId xmlns:a16="http://schemas.microsoft.com/office/drawing/2014/main" id="{AC6CD90C-A745-47D6-B813-4B742CE6F1E5}"/>
              </a:ext>
            </a:extLst>
          </p:cNvPr>
          <p:cNvGraphicFramePr>
            <a:graphicFrameLocks noGrp="1"/>
          </p:cNvGraphicFramePr>
          <p:nvPr/>
        </p:nvGraphicFramePr>
        <p:xfrm>
          <a:off x="3876037" y="1318352"/>
          <a:ext cx="4889047" cy="2899734"/>
        </p:xfrm>
        <a:graphic>
          <a:graphicData uri="http://schemas.openxmlformats.org/drawingml/2006/table">
            <a:tbl>
              <a:tblPr firstRow="1" bandRow="1"/>
              <a:tblGrid>
                <a:gridCol w="878843">
                  <a:extLst>
                    <a:ext uri="{9D8B030D-6E8A-4147-A177-3AD203B41FA5}">
                      <a16:colId xmlns:a16="http://schemas.microsoft.com/office/drawing/2014/main" val="3124300238"/>
                    </a:ext>
                  </a:extLst>
                </a:gridCol>
                <a:gridCol w="414528">
                  <a:extLst>
                    <a:ext uri="{9D8B030D-6E8A-4147-A177-3AD203B41FA5}">
                      <a16:colId xmlns:a16="http://schemas.microsoft.com/office/drawing/2014/main" val="1524352174"/>
                    </a:ext>
                  </a:extLst>
                </a:gridCol>
                <a:gridCol w="1786128">
                  <a:extLst>
                    <a:ext uri="{9D8B030D-6E8A-4147-A177-3AD203B41FA5}">
                      <a16:colId xmlns:a16="http://schemas.microsoft.com/office/drawing/2014/main" val="1032482332"/>
                    </a:ext>
                  </a:extLst>
                </a:gridCol>
                <a:gridCol w="843314">
                  <a:extLst>
                    <a:ext uri="{9D8B030D-6E8A-4147-A177-3AD203B41FA5}">
                      <a16:colId xmlns:a16="http://schemas.microsoft.com/office/drawing/2014/main" val="270147319"/>
                    </a:ext>
                  </a:extLst>
                </a:gridCol>
                <a:gridCol w="483117">
                  <a:extLst>
                    <a:ext uri="{9D8B030D-6E8A-4147-A177-3AD203B41FA5}">
                      <a16:colId xmlns:a16="http://schemas.microsoft.com/office/drawing/2014/main" val="625496589"/>
                    </a:ext>
                  </a:extLst>
                </a:gridCol>
                <a:gridCol w="483117">
                  <a:extLst>
                    <a:ext uri="{9D8B030D-6E8A-4147-A177-3AD203B41FA5}">
                      <a16:colId xmlns:a16="http://schemas.microsoft.com/office/drawing/2014/main" val="3569739563"/>
                    </a:ext>
                  </a:extLst>
                </a:gridCol>
              </a:tblGrid>
              <a:tr h="120362">
                <a:tc>
                  <a:txBody>
                    <a:bodyPr/>
                    <a:lstStyle/>
                    <a:p>
                      <a:endParaRPr lang="en-US" sz="800" b="1" dirty="0">
                        <a:solidFill>
                          <a:schemeClr val="bg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rowSpan="2">
                  <a:txBody>
                    <a:bodyPr/>
                    <a:lstStyle/>
                    <a:p>
                      <a:pPr algn="ctr"/>
                      <a:r>
                        <a:rPr lang="en-IN" sz="800" b="1" dirty="0">
                          <a:solidFill>
                            <a:schemeClr val="bg1"/>
                          </a:solidFill>
                          <a:latin typeface="Gene Sans Light" panose="00000400000000000000" pitchFamily="50" charset="0"/>
                        </a:rPr>
                        <a:t>No. of studies</a:t>
                      </a:r>
                      <a:endParaRPr lang="en-US" sz="800" b="1" dirty="0">
                        <a:solidFill>
                          <a:schemeClr val="bg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13294B"/>
                    </a:solidFill>
                  </a:tcPr>
                </a:tc>
                <a:tc rowSpan="2">
                  <a:txBody>
                    <a:bodyPr/>
                    <a:lstStyle/>
                    <a:p>
                      <a:endParaRPr lang="en-US" sz="800" b="1" dirty="0">
                        <a:solidFill>
                          <a:schemeClr val="bg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13294B"/>
                    </a:solidFill>
                  </a:tcPr>
                </a:tc>
                <a:tc rowSpan="2">
                  <a:txBody>
                    <a:bodyPr/>
                    <a:lstStyle/>
                    <a:p>
                      <a:pPr algn="ctr"/>
                      <a:r>
                        <a:rPr lang="en-IN" sz="800" b="1" dirty="0">
                          <a:solidFill>
                            <a:schemeClr val="bg1"/>
                          </a:solidFill>
                          <a:latin typeface="Gene Sans Light" panose="00000400000000000000" pitchFamily="50" charset="0"/>
                        </a:rPr>
                        <a:t>Pooled HR </a:t>
                      </a:r>
                      <a:br>
                        <a:rPr lang="en-IN" sz="800" b="1" dirty="0">
                          <a:solidFill>
                            <a:schemeClr val="bg1"/>
                          </a:solidFill>
                          <a:latin typeface="Gene Sans Light" panose="00000400000000000000" pitchFamily="50" charset="0"/>
                        </a:rPr>
                      </a:br>
                      <a:r>
                        <a:rPr lang="en-IN" sz="800" b="1" dirty="0">
                          <a:solidFill>
                            <a:schemeClr val="bg1"/>
                          </a:solidFill>
                          <a:latin typeface="Gene Sans Light" panose="00000400000000000000" pitchFamily="50" charset="0"/>
                        </a:rPr>
                        <a:t>(95% CI)</a:t>
                      </a:r>
                      <a:endParaRPr lang="en-US" sz="800" b="1" dirty="0">
                        <a:solidFill>
                          <a:schemeClr val="bg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13294B"/>
                    </a:solidFill>
                  </a:tcPr>
                </a:tc>
                <a:tc gridSpan="2">
                  <a:txBody>
                    <a:bodyPr/>
                    <a:lstStyle/>
                    <a:p>
                      <a:pPr algn="ctr"/>
                      <a:r>
                        <a:rPr lang="en-IN" sz="800" b="1" dirty="0">
                          <a:solidFill>
                            <a:schemeClr val="bg1"/>
                          </a:solidFill>
                          <a:latin typeface="Gene Sans Light" panose="00000400000000000000" pitchFamily="50" charset="0"/>
                        </a:rPr>
                        <a:t>Heterogeneity*</a:t>
                      </a:r>
                      <a:endParaRPr lang="en-US" sz="800" b="1" dirty="0">
                        <a:solidFill>
                          <a:schemeClr val="bg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13294B"/>
                    </a:solidFill>
                  </a:tcPr>
                </a:tc>
                <a:tc hMerge="1">
                  <a:txBody>
                    <a:bodyPr/>
                    <a:lstStyle/>
                    <a:p>
                      <a:pPr algn="ctr"/>
                      <a:endParaRPr lang="en-US" sz="700" dirty="0">
                        <a:latin typeface="Gene Sans Light" panose="00000400000000000000" pitchFamily="50" charset="0"/>
                      </a:endParaRPr>
                    </a:p>
                  </a:txBody>
                  <a:tcPr marL="27432" marR="27432" marT="9144" marB="9144"/>
                </a:tc>
                <a:extLst>
                  <a:ext uri="{0D108BD9-81ED-4DB2-BD59-A6C34878D82A}">
                    <a16:rowId xmlns:a16="http://schemas.microsoft.com/office/drawing/2014/main" val="3141760021"/>
                  </a:ext>
                </a:extLst>
              </a:tr>
              <a:tr h="223110">
                <a:tc>
                  <a:txBody>
                    <a:bodyPr/>
                    <a:lstStyle/>
                    <a:p>
                      <a:endParaRPr lang="en-US" sz="800" b="1" dirty="0">
                        <a:solidFill>
                          <a:schemeClr val="bg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noFill/>
                  </a:tcPr>
                </a:tc>
                <a:tc vMerge="1">
                  <a:txBody>
                    <a:bodyPr/>
                    <a:lstStyle/>
                    <a:p>
                      <a:pPr algn="ctr"/>
                      <a:endParaRPr lang="en-US" sz="700" b="1" dirty="0">
                        <a:solidFill>
                          <a:schemeClr val="bg1"/>
                        </a:solidFill>
                        <a:latin typeface="Gene Sans Light" panose="00000400000000000000" pitchFamily="50" charset="0"/>
                      </a:endParaRPr>
                    </a:p>
                  </a:txBody>
                  <a:tcPr marL="27432" marR="27432" marT="9144" marB="9144"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13294B"/>
                    </a:solidFill>
                  </a:tcPr>
                </a:tc>
                <a:tc vMerge="1">
                  <a:txBody>
                    <a:bodyPr/>
                    <a:lstStyle/>
                    <a:p>
                      <a:endParaRPr lang="en-US" sz="700" b="1" dirty="0">
                        <a:solidFill>
                          <a:schemeClr val="bg1"/>
                        </a:solidFill>
                        <a:latin typeface="Gene Sans Light" panose="00000400000000000000" pitchFamily="50" charset="0"/>
                      </a:endParaRPr>
                    </a:p>
                  </a:txBody>
                  <a:tcPr marL="27432" marR="27432" marT="9144" marB="9144"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13294B"/>
                    </a:solidFill>
                  </a:tcPr>
                </a:tc>
                <a:tc vMerge="1">
                  <a:txBody>
                    <a:bodyPr/>
                    <a:lstStyle/>
                    <a:p>
                      <a:pPr algn="ctr"/>
                      <a:endParaRPr lang="en-US" sz="700" b="1" dirty="0">
                        <a:solidFill>
                          <a:schemeClr val="bg1"/>
                        </a:solidFill>
                        <a:latin typeface="Gene Sans Light" panose="00000400000000000000" pitchFamily="50" charset="0"/>
                      </a:endParaRPr>
                    </a:p>
                  </a:txBody>
                  <a:tcPr marL="27432" marR="27432" marT="9144" marB="9144"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solidFill>
                      <a:srgbClr val="13294B"/>
                    </a:solidFill>
                  </a:tcPr>
                </a:tc>
                <a:tc>
                  <a:txBody>
                    <a:bodyPr/>
                    <a:lstStyle/>
                    <a:p>
                      <a:pPr algn="ctr"/>
                      <a:r>
                        <a:rPr lang="en-IN" sz="800" b="1" dirty="0">
                          <a:solidFill>
                            <a:schemeClr val="bg1"/>
                          </a:solidFill>
                          <a:latin typeface="Gene Sans Light" panose="00000400000000000000" pitchFamily="50" charset="0"/>
                        </a:rPr>
                        <a:t>I</a:t>
                      </a:r>
                      <a:r>
                        <a:rPr lang="en-IN" sz="800" b="1" baseline="30000" dirty="0">
                          <a:solidFill>
                            <a:schemeClr val="bg1"/>
                          </a:solidFill>
                          <a:latin typeface="Gene Sans Light" panose="00000400000000000000" pitchFamily="50" charset="0"/>
                        </a:rPr>
                        <a:t>2</a:t>
                      </a:r>
                      <a:endParaRPr lang="en-US" sz="800" b="1" baseline="30000" dirty="0">
                        <a:solidFill>
                          <a:schemeClr val="bg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13294B"/>
                    </a:solidFill>
                  </a:tcPr>
                </a:tc>
                <a:tc>
                  <a:txBody>
                    <a:bodyPr/>
                    <a:lstStyle/>
                    <a:p>
                      <a:pPr algn="ctr"/>
                      <a:r>
                        <a:rPr lang="en-IN" sz="800" b="1" i="1" dirty="0">
                          <a:solidFill>
                            <a:schemeClr val="bg1"/>
                          </a:solidFill>
                          <a:latin typeface="Gene Sans Light" panose="00000400000000000000" pitchFamily="50" charset="0"/>
                        </a:rPr>
                        <a:t>p</a:t>
                      </a:r>
                      <a:endParaRPr lang="en-US" sz="800" b="1" i="1" dirty="0">
                        <a:solidFill>
                          <a:schemeClr val="bg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13294B"/>
                    </a:solidFill>
                  </a:tcPr>
                </a:tc>
                <a:extLst>
                  <a:ext uri="{0D108BD9-81ED-4DB2-BD59-A6C34878D82A}">
                    <a16:rowId xmlns:a16="http://schemas.microsoft.com/office/drawing/2014/main" val="2074656311"/>
                  </a:ext>
                </a:extLst>
              </a:tr>
              <a:tr h="140912">
                <a:tc>
                  <a:txBody>
                    <a:bodyPr/>
                    <a:lstStyle/>
                    <a:p>
                      <a:r>
                        <a:rPr lang="en-IN" sz="800" b="1" dirty="0" err="1">
                          <a:solidFill>
                            <a:schemeClr val="tx1"/>
                          </a:solidFill>
                          <a:latin typeface="Gene Sans Light" panose="00000400000000000000" pitchFamily="50" charset="0"/>
                        </a:rPr>
                        <a:t>IrAE</a:t>
                      </a:r>
                      <a:r>
                        <a:rPr lang="en-IN" sz="800" b="1" dirty="0">
                          <a:solidFill>
                            <a:schemeClr val="tx1"/>
                          </a:solidFill>
                          <a:latin typeface="Gene Sans Light" panose="00000400000000000000" pitchFamily="50" charset="0"/>
                        </a:rPr>
                        <a:t> type</a:t>
                      </a:r>
                      <a:endParaRPr lang="en-US" sz="800" b="1" dirty="0">
                        <a:solidFill>
                          <a:schemeClr val="tx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658990162"/>
                  </a:ext>
                </a:extLst>
              </a:tr>
              <a:tr h="140912">
                <a:tc>
                  <a:txBody>
                    <a:bodyPr/>
                    <a:lstStyle/>
                    <a:p>
                      <a:r>
                        <a:rPr lang="en-IN" sz="800" dirty="0">
                          <a:solidFill>
                            <a:schemeClr val="tx1"/>
                          </a:solidFill>
                          <a:latin typeface="Gene Sans Light" panose="00000400000000000000" pitchFamily="50" charset="0"/>
                        </a:rPr>
                        <a:t>Endocrine</a:t>
                      </a:r>
                      <a:endParaRPr lang="en-US" sz="800" dirty="0">
                        <a:solidFill>
                          <a:schemeClr val="tx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11</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52 (0.44-0.62)</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0%</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872</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038744454"/>
                  </a:ext>
                </a:extLst>
              </a:tr>
              <a:tr h="140912">
                <a:tc>
                  <a:txBody>
                    <a:bodyPr/>
                    <a:lstStyle/>
                    <a:p>
                      <a:endParaRPr lang="en-US" sz="800" dirty="0">
                        <a:solidFill>
                          <a:schemeClr val="tx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9</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57 (0.48-0.68)</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0%</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788</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488472700"/>
                  </a:ext>
                </a:extLst>
              </a:tr>
              <a:tr h="140912">
                <a:tc>
                  <a:txBody>
                    <a:bodyPr/>
                    <a:lstStyle/>
                    <a:p>
                      <a:r>
                        <a:rPr lang="en-IN" sz="800" dirty="0">
                          <a:solidFill>
                            <a:schemeClr val="tx1"/>
                          </a:solidFill>
                          <a:latin typeface="Gene Sans Light" panose="00000400000000000000" pitchFamily="50" charset="0"/>
                        </a:rPr>
                        <a:t>Dermatological</a:t>
                      </a:r>
                      <a:endParaRPr lang="en-US" sz="800" dirty="0">
                        <a:solidFill>
                          <a:schemeClr val="tx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7</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45 (0.35-0.59)</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26.3%</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228</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415742709"/>
                  </a:ext>
                </a:extLst>
              </a:tr>
              <a:tr h="140912">
                <a:tc>
                  <a:txBody>
                    <a:bodyPr/>
                    <a:lstStyle/>
                    <a:p>
                      <a:endParaRPr lang="en-US" sz="800">
                        <a:solidFill>
                          <a:schemeClr val="tx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7</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42 (0.34-0.53)</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18.5%</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278</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4069552942"/>
                  </a:ext>
                </a:extLst>
              </a:tr>
              <a:tr h="140912">
                <a:tc>
                  <a:txBody>
                    <a:bodyPr/>
                    <a:lstStyle/>
                    <a:p>
                      <a:r>
                        <a:rPr lang="en-IN" sz="800" dirty="0">
                          <a:solidFill>
                            <a:schemeClr val="tx1"/>
                          </a:solidFill>
                          <a:latin typeface="Gene Sans Light" panose="00000400000000000000" pitchFamily="50" charset="0"/>
                        </a:rPr>
                        <a:t>Gastrointestinal</a:t>
                      </a:r>
                      <a:endParaRPr lang="en-US" sz="800" dirty="0">
                        <a:solidFill>
                          <a:schemeClr val="tx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5</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68 (0.51-0.89)</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39.6%</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157</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220739350"/>
                  </a:ext>
                </a:extLst>
              </a:tr>
              <a:tr h="140912">
                <a:tc>
                  <a:txBody>
                    <a:bodyPr/>
                    <a:lstStyle/>
                    <a:p>
                      <a:endParaRPr lang="en-US" sz="800" dirty="0">
                        <a:solidFill>
                          <a:schemeClr val="tx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4</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79 (0.51-1.24)</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63.8%</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040</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940337396"/>
                  </a:ext>
                </a:extLst>
              </a:tr>
              <a:tr h="140912">
                <a:tc>
                  <a:txBody>
                    <a:bodyPr/>
                    <a:lstStyle/>
                    <a:p>
                      <a:r>
                        <a:rPr lang="en-IN" sz="800" dirty="0">
                          <a:solidFill>
                            <a:schemeClr val="tx1"/>
                          </a:solidFill>
                          <a:latin typeface="Gene Sans Light" panose="00000400000000000000" pitchFamily="50" charset="0"/>
                        </a:rPr>
                        <a:t>Pulmonary</a:t>
                      </a:r>
                      <a:endParaRPr lang="en-US" sz="800" dirty="0">
                        <a:solidFill>
                          <a:schemeClr val="tx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5</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1.22 (0.59-2.52)</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70.0%</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010</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364127316"/>
                  </a:ext>
                </a:extLst>
              </a:tr>
              <a:tr h="140912">
                <a:tc>
                  <a:txBody>
                    <a:bodyPr/>
                    <a:lstStyle/>
                    <a:p>
                      <a:endParaRPr lang="en-US" sz="800" dirty="0">
                        <a:solidFill>
                          <a:schemeClr val="tx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4</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98 (0.57-1.69)</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58.3%</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066</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368233709"/>
                  </a:ext>
                </a:extLst>
              </a:tr>
              <a:tr h="140912">
                <a:tc>
                  <a:txBody>
                    <a:bodyPr/>
                    <a:lstStyle/>
                    <a:p>
                      <a:r>
                        <a:rPr lang="en-IN" sz="800" dirty="0">
                          <a:solidFill>
                            <a:schemeClr val="tx1"/>
                          </a:solidFill>
                          <a:latin typeface="Gene Sans Light" panose="00000400000000000000" pitchFamily="50" charset="0"/>
                        </a:rPr>
                        <a:t>Hepatobiliary</a:t>
                      </a:r>
                      <a:endParaRPr lang="en-US" sz="800" dirty="0">
                        <a:solidFill>
                          <a:schemeClr val="tx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3</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98 (0.64-1.52)</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0%</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958</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017529910"/>
                  </a:ext>
                </a:extLst>
              </a:tr>
              <a:tr h="140912">
                <a:tc>
                  <a:txBody>
                    <a:bodyPr/>
                    <a:lstStyle/>
                    <a:p>
                      <a:endParaRPr lang="en-US" sz="800" dirty="0">
                        <a:solidFill>
                          <a:schemeClr val="tx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3</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94 (0.65-1.38)</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17.7%</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297</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933625581"/>
                  </a:ext>
                </a:extLst>
              </a:tr>
              <a:tr h="140912">
                <a:tc>
                  <a:txBody>
                    <a:bodyPr/>
                    <a:lstStyle/>
                    <a:p>
                      <a:r>
                        <a:rPr lang="en-IN" sz="800" b="1" dirty="0" err="1">
                          <a:solidFill>
                            <a:schemeClr val="tx1"/>
                          </a:solidFill>
                          <a:latin typeface="Gene Sans Light" panose="00000400000000000000" pitchFamily="50" charset="0"/>
                        </a:rPr>
                        <a:t>IrAE</a:t>
                      </a:r>
                      <a:r>
                        <a:rPr lang="en-IN" sz="800" b="1" dirty="0">
                          <a:solidFill>
                            <a:schemeClr val="tx1"/>
                          </a:solidFill>
                          <a:latin typeface="Gene Sans Light" panose="00000400000000000000" pitchFamily="50" charset="0"/>
                        </a:rPr>
                        <a:t> grade</a:t>
                      </a:r>
                      <a:endParaRPr lang="en-US" sz="800" b="1" dirty="0">
                        <a:solidFill>
                          <a:schemeClr val="tx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637435748"/>
                  </a:ext>
                </a:extLst>
              </a:tr>
              <a:tr h="140912">
                <a:tc>
                  <a:txBody>
                    <a:bodyPr/>
                    <a:lstStyle/>
                    <a:p>
                      <a:r>
                        <a:rPr lang="en-IN" sz="800" dirty="0">
                          <a:solidFill>
                            <a:schemeClr val="tx1"/>
                          </a:solidFill>
                          <a:latin typeface="Gene Sans Light" panose="00000400000000000000" pitchFamily="50" charset="0"/>
                        </a:rPr>
                        <a:t>Low grade (1-2)</a:t>
                      </a:r>
                      <a:endParaRPr lang="en-US" sz="800" dirty="0">
                        <a:solidFill>
                          <a:schemeClr val="tx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8</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57 (0.43-0.75)</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32.7%</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167</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036090841"/>
                  </a:ext>
                </a:extLst>
              </a:tr>
              <a:tr h="140912">
                <a:tc>
                  <a:txBody>
                    <a:bodyPr/>
                    <a:lstStyle/>
                    <a:p>
                      <a:endParaRPr lang="en-US" sz="800" dirty="0">
                        <a:solidFill>
                          <a:schemeClr val="tx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5</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42 (0.31-0.57)</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30.2%</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220</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708647117"/>
                  </a:ext>
                </a:extLst>
              </a:tr>
              <a:tr h="140912">
                <a:tc>
                  <a:txBody>
                    <a:bodyPr/>
                    <a:lstStyle/>
                    <a:p>
                      <a:r>
                        <a:rPr lang="en-IN" sz="800" dirty="0">
                          <a:solidFill>
                            <a:schemeClr val="tx1"/>
                          </a:solidFill>
                          <a:latin typeface="Gene Sans Light" panose="00000400000000000000" pitchFamily="50" charset="0"/>
                        </a:rPr>
                        <a:t>Severe grade (≥3)</a:t>
                      </a:r>
                      <a:endParaRPr lang="en-US" sz="800" dirty="0">
                        <a:solidFill>
                          <a:schemeClr val="tx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4</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99 (0.43-2.25)</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83.4%</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lt;0.001</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787320001"/>
                  </a:ext>
                </a:extLst>
              </a:tr>
              <a:tr h="140912">
                <a:tc>
                  <a:txBody>
                    <a:bodyPr/>
                    <a:lstStyle/>
                    <a:p>
                      <a:endParaRPr lang="en-US" sz="800" dirty="0">
                        <a:solidFill>
                          <a:schemeClr val="tx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4</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80 (0.65-1.00)</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43.5%</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150</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453994651"/>
                  </a:ext>
                </a:extLst>
              </a:tr>
              <a:tr h="140912">
                <a:tc>
                  <a:txBody>
                    <a:bodyPr/>
                    <a:lstStyle/>
                    <a:p>
                      <a:r>
                        <a:rPr lang="en-IN" sz="800" dirty="0">
                          <a:solidFill>
                            <a:schemeClr val="tx1"/>
                          </a:solidFill>
                          <a:latin typeface="Gene Sans Light" panose="00000400000000000000" pitchFamily="50" charset="0"/>
                        </a:rPr>
                        <a:t>Overall</a:t>
                      </a:r>
                      <a:endParaRPr lang="en-US" sz="800" dirty="0">
                        <a:solidFill>
                          <a:schemeClr val="tx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26</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54 (0.45-0.65)</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62.2%</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lt;0.001</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913127266"/>
                  </a:ext>
                </a:extLst>
              </a:tr>
              <a:tr h="140912">
                <a:tc>
                  <a:txBody>
                    <a:bodyPr/>
                    <a:lstStyle/>
                    <a:p>
                      <a:endParaRPr lang="en-US" sz="800" dirty="0">
                        <a:solidFill>
                          <a:schemeClr val="tx1"/>
                        </a:solidFill>
                        <a:latin typeface="Gene Sans Light" panose="00000400000000000000" pitchFamily="50" charset="0"/>
                      </a:endParaRPr>
                    </a:p>
                  </a:txBody>
                  <a:tcPr marL="27432" marR="27432" marT="9144" marB="9144" anchor="ctr">
                    <a:lnL w="9525"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22</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52 (0.44-0.61)</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52.5%</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001</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941968773"/>
                  </a:ext>
                </a:extLst>
              </a:tr>
            </a:tbl>
          </a:graphicData>
        </a:graphic>
      </p:graphicFrame>
      <p:graphicFrame>
        <p:nvGraphicFramePr>
          <p:cNvPr id="14" name="Chart 13">
            <a:extLst>
              <a:ext uri="{FF2B5EF4-FFF2-40B4-BE49-F238E27FC236}">
                <a16:creationId xmlns:a16="http://schemas.microsoft.com/office/drawing/2014/main" id="{D3069DF0-33CA-49CA-B401-DD1E64483D89}"/>
              </a:ext>
            </a:extLst>
          </p:cNvPr>
          <p:cNvGraphicFramePr/>
          <p:nvPr/>
        </p:nvGraphicFramePr>
        <p:xfrm>
          <a:off x="5163313" y="1677638"/>
          <a:ext cx="1792224" cy="2760249"/>
        </p:xfrm>
        <a:graphic>
          <a:graphicData uri="http://schemas.openxmlformats.org/drawingml/2006/chart">
            <c:chart xmlns:c="http://schemas.openxmlformats.org/drawingml/2006/chart" xmlns:r="http://schemas.openxmlformats.org/officeDocument/2006/relationships" r:id="rId3"/>
          </a:graphicData>
        </a:graphic>
      </p:graphicFrame>
      <p:sp>
        <p:nvSpPr>
          <p:cNvPr id="5" name="Isosceles Triangle 4">
            <a:extLst>
              <a:ext uri="{FF2B5EF4-FFF2-40B4-BE49-F238E27FC236}">
                <a16:creationId xmlns:a16="http://schemas.microsoft.com/office/drawing/2014/main" id="{4F7EF450-0A14-4D27-A2B7-E720A93259C0}"/>
              </a:ext>
            </a:extLst>
          </p:cNvPr>
          <p:cNvSpPr>
            <a:spLocks noChangeAspect="1"/>
          </p:cNvSpPr>
          <p:nvPr/>
        </p:nvSpPr>
        <p:spPr>
          <a:xfrm rot="5400000">
            <a:off x="6756045" y="2702931"/>
            <a:ext cx="75581" cy="65156"/>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9" name="Isosceles Triangle 38">
            <a:extLst>
              <a:ext uri="{FF2B5EF4-FFF2-40B4-BE49-F238E27FC236}">
                <a16:creationId xmlns:a16="http://schemas.microsoft.com/office/drawing/2014/main" id="{7DBC20B7-4DE9-4F34-9D79-7F75BBB35260}"/>
              </a:ext>
            </a:extLst>
          </p:cNvPr>
          <p:cNvSpPr>
            <a:spLocks noChangeAspect="1"/>
          </p:cNvSpPr>
          <p:nvPr/>
        </p:nvSpPr>
        <p:spPr>
          <a:xfrm rot="5400000">
            <a:off x="6756045" y="3688452"/>
            <a:ext cx="75581" cy="65156"/>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10" name="Straight Arrow Connector 9">
            <a:extLst>
              <a:ext uri="{FF2B5EF4-FFF2-40B4-BE49-F238E27FC236}">
                <a16:creationId xmlns:a16="http://schemas.microsoft.com/office/drawing/2014/main" id="{1D412B9E-AE61-449B-AD4B-9BE7354F9755}"/>
              </a:ext>
            </a:extLst>
          </p:cNvPr>
          <p:cNvCxnSpPr/>
          <p:nvPr/>
        </p:nvCxnSpPr>
        <p:spPr>
          <a:xfrm>
            <a:off x="6059425" y="4458596"/>
            <a:ext cx="82397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FCF8B5A6-5035-42C5-A008-882AED05218C}"/>
              </a:ext>
            </a:extLst>
          </p:cNvPr>
          <p:cNvCxnSpPr>
            <a:cxnSpLocks/>
          </p:cNvCxnSpPr>
          <p:nvPr/>
        </p:nvCxnSpPr>
        <p:spPr>
          <a:xfrm flipH="1">
            <a:off x="5216145" y="4458596"/>
            <a:ext cx="82397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C2B98BA-C2BD-4020-B48C-8E4483BBC73E}"/>
              </a:ext>
            </a:extLst>
          </p:cNvPr>
          <p:cNvSpPr txBox="1"/>
          <p:nvPr/>
        </p:nvSpPr>
        <p:spPr>
          <a:xfrm>
            <a:off x="5357449" y="4495553"/>
            <a:ext cx="633186"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8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Favours </a:t>
            </a:r>
            <a:r>
              <a:rPr kumimoji="0" lang="en-IN" sz="800" b="1"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irAEs</a:t>
            </a:r>
            <a:endParaRPr kumimoji="0" lang="en-US" sz="8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43" name="TextBox 42">
            <a:extLst>
              <a:ext uri="{FF2B5EF4-FFF2-40B4-BE49-F238E27FC236}">
                <a16:creationId xmlns:a16="http://schemas.microsoft.com/office/drawing/2014/main" id="{73C48DA0-15A0-45D2-AD2B-12D7EF5F45F0}"/>
              </a:ext>
            </a:extLst>
          </p:cNvPr>
          <p:cNvSpPr txBox="1"/>
          <p:nvPr/>
        </p:nvSpPr>
        <p:spPr>
          <a:xfrm>
            <a:off x="6060777" y="4480313"/>
            <a:ext cx="849592"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8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Favours non-</a:t>
            </a:r>
            <a:r>
              <a:rPr kumimoji="0" lang="en-IN" sz="800" b="1"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irAEs</a:t>
            </a:r>
            <a:endParaRPr kumimoji="0" lang="en-US" sz="8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grpSp>
        <p:nvGrpSpPr>
          <p:cNvPr id="46" name="Group 45">
            <a:extLst>
              <a:ext uri="{FF2B5EF4-FFF2-40B4-BE49-F238E27FC236}">
                <a16:creationId xmlns:a16="http://schemas.microsoft.com/office/drawing/2014/main" id="{3DF1E2B6-16C6-4755-828C-4C5C3E291B43}"/>
              </a:ext>
            </a:extLst>
          </p:cNvPr>
          <p:cNvGrpSpPr/>
          <p:nvPr/>
        </p:nvGrpSpPr>
        <p:grpSpPr>
          <a:xfrm>
            <a:off x="3931666" y="4335485"/>
            <a:ext cx="752905" cy="123111"/>
            <a:chOff x="3927856" y="4257249"/>
            <a:chExt cx="752905" cy="123111"/>
          </a:xfrm>
        </p:grpSpPr>
        <p:grpSp>
          <p:nvGrpSpPr>
            <p:cNvPr id="44" name="Group 43">
              <a:extLst>
                <a:ext uri="{FF2B5EF4-FFF2-40B4-BE49-F238E27FC236}">
                  <a16:creationId xmlns:a16="http://schemas.microsoft.com/office/drawing/2014/main" id="{71193100-FC13-4A54-B91F-D4A9EFC99F04}"/>
                </a:ext>
              </a:extLst>
            </p:cNvPr>
            <p:cNvGrpSpPr/>
            <p:nvPr/>
          </p:nvGrpSpPr>
          <p:grpSpPr>
            <a:xfrm>
              <a:off x="3927856" y="4257249"/>
              <a:ext cx="280493" cy="123111"/>
              <a:chOff x="3387134" y="3986885"/>
              <a:chExt cx="280493" cy="123111"/>
            </a:xfrm>
          </p:grpSpPr>
          <p:sp>
            <p:nvSpPr>
              <p:cNvPr id="40" name="Rectangle 39">
                <a:extLst>
                  <a:ext uri="{FF2B5EF4-FFF2-40B4-BE49-F238E27FC236}">
                    <a16:creationId xmlns:a16="http://schemas.microsoft.com/office/drawing/2014/main" id="{A337D2A9-FA2E-4D74-9B3F-F1A83B9A8C0C}"/>
                  </a:ext>
                </a:extLst>
              </p:cNvPr>
              <p:cNvSpPr>
                <a:spLocks noChangeAspect="1"/>
              </p:cNvSpPr>
              <p:nvPr/>
            </p:nvSpPr>
            <p:spPr>
              <a:xfrm>
                <a:off x="3387134" y="4016738"/>
                <a:ext cx="63407" cy="634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2" name="Rectangle 41">
                <a:extLst>
                  <a:ext uri="{FF2B5EF4-FFF2-40B4-BE49-F238E27FC236}">
                    <a16:creationId xmlns:a16="http://schemas.microsoft.com/office/drawing/2014/main" id="{1AD58D13-4415-4C97-BA88-6603D4BA1335}"/>
                  </a:ext>
                </a:extLst>
              </p:cNvPr>
              <p:cNvSpPr/>
              <p:nvPr/>
            </p:nvSpPr>
            <p:spPr>
              <a:xfrm>
                <a:off x="3537783" y="3986885"/>
                <a:ext cx="129844" cy="123111"/>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OS</a:t>
                </a:r>
                <a:endPar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grpSp>
        <p:grpSp>
          <p:nvGrpSpPr>
            <p:cNvPr id="47" name="Group 46">
              <a:extLst>
                <a:ext uri="{FF2B5EF4-FFF2-40B4-BE49-F238E27FC236}">
                  <a16:creationId xmlns:a16="http://schemas.microsoft.com/office/drawing/2014/main" id="{4E3DFC8E-944B-4999-A714-68ECCD1247B2}"/>
                </a:ext>
              </a:extLst>
            </p:cNvPr>
            <p:cNvGrpSpPr/>
            <p:nvPr/>
          </p:nvGrpSpPr>
          <p:grpSpPr>
            <a:xfrm>
              <a:off x="4358590" y="4257249"/>
              <a:ext cx="322171" cy="123111"/>
              <a:chOff x="3387134" y="3986885"/>
              <a:chExt cx="322171" cy="123111"/>
            </a:xfrm>
          </p:grpSpPr>
          <p:sp>
            <p:nvSpPr>
              <p:cNvPr id="48" name="Rectangle 47">
                <a:extLst>
                  <a:ext uri="{FF2B5EF4-FFF2-40B4-BE49-F238E27FC236}">
                    <a16:creationId xmlns:a16="http://schemas.microsoft.com/office/drawing/2014/main" id="{DE28300D-A2E1-47E2-ACEE-1D7988289FF6}"/>
                  </a:ext>
                </a:extLst>
              </p:cNvPr>
              <p:cNvSpPr>
                <a:spLocks noChangeAspect="1"/>
              </p:cNvSpPr>
              <p:nvPr/>
            </p:nvSpPr>
            <p:spPr>
              <a:xfrm>
                <a:off x="3387134" y="4016738"/>
                <a:ext cx="63407" cy="6340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9" name="Rectangle 48">
                <a:extLst>
                  <a:ext uri="{FF2B5EF4-FFF2-40B4-BE49-F238E27FC236}">
                    <a16:creationId xmlns:a16="http://schemas.microsoft.com/office/drawing/2014/main" id="{634BE0E7-B96D-424F-80D8-98DD920D21FC}"/>
                  </a:ext>
                </a:extLst>
              </p:cNvPr>
              <p:cNvSpPr/>
              <p:nvPr/>
            </p:nvSpPr>
            <p:spPr>
              <a:xfrm>
                <a:off x="3537783" y="3986885"/>
                <a:ext cx="171522" cy="123111"/>
              </a:xfrm>
              <a:prstGeom prst="rect">
                <a:avLst/>
              </a:prstGeom>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PFS</a:t>
                </a:r>
                <a:endParaRPr kumimoji="0" lang="en-US" sz="8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grpSp>
      </p:grpSp>
    </p:spTree>
    <p:extLst>
      <p:ext uri="{BB962C8B-B14F-4D97-AF65-F5344CB8AC3E}">
        <p14:creationId xmlns:p14="http://schemas.microsoft.com/office/powerpoint/2010/main" val="3378427610"/>
      </p:ext>
    </p:extLst>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a:p>
        </p:txBody>
      </p:sp>
      <p:sp>
        <p:nvSpPr>
          <p:cNvPr id="3" name="Text Placeholder 2"/>
          <p:cNvSpPr>
            <a:spLocks noGrp="1"/>
          </p:cNvSpPr>
          <p:nvPr>
            <p:ph type="body" idx="2"/>
          </p:nvPr>
        </p:nvSpPr>
        <p:spPr>
          <a:xfrm>
            <a:off x="381648" y="4642324"/>
            <a:ext cx="8385048" cy="213727"/>
          </a:xfrm>
        </p:spPr>
        <p:txBody>
          <a:bodyPr/>
          <a:lstStyle/>
          <a:p>
            <a:pPr marL="0">
              <a:spcBef>
                <a:spcPts val="0"/>
              </a:spcBef>
            </a:pPr>
            <a:r>
              <a:rPr lang="en-US" sz="600" dirty="0">
                <a:latin typeface="Gene Sans Light" panose="00000400000000000000" pitchFamily="50" charset="0"/>
              </a:rPr>
              <a:t>Notes: *The </a:t>
            </a:r>
            <a:r>
              <a:rPr lang="en-US" sz="600" i="1" dirty="0">
                <a:latin typeface="Gene Sans Light" panose="00000400000000000000" pitchFamily="50" charset="0"/>
              </a:rPr>
              <a:t>I</a:t>
            </a:r>
            <a:r>
              <a:rPr lang="en-US" sz="600" baseline="30000" dirty="0">
                <a:latin typeface="Gene Sans Light" panose="00000400000000000000" pitchFamily="50" charset="0"/>
              </a:rPr>
              <a:t>2</a:t>
            </a:r>
            <a:r>
              <a:rPr lang="en-US" sz="600" dirty="0">
                <a:latin typeface="Gene Sans Light" panose="00000400000000000000" pitchFamily="50" charset="0"/>
              </a:rPr>
              <a:t> statistic was applied to estimate the between-study heterogeneity. Significant heterogeneity was indicated if  </a:t>
            </a:r>
            <a:r>
              <a:rPr lang="en-US" sz="600" i="1" dirty="0">
                <a:latin typeface="Gene Sans Light" panose="00000400000000000000" pitchFamily="50" charset="0"/>
              </a:rPr>
              <a:t>I</a:t>
            </a:r>
            <a:r>
              <a:rPr lang="en-US" sz="600" baseline="30000" dirty="0">
                <a:latin typeface="Gene Sans Light" panose="00000400000000000000" pitchFamily="50" charset="0"/>
              </a:rPr>
              <a:t>2</a:t>
            </a:r>
            <a:r>
              <a:rPr lang="en-US" sz="600" dirty="0">
                <a:latin typeface="Gene Sans Light" panose="00000400000000000000" pitchFamily="50" charset="0"/>
              </a:rPr>
              <a:t> &gt; 50%</a:t>
            </a:r>
          </a:p>
          <a:p>
            <a:pPr marL="0">
              <a:spcBef>
                <a:spcPts val="0"/>
              </a:spcBef>
            </a:pPr>
            <a:r>
              <a:rPr lang="en-US" sz="600" dirty="0">
                <a:latin typeface="Gene Sans Light" panose="00000400000000000000" pitchFamily="50" charset="0"/>
              </a:rPr>
              <a:t>1. Zhou X, et al. BMC Med 2020:18(1).</a:t>
            </a:r>
          </a:p>
        </p:txBody>
      </p:sp>
      <p:sp>
        <p:nvSpPr>
          <p:cNvPr id="8" name="Title 4">
            <a:extLst>
              <a:ext uri="{FF2B5EF4-FFF2-40B4-BE49-F238E27FC236}">
                <a16:creationId xmlns:a16="http://schemas.microsoft.com/office/drawing/2014/main" id="{F01D18BE-0443-4628-94BF-FCFDC3C196C3}"/>
              </a:ext>
            </a:extLst>
          </p:cNvPr>
          <p:cNvSpPr txBox="1">
            <a:spLocks/>
          </p:cNvSpPr>
          <p:nvPr/>
        </p:nvSpPr>
        <p:spPr>
          <a:xfrm>
            <a:off x="381648" y="585795"/>
            <a:ext cx="8025977" cy="652455"/>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100" b="1" i="0" u="none" strike="noStrike" cap="none">
                <a:solidFill>
                  <a:srgbClr val="003087"/>
                </a:solidFill>
                <a:latin typeface="Gene Sans" panose="00000500000000000000" pitchFamily="50"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2100" b="1" i="0" u="none" strike="noStrike" kern="0" cap="none" spc="0" normalizeH="0" baseline="0" noProof="0" dirty="0">
                <a:ln>
                  <a:noFill/>
                </a:ln>
                <a:solidFill>
                  <a:srgbClr val="003087"/>
                </a:solidFill>
                <a:effectLst/>
                <a:uLnTx/>
                <a:uFillTx/>
                <a:latin typeface="Gene Sans" panose="00000500000000000000" pitchFamily="50" charset="0"/>
                <a:cs typeface="Arial"/>
                <a:sym typeface="Arial"/>
              </a:rPr>
              <a:t>Association Between </a:t>
            </a:r>
            <a:r>
              <a:rPr kumimoji="0" lang="en-US" sz="2100" b="1" i="0" u="none" strike="noStrike" kern="0" cap="none" spc="0" normalizeH="0" baseline="0" noProof="0" dirty="0" err="1">
                <a:ln>
                  <a:noFill/>
                </a:ln>
                <a:solidFill>
                  <a:srgbClr val="003087"/>
                </a:solidFill>
                <a:effectLst/>
                <a:uLnTx/>
                <a:uFillTx/>
                <a:latin typeface="Gene Sans" panose="00000500000000000000" pitchFamily="50" charset="0"/>
                <a:cs typeface="Arial"/>
                <a:sym typeface="Arial"/>
              </a:rPr>
              <a:t>irAEs</a:t>
            </a:r>
            <a:r>
              <a:rPr kumimoji="0" lang="en-US" sz="2100" b="1" i="0" u="none" strike="noStrike" kern="0" cap="none" spc="0" normalizeH="0" baseline="0" noProof="0" dirty="0">
                <a:ln>
                  <a:noFill/>
                </a:ln>
                <a:solidFill>
                  <a:srgbClr val="003087"/>
                </a:solidFill>
                <a:effectLst/>
                <a:uLnTx/>
                <a:uFillTx/>
                <a:latin typeface="Gene Sans" panose="00000500000000000000" pitchFamily="50" charset="0"/>
                <a:cs typeface="Arial"/>
                <a:sym typeface="Arial"/>
              </a:rPr>
              <a:t> and Outcomes</a:t>
            </a:r>
          </a:p>
        </p:txBody>
      </p:sp>
      <p:sp>
        <p:nvSpPr>
          <p:cNvPr id="9" name="Google Shape;122;p3">
            <a:extLst>
              <a:ext uri="{FF2B5EF4-FFF2-40B4-BE49-F238E27FC236}">
                <a16:creationId xmlns:a16="http://schemas.microsoft.com/office/drawing/2014/main" id="{E471B720-21C1-4494-8635-9FEBD8B63980}"/>
              </a:ext>
            </a:extLst>
          </p:cNvPr>
          <p:cNvSpPr txBox="1">
            <a:spLocks/>
          </p:cNvSpPr>
          <p:nvPr/>
        </p:nvSpPr>
        <p:spPr>
          <a:xfrm>
            <a:off x="381000" y="94526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
        <p:nvSpPr>
          <p:cNvPr id="12" name="Rectangle 11">
            <a:extLst>
              <a:ext uri="{FF2B5EF4-FFF2-40B4-BE49-F238E27FC236}">
                <a16:creationId xmlns:a16="http://schemas.microsoft.com/office/drawing/2014/main" id="{E8919721-26A3-42F3-9457-BEC7EB663E45}"/>
              </a:ext>
            </a:extLst>
          </p:cNvPr>
          <p:cNvSpPr/>
          <p:nvPr/>
        </p:nvSpPr>
        <p:spPr>
          <a:xfrm>
            <a:off x="287425" y="1609967"/>
            <a:ext cx="3309642" cy="164303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3" name="Rectangle 12">
            <a:extLst>
              <a:ext uri="{FF2B5EF4-FFF2-40B4-BE49-F238E27FC236}">
                <a16:creationId xmlns:a16="http://schemas.microsoft.com/office/drawing/2014/main" id="{5AD19C83-57F6-42EE-9F2B-0C2656211B08}"/>
              </a:ext>
            </a:extLst>
          </p:cNvPr>
          <p:cNvSpPr/>
          <p:nvPr/>
        </p:nvSpPr>
        <p:spPr>
          <a:xfrm>
            <a:off x="8455" y="1318352"/>
            <a:ext cx="3597067" cy="5941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 name="TextBox 13"/>
          <p:cNvSpPr txBox="1"/>
          <p:nvPr/>
        </p:nvSpPr>
        <p:spPr>
          <a:xfrm>
            <a:off x="378918" y="2009042"/>
            <a:ext cx="3011646"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rPr>
              <a:t>Notably, no significant OS benefit was seen in patients who developed </a:t>
            </a:r>
            <a:r>
              <a:rPr kumimoji="0" lang="en-US" sz="1200" b="0" i="0" u="none" strike="noStrike" kern="0" cap="none" spc="0" normalizeH="0" baseline="0" noProof="0" dirty="0" err="1">
                <a:ln>
                  <a:noFill/>
                </a:ln>
                <a:solidFill>
                  <a:srgbClr val="000000"/>
                </a:solidFill>
                <a:effectLst/>
                <a:uLnTx/>
                <a:uFillTx/>
                <a:latin typeface="Gene Sans Light" panose="00000400000000000000" pitchFamily="50" charset="0"/>
                <a:cs typeface="Arial"/>
                <a:sym typeface="Arial"/>
              </a:rPr>
              <a:t>irAEs</a:t>
            </a:r>
            <a:r>
              <a:rPr kumimoji="0" lang="en-US" sz="12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rPr>
              <a:t> in the Anti-CTLA-4 or Combination Therapy subgroups.</a:t>
            </a:r>
          </a:p>
        </p:txBody>
      </p:sp>
      <p:sp>
        <p:nvSpPr>
          <p:cNvPr id="15" name="Rectangle 14"/>
          <p:cNvSpPr/>
          <p:nvPr/>
        </p:nvSpPr>
        <p:spPr>
          <a:xfrm>
            <a:off x="387761" y="1440060"/>
            <a:ext cx="3180679"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srgbClr val="FFFFFF"/>
                </a:solidFill>
                <a:effectLst/>
                <a:uLnTx/>
                <a:uFillTx/>
                <a:latin typeface="Gene Sans" panose="00000500000000000000" pitchFamily="50" charset="0"/>
                <a:cs typeface="Arial"/>
                <a:sym typeface="Arial"/>
              </a:rPr>
              <a:t>Meta-analysis of 30 studies (n=4971) </a:t>
            </a:r>
          </a:p>
        </p:txBody>
      </p:sp>
      <p:grpSp>
        <p:nvGrpSpPr>
          <p:cNvPr id="11" name="Group 10">
            <a:extLst>
              <a:ext uri="{FF2B5EF4-FFF2-40B4-BE49-F238E27FC236}">
                <a16:creationId xmlns:a16="http://schemas.microsoft.com/office/drawing/2014/main" id="{328DC2CF-D1F1-4097-A4A8-C181D6A8FAF5}"/>
              </a:ext>
            </a:extLst>
          </p:cNvPr>
          <p:cNvGrpSpPr/>
          <p:nvPr/>
        </p:nvGrpSpPr>
        <p:grpSpPr>
          <a:xfrm>
            <a:off x="6196609" y="1541403"/>
            <a:ext cx="227488" cy="231587"/>
            <a:chOff x="6996113" y="3249613"/>
            <a:chExt cx="352425" cy="358775"/>
          </a:xfrm>
          <a:solidFill>
            <a:schemeClr val="bg1"/>
          </a:solidFill>
        </p:grpSpPr>
        <p:sp>
          <p:nvSpPr>
            <p:cNvPr id="16" name="Freeform 194">
              <a:extLst>
                <a:ext uri="{FF2B5EF4-FFF2-40B4-BE49-F238E27FC236}">
                  <a16:creationId xmlns:a16="http://schemas.microsoft.com/office/drawing/2014/main" id="{02072407-3FD7-4A08-B98F-908649FECBA7}"/>
                </a:ext>
              </a:extLst>
            </p:cNvPr>
            <p:cNvSpPr>
              <a:spLocks noEditPoints="1"/>
            </p:cNvSpPr>
            <p:nvPr/>
          </p:nvSpPr>
          <p:spPr bwMode="auto">
            <a:xfrm>
              <a:off x="7153275" y="3414713"/>
              <a:ext cx="195263" cy="193675"/>
            </a:xfrm>
            <a:custGeom>
              <a:avLst/>
              <a:gdLst>
                <a:gd name="T0" fmla="*/ 304 w 860"/>
                <a:gd name="T1" fmla="*/ 852 h 857"/>
                <a:gd name="T2" fmla="*/ 290 w 860"/>
                <a:gd name="T3" fmla="*/ 756 h 857"/>
                <a:gd name="T4" fmla="*/ 157 w 860"/>
                <a:gd name="T5" fmla="*/ 749 h 857"/>
                <a:gd name="T6" fmla="*/ 126 w 860"/>
                <a:gd name="T7" fmla="*/ 750 h 857"/>
                <a:gd name="T8" fmla="*/ 2 w 860"/>
                <a:gd name="T9" fmla="*/ 544 h 857"/>
                <a:gd name="T10" fmla="*/ 11 w 860"/>
                <a:gd name="T11" fmla="*/ 508 h 857"/>
                <a:gd name="T12" fmla="*/ 74 w 860"/>
                <a:gd name="T13" fmla="*/ 429 h 857"/>
                <a:gd name="T14" fmla="*/ 7 w 860"/>
                <a:gd name="T15" fmla="*/ 344 h 857"/>
                <a:gd name="T16" fmla="*/ 5 w 860"/>
                <a:gd name="T17" fmla="*/ 308 h 857"/>
                <a:gd name="T18" fmla="*/ 133 w 860"/>
                <a:gd name="T19" fmla="*/ 106 h 857"/>
                <a:gd name="T20" fmla="*/ 217 w 860"/>
                <a:gd name="T21" fmla="*/ 143 h 857"/>
                <a:gd name="T22" fmla="*/ 290 w 860"/>
                <a:gd name="T23" fmla="*/ 33 h 857"/>
                <a:gd name="T24" fmla="*/ 311 w 860"/>
                <a:gd name="T25" fmla="*/ 2 h 857"/>
                <a:gd name="T26" fmla="*/ 552 w 860"/>
                <a:gd name="T27" fmla="*/ 2 h 857"/>
                <a:gd name="T28" fmla="*/ 572 w 860"/>
                <a:gd name="T29" fmla="*/ 33 h 857"/>
                <a:gd name="T30" fmla="*/ 644 w 860"/>
                <a:gd name="T31" fmla="*/ 143 h 857"/>
                <a:gd name="T32" fmla="*/ 728 w 860"/>
                <a:gd name="T33" fmla="*/ 106 h 857"/>
                <a:gd name="T34" fmla="*/ 855 w 860"/>
                <a:gd name="T35" fmla="*/ 308 h 857"/>
                <a:gd name="T36" fmla="*/ 857 w 860"/>
                <a:gd name="T37" fmla="*/ 339 h 857"/>
                <a:gd name="T38" fmla="*/ 787 w 860"/>
                <a:gd name="T39" fmla="*/ 408 h 857"/>
                <a:gd name="T40" fmla="*/ 843 w 860"/>
                <a:gd name="T41" fmla="*/ 504 h 857"/>
                <a:gd name="T42" fmla="*/ 860 w 860"/>
                <a:gd name="T43" fmla="*/ 531 h 857"/>
                <a:gd name="T44" fmla="*/ 744 w 860"/>
                <a:gd name="T45" fmla="*/ 742 h 857"/>
                <a:gd name="T46" fmla="*/ 715 w 860"/>
                <a:gd name="T47" fmla="*/ 753 h 857"/>
                <a:gd name="T48" fmla="*/ 610 w 860"/>
                <a:gd name="T49" fmla="*/ 737 h 857"/>
                <a:gd name="T50" fmla="*/ 569 w 860"/>
                <a:gd name="T51" fmla="*/ 838 h 857"/>
                <a:gd name="T52" fmla="*/ 539 w 860"/>
                <a:gd name="T53" fmla="*/ 857 h 857"/>
                <a:gd name="T54" fmla="*/ 506 w 860"/>
                <a:gd name="T55" fmla="*/ 729 h 857"/>
                <a:gd name="T56" fmla="*/ 523 w 860"/>
                <a:gd name="T57" fmla="*/ 705 h 857"/>
                <a:gd name="T58" fmla="*/ 619 w 860"/>
                <a:gd name="T59" fmla="*/ 650 h 857"/>
                <a:gd name="T60" fmla="*/ 643 w 860"/>
                <a:gd name="T61" fmla="*/ 642 h 857"/>
                <a:gd name="T62" fmla="*/ 732 w 860"/>
                <a:gd name="T63" fmla="*/ 517 h 857"/>
                <a:gd name="T64" fmla="*/ 716 w 860"/>
                <a:gd name="T65" fmla="*/ 497 h 857"/>
                <a:gd name="T66" fmla="*/ 720 w 860"/>
                <a:gd name="T67" fmla="*/ 442 h 857"/>
                <a:gd name="T68" fmla="*/ 716 w 860"/>
                <a:gd name="T69" fmla="*/ 376 h 857"/>
                <a:gd name="T70" fmla="*/ 723 w 860"/>
                <a:gd name="T71" fmla="*/ 348 h 857"/>
                <a:gd name="T72" fmla="*/ 657 w 860"/>
                <a:gd name="T73" fmla="*/ 211 h 857"/>
                <a:gd name="T74" fmla="*/ 628 w 860"/>
                <a:gd name="T75" fmla="*/ 213 h 857"/>
                <a:gd name="T76" fmla="*/ 553 w 860"/>
                <a:gd name="T77" fmla="*/ 165 h 857"/>
                <a:gd name="T78" fmla="*/ 511 w 860"/>
                <a:gd name="T79" fmla="*/ 143 h 857"/>
                <a:gd name="T80" fmla="*/ 356 w 860"/>
                <a:gd name="T81" fmla="*/ 67 h 857"/>
                <a:gd name="T82" fmla="*/ 350 w 860"/>
                <a:gd name="T83" fmla="*/ 143 h 857"/>
                <a:gd name="T84" fmla="*/ 308 w 860"/>
                <a:gd name="T85" fmla="*/ 166 h 857"/>
                <a:gd name="T86" fmla="*/ 237 w 860"/>
                <a:gd name="T87" fmla="*/ 211 h 857"/>
                <a:gd name="T88" fmla="*/ 208 w 860"/>
                <a:gd name="T89" fmla="*/ 213 h 857"/>
                <a:gd name="T90" fmla="*/ 133 w 860"/>
                <a:gd name="T91" fmla="*/ 344 h 857"/>
                <a:gd name="T92" fmla="*/ 145 w 860"/>
                <a:gd name="T93" fmla="*/ 371 h 857"/>
                <a:gd name="T94" fmla="*/ 140 w 860"/>
                <a:gd name="T95" fmla="*/ 442 h 857"/>
                <a:gd name="T96" fmla="*/ 144 w 860"/>
                <a:gd name="T97" fmla="*/ 497 h 857"/>
                <a:gd name="T98" fmla="*/ 79 w 860"/>
                <a:gd name="T99" fmla="*/ 546 h 857"/>
                <a:gd name="T100" fmla="*/ 218 w 860"/>
                <a:gd name="T101" fmla="*/ 642 h 857"/>
                <a:gd name="T102" fmla="*/ 242 w 860"/>
                <a:gd name="T103" fmla="*/ 650 h 857"/>
                <a:gd name="T104" fmla="*/ 334 w 860"/>
                <a:gd name="T105" fmla="*/ 703 h 857"/>
                <a:gd name="T106" fmla="*/ 355 w 860"/>
                <a:gd name="T107" fmla="*/ 724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0" h="857">
                  <a:moveTo>
                    <a:pt x="539" y="857"/>
                  </a:moveTo>
                  <a:lnTo>
                    <a:pt x="323" y="857"/>
                  </a:lnTo>
                  <a:lnTo>
                    <a:pt x="323" y="857"/>
                  </a:lnTo>
                  <a:lnTo>
                    <a:pt x="317" y="857"/>
                  </a:lnTo>
                  <a:lnTo>
                    <a:pt x="311" y="855"/>
                  </a:lnTo>
                  <a:lnTo>
                    <a:pt x="304" y="852"/>
                  </a:lnTo>
                  <a:lnTo>
                    <a:pt x="299" y="848"/>
                  </a:lnTo>
                  <a:lnTo>
                    <a:pt x="296" y="843"/>
                  </a:lnTo>
                  <a:lnTo>
                    <a:pt x="293" y="838"/>
                  </a:lnTo>
                  <a:lnTo>
                    <a:pt x="291" y="831"/>
                  </a:lnTo>
                  <a:lnTo>
                    <a:pt x="290" y="825"/>
                  </a:lnTo>
                  <a:lnTo>
                    <a:pt x="290" y="756"/>
                  </a:lnTo>
                  <a:lnTo>
                    <a:pt x="290" y="756"/>
                  </a:lnTo>
                  <a:lnTo>
                    <a:pt x="273" y="749"/>
                  </a:lnTo>
                  <a:lnTo>
                    <a:pt x="255" y="738"/>
                  </a:lnTo>
                  <a:lnTo>
                    <a:pt x="236" y="728"/>
                  </a:lnTo>
                  <a:lnTo>
                    <a:pt x="217" y="714"/>
                  </a:lnTo>
                  <a:lnTo>
                    <a:pt x="157" y="749"/>
                  </a:lnTo>
                  <a:lnTo>
                    <a:pt x="157" y="749"/>
                  </a:lnTo>
                  <a:lnTo>
                    <a:pt x="151" y="752"/>
                  </a:lnTo>
                  <a:lnTo>
                    <a:pt x="145" y="753"/>
                  </a:lnTo>
                  <a:lnTo>
                    <a:pt x="139" y="753"/>
                  </a:lnTo>
                  <a:lnTo>
                    <a:pt x="133" y="752"/>
                  </a:lnTo>
                  <a:lnTo>
                    <a:pt x="126" y="750"/>
                  </a:lnTo>
                  <a:lnTo>
                    <a:pt x="121" y="747"/>
                  </a:lnTo>
                  <a:lnTo>
                    <a:pt x="116" y="742"/>
                  </a:lnTo>
                  <a:lnTo>
                    <a:pt x="113" y="737"/>
                  </a:lnTo>
                  <a:lnTo>
                    <a:pt x="4" y="550"/>
                  </a:lnTo>
                  <a:lnTo>
                    <a:pt x="4" y="550"/>
                  </a:lnTo>
                  <a:lnTo>
                    <a:pt x="2" y="544"/>
                  </a:lnTo>
                  <a:lnTo>
                    <a:pt x="0" y="537"/>
                  </a:lnTo>
                  <a:lnTo>
                    <a:pt x="0" y="531"/>
                  </a:lnTo>
                  <a:lnTo>
                    <a:pt x="1" y="525"/>
                  </a:lnTo>
                  <a:lnTo>
                    <a:pt x="3" y="519"/>
                  </a:lnTo>
                  <a:lnTo>
                    <a:pt x="7" y="514"/>
                  </a:lnTo>
                  <a:lnTo>
                    <a:pt x="11" y="508"/>
                  </a:lnTo>
                  <a:lnTo>
                    <a:pt x="17" y="504"/>
                  </a:lnTo>
                  <a:lnTo>
                    <a:pt x="76" y="470"/>
                  </a:lnTo>
                  <a:lnTo>
                    <a:pt x="76" y="470"/>
                  </a:lnTo>
                  <a:lnTo>
                    <a:pt x="74" y="449"/>
                  </a:lnTo>
                  <a:lnTo>
                    <a:pt x="74" y="429"/>
                  </a:lnTo>
                  <a:lnTo>
                    <a:pt x="74" y="429"/>
                  </a:lnTo>
                  <a:lnTo>
                    <a:pt x="74" y="408"/>
                  </a:lnTo>
                  <a:lnTo>
                    <a:pt x="76" y="387"/>
                  </a:lnTo>
                  <a:lnTo>
                    <a:pt x="17" y="353"/>
                  </a:lnTo>
                  <a:lnTo>
                    <a:pt x="17" y="353"/>
                  </a:lnTo>
                  <a:lnTo>
                    <a:pt x="11" y="349"/>
                  </a:lnTo>
                  <a:lnTo>
                    <a:pt x="7" y="344"/>
                  </a:lnTo>
                  <a:lnTo>
                    <a:pt x="3" y="339"/>
                  </a:lnTo>
                  <a:lnTo>
                    <a:pt x="1" y="333"/>
                  </a:lnTo>
                  <a:lnTo>
                    <a:pt x="0" y="326"/>
                  </a:lnTo>
                  <a:lnTo>
                    <a:pt x="0" y="320"/>
                  </a:lnTo>
                  <a:lnTo>
                    <a:pt x="2" y="314"/>
                  </a:lnTo>
                  <a:lnTo>
                    <a:pt x="5" y="308"/>
                  </a:lnTo>
                  <a:lnTo>
                    <a:pt x="113" y="121"/>
                  </a:lnTo>
                  <a:lnTo>
                    <a:pt x="113" y="121"/>
                  </a:lnTo>
                  <a:lnTo>
                    <a:pt x="117" y="115"/>
                  </a:lnTo>
                  <a:lnTo>
                    <a:pt x="121" y="111"/>
                  </a:lnTo>
                  <a:lnTo>
                    <a:pt x="127" y="108"/>
                  </a:lnTo>
                  <a:lnTo>
                    <a:pt x="133" y="106"/>
                  </a:lnTo>
                  <a:lnTo>
                    <a:pt x="139" y="105"/>
                  </a:lnTo>
                  <a:lnTo>
                    <a:pt x="146" y="105"/>
                  </a:lnTo>
                  <a:lnTo>
                    <a:pt x="152" y="106"/>
                  </a:lnTo>
                  <a:lnTo>
                    <a:pt x="158" y="109"/>
                  </a:lnTo>
                  <a:lnTo>
                    <a:pt x="217" y="143"/>
                  </a:lnTo>
                  <a:lnTo>
                    <a:pt x="217" y="143"/>
                  </a:lnTo>
                  <a:lnTo>
                    <a:pt x="236" y="130"/>
                  </a:lnTo>
                  <a:lnTo>
                    <a:pt x="255" y="119"/>
                  </a:lnTo>
                  <a:lnTo>
                    <a:pt x="273" y="109"/>
                  </a:lnTo>
                  <a:lnTo>
                    <a:pt x="290" y="102"/>
                  </a:lnTo>
                  <a:lnTo>
                    <a:pt x="290" y="33"/>
                  </a:lnTo>
                  <a:lnTo>
                    <a:pt x="290" y="33"/>
                  </a:lnTo>
                  <a:lnTo>
                    <a:pt x="291" y="26"/>
                  </a:lnTo>
                  <a:lnTo>
                    <a:pt x="293" y="20"/>
                  </a:lnTo>
                  <a:lnTo>
                    <a:pt x="296" y="15"/>
                  </a:lnTo>
                  <a:lnTo>
                    <a:pt x="299" y="10"/>
                  </a:lnTo>
                  <a:lnTo>
                    <a:pt x="304" y="5"/>
                  </a:lnTo>
                  <a:lnTo>
                    <a:pt x="311" y="2"/>
                  </a:lnTo>
                  <a:lnTo>
                    <a:pt x="317" y="0"/>
                  </a:lnTo>
                  <a:lnTo>
                    <a:pt x="323" y="0"/>
                  </a:lnTo>
                  <a:lnTo>
                    <a:pt x="539" y="0"/>
                  </a:lnTo>
                  <a:lnTo>
                    <a:pt x="539" y="0"/>
                  </a:lnTo>
                  <a:lnTo>
                    <a:pt x="545" y="0"/>
                  </a:lnTo>
                  <a:lnTo>
                    <a:pt x="552" y="2"/>
                  </a:lnTo>
                  <a:lnTo>
                    <a:pt x="558" y="5"/>
                  </a:lnTo>
                  <a:lnTo>
                    <a:pt x="562" y="10"/>
                  </a:lnTo>
                  <a:lnTo>
                    <a:pt x="566" y="15"/>
                  </a:lnTo>
                  <a:lnTo>
                    <a:pt x="569" y="20"/>
                  </a:lnTo>
                  <a:lnTo>
                    <a:pt x="571" y="26"/>
                  </a:lnTo>
                  <a:lnTo>
                    <a:pt x="572" y="33"/>
                  </a:lnTo>
                  <a:lnTo>
                    <a:pt x="572" y="102"/>
                  </a:lnTo>
                  <a:lnTo>
                    <a:pt x="572" y="102"/>
                  </a:lnTo>
                  <a:lnTo>
                    <a:pt x="591" y="110"/>
                  </a:lnTo>
                  <a:lnTo>
                    <a:pt x="610" y="120"/>
                  </a:lnTo>
                  <a:lnTo>
                    <a:pt x="627" y="132"/>
                  </a:lnTo>
                  <a:lnTo>
                    <a:pt x="644" y="143"/>
                  </a:lnTo>
                  <a:lnTo>
                    <a:pt x="702" y="109"/>
                  </a:lnTo>
                  <a:lnTo>
                    <a:pt x="702" y="109"/>
                  </a:lnTo>
                  <a:lnTo>
                    <a:pt x="708" y="106"/>
                  </a:lnTo>
                  <a:lnTo>
                    <a:pt x="714" y="105"/>
                  </a:lnTo>
                  <a:lnTo>
                    <a:pt x="721" y="105"/>
                  </a:lnTo>
                  <a:lnTo>
                    <a:pt x="728" y="106"/>
                  </a:lnTo>
                  <a:lnTo>
                    <a:pt x="728" y="106"/>
                  </a:lnTo>
                  <a:lnTo>
                    <a:pt x="734" y="108"/>
                  </a:lnTo>
                  <a:lnTo>
                    <a:pt x="739" y="111"/>
                  </a:lnTo>
                  <a:lnTo>
                    <a:pt x="744" y="115"/>
                  </a:lnTo>
                  <a:lnTo>
                    <a:pt x="747" y="121"/>
                  </a:lnTo>
                  <a:lnTo>
                    <a:pt x="855" y="308"/>
                  </a:lnTo>
                  <a:lnTo>
                    <a:pt x="855" y="308"/>
                  </a:lnTo>
                  <a:lnTo>
                    <a:pt x="858" y="314"/>
                  </a:lnTo>
                  <a:lnTo>
                    <a:pt x="860" y="320"/>
                  </a:lnTo>
                  <a:lnTo>
                    <a:pt x="860" y="326"/>
                  </a:lnTo>
                  <a:lnTo>
                    <a:pt x="859" y="333"/>
                  </a:lnTo>
                  <a:lnTo>
                    <a:pt x="857" y="339"/>
                  </a:lnTo>
                  <a:lnTo>
                    <a:pt x="853" y="344"/>
                  </a:lnTo>
                  <a:lnTo>
                    <a:pt x="849" y="349"/>
                  </a:lnTo>
                  <a:lnTo>
                    <a:pt x="843" y="353"/>
                  </a:lnTo>
                  <a:lnTo>
                    <a:pt x="785" y="387"/>
                  </a:lnTo>
                  <a:lnTo>
                    <a:pt x="785" y="387"/>
                  </a:lnTo>
                  <a:lnTo>
                    <a:pt x="787" y="408"/>
                  </a:lnTo>
                  <a:lnTo>
                    <a:pt x="787" y="429"/>
                  </a:lnTo>
                  <a:lnTo>
                    <a:pt x="787" y="429"/>
                  </a:lnTo>
                  <a:lnTo>
                    <a:pt x="787" y="449"/>
                  </a:lnTo>
                  <a:lnTo>
                    <a:pt x="785" y="470"/>
                  </a:lnTo>
                  <a:lnTo>
                    <a:pt x="843" y="504"/>
                  </a:lnTo>
                  <a:lnTo>
                    <a:pt x="843" y="504"/>
                  </a:lnTo>
                  <a:lnTo>
                    <a:pt x="849" y="508"/>
                  </a:lnTo>
                  <a:lnTo>
                    <a:pt x="853" y="513"/>
                  </a:lnTo>
                  <a:lnTo>
                    <a:pt x="857" y="519"/>
                  </a:lnTo>
                  <a:lnTo>
                    <a:pt x="859" y="525"/>
                  </a:lnTo>
                  <a:lnTo>
                    <a:pt x="859" y="525"/>
                  </a:lnTo>
                  <a:lnTo>
                    <a:pt x="860" y="531"/>
                  </a:lnTo>
                  <a:lnTo>
                    <a:pt x="860" y="537"/>
                  </a:lnTo>
                  <a:lnTo>
                    <a:pt x="858" y="544"/>
                  </a:lnTo>
                  <a:lnTo>
                    <a:pt x="856" y="550"/>
                  </a:lnTo>
                  <a:lnTo>
                    <a:pt x="747" y="737"/>
                  </a:lnTo>
                  <a:lnTo>
                    <a:pt x="747" y="737"/>
                  </a:lnTo>
                  <a:lnTo>
                    <a:pt x="744" y="742"/>
                  </a:lnTo>
                  <a:lnTo>
                    <a:pt x="739" y="747"/>
                  </a:lnTo>
                  <a:lnTo>
                    <a:pt x="734" y="750"/>
                  </a:lnTo>
                  <a:lnTo>
                    <a:pt x="728" y="752"/>
                  </a:lnTo>
                  <a:lnTo>
                    <a:pt x="728" y="752"/>
                  </a:lnTo>
                  <a:lnTo>
                    <a:pt x="721" y="754"/>
                  </a:lnTo>
                  <a:lnTo>
                    <a:pt x="715" y="753"/>
                  </a:lnTo>
                  <a:lnTo>
                    <a:pt x="708" y="752"/>
                  </a:lnTo>
                  <a:lnTo>
                    <a:pt x="703" y="749"/>
                  </a:lnTo>
                  <a:lnTo>
                    <a:pt x="644" y="714"/>
                  </a:lnTo>
                  <a:lnTo>
                    <a:pt x="644" y="714"/>
                  </a:lnTo>
                  <a:lnTo>
                    <a:pt x="627" y="727"/>
                  </a:lnTo>
                  <a:lnTo>
                    <a:pt x="610" y="737"/>
                  </a:lnTo>
                  <a:lnTo>
                    <a:pt x="591" y="748"/>
                  </a:lnTo>
                  <a:lnTo>
                    <a:pt x="572" y="756"/>
                  </a:lnTo>
                  <a:lnTo>
                    <a:pt x="572" y="825"/>
                  </a:lnTo>
                  <a:lnTo>
                    <a:pt x="572" y="825"/>
                  </a:lnTo>
                  <a:lnTo>
                    <a:pt x="571" y="831"/>
                  </a:lnTo>
                  <a:lnTo>
                    <a:pt x="569" y="838"/>
                  </a:lnTo>
                  <a:lnTo>
                    <a:pt x="566" y="843"/>
                  </a:lnTo>
                  <a:lnTo>
                    <a:pt x="562" y="848"/>
                  </a:lnTo>
                  <a:lnTo>
                    <a:pt x="558" y="852"/>
                  </a:lnTo>
                  <a:lnTo>
                    <a:pt x="552" y="855"/>
                  </a:lnTo>
                  <a:lnTo>
                    <a:pt x="545" y="857"/>
                  </a:lnTo>
                  <a:lnTo>
                    <a:pt x="539" y="857"/>
                  </a:lnTo>
                  <a:lnTo>
                    <a:pt x="539" y="857"/>
                  </a:lnTo>
                  <a:close/>
                  <a:moveTo>
                    <a:pt x="356" y="792"/>
                  </a:moveTo>
                  <a:lnTo>
                    <a:pt x="506" y="792"/>
                  </a:lnTo>
                  <a:lnTo>
                    <a:pt x="506" y="734"/>
                  </a:lnTo>
                  <a:lnTo>
                    <a:pt x="506" y="734"/>
                  </a:lnTo>
                  <a:lnTo>
                    <a:pt x="506" y="729"/>
                  </a:lnTo>
                  <a:lnTo>
                    <a:pt x="507" y="724"/>
                  </a:lnTo>
                  <a:lnTo>
                    <a:pt x="509" y="720"/>
                  </a:lnTo>
                  <a:lnTo>
                    <a:pt x="511" y="716"/>
                  </a:lnTo>
                  <a:lnTo>
                    <a:pt x="514" y="711"/>
                  </a:lnTo>
                  <a:lnTo>
                    <a:pt x="519" y="708"/>
                  </a:lnTo>
                  <a:lnTo>
                    <a:pt x="523" y="705"/>
                  </a:lnTo>
                  <a:lnTo>
                    <a:pt x="528" y="703"/>
                  </a:lnTo>
                  <a:lnTo>
                    <a:pt x="528" y="703"/>
                  </a:lnTo>
                  <a:lnTo>
                    <a:pt x="553" y="693"/>
                  </a:lnTo>
                  <a:lnTo>
                    <a:pt x="576" y="679"/>
                  </a:lnTo>
                  <a:lnTo>
                    <a:pt x="599" y="666"/>
                  </a:lnTo>
                  <a:lnTo>
                    <a:pt x="619" y="650"/>
                  </a:lnTo>
                  <a:lnTo>
                    <a:pt x="619" y="650"/>
                  </a:lnTo>
                  <a:lnTo>
                    <a:pt x="623" y="647"/>
                  </a:lnTo>
                  <a:lnTo>
                    <a:pt x="628" y="644"/>
                  </a:lnTo>
                  <a:lnTo>
                    <a:pt x="632" y="643"/>
                  </a:lnTo>
                  <a:lnTo>
                    <a:pt x="638" y="642"/>
                  </a:lnTo>
                  <a:lnTo>
                    <a:pt x="643" y="642"/>
                  </a:lnTo>
                  <a:lnTo>
                    <a:pt x="648" y="643"/>
                  </a:lnTo>
                  <a:lnTo>
                    <a:pt x="653" y="644"/>
                  </a:lnTo>
                  <a:lnTo>
                    <a:pt x="657" y="646"/>
                  </a:lnTo>
                  <a:lnTo>
                    <a:pt x="707" y="675"/>
                  </a:lnTo>
                  <a:lnTo>
                    <a:pt x="781" y="546"/>
                  </a:lnTo>
                  <a:lnTo>
                    <a:pt x="732" y="517"/>
                  </a:lnTo>
                  <a:lnTo>
                    <a:pt x="732" y="517"/>
                  </a:lnTo>
                  <a:lnTo>
                    <a:pt x="728" y="514"/>
                  </a:lnTo>
                  <a:lnTo>
                    <a:pt x="723" y="511"/>
                  </a:lnTo>
                  <a:lnTo>
                    <a:pt x="720" y="506"/>
                  </a:lnTo>
                  <a:lnTo>
                    <a:pt x="718" y="502"/>
                  </a:lnTo>
                  <a:lnTo>
                    <a:pt x="716" y="497"/>
                  </a:lnTo>
                  <a:lnTo>
                    <a:pt x="715" y="492"/>
                  </a:lnTo>
                  <a:lnTo>
                    <a:pt x="715" y="487"/>
                  </a:lnTo>
                  <a:lnTo>
                    <a:pt x="716" y="482"/>
                  </a:lnTo>
                  <a:lnTo>
                    <a:pt x="716" y="482"/>
                  </a:lnTo>
                  <a:lnTo>
                    <a:pt x="719" y="455"/>
                  </a:lnTo>
                  <a:lnTo>
                    <a:pt x="720" y="442"/>
                  </a:lnTo>
                  <a:lnTo>
                    <a:pt x="720" y="429"/>
                  </a:lnTo>
                  <a:lnTo>
                    <a:pt x="720" y="429"/>
                  </a:lnTo>
                  <a:lnTo>
                    <a:pt x="720" y="415"/>
                  </a:lnTo>
                  <a:lnTo>
                    <a:pt x="719" y="403"/>
                  </a:lnTo>
                  <a:lnTo>
                    <a:pt x="716" y="376"/>
                  </a:lnTo>
                  <a:lnTo>
                    <a:pt x="716" y="376"/>
                  </a:lnTo>
                  <a:lnTo>
                    <a:pt x="715" y="371"/>
                  </a:lnTo>
                  <a:lnTo>
                    <a:pt x="715" y="366"/>
                  </a:lnTo>
                  <a:lnTo>
                    <a:pt x="716" y="360"/>
                  </a:lnTo>
                  <a:lnTo>
                    <a:pt x="718" y="356"/>
                  </a:lnTo>
                  <a:lnTo>
                    <a:pt x="720" y="351"/>
                  </a:lnTo>
                  <a:lnTo>
                    <a:pt x="723" y="348"/>
                  </a:lnTo>
                  <a:lnTo>
                    <a:pt x="728" y="344"/>
                  </a:lnTo>
                  <a:lnTo>
                    <a:pt x="732" y="341"/>
                  </a:lnTo>
                  <a:lnTo>
                    <a:pt x="781" y="312"/>
                  </a:lnTo>
                  <a:lnTo>
                    <a:pt x="707" y="182"/>
                  </a:lnTo>
                  <a:lnTo>
                    <a:pt x="657" y="211"/>
                  </a:lnTo>
                  <a:lnTo>
                    <a:pt x="657" y="211"/>
                  </a:lnTo>
                  <a:lnTo>
                    <a:pt x="653" y="213"/>
                  </a:lnTo>
                  <a:lnTo>
                    <a:pt x="648" y="216"/>
                  </a:lnTo>
                  <a:lnTo>
                    <a:pt x="643" y="216"/>
                  </a:lnTo>
                  <a:lnTo>
                    <a:pt x="638" y="216"/>
                  </a:lnTo>
                  <a:lnTo>
                    <a:pt x="632" y="215"/>
                  </a:lnTo>
                  <a:lnTo>
                    <a:pt x="628" y="213"/>
                  </a:lnTo>
                  <a:lnTo>
                    <a:pt x="623" y="211"/>
                  </a:lnTo>
                  <a:lnTo>
                    <a:pt x="619" y="208"/>
                  </a:lnTo>
                  <a:lnTo>
                    <a:pt x="619" y="208"/>
                  </a:lnTo>
                  <a:lnTo>
                    <a:pt x="599" y="192"/>
                  </a:lnTo>
                  <a:lnTo>
                    <a:pt x="576" y="178"/>
                  </a:lnTo>
                  <a:lnTo>
                    <a:pt x="553" y="165"/>
                  </a:lnTo>
                  <a:lnTo>
                    <a:pt x="528" y="154"/>
                  </a:lnTo>
                  <a:lnTo>
                    <a:pt x="528" y="154"/>
                  </a:lnTo>
                  <a:lnTo>
                    <a:pt x="523" y="152"/>
                  </a:lnTo>
                  <a:lnTo>
                    <a:pt x="519" y="149"/>
                  </a:lnTo>
                  <a:lnTo>
                    <a:pt x="514" y="146"/>
                  </a:lnTo>
                  <a:lnTo>
                    <a:pt x="511" y="143"/>
                  </a:lnTo>
                  <a:lnTo>
                    <a:pt x="509" y="138"/>
                  </a:lnTo>
                  <a:lnTo>
                    <a:pt x="507" y="134"/>
                  </a:lnTo>
                  <a:lnTo>
                    <a:pt x="506" y="129"/>
                  </a:lnTo>
                  <a:lnTo>
                    <a:pt x="506" y="123"/>
                  </a:lnTo>
                  <a:lnTo>
                    <a:pt x="506" y="67"/>
                  </a:lnTo>
                  <a:lnTo>
                    <a:pt x="356" y="67"/>
                  </a:lnTo>
                  <a:lnTo>
                    <a:pt x="356" y="123"/>
                  </a:lnTo>
                  <a:lnTo>
                    <a:pt x="356" y="123"/>
                  </a:lnTo>
                  <a:lnTo>
                    <a:pt x="356" y="129"/>
                  </a:lnTo>
                  <a:lnTo>
                    <a:pt x="355" y="134"/>
                  </a:lnTo>
                  <a:lnTo>
                    <a:pt x="353" y="138"/>
                  </a:lnTo>
                  <a:lnTo>
                    <a:pt x="350" y="143"/>
                  </a:lnTo>
                  <a:lnTo>
                    <a:pt x="347" y="146"/>
                  </a:lnTo>
                  <a:lnTo>
                    <a:pt x="344" y="149"/>
                  </a:lnTo>
                  <a:lnTo>
                    <a:pt x="340" y="152"/>
                  </a:lnTo>
                  <a:lnTo>
                    <a:pt x="334" y="154"/>
                  </a:lnTo>
                  <a:lnTo>
                    <a:pt x="334" y="154"/>
                  </a:lnTo>
                  <a:lnTo>
                    <a:pt x="308" y="166"/>
                  </a:lnTo>
                  <a:lnTo>
                    <a:pt x="285" y="178"/>
                  </a:lnTo>
                  <a:lnTo>
                    <a:pt x="262" y="193"/>
                  </a:lnTo>
                  <a:lnTo>
                    <a:pt x="252" y="200"/>
                  </a:lnTo>
                  <a:lnTo>
                    <a:pt x="242" y="208"/>
                  </a:lnTo>
                  <a:lnTo>
                    <a:pt x="242" y="208"/>
                  </a:lnTo>
                  <a:lnTo>
                    <a:pt x="237" y="211"/>
                  </a:lnTo>
                  <a:lnTo>
                    <a:pt x="233" y="213"/>
                  </a:lnTo>
                  <a:lnTo>
                    <a:pt x="228" y="215"/>
                  </a:lnTo>
                  <a:lnTo>
                    <a:pt x="224" y="216"/>
                  </a:lnTo>
                  <a:lnTo>
                    <a:pt x="218" y="216"/>
                  </a:lnTo>
                  <a:lnTo>
                    <a:pt x="213" y="216"/>
                  </a:lnTo>
                  <a:lnTo>
                    <a:pt x="208" y="213"/>
                  </a:lnTo>
                  <a:lnTo>
                    <a:pt x="204" y="211"/>
                  </a:lnTo>
                  <a:lnTo>
                    <a:pt x="153" y="182"/>
                  </a:lnTo>
                  <a:lnTo>
                    <a:pt x="79" y="313"/>
                  </a:lnTo>
                  <a:lnTo>
                    <a:pt x="128" y="341"/>
                  </a:lnTo>
                  <a:lnTo>
                    <a:pt x="128" y="341"/>
                  </a:lnTo>
                  <a:lnTo>
                    <a:pt x="133" y="344"/>
                  </a:lnTo>
                  <a:lnTo>
                    <a:pt x="137" y="348"/>
                  </a:lnTo>
                  <a:lnTo>
                    <a:pt x="140" y="351"/>
                  </a:lnTo>
                  <a:lnTo>
                    <a:pt x="142" y="356"/>
                  </a:lnTo>
                  <a:lnTo>
                    <a:pt x="144" y="360"/>
                  </a:lnTo>
                  <a:lnTo>
                    <a:pt x="145" y="366"/>
                  </a:lnTo>
                  <a:lnTo>
                    <a:pt x="145" y="371"/>
                  </a:lnTo>
                  <a:lnTo>
                    <a:pt x="144" y="376"/>
                  </a:lnTo>
                  <a:lnTo>
                    <a:pt x="144" y="376"/>
                  </a:lnTo>
                  <a:lnTo>
                    <a:pt x="141" y="403"/>
                  </a:lnTo>
                  <a:lnTo>
                    <a:pt x="140" y="429"/>
                  </a:lnTo>
                  <a:lnTo>
                    <a:pt x="140" y="429"/>
                  </a:lnTo>
                  <a:lnTo>
                    <a:pt x="140" y="442"/>
                  </a:lnTo>
                  <a:lnTo>
                    <a:pt x="141" y="455"/>
                  </a:lnTo>
                  <a:lnTo>
                    <a:pt x="144" y="482"/>
                  </a:lnTo>
                  <a:lnTo>
                    <a:pt x="144" y="482"/>
                  </a:lnTo>
                  <a:lnTo>
                    <a:pt x="145" y="487"/>
                  </a:lnTo>
                  <a:lnTo>
                    <a:pt x="145" y="492"/>
                  </a:lnTo>
                  <a:lnTo>
                    <a:pt x="144" y="497"/>
                  </a:lnTo>
                  <a:lnTo>
                    <a:pt x="142" y="502"/>
                  </a:lnTo>
                  <a:lnTo>
                    <a:pt x="140" y="506"/>
                  </a:lnTo>
                  <a:lnTo>
                    <a:pt x="137" y="511"/>
                  </a:lnTo>
                  <a:lnTo>
                    <a:pt x="133" y="514"/>
                  </a:lnTo>
                  <a:lnTo>
                    <a:pt x="128" y="517"/>
                  </a:lnTo>
                  <a:lnTo>
                    <a:pt x="79" y="546"/>
                  </a:lnTo>
                  <a:lnTo>
                    <a:pt x="153" y="675"/>
                  </a:lnTo>
                  <a:lnTo>
                    <a:pt x="204" y="646"/>
                  </a:lnTo>
                  <a:lnTo>
                    <a:pt x="204" y="646"/>
                  </a:lnTo>
                  <a:lnTo>
                    <a:pt x="208" y="644"/>
                  </a:lnTo>
                  <a:lnTo>
                    <a:pt x="213" y="643"/>
                  </a:lnTo>
                  <a:lnTo>
                    <a:pt x="218" y="642"/>
                  </a:lnTo>
                  <a:lnTo>
                    <a:pt x="224" y="642"/>
                  </a:lnTo>
                  <a:lnTo>
                    <a:pt x="228" y="643"/>
                  </a:lnTo>
                  <a:lnTo>
                    <a:pt x="233" y="644"/>
                  </a:lnTo>
                  <a:lnTo>
                    <a:pt x="237" y="647"/>
                  </a:lnTo>
                  <a:lnTo>
                    <a:pt x="242" y="650"/>
                  </a:lnTo>
                  <a:lnTo>
                    <a:pt x="242" y="650"/>
                  </a:lnTo>
                  <a:lnTo>
                    <a:pt x="252" y="658"/>
                  </a:lnTo>
                  <a:lnTo>
                    <a:pt x="262" y="665"/>
                  </a:lnTo>
                  <a:lnTo>
                    <a:pt x="285" y="679"/>
                  </a:lnTo>
                  <a:lnTo>
                    <a:pt x="308" y="692"/>
                  </a:lnTo>
                  <a:lnTo>
                    <a:pt x="334" y="703"/>
                  </a:lnTo>
                  <a:lnTo>
                    <a:pt x="334" y="703"/>
                  </a:lnTo>
                  <a:lnTo>
                    <a:pt x="340" y="705"/>
                  </a:lnTo>
                  <a:lnTo>
                    <a:pt x="344" y="708"/>
                  </a:lnTo>
                  <a:lnTo>
                    <a:pt x="347" y="711"/>
                  </a:lnTo>
                  <a:lnTo>
                    <a:pt x="350" y="716"/>
                  </a:lnTo>
                  <a:lnTo>
                    <a:pt x="353" y="720"/>
                  </a:lnTo>
                  <a:lnTo>
                    <a:pt x="355" y="724"/>
                  </a:lnTo>
                  <a:lnTo>
                    <a:pt x="356" y="729"/>
                  </a:lnTo>
                  <a:lnTo>
                    <a:pt x="356" y="734"/>
                  </a:lnTo>
                  <a:lnTo>
                    <a:pt x="356" y="7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7" name="Freeform 195">
              <a:extLst>
                <a:ext uri="{FF2B5EF4-FFF2-40B4-BE49-F238E27FC236}">
                  <a16:creationId xmlns:a16="http://schemas.microsoft.com/office/drawing/2014/main" id="{2120096D-EA97-49DC-8F78-A2CCB29FB3A3}"/>
                </a:ext>
              </a:extLst>
            </p:cNvPr>
            <p:cNvSpPr>
              <a:spLocks noEditPoints="1"/>
            </p:cNvSpPr>
            <p:nvPr/>
          </p:nvSpPr>
          <p:spPr bwMode="auto">
            <a:xfrm>
              <a:off x="7210425" y="3471863"/>
              <a:ext cx="80963" cy="79375"/>
            </a:xfrm>
            <a:custGeom>
              <a:avLst/>
              <a:gdLst>
                <a:gd name="T0" fmla="*/ 159 w 355"/>
                <a:gd name="T1" fmla="*/ 353 h 354"/>
                <a:gd name="T2" fmla="*/ 108 w 355"/>
                <a:gd name="T3" fmla="*/ 340 h 354"/>
                <a:gd name="T4" fmla="*/ 65 w 355"/>
                <a:gd name="T5" fmla="*/ 313 h 354"/>
                <a:gd name="T6" fmla="*/ 31 w 355"/>
                <a:gd name="T7" fmla="*/ 276 h 354"/>
                <a:gd name="T8" fmla="*/ 8 w 355"/>
                <a:gd name="T9" fmla="*/ 230 h 354"/>
                <a:gd name="T10" fmla="*/ 0 w 355"/>
                <a:gd name="T11" fmla="*/ 177 h 354"/>
                <a:gd name="T12" fmla="*/ 4 w 355"/>
                <a:gd name="T13" fmla="*/ 142 h 354"/>
                <a:gd name="T14" fmla="*/ 21 w 355"/>
                <a:gd name="T15" fmla="*/ 93 h 354"/>
                <a:gd name="T16" fmla="*/ 52 w 355"/>
                <a:gd name="T17" fmla="*/ 52 h 354"/>
                <a:gd name="T18" fmla="*/ 93 w 355"/>
                <a:gd name="T19" fmla="*/ 22 h 354"/>
                <a:gd name="T20" fmla="*/ 141 w 355"/>
                <a:gd name="T21" fmla="*/ 4 h 354"/>
                <a:gd name="T22" fmla="*/ 177 w 355"/>
                <a:gd name="T23" fmla="*/ 0 h 354"/>
                <a:gd name="T24" fmla="*/ 229 w 355"/>
                <a:gd name="T25" fmla="*/ 8 h 354"/>
                <a:gd name="T26" fmla="*/ 276 w 355"/>
                <a:gd name="T27" fmla="*/ 30 h 354"/>
                <a:gd name="T28" fmla="*/ 313 w 355"/>
                <a:gd name="T29" fmla="*/ 64 h 354"/>
                <a:gd name="T30" fmla="*/ 340 w 355"/>
                <a:gd name="T31" fmla="*/ 108 h 354"/>
                <a:gd name="T32" fmla="*/ 354 w 355"/>
                <a:gd name="T33" fmla="*/ 159 h 354"/>
                <a:gd name="T34" fmla="*/ 354 w 355"/>
                <a:gd name="T35" fmla="*/ 194 h 354"/>
                <a:gd name="T36" fmla="*/ 340 w 355"/>
                <a:gd name="T37" fmla="*/ 246 h 354"/>
                <a:gd name="T38" fmla="*/ 313 w 355"/>
                <a:gd name="T39" fmla="*/ 290 h 354"/>
                <a:gd name="T40" fmla="*/ 276 w 355"/>
                <a:gd name="T41" fmla="*/ 324 h 354"/>
                <a:gd name="T42" fmla="*/ 229 w 355"/>
                <a:gd name="T43" fmla="*/ 346 h 354"/>
                <a:gd name="T44" fmla="*/ 177 w 355"/>
                <a:gd name="T45" fmla="*/ 354 h 354"/>
                <a:gd name="T46" fmla="*/ 177 w 355"/>
                <a:gd name="T47" fmla="*/ 66 h 354"/>
                <a:gd name="T48" fmla="*/ 144 w 355"/>
                <a:gd name="T49" fmla="*/ 71 h 354"/>
                <a:gd name="T50" fmla="*/ 115 w 355"/>
                <a:gd name="T51" fmla="*/ 85 h 354"/>
                <a:gd name="T52" fmla="*/ 92 w 355"/>
                <a:gd name="T53" fmla="*/ 106 h 354"/>
                <a:gd name="T54" fmla="*/ 75 w 355"/>
                <a:gd name="T55" fmla="*/ 133 h 354"/>
                <a:gd name="T56" fmla="*/ 67 w 355"/>
                <a:gd name="T57" fmla="*/ 165 h 354"/>
                <a:gd name="T58" fmla="*/ 67 w 355"/>
                <a:gd name="T59" fmla="*/ 188 h 354"/>
                <a:gd name="T60" fmla="*/ 75 w 355"/>
                <a:gd name="T61" fmla="*/ 220 h 354"/>
                <a:gd name="T62" fmla="*/ 92 w 355"/>
                <a:gd name="T63" fmla="*/ 247 h 354"/>
                <a:gd name="T64" fmla="*/ 115 w 355"/>
                <a:gd name="T65" fmla="*/ 269 h 354"/>
                <a:gd name="T66" fmla="*/ 144 w 355"/>
                <a:gd name="T67" fmla="*/ 282 h 354"/>
                <a:gd name="T68" fmla="*/ 177 w 355"/>
                <a:gd name="T69" fmla="*/ 288 h 354"/>
                <a:gd name="T70" fmla="*/ 199 w 355"/>
                <a:gd name="T71" fmla="*/ 285 h 354"/>
                <a:gd name="T72" fmla="*/ 229 w 355"/>
                <a:gd name="T73" fmla="*/ 274 h 354"/>
                <a:gd name="T74" fmla="*/ 255 w 355"/>
                <a:gd name="T75" fmla="*/ 255 h 354"/>
                <a:gd name="T76" fmla="*/ 275 w 355"/>
                <a:gd name="T77" fmla="*/ 230 h 354"/>
                <a:gd name="T78" fmla="*/ 285 w 355"/>
                <a:gd name="T79" fmla="*/ 200 h 354"/>
                <a:gd name="T80" fmla="*/ 288 w 355"/>
                <a:gd name="T81" fmla="*/ 177 h 354"/>
                <a:gd name="T82" fmla="*/ 283 w 355"/>
                <a:gd name="T83" fmla="*/ 144 h 354"/>
                <a:gd name="T84" fmla="*/ 269 w 355"/>
                <a:gd name="T85" fmla="*/ 115 h 354"/>
                <a:gd name="T86" fmla="*/ 248 w 355"/>
                <a:gd name="T87" fmla="*/ 91 h 354"/>
                <a:gd name="T88" fmla="*/ 220 w 355"/>
                <a:gd name="T89" fmla="*/ 74 h 354"/>
                <a:gd name="T90" fmla="*/ 188 w 355"/>
                <a:gd name="T91"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5" h="354">
                  <a:moveTo>
                    <a:pt x="177" y="354"/>
                  </a:moveTo>
                  <a:lnTo>
                    <a:pt x="177" y="354"/>
                  </a:lnTo>
                  <a:lnTo>
                    <a:pt x="159" y="353"/>
                  </a:lnTo>
                  <a:lnTo>
                    <a:pt x="141" y="351"/>
                  </a:lnTo>
                  <a:lnTo>
                    <a:pt x="125" y="346"/>
                  </a:lnTo>
                  <a:lnTo>
                    <a:pt x="108" y="340"/>
                  </a:lnTo>
                  <a:lnTo>
                    <a:pt x="93" y="332"/>
                  </a:lnTo>
                  <a:lnTo>
                    <a:pt x="78" y="324"/>
                  </a:lnTo>
                  <a:lnTo>
                    <a:pt x="65" y="313"/>
                  </a:lnTo>
                  <a:lnTo>
                    <a:pt x="52" y="302"/>
                  </a:lnTo>
                  <a:lnTo>
                    <a:pt x="41" y="290"/>
                  </a:lnTo>
                  <a:lnTo>
                    <a:pt x="31" y="276"/>
                  </a:lnTo>
                  <a:lnTo>
                    <a:pt x="21" y="261"/>
                  </a:lnTo>
                  <a:lnTo>
                    <a:pt x="14" y="246"/>
                  </a:lnTo>
                  <a:lnTo>
                    <a:pt x="8" y="230"/>
                  </a:lnTo>
                  <a:lnTo>
                    <a:pt x="4" y="212"/>
                  </a:lnTo>
                  <a:lnTo>
                    <a:pt x="1" y="194"/>
                  </a:lnTo>
                  <a:lnTo>
                    <a:pt x="0" y="177"/>
                  </a:lnTo>
                  <a:lnTo>
                    <a:pt x="0" y="177"/>
                  </a:lnTo>
                  <a:lnTo>
                    <a:pt x="1" y="159"/>
                  </a:lnTo>
                  <a:lnTo>
                    <a:pt x="4" y="142"/>
                  </a:lnTo>
                  <a:lnTo>
                    <a:pt x="8" y="124"/>
                  </a:lnTo>
                  <a:lnTo>
                    <a:pt x="14" y="108"/>
                  </a:lnTo>
                  <a:lnTo>
                    <a:pt x="21" y="93"/>
                  </a:lnTo>
                  <a:lnTo>
                    <a:pt x="31" y="77"/>
                  </a:lnTo>
                  <a:lnTo>
                    <a:pt x="41" y="64"/>
                  </a:lnTo>
                  <a:lnTo>
                    <a:pt x="52" y="52"/>
                  </a:lnTo>
                  <a:lnTo>
                    <a:pt x="65" y="40"/>
                  </a:lnTo>
                  <a:lnTo>
                    <a:pt x="78" y="30"/>
                  </a:lnTo>
                  <a:lnTo>
                    <a:pt x="93" y="22"/>
                  </a:lnTo>
                  <a:lnTo>
                    <a:pt x="108" y="13"/>
                  </a:lnTo>
                  <a:lnTo>
                    <a:pt x="125" y="8"/>
                  </a:lnTo>
                  <a:lnTo>
                    <a:pt x="141" y="4"/>
                  </a:lnTo>
                  <a:lnTo>
                    <a:pt x="159" y="1"/>
                  </a:lnTo>
                  <a:lnTo>
                    <a:pt x="177" y="0"/>
                  </a:lnTo>
                  <a:lnTo>
                    <a:pt x="177" y="0"/>
                  </a:lnTo>
                  <a:lnTo>
                    <a:pt x="195" y="1"/>
                  </a:lnTo>
                  <a:lnTo>
                    <a:pt x="213" y="4"/>
                  </a:lnTo>
                  <a:lnTo>
                    <a:pt x="229" y="8"/>
                  </a:lnTo>
                  <a:lnTo>
                    <a:pt x="246" y="13"/>
                  </a:lnTo>
                  <a:lnTo>
                    <a:pt x="261" y="22"/>
                  </a:lnTo>
                  <a:lnTo>
                    <a:pt x="276" y="30"/>
                  </a:lnTo>
                  <a:lnTo>
                    <a:pt x="289" y="40"/>
                  </a:lnTo>
                  <a:lnTo>
                    <a:pt x="302" y="52"/>
                  </a:lnTo>
                  <a:lnTo>
                    <a:pt x="313" y="64"/>
                  </a:lnTo>
                  <a:lnTo>
                    <a:pt x="323" y="77"/>
                  </a:lnTo>
                  <a:lnTo>
                    <a:pt x="333" y="93"/>
                  </a:lnTo>
                  <a:lnTo>
                    <a:pt x="340" y="108"/>
                  </a:lnTo>
                  <a:lnTo>
                    <a:pt x="346" y="124"/>
                  </a:lnTo>
                  <a:lnTo>
                    <a:pt x="350" y="142"/>
                  </a:lnTo>
                  <a:lnTo>
                    <a:pt x="354" y="159"/>
                  </a:lnTo>
                  <a:lnTo>
                    <a:pt x="355" y="177"/>
                  </a:lnTo>
                  <a:lnTo>
                    <a:pt x="355" y="177"/>
                  </a:lnTo>
                  <a:lnTo>
                    <a:pt x="354" y="194"/>
                  </a:lnTo>
                  <a:lnTo>
                    <a:pt x="350" y="212"/>
                  </a:lnTo>
                  <a:lnTo>
                    <a:pt x="346" y="230"/>
                  </a:lnTo>
                  <a:lnTo>
                    <a:pt x="340" y="246"/>
                  </a:lnTo>
                  <a:lnTo>
                    <a:pt x="333" y="261"/>
                  </a:lnTo>
                  <a:lnTo>
                    <a:pt x="323" y="276"/>
                  </a:lnTo>
                  <a:lnTo>
                    <a:pt x="313" y="290"/>
                  </a:lnTo>
                  <a:lnTo>
                    <a:pt x="302" y="302"/>
                  </a:lnTo>
                  <a:lnTo>
                    <a:pt x="289" y="313"/>
                  </a:lnTo>
                  <a:lnTo>
                    <a:pt x="276" y="324"/>
                  </a:lnTo>
                  <a:lnTo>
                    <a:pt x="261" y="332"/>
                  </a:lnTo>
                  <a:lnTo>
                    <a:pt x="246" y="340"/>
                  </a:lnTo>
                  <a:lnTo>
                    <a:pt x="229" y="346"/>
                  </a:lnTo>
                  <a:lnTo>
                    <a:pt x="213" y="351"/>
                  </a:lnTo>
                  <a:lnTo>
                    <a:pt x="195" y="353"/>
                  </a:lnTo>
                  <a:lnTo>
                    <a:pt x="177" y="354"/>
                  </a:lnTo>
                  <a:lnTo>
                    <a:pt x="177" y="354"/>
                  </a:lnTo>
                  <a:close/>
                  <a:moveTo>
                    <a:pt x="177" y="66"/>
                  </a:moveTo>
                  <a:lnTo>
                    <a:pt x="177" y="66"/>
                  </a:lnTo>
                  <a:lnTo>
                    <a:pt x="166" y="66"/>
                  </a:lnTo>
                  <a:lnTo>
                    <a:pt x="155" y="68"/>
                  </a:lnTo>
                  <a:lnTo>
                    <a:pt x="144" y="71"/>
                  </a:lnTo>
                  <a:lnTo>
                    <a:pt x="134" y="74"/>
                  </a:lnTo>
                  <a:lnTo>
                    <a:pt x="124" y="79"/>
                  </a:lnTo>
                  <a:lnTo>
                    <a:pt x="115" y="85"/>
                  </a:lnTo>
                  <a:lnTo>
                    <a:pt x="106" y="91"/>
                  </a:lnTo>
                  <a:lnTo>
                    <a:pt x="99" y="98"/>
                  </a:lnTo>
                  <a:lnTo>
                    <a:pt x="92" y="106"/>
                  </a:lnTo>
                  <a:lnTo>
                    <a:pt x="85" y="115"/>
                  </a:lnTo>
                  <a:lnTo>
                    <a:pt x="79" y="124"/>
                  </a:lnTo>
                  <a:lnTo>
                    <a:pt x="75" y="133"/>
                  </a:lnTo>
                  <a:lnTo>
                    <a:pt x="71" y="144"/>
                  </a:lnTo>
                  <a:lnTo>
                    <a:pt x="68" y="154"/>
                  </a:lnTo>
                  <a:lnTo>
                    <a:pt x="67" y="165"/>
                  </a:lnTo>
                  <a:lnTo>
                    <a:pt x="66" y="177"/>
                  </a:lnTo>
                  <a:lnTo>
                    <a:pt x="66" y="177"/>
                  </a:lnTo>
                  <a:lnTo>
                    <a:pt x="67" y="188"/>
                  </a:lnTo>
                  <a:lnTo>
                    <a:pt x="68" y="200"/>
                  </a:lnTo>
                  <a:lnTo>
                    <a:pt x="71" y="210"/>
                  </a:lnTo>
                  <a:lnTo>
                    <a:pt x="75" y="220"/>
                  </a:lnTo>
                  <a:lnTo>
                    <a:pt x="79" y="230"/>
                  </a:lnTo>
                  <a:lnTo>
                    <a:pt x="85" y="239"/>
                  </a:lnTo>
                  <a:lnTo>
                    <a:pt x="92" y="247"/>
                  </a:lnTo>
                  <a:lnTo>
                    <a:pt x="99" y="255"/>
                  </a:lnTo>
                  <a:lnTo>
                    <a:pt x="106" y="263"/>
                  </a:lnTo>
                  <a:lnTo>
                    <a:pt x="115" y="269"/>
                  </a:lnTo>
                  <a:lnTo>
                    <a:pt x="124" y="274"/>
                  </a:lnTo>
                  <a:lnTo>
                    <a:pt x="134" y="279"/>
                  </a:lnTo>
                  <a:lnTo>
                    <a:pt x="144" y="282"/>
                  </a:lnTo>
                  <a:lnTo>
                    <a:pt x="155" y="285"/>
                  </a:lnTo>
                  <a:lnTo>
                    <a:pt x="166" y="288"/>
                  </a:lnTo>
                  <a:lnTo>
                    <a:pt x="177" y="288"/>
                  </a:lnTo>
                  <a:lnTo>
                    <a:pt x="177" y="288"/>
                  </a:lnTo>
                  <a:lnTo>
                    <a:pt x="188" y="288"/>
                  </a:lnTo>
                  <a:lnTo>
                    <a:pt x="199" y="285"/>
                  </a:lnTo>
                  <a:lnTo>
                    <a:pt x="210" y="282"/>
                  </a:lnTo>
                  <a:lnTo>
                    <a:pt x="220" y="279"/>
                  </a:lnTo>
                  <a:lnTo>
                    <a:pt x="229" y="274"/>
                  </a:lnTo>
                  <a:lnTo>
                    <a:pt x="239" y="269"/>
                  </a:lnTo>
                  <a:lnTo>
                    <a:pt x="248" y="263"/>
                  </a:lnTo>
                  <a:lnTo>
                    <a:pt x="255" y="255"/>
                  </a:lnTo>
                  <a:lnTo>
                    <a:pt x="262" y="247"/>
                  </a:lnTo>
                  <a:lnTo>
                    <a:pt x="269" y="239"/>
                  </a:lnTo>
                  <a:lnTo>
                    <a:pt x="275" y="230"/>
                  </a:lnTo>
                  <a:lnTo>
                    <a:pt x="279" y="220"/>
                  </a:lnTo>
                  <a:lnTo>
                    <a:pt x="283" y="210"/>
                  </a:lnTo>
                  <a:lnTo>
                    <a:pt x="285" y="200"/>
                  </a:lnTo>
                  <a:lnTo>
                    <a:pt x="287" y="188"/>
                  </a:lnTo>
                  <a:lnTo>
                    <a:pt x="288" y="177"/>
                  </a:lnTo>
                  <a:lnTo>
                    <a:pt x="288" y="177"/>
                  </a:lnTo>
                  <a:lnTo>
                    <a:pt x="287" y="165"/>
                  </a:lnTo>
                  <a:lnTo>
                    <a:pt x="285" y="154"/>
                  </a:lnTo>
                  <a:lnTo>
                    <a:pt x="283" y="144"/>
                  </a:lnTo>
                  <a:lnTo>
                    <a:pt x="279" y="133"/>
                  </a:lnTo>
                  <a:lnTo>
                    <a:pt x="275" y="124"/>
                  </a:lnTo>
                  <a:lnTo>
                    <a:pt x="269" y="115"/>
                  </a:lnTo>
                  <a:lnTo>
                    <a:pt x="262" y="106"/>
                  </a:lnTo>
                  <a:lnTo>
                    <a:pt x="255" y="98"/>
                  </a:lnTo>
                  <a:lnTo>
                    <a:pt x="248" y="91"/>
                  </a:lnTo>
                  <a:lnTo>
                    <a:pt x="239" y="85"/>
                  </a:lnTo>
                  <a:lnTo>
                    <a:pt x="229" y="79"/>
                  </a:lnTo>
                  <a:lnTo>
                    <a:pt x="220" y="74"/>
                  </a:lnTo>
                  <a:lnTo>
                    <a:pt x="210" y="71"/>
                  </a:lnTo>
                  <a:lnTo>
                    <a:pt x="199" y="68"/>
                  </a:lnTo>
                  <a:lnTo>
                    <a:pt x="188" y="66"/>
                  </a:lnTo>
                  <a:lnTo>
                    <a:pt x="177" y="66"/>
                  </a:lnTo>
                  <a:lnTo>
                    <a:pt x="17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8" name="Freeform 196">
              <a:extLst>
                <a:ext uri="{FF2B5EF4-FFF2-40B4-BE49-F238E27FC236}">
                  <a16:creationId xmlns:a16="http://schemas.microsoft.com/office/drawing/2014/main" id="{6E2816C7-81C2-4A4C-A4CE-D050279F268D}"/>
                </a:ext>
              </a:extLst>
            </p:cNvPr>
            <p:cNvSpPr>
              <a:spLocks/>
            </p:cNvSpPr>
            <p:nvPr/>
          </p:nvSpPr>
          <p:spPr bwMode="auto">
            <a:xfrm>
              <a:off x="6996113" y="3249613"/>
              <a:ext cx="300038" cy="314325"/>
            </a:xfrm>
            <a:custGeom>
              <a:avLst/>
              <a:gdLst>
                <a:gd name="T0" fmla="*/ 33 w 1322"/>
                <a:gd name="T1" fmla="*/ 1389 h 1389"/>
                <a:gd name="T2" fmla="*/ 27 w 1322"/>
                <a:gd name="T3" fmla="*/ 1388 h 1389"/>
                <a:gd name="T4" fmla="*/ 14 w 1322"/>
                <a:gd name="T5" fmla="*/ 1382 h 1389"/>
                <a:gd name="T6" fmla="*/ 6 w 1322"/>
                <a:gd name="T7" fmla="*/ 1374 h 1389"/>
                <a:gd name="T8" fmla="*/ 1 w 1322"/>
                <a:gd name="T9" fmla="*/ 1362 h 1389"/>
                <a:gd name="T10" fmla="*/ 0 w 1322"/>
                <a:gd name="T11" fmla="*/ 33 h 1389"/>
                <a:gd name="T12" fmla="*/ 1 w 1322"/>
                <a:gd name="T13" fmla="*/ 25 h 1389"/>
                <a:gd name="T14" fmla="*/ 6 w 1322"/>
                <a:gd name="T15" fmla="*/ 14 h 1389"/>
                <a:gd name="T16" fmla="*/ 14 w 1322"/>
                <a:gd name="T17" fmla="*/ 5 h 1389"/>
                <a:gd name="T18" fmla="*/ 27 w 1322"/>
                <a:gd name="T19" fmla="*/ 0 h 1389"/>
                <a:gd name="T20" fmla="*/ 1289 w 1322"/>
                <a:gd name="T21" fmla="*/ 0 h 1389"/>
                <a:gd name="T22" fmla="*/ 1296 w 1322"/>
                <a:gd name="T23" fmla="*/ 0 h 1389"/>
                <a:gd name="T24" fmla="*/ 1308 w 1322"/>
                <a:gd name="T25" fmla="*/ 5 h 1389"/>
                <a:gd name="T26" fmla="*/ 1317 w 1322"/>
                <a:gd name="T27" fmla="*/ 14 h 1389"/>
                <a:gd name="T28" fmla="*/ 1322 w 1322"/>
                <a:gd name="T29" fmla="*/ 25 h 1389"/>
                <a:gd name="T30" fmla="*/ 1322 w 1322"/>
                <a:gd name="T31" fmla="*/ 628 h 1389"/>
                <a:gd name="T32" fmla="*/ 1322 w 1322"/>
                <a:gd name="T33" fmla="*/ 634 h 1389"/>
                <a:gd name="T34" fmla="*/ 1317 w 1322"/>
                <a:gd name="T35" fmla="*/ 647 h 1389"/>
                <a:gd name="T36" fmla="*/ 1308 w 1322"/>
                <a:gd name="T37" fmla="*/ 655 h 1389"/>
                <a:gd name="T38" fmla="*/ 1296 w 1322"/>
                <a:gd name="T39" fmla="*/ 660 h 1389"/>
                <a:gd name="T40" fmla="*/ 1289 w 1322"/>
                <a:gd name="T41" fmla="*/ 661 h 1389"/>
                <a:gd name="T42" fmla="*/ 1277 w 1322"/>
                <a:gd name="T43" fmla="*/ 658 h 1389"/>
                <a:gd name="T44" fmla="*/ 1266 w 1322"/>
                <a:gd name="T45" fmla="*/ 651 h 1389"/>
                <a:gd name="T46" fmla="*/ 1259 w 1322"/>
                <a:gd name="T47" fmla="*/ 640 h 1389"/>
                <a:gd name="T48" fmla="*/ 1256 w 1322"/>
                <a:gd name="T49" fmla="*/ 628 h 1389"/>
                <a:gd name="T50" fmla="*/ 66 w 1322"/>
                <a:gd name="T51" fmla="*/ 66 h 1389"/>
                <a:gd name="T52" fmla="*/ 628 w 1322"/>
                <a:gd name="T53" fmla="*/ 1322 h 1389"/>
                <a:gd name="T54" fmla="*/ 635 w 1322"/>
                <a:gd name="T55" fmla="*/ 1322 h 1389"/>
                <a:gd name="T56" fmla="*/ 646 w 1322"/>
                <a:gd name="T57" fmla="*/ 1328 h 1389"/>
                <a:gd name="T58" fmla="*/ 656 w 1322"/>
                <a:gd name="T59" fmla="*/ 1337 h 1389"/>
                <a:gd name="T60" fmla="*/ 661 w 1322"/>
                <a:gd name="T61" fmla="*/ 1348 h 1389"/>
                <a:gd name="T62" fmla="*/ 661 w 1322"/>
                <a:gd name="T63" fmla="*/ 1356 h 1389"/>
                <a:gd name="T64" fmla="*/ 659 w 1322"/>
                <a:gd name="T65" fmla="*/ 1368 h 1389"/>
                <a:gd name="T66" fmla="*/ 652 w 1322"/>
                <a:gd name="T67" fmla="*/ 1378 h 1389"/>
                <a:gd name="T68" fmla="*/ 641 w 1322"/>
                <a:gd name="T69" fmla="*/ 1386 h 1389"/>
                <a:gd name="T70" fmla="*/ 628 w 1322"/>
                <a:gd name="T71" fmla="*/ 138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22" h="1389">
                  <a:moveTo>
                    <a:pt x="628" y="1389"/>
                  </a:moveTo>
                  <a:lnTo>
                    <a:pt x="33" y="1389"/>
                  </a:lnTo>
                  <a:lnTo>
                    <a:pt x="33" y="1389"/>
                  </a:lnTo>
                  <a:lnTo>
                    <a:pt x="27" y="1388"/>
                  </a:lnTo>
                  <a:lnTo>
                    <a:pt x="20" y="1386"/>
                  </a:lnTo>
                  <a:lnTo>
                    <a:pt x="14" y="1382"/>
                  </a:lnTo>
                  <a:lnTo>
                    <a:pt x="10" y="1378"/>
                  </a:lnTo>
                  <a:lnTo>
                    <a:pt x="6" y="1374"/>
                  </a:lnTo>
                  <a:lnTo>
                    <a:pt x="3" y="1368"/>
                  </a:lnTo>
                  <a:lnTo>
                    <a:pt x="1" y="1362"/>
                  </a:lnTo>
                  <a:lnTo>
                    <a:pt x="0" y="1356"/>
                  </a:lnTo>
                  <a:lnTo>
                    <a:pt x="0" y="33"/>
                  </a:lnTo>
                  <a:lnTo>
                    <a:pt x="0" y="33"/>
                  </a:lnTo>
                  <a:lnTo>
                    <a:pt x="1" y="25"/>
                  </a:lnTo>
                  <a:lnTo>
                    <a:pt x="3" y="19"/>
                  </a:lnTo>
                  <a:lnTo>
                    <a:pt x="6" y="14"/>
                  </a:lnTo>
                  <a:lnTo>
                    <a:pt x="10" y="9"/>
                  </a:lnTo>
                  <a:lnTo>
                    <a:pt x="14" y="5"/>
                  </a:lnTo>
                  <a:lnTo>
                    <a:pt x="20" y="2"/>
                  </a:lnTo>
                  <a:lnTo>
                    <a:pt x="27" y="0"/>
                  </a:lnTo>
                  <a:lnTo>
                    <a:pt x="33" y="0"/>
                  </a:lnTo>
                  <a:lnTo>
                    <a:pt x="1289" y="0"/>
                  </a:lnTo>
                  <a:lnTo>
                    <a:pt x="1289" y="0"/>
                  </a:lnTo>
                  <a:lnTo>
                    <a:pt x="1296" y="0"/>
                  </a:lnTo>
                  <a:lnTo>
                    <a:pt x="1303" y="2"/>
                  </a:lnTo>
                  <a:lnTo>
                    <a:pt x="1308" y="5"/>
                  </a:lnTo>
                  <a:lnTo>
                    <a:pt x="1313" y="9"/>
                  </a:lnTo>
                  <a:lnTo>
                    <a:pt x="1317" y="14"/>
                  </a:lnTo>
                  <a:lnTo>
                    <a:pt x="1320" y="19"/>
                  </a:lnTo>
                  <a:lnTo>
                    <a:pt x="1322" y="25"/>
                  </a:lnTo>
                  <a:lnTo>
                    <a:pt x="1322" y="33"/>
                  </a:lnTo>
                  <a:lnTo>
                    <a:pt x="1322" y="628"/>
                  </a:lnTo>
                  <a:lnTo>
                    <a:pt x="1322" y="628"/>
                  </a:lnTo>
                  <a:lnTo>
                    <a:pt x="1322" y="634"/>
                  </a:lnTo>
                  <a:lnTo>
                    <a:pt x="1320" y="640"/>
                  </a:lnTo>
                  <a:lnTo>
                    <a:pt x="1317" y="647"/>
                  </a:lnTo>
                  <a:lnTo>
                    <a:pt x="1313" y="651"/>
                  </a:lnTo>
                  <a:lnTo>
                    <a:pt x="1308" y="655"/>
                  </a:lnTo>
                  <a:lnTo>
                    <a:pt x="1303" y="658"/>
                  </a:lnTo>
                  <a:lnTo>
                    <a:pt x="1296" y="660"/>
                  </a:lnTo>
                  <a:lnTo>
                    <a:pt x="1289" y="661"/>
                  </a:lnTo>
                  <a:lnTo>
                    <a:pt x="1289" y="661"/>
                  </a:lnTo>
                  <a:lnTo>
                    <a:pt x="1283" y="660"/>
                  </a:lnTo>
                  <a:lnTo>
                    <a:pt x="1277" y="658"/>
                  </a:lnTo>
                  <a:lnTo>
                    <a:pt x="1270" y="655"/>
                  </a:lnTo>
                  <a:lnTo>
                    <a:pt x="1266" y="651"/>
                  </a:lnTo>
                  <a:lnTo>
                    <a:pt x="1262" y="647"/>
                  </a:lnTo>
                  <a:lnTo>
                    <a:pt x="1259" y="640"/>
                  </a:lnTo>
                  <a:lnTo>
                    <a:pt x="1257" y="634"/>
                  </a:lnTo>
                  <a:lnTo>
                    <a:pt x="1256" y="628"/>
                  </a:lnTo>
                  <a:lnTo>
                    <a:pt x="1256" y="66"/>
                  </a:lnTo>
                  <a:lnTo>
                    <a:pt x="66" y="66"/>
                  </a:lnTo>
                  <a:lnTo>
                    <a:pt x="66" y="1322"/>
                  </a:lnTo>
                  <a:lnTo>
                    <a:pt x="628" y="1322"/>
                  </a:lnTo>
                  <a:lnTo>
                    <a:pt x="628" y="1322"/>
                  </a:lnTo>
                  <a:lnTo>
                    <a:pt x="635" y="1322"/>
                  </a:lnTo>
                  <a:lnTo>
                    <a:pt x="641" y="1325"/>
                  </a:lnTo>
                  <a:lnTo>
                    <a:pt x="646" y="1328"/>
                  </a:lnTo>
                  <a:lnTo>
                    <a:pt x="652" y="1332"/>
                  </a:lnTo>
                  <a:lnTo>
                    <a:pt x="656" y="1337"/>
                  </a:lnTo>
                  <a:lnTo>
                    <a:pt x="659" y="1342"/>
                  </a:lnTo>
                  <a:lnTo>
                    <a:pt x="661" y="1348"/>
                  </a:lnTo>
                  <a:lnTo>
                    <a:pt x="661" y="1356"/>
                  </a:lnTo>
                  <a:lnTo>
                    <a:pt x="661" y="1356"/>
                  </a:lnTo>
                  <a:lnTo>
                    <a:pt x="661" y="1362"/>
                  </a:lnTo>
                  <a:lnTo>
                    <a:pt x="659" y="1368"/>
                  </a:lnTo>
                  <a:lnTo>
                    <a:pt x="656" y="1374"/>
                  </a:lnTo>
                  <a:lnTo>
                    <a:pt x="652" y="1378"/>
                  </a:lnTo>
                  <a:lnTo>
                    <a:pt x="646" y="1382"/>
                  </a:lnTo>
                  <a:lnTo>
                    <a:pt x="641" y="1386"/>
                  </a:lnTo>
                  <a:lnTo>
                    <a:pt x="635" y="1388"/>
                  </a:lnTo>
                  <a:lnTo>
                    <a:pt x="628" y="1389"/>
                  </a:lnTo>
                  <a:lnTo>
                    <a:pt x="628" y="1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9" name="Freeform 197">
              <a:extLst>
                <a:ext uri="{FF2B5EF4-FFF2-40B4-BE49-F238E27FC236}">
                  <a16:creationId xmlns:a16="http://schemas.microsoft.com/office/drawing/2014/main" id="{7D28FA1E-92EF-4CCC-995F-03BDA6613D10}"/>
                </a:ext>
              </a:extLst>
            </p:cNvPr>
            <p:cNvSpPr>
              <a:spLocks/>
            </p:cNvSpPr>
            <p:nvPr/>
          </p:nvSpPr>
          <p:spPr bwMode="auto">
            <a:xfrm>
              <a:off x="7227888" y="3249613"/>
              <a:ext cx="15875" cy="36513"/>
            </a:xfrm>
            <a:custGeom>
              <a:avLst/>
              <a:gdLst>
                <a:gd name="T0" fmla="*/ 33 w 66"/>
                <a:gd name="T1" fmla="*/ 164 h 164"/>
                <a:gd name="T2" fmla="*/ 33 w 66"/>
                <a:gd name="T3" fmla="*/ 164 h 164"/>
                <a:gd name="T4" fmla="*/ 26 w 66"/>
                <a:gd name="T5" fmla="*/ 164 h 164"/>
                <a:gd name="T6" fmla="*/ 20 w 66"/>
                <a:gd name="T7" fmla="*/ 162 h 164"/>
                <a:gd name="T8" fmla="*/ 15 w 66"/>
                <a:gd name="T9" fmla="*/ 159 h 164"/>
                <a:gd name="T10" fmla="*/ 10 w 66"/>
                <a:gd name="T11" fmla="*/ 155 h 164"/>
                <a:gd name="T12" fmla="*/ 5 w 66"/>
                <a:gd name="T13" fmla="*/ 150 h 164"/>
                <a:gd name="T14" fmla="*/ 2 w 66"/>
                <a:gd name="T15" fmla="*/ 145 h 164"/>
                <a:gd name="T16" fmla="*/ 0 w 66"/>
                <a:gd name="T17" fmla="*/ 138 h 164"/>
                <a:gd name="T18" fmla="*/ 0 w 66"/>
                <a:gd name="T19" fmla="*/ 132 h 164"/>
                <a:gd name="T20" fmla="*/ 0 w 66"/>
                <a:gd name="T21" fmla="*/ 33 h 164"/>
                <a:gd name="T22" fmla="*/ 0 w 66"/>
                <a:gd name="T23" fmla="*/ 33 h 164"/>
                <a:gd name="T24" fmla="*/ 0 w 66"/>
                <a:gd name="T25" fmla="*/ 25 h 164"/>
                <a:gd name="T26" fmla="*/ 2 w 66"/>
                <a:gd name="T27" fmla="*/ 19 h 164"/>
                <a:gd name="T28" fmla="*/ 5 w 66"/>
                <a:gd name="T29" fmla="*/ 14 h 164"/>
                <a:gd name="T30" fmla="*/ 10 w 66"/>
                <a:gd name="T31" fmla="*/ 9 h 164"/>
                <a:gd name="T32" fmla="*/ 15 w 66"/>
                <a:gd name="T33" fmla="*/ 5 h 164"/>
                <a:gd name="T34" fmla="*/ 20 w 66"/>
                <a:gd name="T35" fmla="*/ 2 h 164"/>
                <a:gd name="T36" fmla="*/ 26 w 66"/>
                <a:gd name="T37" fmla="*/ 0 h 164"/>
                <a:gd name="T38" fmla="*/ 33 w 66"/>
                <a:gd name="T39" fmla="*/ 0 h 164"/>
                <a:gd name="T40" fmla="*/ 33 w 66"/>
                <a:gd name="T41" fmla="*/ 0 h 164"/>
                <a:gd name="T42" fmla="*/ 40 w 66"/>
                <a:gd name="T43" fmla="*/ 0 h 164"/>
                <a:gd name="T44" fmla="*/ 46 w 66"/>
                <a:gd name="T45" fmla="*/ 2 h 164"/>
                <a:gd name="T46" fmla="*/ 51 w 66"/>
                <a:gd name="T47" fmla="*/ 5 h 164"/>
                <a:gd name="T48" fmla="*/ 56 w 66"/>
                <a:gd name="T49" fmla="*/ 9 h 164"/>
                <a:gd name="T50" fmla="*/ 60 w 66"/>
                <a:gd name="T51" fmla="*/ 14 h 164"/>
                <a:gd name="T52" fmla="*/ 63 w 66"/>
                <a:gd name="T53" fmla="*/ 19 h 164"/>
                <a:gd name="T54" fmla="*/ 65 w 66"/>
                <a:gd name="T55" fmla="*/ 25 h 164"/>
                <a:gd name="T56" fmla="*/ 66 w 66"/>
                <a:gd name="T57" fmla="*/ 33 h 164"/>
                <a:gd name="T58" fmla="*/ 66 w 66"/>
                <a:gd name="T59" fmla="*/ 132 h 164"/>
                <a:gd name="T60" fmla="*/ 66 w 66"/>
                <a:gd name="T61" fmla="*/ 132 h 164"/>
                <a:gd name="T62" fmla="*/ 65 w 66"/>
                <a:gd name="T63" fmla="*/ 138 h 164"/>
                <a:gd name="T64" fmla="*/ 63 w 66"/>
                <a:gd name="T65" fmla="*/ 145 h 164"/>
                <a:gd name="T66" fmla="*/ 60 w 66"/>
                <a:gd name="T67" fmla="*/ 150 h 164"/>
                <a:gd name="T68" fmla="*/ 56 w 66"/>
                <a:gd name="T69" fmla="*/ 155 h 164"/>
                <a:gd name="T70" fmla="*/ 51 w 66"/>
                <a:gd name="T71" fmla="*/ 159 h 164"/>
                <a:gd name="T72" fmla="*/ 46 w 66"/>
                <a:gd name="T73" fmla="*/ 162 h 164"/>
                <a:gd name="T74" fmla="*/ 40 w 66"/>
                <a:gd name="T75" fmla="*/ 164 h 164"/>
                <a:gd name="T76" fmla="*/ 33 w 66"/>
                <a:gd name="T77" fmla="*/ 164 h 164"/>
                <a:gd name="T78" fmla="*/ 33 w 66"/>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64">
                  <a:moveTo>
                    <a:pt x="33" y="164"/>
                  </a:moveTo>
                  <a:lnTo>
                    <a:pt x="33" y="164"/>
                  </a:lnTo>
                  <a:lnTo>
                    <a:pt x="26" y="164"/>
                  </a:lnTo>
                  <a:lnTo>
                    <a:pt x="20" y="162"/>
                  </a:lnTo>
                  <a:lnTo>
                    <a:pt x="15" y="159"/>
                  </a:lnTo>
                  <a:lnTo>
                    <a:pt x="10" y="155"/>
                  </a:lnTo>
                  <a:lnTo>
                    <a:pt x="5" y="150"/>
                  </a:lnTo>
                  <a:lnTo>
                    <a:pt x="2" y="145"/>
                  </a:lnTo>
                  <a:lnTo>
                    <a:pt x="0" y="138"/>
                  </a:lnTo>
                  <a:lnTo>
                    <a:pt x="0" y="132"/>
                  </a:lnTo>
                  <a:lnTo>
                    <a:pt x="0" y="33"/>
                  </a:lnTo>
                  <a:lnTo>
                    <a:pt x="0" y="33"/>
                  </a:lnTo>
                  <a:lnTo>
                    <a:pt x="0" y="25"/>
                  </a:lnTo>
                  <a:lnTo>
                    <a:pt x="2" y="19"/>
                  </a:lnTo>
                  <a:lnTo>
                    <a:pt x="5" y="14"/>
                  </a:lnTo>
                  <a:lnTo>
                    <a:pt x="10" y="9"/>
                  </a:lnTo>
                  <a:lnTo>
                    <a:pt x="15" y="5"/>
                  </a:lnTo>
                  <a:lnTo>
                    <a:pt x="20" y="2"/>
                  </a:lnTo>
                  <a:lnTo>
                    <a:pt x="26" y="0"/>
                  </a:lnTo>
                  <a:lnTo>
                    <a:pt x="33" y="0"/>
                  </a:lnTo>
                  <a:lnTo>
                    <a:pt x="33" y="0"/>
                  </a:lnTo>
                  <a:lnTo>
                    <a:pt x="40" y="0"/>
                  </a:lnTo>
                  <a:lnTo>
                    <a:pt x="46" y="2"/>
                  </a:lnTo>
                  <a:lnTo>
                    <a:pt x="51" y="5"/>
                  </a:lnTo>
                  <a:lnTo>
                    <a:pt x="56" y="9"/>
                  </a:lnTo>
                  <a:lnTo>
                    <a:pt x="60" y="14"/>
                  </a:lnTo>
                  <a:lnTo>
                    <a:pt x="63" y="19"/>
                  </a:lnTo>
                  <a:lnTo>
                    <a:pt x="65" y="25"/>
                  </a:lnTo>
                  <a:lnTo>
                    <a:pt x="66" y="33"/>
                  </a:lnTo>
                  <a:lnTo>
                    <a:pt x="66" y="132"/>
                  </a:lnTo>
                  <a:lnTo>
                    <a:pt x="66" y="132"/>
                  </a:lnTo>
                  <a:lnTo>
                    <a:pt x="65" y="138"/>
                  </a:lnTo>
                  <a:lnTo>
                    <a:pt x="63" y="145"/>
                  </a:lnTo>
                  <a:lnTo>
                    <a:pt x="60" y="150"/>
                  </a:lnTo>
                  <a:lnTo>
                    <a:pt x="56" y="155"/>
                  </a:lnTo>
                  <a:lnTo>
                    <a:pt x="51" y="159"/>
                  </a:lnTo>
                  <a:lnTo>
                    <a:pt x="46" y="162"/>
                  </a:lnTo>
                  <a:lnTo>
                    <a:pt x="40" y="164"/>
                  </a:lnTo>
                  <a:lnTo>
                    <a:pt x="33" y="164"/>
                  </a:lnTo>
                  <a:lnTo>
                    <a:pt x="3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0" name="Freeform 198">
              <a:extLst>
                <a:ext uri="{FF2B5EF4-FFF2-40B4-BE49-F238E27FC236}">
                  <a16:creationId xmlns:a16="http://schemas.microsoft.com/office/drawing/2014/main" id="{51919C1B-F0F1-4B0F-AFDA-84FEF4CAD5B1}"/>
                </a:ext>
              </a:extLst>
            </p:cNvPr>
            <p:cNvSpPr>
              <a:spLocks/>
            </p:cNvSpPr>
            <p:nvPr/>
          </p:nvSpPr>
          <p:spPr bwMode="auto">
            <a:xfrm>
              <a:off x="7167563" y="3249613"/>
              <a:ext cx="15875" cy="36513"/>
            </a:xfrm>
            <a:custGeom>
              <a:avLst/>
              <a:gdLst>
                <a:gd name="T0" fmla="*/ 33 w 67"/>
                <a:gd name="T1" fmla="*/ 164 h 164"/>
                <a:gd name="T2" fmla="*/ 33 w 67"/>
                <a:gd name="T3" fmla="*/ 164 h 164"/>
                <a:gd name="T4" fmla="*/ 27 w 67"/>
                <a:gd name="T5" fmla="*/ 164 h 164"/>
                <a:gd name="T6" fmla="*/ 21 w 67"/>
                <a:gd name="T7" fmla="*/ 162 h 164"/>
                <a:gd name="T8" fmla="*/ 15 w 67"/>
                <a:gd name="T9" fmla="*/ 159 h 164"/>
                <a:gd name="T10" fmla="*/ 10 w 67"/>
                <a:gd name="T11" fmla="*/ 155 h 164"/>
                <a:gd name="T12" fmla="*/ 7 w 67"/>
                <a:gd name="T13" fmla="*/ 150 h 164"/>
                <a:gd name="T14" fmla="*/ 3 w 67"/>
                <a:gd name="T15" fmla="*/ 145 h 164"/>
                <a:gd name="T16" fmla="*/ 1 w 67"/>
                <a:gd name="T17" fmla="*/ 138 h 164"/>
                <a:gd name="T18" fmla="*/ 0 w 67"/>
                <a:gd name="T19" fmla="*/ 132 h 164"/>
                <a:gd name="T20" fmla="*/ 0 w 67"/>
                <a:gd name="T21" fmla="*/ 33 h 164"/>
                <a:gd name="T22" fmla="*/ 0 w 67"/>
                <a:gd name="T23" fmla="*/ 33 h 164"/>
                <a:gd name="T24" fmla="*/ 1 w 67"/>
                <a:gd name="T25" fmla="*/ 25 h 164"/>
                <a:gd name="T26" fmla="*/ 3 w 67"/>
                <a:gd name="T27" fmla="*/ 19 h 164"/>
                <a:gd name="T28" fmla="*/ 7 w 67"/>
                <a:gd name="T29" fmla="*/ 14 h 164"/>
                <a:gd name="T30" fmla="*/ 10 w 67"/>
                <a:gd name="T31" fmla="*/ 9 h 164"/>
                <a:gd name="T32" fmla="*/ 15 w 67"/>
                <a:gd name="T33" fmla="*/ 5 h 164"/>
                <a:gd name="T34" fmla="*/ 21 w 67"/>
                <a:gd name="T35" fmla="*/ 2 h 164"/>
                <a:gd name="T36" fmla="*/ 27 w 67"/>
                <a:gd name="T37" fmla="*/ 0 h 164"/>
                <a:gd name="T38" fmla="*/ 33 w 67"/>
                <a:gd name="T39" fmla="*/ 0 h 164"/>
                <a:gd name="T40" fmla="*/ 33 w 67"/>
                <a:gd name="T41" fmla="*/ 0 h 164"/>
                <a:gd name="T42" fmla="*/ 40 w 67"/>
                <a:gd name="T43" fmla="*/ 0 h 164"/>
                <a:gd name="T44" fmla="*/ 46 w 67"/>
                <a:gd name="T45" fmla="*/ 2 h 164"/>
                <a:gd name="T46" fmla="*/ 52 w 67"/>
                <a:gd name="T47" fmla="*/ 5 h 164"/>
                <a:gd name="T48" fmla="*/ 57 w 67"/>
                <a:gd name="T49" fmla="*/ 9 h 164"/>
                <a:gd name="T50" fmla="*/ 60 w 67"/>
                <a:gd name="T51" fmla="*/ 14 h 164"/>
                <a:gd name="T52" fmla="*/ 63 w 67"/>
                <a:gd name="T53" fmla="*/ 19 h 164"/>
                <a:gd name="T54" fmla="*/ 66 w 67"/>
                <a:gd name="T55" fmla="*/ 25 h 164"/>
                <a:gd name="T56" fmla="*/ 67 w 67"/>
                <a:gd name="T57" fmla="*/ 33 h 164"/>
                <a:gd name="T58" fmla="*/ 67 w 67"/>
                <a:gd name="T59" fmla="*/ 132 h 164"/>
                <a:gd name="T60" fmla="*/ 67 w 67"/>
                <a:gd name="T61" fmla="*/ 132 h 164"/>
                <a:gd name="T62" fmla="*/ 66 w 67"/>
                <a:gd name="T63" fmla="*/ 138 h 164"/>
                <a:gd name="T64" fmla="*/ 63 w 67"/>
                <a:gd name="T65" fmla="*/ 145 h 164"/>
                <a:gd name="T66" fmla="*/ 60 w 67"/>
                <a:gd name="T67" fmla="*/ 150 h 164"/>
                <a:gd name="T68" fmla="*/ 57 w 67"/>
                <a:gd name="T69" fmla="*/ 155 h 164"/>
                <a:gd name="T70" fmla="*/ 52 w 67"/>
                <a:gd name="T71" fmla="*/ 159 h 164"/>
                <a:gd name="T72" fmla="*/ 46 w 67"/>
                <a:gd name="T73" fmla="*/ 162 h 164"/>
                <a:gd name="T74" fmla="*/ 40 w 67"/>
                <a:gd name="T75" fmla="*/ 164 h 164"/>
                <a:gd name="T76" fmla="*/ 33 w 67"/>
                <a:gd name="T77" fmla="*/ 164 h 164"/>
                <a:gd name="T78" fmla="*/ 33 w 67"/>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 h="164">
                  <a:moveTo>
                    <a:pt x="33" y="164"/>
                  </a:moveTo>
                  <a:lnTo>
                    <a:pt x="33" y="164"/>
                  </a:lnTo>
                  <a:lnTo>
                    <a:pt x="27" y="164"/>
                  </a:lnTo>
                  <a:lnTo>
                    <a:pt x="21" y="162"/>
                  </a:lnTo>
                  <a:lnTo>
                    <a:pt x="15" y="159"/>
                  </a:lnTo>
                  <a:lnTo>
                    <a:pt x="10" y="155"/>
                  </a:lnTo>
                  <a:lnTo>
                    <a:pt x="7" y="150"/>
                  </a:lnTo>
                  <a:lnTo>
                    <a:pt x="3" y="145"/>
                  </a:lnTo>
                  <a:lnTo>
                    <a:pt x="1" y="138"/>
                  </a:lnTo>
                  <a:lnTo>
                    <a:pt x="0" y="132"/>
                  </a:lnTo>
                  <a:lnTo>
                    <a:pt x="0" y="33"/>
                  </a:lnTo>
                  <a:lnTo>
                    <a:pt x="0" y="33"/>
                  </a:lnTo>
                  <a:lnTo>
                    <a:pt x="1" y="25"/>
                  </a:lnTo>
                  <a:lnTo>
                    <a:pt x="3" y="19"/>
                  </a:lnTo>
                  <a:lnTo>
                    <a:pt x="7" y="14"/>
                  </a:lnTo>
                  <a:lnTo>
                    <a:pt x="10" y="9"/>
                  </a:lnTo>
                  <a:lnTo>
                    <a:pt x="15" y="5"/>
                  </a:lnTo>
                  <a:lnTo>
                    <a:pt x="21" y="2"/>
                  </a:lnTo>
                  <a:lnTo>
                    <a:pt x="27" y="0"/>
                  </a:lnTo>
                  <a:lnTo>
                    <a:pt x="33" y="0"/>
                  </a:lnTo>
                  <a:lnTo>
                    <a:pt x="33" y="0"/>
                  </a:lnTo>
                  <a:lnTo>
                    <a:pt x="40" y="0"/>
                  </a:lnTo>
                  <a:lnTo>
                    <a:pt x="46" y="2"/>
                  </a:lnTo>
                  <a:lnTo>
                    <a:pt x="52" y="5"/>
                  </a:lnTo>
                  <a:lnTo>
                    <a:pt x="57" y="9"/>
                  </a:lnTo>
                  <a:lnTo>
                    <a:pt x="60" y="14"/>
                  </a:lnTo>
                  <a:lnTo>
                    <a:pt x="63" y="19"/>
                  </a:lnTo>
                  <a:lnTo>
                    <a:pt x="66" y="25"/>
                  </a:lnTo>
                  <a:lnTo>
                    <a:pt x="67" y="33"/>
                  </a:lnTo>
                  <a:lnTo>
                    <a:pt x="67" y="132"/>
                  </a:lnTo>
                  <a:lnTo>
                    <a:pt x="67" y="132"/>
                  </a:lnTo>
                  <a:lnTo>
                    <a:pt x="66" y="138"/>
                  </a:lnTo>
                  <a:lnTo>
                    <a:pt x="63" y="145"/>
                  </a:lnTo>
                  <a:lnTo>
                    <a:pt x="60" y="150"/>
                  </a:lnTo>
                  <a:lnTo>
                    <a:pt x="57" y="155"/>
                  </a:lnTo>
                  <a:lnTo>
                    <a:pt x="52" y="159"/>
                  </a:lnTo>
                  <a:lnTo>
                    <a:pt x="46" y="162"/>
                  </a:lnTo>
                  <a:lnTo>
                    <a:pt x="40" y="164"/>
                  </a:lnTo>
                  <a:lnTo>
                    <a:pt x="33" y="164"/>
                  </a:lnTo>
                  <a:lnTo>
                    <a:pt x="3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1" name="Freeform 199">
              <a:extLst>
                <a:ext uri="{FF2B5EF4-FFF2-40B4-BE49-F238E27FC236}">
                  <a16:creationId xmlns:a16="http://schemas.microsoft.com/office/drawing/2014/main" id="{092E7A20-63D8-4DC7-97A7-7FD171DDB015}"/>
                </a:ext>
              </a:extLst>
            </p:cNvPr>
            <p:cNvSpPr>
              <a:spLocks/>
            </p:cNvSpPr>
            <p:nvPr/>
          </p:nvSpPr>
          <p:spPr bwMode="auto">
            <a:xfrm>
              <a:off x="7108825" y="3249613"/>
              <a:ext cx="14288" cy="36513"/>
            </a:xfrm>
            <a:custGeom>
              <a:avLst/>
              <a:gdLst>
                <a:gd name="T0" fmla="*/ 33 w 67"/>
                <a:gd name="T1" fmla="*/ 164 h 164"/>
                <a:gd name="T2" fmla="*/ 33 w 67"/>
                <a:gd name="T3" fmla="*/ 164 h 164"/>
                <a:gd name="T4" fmla="*/ 27 w 67"/>
                <a:gd name="T5" fmla="*/ 164 h 164"/>
                <a:gd name="T6" fmla="*/ 21 w 67"/>
                <a:gd name="T7" fmla="*/ 162 h 164"/>
                <a:gd name="T8" fmla="*/ 16 w 67"/>
                <a:gd name="T9" fmla="*/ 159 h 164"/>
                <a:gd name="T10" fmla="*/ 11 w 67"/>
                <a:gd name="T11" fmla="*/ 155 h 164"/>
                <a:gd name="T12" fmla="*/ 7 w 67"/>
                <a:gd name="T13" fmla="*/ 150 h 164"/>
                <a:gd name="T14" fmla="*/ 3 w 67"/>
                <a:gd name="T15" fmla="*/ 145 h 164"/>
                <a:gd name="T16" fmla="*/ 1 w 67"/>
                <a:gd name="T17" fmla="*/ 138 h 164"/>
                <a:gd name="T18" fmla="*/ 0 w 67"/>
                <a:gd name="T19" fmla="*/ 132 h 164"/>
                <a:gd name="T20" fmla="*/ 0 w 67"/>
                <a:gd name="T21" fmla="*/ 33 h 164"/>
                <a:gd name="T22" fmla="*/ 0 w 67"/>
                <a:gd name="T23" fmla="*/ 33 h 164"/>
                <a:gd name="T24" fmla="*/ 1 w 67"/>
                <a:gd name="T25" fmla="*/ 25 h 164"/>
                <a:gd name="T26" fmla="*/ 3 w 67"/>
                <a:gd name="T27" fmla="*/ 19 h 164"/>
                <a:gd name="T28" fmla="*/ 7 w 67"/>
                <a:gd name="T29" fmla="*/ 14 h 164"/>
                <a:gd name="T30" fmla="*/ 11 w 67"/>
                <a:gd name="T31" fmla="*/ 9 h 164"/>
                <a:gd name="T32" fmla="*/ 16 w 67"/>
                <a:gd name="T33" fmla="*/ 5 h 164"/>
                <a:gd name="T34" fmla="*/ 21 w 67"/>
                <a:gd name="T35" fmla="*/ 2 h 164"/>
                <a:gd name="T36" fmla="*/ 27 w 67"/>
                <a:gd name="T37" fmla="*/ 0 h 164"/>
                <a:gd name="T38" fmla="*/ 33 w 67"/>
                <a:gd name="T39" fmla="*/ 0 h 164"/>
                <a:gd name="T40" fmla="*/ 33 w 67"/>
                <a:gd name="T41" fmla="*/ 0 h 164"/>
                <a:gd name="T42" fmla="*/ 41 w 67"/>
                <a:gd name="T43" fmla="*/ 0 h 164"/>
                <a:gd name="T44" fmla="*/ 47 w 67"/>
                <a:gd name="T45" fmla="*/ 2 h 164"/>
                <a:gd name="T46" fmla="*/ 52 w 67"/>
                <a:gd name="T47" fmla="*/ 5 h 164"/>
                <a:gd name="T48" fmla="*/ 57 w 67"/>
                <a:gd name="T49" fmla="*/ 9 h 164"/>
                <a:gd name="T50" fmla="*/ 61 w 67"/>
                <a:gd name="T51" fmla="*/ 14 h 164"/>
                <a:gd name="T52" fmla="*/ 65 w 67"/>
                <a:gd name="T53" fmla="*/ 19 h 164"/>
                <a:gd name="T54" fmla="*/ 67 w 67"/>
                <a:gd name="T55" fmla="*/ 25 h 164"/>
                <a:gd name="T56" fmla="*/ 67 w 67"/>
                <a:gd name="T57" fmla="*/ 33 h 164"/>
                <a:gd name="T58" fmla="*/ 67 w 67"/>
                <a:gd name="T59" fmla="*/ 132 h 164"/>
                <a:gd name="T60" fmla="*/ 67 w 67"/>
                <a:gd name="T61" fmla="*/ 132 h 164"/>
                <a:gd name="T62" fmla="*/ 67 w 67"/>
                <a:gd name="T63" fmla="*/ 138 h 164"/>
                <a:gd name="T64" fmla="*/ 65 w 67"/>
                <a:gd name="T65" fmla="*/ 145 h 164"/>
                <a:gd name="T66" fmla="*/ 61 w 67"/>
                <a:gd name="T67" fmla="*/ 150 h 164"/>
                <a:gd name="T68" fmla="*/ 57 w 67"/>
                <a:gd name="T69" fmla="*/ 155 h 164"/>
                <a:gd name="T70" fmla="*/ 52 w 67"/>
                <a:gd name="T71" fmla="*/ 159 h 164"/>
                <a:gd name="T72" fmla="*/ 47 w 67"/>
                <a:gd name="T73" fmla="*/ 162 h 164"/>
                <a:gd name="T74" fmla="*/ 41 w 67"/>
                <a:gd name="T75" fmla="*/ 164 h 164"/>
                <a:gd name="T76" fmla="*/ 33 w 67"/>
                <a:gd name="T77" fmla="*/ 164 h 164"/>
                <a:gd name="T78" fmla="*/ 33 w 67"/>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 h="164">
                  <a:moveTo>
                    <a:pt x="33" y="164"/>
                  </a:moveTo>
                  <a:lnTo>
                    <a:pt x="33" y="164"/>
                  </a:lnTo>
                  <a:lnTo>
                    <a:pt x="27" y="164"/>
                  </a:lnTo>
                  <a:lnTo>
                    <a:pt x="21" y="162"/>
                  </a:lnTo>
                  <a:lnTo>
                    <a:pt x="16" y="159"/>
                  </a:lnTo>
                  <a:lnTo>
                    <a:pt x="11" y="155"/>
                  </a:lnTo>
                  <a:lnTo>
                    <a:pt x="7" y="150"/>
                  </a:lnTo>
                  <a:lnTo>
                    <a:pt x="3" y="145"/>
                  </a:lnTo>
                  <a:lnTo>
                    <a:pt x="1" y="138"/>
                  </a:lnTo>
                  <a:lnTo>
                    <a:pt x="0" y="132"/>
                  </a:lnTo>
                  <a:lnTo>
                    <a:pt x="0" y="33"/>
                  </a:lnTo>
                  <a:lnTo>
                    <a:pt x="0" y="33"/>
                  </a:lnTo>
                  <a:lnTo>
                    <a:pt x="1" y="25"/>
                  </a:lnTo>
                  <a:lnTo>
                    <a:pt x="3" y="19"/>
                  </a:lnTo>
                  <a:lnTo>
                    <a:pt x="7" y="14"/>
                  </a:lnTo>
                  <a:lnTo>
                    <a:pt x="11" y="9"/>
                  </a:lnTo>
                  <a:lnTo>
                    <a:pt x="16" y="5"/>
                  </a:lnTo>
                  <a:lnTo>
                    <a:pt x="21" y="2"/>
                  </a:lnTo>
                  <a:lnTo>
                    <a:pt x="27" y="0"/>
                  </a:lnTo>
                  <a:lnTo>
                    <a:pt x="33" y="0"/>
                  </a:lnTo>
                  <a:lnTo>
                    <a:pt x="33" y="0"/>
                  </a:lnTo>
                  <a:lnTo>
                    <a:pt x="41" y="0"/>
                  </a:lnTo>
                  <a:lnTo>
                    <a:pt x="47" y="2"/>
                  </a:lnTo>
                  <a:lnTo>
                    <a:pt x="52" y="5"/>
                  </a:lnTo>
                  <a:lnTo>
                    <a:pt x="57" y="9"/>
                  </a:lnTo>
                  <a:lnTo>
                    <a:pt x="61" y="14"/>
                  </a:lnTo>
                  <a:lnTo>
                    <a:pt x="65" y="19"/>
                  </a:lnTo>
                  <a:lnTo>
                    <a:pt x="67" y="25"/>
                  </a:lnTo>
                  <a:lnTo>
                    <a:pt x="67" y="33"/>
                  </a:lnTo>
                  <a:lnTo>
                    <a:pt x="67" y="132"/>
                  </a:lnTo>
                  <a:lnTo>
                    <a:pt x="67" y="132"/>
                  </a:lnTo>
                  <a:lnTo>
                    <a:pt x="67" y="138"/>
                  </a:lnTo>
                  <a:lnTo>
                    <a:pt x="65" y="145"/>
                  </a:lnTo>
                  <a:lnTo>
                    <a:pt x="61" y="150"/>
                  </a:lnTo>
                  <a:lnTo>
                    <a:pt x="57" y="155"/>
                  </a:lnTo>
                  <a:lnTo>
                    <a:pt x="52" y="159"/>
                  </a:lnTo>
                  <a:lnTo>
                    <a:pt x="47" y="162"/>
                  </a:lnTo>
                  <a:lnTo>
                    <a:pt x="41" y="164"/>
                  </a:lnTo>
                  <a:lnTo>
                    <a:pt x="33" y="164"/>
                  </a:lnTo>
                  <a:lnTo>
                    <a:pt x="3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2" name="Freeform 200">
              <a:extLst>
                <a:ext uri="{FF2B5EF4-FFF2-40B4-BE49-F238E27FC236}">
                  <a16:creationId xmlns:a16="http://schemas.microsoft.com/office/drawing/2014/main" id="{A71C4E93-0A8A-413E-8885-EE5574F15B22}"/>
                </a:ext>
              </a:extLst>
            </p:cNvPr>
            <p:cNvSpPr>
              <a:spLocks/>
            </p:cNvSpPr>
            <p:nvPr/>
          </p:nvSpPr>
          <p:spPr bwMode="auto">
            <a:xfrm>
              <a:off x="7048500" y="3249613"/>
              <a:ext cx="14288" cy="36513"/>
            </a:xfrm>
            <a:custGeom>
              <a:avLst/>
              <a:gdLst>
                <a:gd name="T0" fmla="*/ 34 w 67"/>
                <a:gd name="T1" fmla="*/ 164 h 164"/>
                <a:gd name="T2" fmla="*/ 34 w 67"/>
                <a:gd name="T3" fmla="*/ 164 h 164"/>
                <a:gd name="T4" fmla="*/ 26 w 67"/>
                <a:gd name="T5" fmla="*/ 164 h 164"/>
                <a:gd name="T6" fmla="*/ 20 w 67"/>
                <a:gd name="T7" fmla="*/ 162 h 164"/>
                <a:gd name="T8" fmla="*/ 15 w 67"/>
                <a:gd name="T9" fmla="*/ 159 h 164"/>
                <a:gd name="T10" fmla="*/ 10 w 67"/>
                <a:gd name="T11" fmla="*/ 155 h 164"/>
                <a:gd name="T12" fmla="*/ 6 w 67"/>
                <a:gd name="T13" fmla="*/ 150 h 164"/>
                <a:gd name="T14" fmla="*/ 3 w 67"/>
                <a:gd name="T15" fmla="*/ 145 h 164"/>
                <a:gd name="T16" fmla="*/ 0 w 67"/>
                <a:gd name="T17" fmla="*/ 138 h 164"/>
                <a:gd name="T18" fmla="*/ 0 w 67"/>
                <a:gd name="T19" fmla="*/ 132 h 164"/>
                <a:gd name="T20" fmla="*/ 0 w 67"/>
                <a:gd name="T21" fmla="*/ 33 h 164"/>
                <a:gd name="T22" fmla="*/ 0 w 67"/>
                <a:gd name="T23" fmla="*/ 33 h 164"/>
                <a:gd name="T24" fmla="*/ 0 w 67"/>
                <a:gd name="T25" fmla="*/ 25 h 164"/>
                <a:gd name="T26" fmla="*/ 3 w 67"/>
                <a:gd name="T27" fmla="*/ 19 h 164"/>
                <a:gd name="T28" fmla="*/ 6 w 67"/>
                <a:gd name="T29" fmla="*/ 14 h 164"/>
                <a:gd name="T30" fmla="*/ 10 w 67"/>
                <a:gd name="T31" fmla="*/ 9 h 164"/>
                <a:gd name="T32" fmla="*/ 15 w 67"/>
                <a:gd name="T33" fmla="*/ 5 h 164"/>
                <a:gd name="T34" fmla="*/ 20 w 67"/>
                <a:gd name="T35" fmla="*/ 2 h 164"/>
                <a:gd name="T36" fmla="*/ 26 w 67"/>
                <a:gd name="T37" fmla="*/ 0 h 164"/>
                <a:gd name="T38" fmla="*/ 34 w 67"/>
                <a:gd name="T39" fmla="*/ 0 h 164"/>
                <a:gd name="T40" fmla="*/ 34 w 67"/>
                <a:gd name="T41" fmla="*/ 0 h 164"/>
                <a:gd name="T42" fmla="*/ 40 w 67"/>
                <a:gd name="T43" fmla="*/ 0 h 164"/>
                <a:gd name="T44" fmla="*/ 46 w 67"/>
                <a:gd name="T45" fmla="*/ 2 h 164"/>
                <a:gd name="T46" fmla="*/ 52 w 67"/>
                <a:gd name="T47" fmla="*/ 5 h 164"/>
                <a:gd name="T48" fmla="*/ 56 w 67"/>
                <a:gd name="T49" fmla="*/ 9 h 164"/>
                <a:gd name="T50" fmla="*/ 61 w 67"/>
                <a:gd name="T51" fmla="*/ 14 h 164"/>
                <a:gd name="T52" fmla="*/ 64 w 67"/>
                <a:gd name="T53" fmla="*/ 19 h 164"/>
                <a:gd name="T54" fmla="*/ 66 w 67"/>
                <a:gd name="T55" fmla="*/ 25 h 164"/>
                <a:gd name="T56" fmla="*/ 67 w 67"/>
                <a:gd name="T57" fmla="*/ 33 h 164"/>
                <a:gd name="T58" fmla="*/ 67 w 67"/>
                <a:gd name="T59" fmla="*/ 132 h 164"/>
                <a:gd name="T60" fmla="*/ 67 w 67"/>
                <a:gd name="T61" fmla="*/ 132 h 164"/>
                <a:gd name="T62" fmla="*/ 66 w 67"/>
                <a:gd name="T63" fmla="*/ 138 h 164"/>
                <a:gd name="T64" fmla="*/ 64 w 67"/>
                <a:gd name="T65" fmla="*/ 145 h 164"/>
                <a:gd name="T66" fmla="*/ 61 w 67"/>
                <a:gd name="T67" fmla="*/ 150 h 164"/>
                <a:gd name="T68" fmla="*/ 56 w 67"/>
                <a:gd name="T69" fmla="*/ 155 h 164"/>
                <a:gd name="T70" fmla="*/ 52 w 67"/>
                <a:gd name="T71" fmla="*/ 159 h 164"/>
                <a:gd name="T72" fmla="*/ 46 w 67"/>
                <a:gd name="T73" fmla="*/ 162 h 164"/>
                <a:gd name="T74" fmla="*/ 40 w 67"/>
                <a:gd name="T75" fmla="*/ 164 h 164"/>
                <a:gd name="T76" fmla="*/ 34 w 67"/>
                <a:gd name="T77" fmla="*/ 164 h 164"/>
                <a:gd name="T78" fmla="*/ 34 w 67"/>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 h="164">
                  <a:moveTo>
                    <a:pt x="34" y="164"/>
                  </a:moveTo>
                  <a:lnTo>
                    <a:pt x="34" y="164"/>
                  </a:lnTo>
                  <a:lnTo>
                    <a:pt x="26" y="164"/>
                  </a:lnTo>
                  <a:lnTo>
                    <a:pt x="20" y="162"/>
                  </a:lnTo>
                  <a:lnTo>
                    <a:pt x="15" y="159"/>
                  </a:lnTo>
                  <a:lnTo>
                    <a:pt x="10" y="155"/>
                  </a:lnTo>
                  <a:lnTo>
                    <a:pt x="6" y="150"/>
                  </a:lnTo>
                  <a:lnTo>
                    <a:pt x="3" y="145"/>
                  </a:lnTo>
                  <a:lnTo>
                    <a:pt x="0" y="138"/>
                  </a:lnTo>
                  <a:lnTo>
                    <a:pt x="0" y="132"/>
                  </a:lnTo>
                  <a:lnTo>
                    <a:pt x="0" y="33"/>
                  </a:lnTo>
                  <a:lnTo>
                    <a:pt x="0" y="33"/>
                  </a:lnTo>
                  <a:lnTo>
                    <a:pt x="0" y="25"/>
                  </a:lnTo>
                  <a:lnTo>
                    <a:pt x="3" y="19"/>
                  </a:lnTo>
                  <a:lnTo>
                    <a:pt x="6" y="14"/>
                  </a:lnTo>
                  <a:lnTo>
                    <a:pt x="10" y="9"/>
                  </a:lnTo>
                  <a:lnTo>
                    <a:pt x="15" y="5"/>
                  </a:lnTo>
                  <a:lnTo>
                    <a:pt x="20" y="2"/>
                  </a:lnTo>
                  <a:lnTo>
                    <a:pt x="26" y="0"/>
                  </a:lnTo>
                  <a:lnTo>
                    <a:pt x="34" y="0"/>
                  </a:lnTo>
                  <a:lnTo>
                    <a:pt x="34" y="0"/>
                  </a:lnTo>
                  <a:lnTo>
                    <a:pt x="40" y="0"/>
                  </a:lnTo>
                  <a:lnTo>
                    <a:pt x="46" y="2"/>
                  </a:lnTo>
                  <a:lnTo>
                    <a:pt x="52" y="5"/>
                  </a:lnTo>
                  <a:lnTo>
                    <a:pt x="56" y="9"/>
                  </a:lnTo>
                  <a:lnTo>
                    <a:pt x="61" y="14"/>
                  </a:lnTo>
                  <a:lnTo>
                    <a:pt x="64" y="19"/>
                  </a:lnTo>
                  <a:lnTo>
                    <a:pt x="66" y="25"/>
                  </a:lnTo>
                  <a:lnTo>
                    <a:pt x="67" y="33"/>
                  </a:lnTo>
                  <a:lnTo>
                    <a:pt x="67" y="132"/>
                  </a:lnTo>
                  <a:lnTo>
                    <a:pt x="67" y="132"/>
                  </a:lnTo>
                  <a:lnTo>
                    <a:pt x="66" y="138"/>
                  </a:lnTo>
                  <a:lnTo>
                    <a:pt x="64" y="145"/>
                  </a:lnTo>
                  <a:lnTo>
                    <a:pt x="61" y="150"/>
                  </a:lnTo>
                  <a:lnTo>
                    <a:pt x="56" y="155"/>
                  </a:lnTo>
                  <a:lnTo>
                    <a:pt x="52" y="159"/>
                  </a:lnTo>
                  <a:lnTo>
                    <a:pt x="46" y="162"/>
                  </a:lnTo>
                  <a:lnTo>
                    <a:pt x="40" y="164"/>
                  </a:lnTo>
                  <a:lnTo>
                    <a:pt x="34" y="164"/>
                  </a:lnTo>
                  <a:lnTo>
                    <a:pt x="34"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3" name="Freeform 201">
              <a:extLst>
                <a:ext uri="{FF2B5EF4-FFF2-40B4-BE49-F238E27FC236}">
                  <a16:creationId xmlns:a16="http://schemas.microsoft.com/office/drawing/2014/main" id="{B9284BB2-BE93-4A07-A1D6-105D89940255}"/>
                </a:ext>
              </a:extLst>
            </p:cNvPr>
            <p:cNvSpPr>
              <a:spLocks/>
            </p:cNvSpPr>
            <p:nvPr/>
          </p:nvSpPr>
          <p:spPr bwMode="auto">
            <a:xfrm>
              <a:off x="7040563"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4" name="Freeform 202">
              <a:extLst>
                <a:ext uri="{FF2B5EF4-FFF2-40B4-BE49-F238E27FC236}">
                  <a16:creationId xmlns:a16="http://schemas.microsoft.com/office/drawing/2014/main" id="{7BB54F5B-BA6C-442D-9D95-25B55992786F}"/>
                </a:ext>
              </a:extLst>
            </p:cNvPr>
            <p:cNvSpPr>
              <a:spLocks/>
            </p:cNvSpPr>
            <p:nvPr/>
          </p:nvSpPr>
          <p:spPr bwMode="auto">
            <a:xfrm>
              <a:off x="7100888"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5" name="Freeform 203">
              <a:extLst>
                <a:ext uri="{FF2B5EF4-FFF2-40B4-BE49-F238E27FC236}">
                  <a16:creationId xmlns:a16="http://schemas.microsoft.com/office/drawing/2014/main" id="{14BB4234-1C9E-40DE-8140-666DC6AFF5CC}"/>
                </a:ext>
              </a:extLst>
            </p:cNvPr>
            <p:cNvSpPr>
              <a:spLocks/>
            </p:cNvSpPr>
            <p:nvPr/>
          </p:nvSpPr>
          <p:spPr bwMode="auto">
            <a:xfrm>
              <a:off x="7161213"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6" name="Freeform 204">
              <a:extLst>
                <a:ext uri="{FF2B5EF4-FFF2-40B4-BE49-F238E27FC236}">
                  <a16:creationId xmlns:a16="http://schemas.microsoft.com/office/drawing/2014/main" id="{128EAD5D-908E-47A9-B37C-E33511F2FB5E}"/>
                </a:ext>
              </a:extLst>
            </p:cNvPr>
            <p:cNvSpPr>
              <a:spLocks/>
            </p:cNvSpPr>
            <p:nvPr/>
          </p:nvSpPr>
          <p:spPr bwMode="auto">
            <a:xfrm>
              <a:off x="7221538"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7" name="Group 26">
            <a:extLst>
              <a:ext uri="{FF2B5EF4-FFF2-40B4-BE49-F238E27FC236}">
                <a16:creationId xmlns:a16="http://schemas.microsoft.com/office/drawing/2014/main" id="{E342643D-31C6-424D-AD87-EF945AEEE8D6}"/>
              </a:ext>
            </a:extLst>
          </p:cNvPr>
          <p:cNvGrpSpPr/>
          <p:nvPr/>
        </p:nvGrpSpPr>
        <p:grpSpPr>
          <a:xfrm>
            <a:off x="6349009" y="1693803"/>
            <a:ext cx="227488" cy="231587"/>
            <a:chOff x="6996113" y="3249613"/>
            <a:chExt cx="352425" cy="358775"/>
          </a:xfrm>
          <a:solidFill>
            <a:schemeClr val="bg1"/>
          </a:solidFill>
        </p:grpSpPr>
        <p:sp>
          <p:nvSpPr>
            <p:cNvPr id="28" name="Freeform 194">
              <a:extLst>
                <a:ext uri="{FF2B5EF4-FFF2-40B4-BE49-F238E27FC236}">
                  <a16:creationId xmlns:a16="http://schemas.microsoft.com/office/drawing/2014/main" id="{733F4089-C789-427E-9BC8-EADCEB4F1AC6}"/>
                </a:ext>
              </a:extLst>
            </p:cNvPr>
            <p:cNvSpPr>
              <a:spLocks noEditPoints="1"/>
            </p:cNvSpPr>
            <p:nvPr/>
          </p:nvSpPr>
          <p:spPr bwMode="auto">
            <a:xfrm>
              <a:off x="7153275" y="3414713"/>
              <a:ext cx="195263" cy="193675"/>
            </a:xfrm>
            <a:custGeom>
              <a:avLst/>
              <a:gdLst>
                <a:gd name="T0" fmla="*/ 304 w 860"/>
                <a:gd name="T1" fmla="*/ 852 h 857"/>
                <a:gd name="T2" fmla="*/ 290 w 860"/>
                <a:gd name="T3" fmla="*/ 756 h 857"/>
                <a:gd name="T4" fmla="*/ 157 w 860"/>
                <a:gd name="T5" fmla="*/ 749 h 857"/>
                <a:gd name="T6" fmla="*/ 126 w 860"/>
                <a:gd name="T7" fmla="*/ 750 h 857"/>
                <a:gd name="T8" fmla="*/ 2 w 860"/>
                <a:gd name="T9" fmla="*/ 544 h 857"/>
                <a:gd name="T10" fmla="*/ 11 w 860"/>
                <a:gd name="T11" fmla="*/ 508 h 857"/>
                <a:gd name="T12" fmla="*/ 74 w 860"/>
                <a:gd name="T13" fmla="*/ 429 h 857"/>
                <a:gd name="T14" fmla="*/ 7 w 860"/>
                <a:gd name="T15" fmla="*/ 344 h 857"/>
                <a:gd name="T16" fmla="*/ 5 w 860"/>
                <a:gd name="T17" fmla="*/ 308 h 857"/>
                <a:gd name="T18" fmla="*/ 133 w 860"/>
                <a:gd name="T19" fmla="*/ 106 h 857"/>
                <a:gd name="T20" fmla="*/ 217 w 860"/>
                <a:gd name="T21" fmla="*/ 143 h 857"/>
                <a:gd name="T22" fmla="*/ 290 w 860"/>
                <a:gd name="T23" fmla="*/ 33 h 857"/>
                <a:gd name="T24" fmla="*/ 311 w 860"/>
                <a:gd name="T25" fmla="*/ 2 h 857"/>
                <a:gd name="T26" fmla="*/ 552 w 860"/>
                <a:gd name="T27" fmla="*/ 2 h 857"/>
                <a:gd name="T28" fmla="*/ 572 w 860"/>
                <a:gd name="T29" fmla="*/ 33 h 857"/>
                <a:gd name="T30" fmla="*/ 644 w 860"/>
                <a:gd name="T31" fmla="*/ 143 h 857"/>
                <a:gd name="T32" fmla="*/ 728 w 860"/>
                <a:gd name="T33" fmla="*/ 106 h 857"/>
                <a:gd name="T34" fmla="*/ 855 w 860"/>
                <a:gd name="T35" fmla="*/ 308 h 857"/>
                <a:gd name="T36" fmla="*/ 857 w 860"/>
                <a:gd name="T37" fmla="*/ 339 h 857"/>
                <a:gd name="T38" fmla="*/ 787 w 860"/>
                <a:gd name="T39" fmla="*/ 408 h 857"/>
                <a:gd name="T40" fmla="*/ 843 w 860"/>
                <a:gd name="T41" fmla="*/ 504 h 857"/>
                <a:gd name="T42" fmla="*/ 860 w 860"/>
                <a:gd name="T43" fmla="*/ 531 h 857"/>
                <a:gd name="T44" fmla="*/ 744 w 860"/>
                <a:gd name="T45" fmla="*/ 742 h 857"/>
                <a:gd name="T46" fmla="*/ 715 w 860"/>
                <a:gd name="T47" fmla="*/ 753 h 857"/>
                <a:gd name="T48" fmla="*/ 610 w 860"/>
                <a:gd name="T49" fmla="*/ 737 h 857"/>
                <a:gd name="T50" fmla="*/ 569 w 860"/>
                <a:gd name="T51" fmla="*/ 838 h 857"/>
                <a:gd name="T52" fmla="*/ 539 w 860"/>
                <a:gd name="T53" fmla="*/ 857 h 857"/>
                <a:gd name="T54" fmla="*/ 506 w 860"/>
                <a:gd name="T55" fmla="*/ 729 h 857"/>
                <a:gd name="T56" fmla="*/ 523 w 860"/>
                <a:gd name="T57" fmla="*/ 705 h 857"/>
                <a:gd name="T58" fmla="*/ 619 w 860"/>
                <a:gd name="T59" fmla="*/ 650 h 857"/>
                <a:gd name="T60" fmla="*/ 643 w 860"/>
                <a:gd name="T61" fmla="*/ 642 h 857"/>
                <a:gd name="T62" fmla="*/ 732 w 860"/>
                <a:gd name="T63" fmla="*/ 517 h 857"/>
                <a:gd name="T64" fmla="*/ 716 w 860"/>
                <a:gd name="T65" fmla="*/ 497 h 857"/>
                <a:gd name="T66" fmla="*/ 720 w 860"/>
                <a:gd name="T67" fmla="*/ 442 h 857"/>
                <a:gd name="T68" fmla="*/ 716 w 860"/>
                <a:gd name="T69" fmla="*/ 376 h 857"/>
                <a:gd name="T70" fmla="*/ 723 w 860"/>
                <a:gd name="T71" fmla="*/ 348 h 857"/>
                <a:gd name="T72" fmla="*/ 657 w 860"/>
                <a:gd name="T73" fmla="*/ 211 h 857"/>
                <a:gd name="T74" fmla="*/ 628 w 860"/>
                <a:gd name="T75" fmla="*/ 213 h 857"/>
                <a:gd name="T76" fmla="*/ 553 w 860"/>
                <a:gd name="T77" fmla="*/ 165 h 857"/>
                <a:gd name="T78" fmla="*/ 511 w 860"/>
                <a:gd name="T79" fmla="*/ 143 h 857"/>
                <a:gd name="T80" fmla="*/ 356 w 860"/>
                <a:gd name="T81" fmla="*/ 67 h 857"/>
                <a:gd name="T82" fmla="*/ 350 w 860"/>
                <a:gd name="T83" fmla="*/ 143 h 857"/>
                <a:gd name="T84" fmla="*/ 308 w 860"/>
                <a:gd name="T85" fmla="*/ 166 h 857"/>
                <a:gd name="T86" fmla="*/ 237 w 860"/>
                <a:gd name="T87" fmla="*/ 211 h 857"/>
                <a:gd name="T88" fmla="*/ 208 w 860"/>
                <a:gd name="T89" fmla="*/ 213 h 857"/>
                <a:gd name="T90" fmla="*/ 133 w 860"/>
                <a:gd name="T91" fmla="*/ 344 h 857"/>
                <a:gd name="T92" fmla="*/ 145 w 860"/>
                <a:gd name="T93" fmla="*/ 371 h 857"/>
                <a:gd name="T94" fmla="*/ 140 w 860"/>
                <a:gd name="T95" fmla="*/ 442 h 857"/>
                <a:gd name="T96" fmla="*/ 144 w 860"/>
                <a:gd name="T97" fmla="*/ 497 h 857"/>
                <a:gd name="T98" fmla="*/ 79 w 860"/>
                <a:gd name="T99" fmla="*/ 546 h 857"/>
                <a:gd name="T100" fmla="*/ 218 w 860"/>
                <a:gd name="T101" fmla="*/ 642 h 857"/>
                <a:gd name="T102" fmla="*/ 242 w 860"/>
                <a:gd name="T103" fmla="*/ 650 h 857"/>
                <a:gd name="T104" fmla="*/ 334 w 860"/>
                <a:gd name="T105" fmla="*/ 703 h 857"/>
                <a:gd name="T106" fmla="*/ 355 w 860"/>
                <a:gd name="T107" fmla="*/ 724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0" h="857">
                  <a:moveTo>
                    <a:pt x="539" y="857"/>
                  </a:moveTo>
                  <a:lnTo>
                    <a:pt x="323" y="857"/>
                  </a:lnTo>
                  <a:lnTo>
                    <a:pt x="323" y="857"/>
                  </a:lnTo>
                  <a:lnTo>
                    <a:pt x="317" y="857"/>
                  </a:lnTo>
                  <a:lnTo>
                    <a:pt x="311" y="855"/>
                  </a:lnTo>
                  <a:lnTo>
                    <a:pt x="304" y="852"/>
                  </a:lnTo>
                  <a:lnTo>
                    <a:pt x="299" y="848"/>
                  </a:lnTo>
                  <a:lnTo>
                    <a:pt x="296" y="843"/>
                  </a:lnTo>
                  <a:lnTo>
                    <a:pt x="293" y="838"/>
                  </a:lnTo>
                  <a:lnTo>
                    <a:pt x="291" y="831"/>
                  </a:lnTo>
                  <a:lnTo>
                    <a:pt x="290" y="825"/>
                  </a:lnTo>
                  <a:lnTo>
                    <a:pt x="290" y="756"/>
                  </a:lnTo>
                  <a:lnTo>
                    <a:pt x="290" y="756"/>
                  </a:lnTo>
                  <a:lnTo>
                    <a:pt x="273" y="749"/>
                  </a:lnTo>
                  <a:lnTo>
                    <a:pt x="255" y="738"/>
                  </a:lnTo>
                  <a:lnTo>
                    <a:pt x="236" y="728"/>
                  </a:lnTo>
                  <a:lnTo>
                    <a:pt x="217" y="714"/>
                  </a:lnTo>
                  <a:lnTo>
                    <a:pt x="157" y="749"/>
                  </a:lnTo>
                  <a:lnTo>
                    <a:pt x="157" y="749"/>
                  </a:lnTo>
                  <a:lnTo>
                    <a:pt x="151" y="752"/>
                  </a:lnTo>
                  <a:lnTo>
                    <a:pt x="145" y="753"/>
                  </a:lnTo>
                  <a:lnTo>
                    <a:pt x="139" y="753"/>
                  </a:lnTo>
                  <a:lnTo>
                    <a:pt x="133" y="752"/>
                  </a:lnTo>
                  <a:lnTo>
                    <a:pt x="126" y="750"/>
                  </a:lnTo>
                  <a:lnTo>
                    <a:pt x="121" y="747"/>
                  </a:lnTo>
                  <a:lnTo>
                    <a:pt x="116" y="742"/>
                  </a:lnTo>
                  <a:lnTo>
                    <a:pt x="113" y="737"/>
                  </a:lnTo>
                  <a:lnTo>
                    <a:pt x="4" y="550"/>
                  </a:lnTo>
                  <a:lnTo>
                    <a:pt x="4" y="550"/>
                  </a:lnTo>
                  <a:lnTo>
                    <a:pt x="2" y="544"/>
                  </a:lnTo>
                  <a:lnTo>
                    <a:pt x="0" y="537"/>
                  </a:lnTo>
                  <a:lnTo>
                    <a:pt x="0" y="531"/>
                  </a:lnTo>
                  <a:lnTo>
                    <a:pt x="1" y="525"/>
                  </a:lnTo>
                  <a:lnTo>
                    <a:pt x="3" y="519"/>
                  </a:lnTo>
                  <a:lnTo>
                    <a:pt x="7" y="514"/>
                  </a:lnTo>
                  <a:lnTo>
                    <a:pt x="11" y="508"/>
                  </a:lnTo>
                  <a:lnTo>
                    <a:pt x="17" y="504"/>
                  </a:lnTo>
                  <a:lnTo>
                    <a:pt x="76" y="470"/>
                  </a:lnTo>
                  <a:lnTo>
                    <a:pt x="76" y="470"/>
                  </a:lnTo>
                  <a:lnTo>
                    <a:pt x="74" y="449"/>
                  </a:lnTo>
                  <a:lnTo>
                    <a:pt x="74" y="429"/>
                  </a:lnTo>
                  <a:lnTo>
                    <a:pt x="74" y="429"/>
                  </a:lnTo>
                  <a:lnTo>
                    <a:pt x="74" y="408"/>
                  </a:lnTo>
                  <a:lnTo>
                    <a:pt x="76" y="387"/>
                  </a:lnTo>
                  <a:lnTo>
                    <a:pt x="17" y="353"/>
                  </a:lnTo>
                  <a:lnTo>
                    <a:pt x="17" y="353"/>
                  </a:lnTo>
                  <a:lnTo>
                    <a:pt x="11" y="349"/>
                  </a:lnTo>
                  <a:lnTo>
                    <a:pt x="7" y="344"/>
                  </a:lnTo>
                  <a:lnTo>
                    <a:pt x="3" y="339"/>
                  </a:lnTo>
                  <a:lnTo>
                    <a:pt x="1" y="333"/>
                  </a:lnTo>
                  <a:lnTo>
                    <a:pt x="0" y="326"/>
                  </a:lnTo>
                  <a:lnTo>
                    <a:pt x="0" y="320"/>
                  </a:lnTo>
                  <a:lnTo>
                    <a:pt x="2" y="314"/>
                  </a:lnTo>
                  <a:lnTo>
                    <a:pt x="5" y="308"/>
                  </a:lnTo>
                  <a:lnTo>
                    <a:pt x="113" y="121"/>
                  </a:lnTo>
                  <a:lnTo>
                    <a:pt x="113" y="121"/>
                  </a:lnTo>
                  <a:lnTo>
                    <a:pt x="117" y="115"/>
                  </a:lnTo>
                  <a:lnTo>
                    <a:pt x="121" y="111"/>
                  </a:lnTo>
                  <a:lnTo>
                    <a:pt x="127" y="108"/>
                  </a:lnTo>
                  <a:lnTo>
                    <a:pt x="133" y="106"/>
                  </a:lnTo>
                  <a:lnTo>
                    <a:pt x="139" y="105"/>
                  </a:lnTo>
                  <a:lnTo>
                    <a:pt x="146" y="105"/>
                  </a:lnTo>
                  <a:lnTo>
                    <a:pt x="152" y="106"/>
                  </a:lnTo>
                  <a:lnTo>
                    <a:pt x="158" y="109"/>
                  </a:lnTo>
                  <a:lnTo>
                    <a:pt x="217" y="143"/>
                  </a:lnTo>
                  <a:lnTo>
                    <a:pt x="217" y="143"/>
                  </a:lnTo>
                  <a:lnTo>
                    <a:pt x="236" y="130"/>
                  </a:lnTo>
                  <a:lnTo>
                    <a:pt x="255" y="119"/>
                  </a:lnTo>
                  <a:lnTo>
                    <a:pt x="273" y="109"/>
                  </a:lnTo>
                  <a:lnTo>
                    <a:pt x="290" y="102"/>
                  </a:lnTo>
                  <a:lnTo>
                    <a:pt x="290" y="33"/>
                  </a:lnTo>
                  <a:lnTo>
                    <a:pt x="290" y="33"/>
                  </a:lnTo>
                  <a:lnTo>
                    <a:pt x="291" y="26"/>
                  </a:lnTo>
                  <a:lnTo>
                    <a:pt x="293" y="20"/>
                  </a:lnTo>
                  <a:lnTo>
                    <a:pt x="296" y="15"/>
                  </a:lnTo>
                  <a:lnTo>
                    <a:pt x="299" y="10"/>
                  </a:lnTo>
                  <a:lnTo>
                    <a:pt x="304" y="5"/>
                  </a:lnTo>
                  <a:lnTo>
                    <a:pt x="311" y="2"/>
                  </a:lnTo>
                  <a:lnTo>
                    <a:pt x="317" y="0"/>
                  </a:lnTo>
                  <a:lnTo>
                    <a:pt x="323" y="0"/>
                  </a:lnTo>
                  <a:lnTo>
                    <a:pt x="539" y="0"/>
                  </a:lnTo>
                  <a:lnTo>
                    <a:pt x="539" y="0"/>
                  </a:lnTo>
                  <a:lnTo>
                    <a:pt x="545" y="0"/>
                  </a:lnTo>
                  <a:lnTo>
                    <a:pt x="552" y="2"/>
                  </a:lnTo>
                  <a:lnTo>
                    <a:pt x="558" y="5"/>
                  </a:lnTo>
                  <a:lnTo>
                    <a:pt x="562" y="10"/>
                  </a:lnTo>
                  <a:lnTo>
                    <a:pt x="566" y="15"/>
                  </a:lnTo>
                  <a:lnTo>
                    <a:pt x="569" y="20"/>
                  </a:lnTo>
                  <a:lnTo>
                    <a:pt x="571" y="26"/>
                  </a:lnTo>
                  <a:lnTo>
                    <a:pt x="572" y="33"/>
                  </a:lnTo>
                  <a:lnTo>
                    <a:pt x="572" y="102"/>
                  </a:lnTo>
                  <a:lnTo>
                    <a:pt x="572" y="102"/>
                  </a:lnTo>
                  <a:lnTo>
                    <a:pt x="591" y="110"/>
                  </a:lnTo>
                  <a:lnTo>
                    <a:pt x="610" y="120"/>
                  </a:lnTo>
                  <a:lnTo>
                    <a:pt x="627" y="132"/>
                  </a:lnTo>
                  <a:lnTo>
                    <a:pt x="644" y="143"/>
                  </a:lnTo>
                  <a:lnTo>
                    <a:pt x="702" y="109"/>
                  </a:lnTo>
                  <a:lnTo>
                    <a:pt x="702" y="109"/>
                  </a:lnTo>
                  <a:lnTo>
                    <a:pt x="708" y="106"/>
                  </a:lnTo>
                  <a:lnTo>
                    <a:pt x="714" y="105"/>
                  </a:lnTo>
                  <a:lnTo>
                    <a:pt x="721" y="105"/>
                  </a:lnTo>
                  <a:lnTo>
                    <a:pt x="728" y="106"/>
                  </a:lnTo>
                  <a:lnTo>
                    <a:pt x="728" y="106"/>
                  </a:lnTo>
                  <a:lnTo>
                    <a:pt x="734" y="108"/>
                  </a:lnTo>
                  <a:lnTo>
                    <a:pt x="739" y="111"/>
                  </a:lnTo>
                  <a:lnTo>
                    <a:pt x="744" y="115"/>
                  </a:lnTo>
                  <a:lnTo>
                    <a:pt x="747" y="121"/>
                  </a:lnTo>
                  <a:lnTo>
                    <a:pt x="855" y="308"/>
                  </a:lnTo>
                  <a:lnTo>
                    <a:pt x="855" y="308"/>
                  </a:lnTo>
                  <a:lnTo>
                    <a:pt x="858" y="314"/>
                  </a:lnTo>
                  <a:lnTo>
                    <a:pt x="860" y="320"/>
                  </a:lnTo>
                  <a:lnTo>
                    <a:pt x="860" y="326"/>
                  </a:lnTo>
                  <a:lnTo>
                    <a:pt x="859" y="333"/>
                  </a:lnTo>
                  <a:lnTo>
                    <a:pt x="857" y="339"/>
                  </a:lnTo>
                  <a:lnTo>
                    <a:pt x="853" y="344"/>
                  </a:lnTo>
                  <a:lnTo>
                    <a:pt x="849" y="349"/>
                  </a:lnTo>
                  <a:lnTo>
                    <a:pt x="843" y="353"/>
                  </a:lnTo>
                  <a:lnTo>
                    <a:pt x="785" y="387"/>
                  </a:lnTo>
                  <a:lnTo>
                    <a:pt x="785" y="387"/>
                  </a:lnTo>
                  <a:lnTo>
                    <a:pt x="787" y="408"/>
                  </a:lnTo>
                  <a:lnTo>
                    <a:pt x="787" y="429"/>
                  </a:lnTo>
                  <a:lnTo>
                    <a:pt x="787" y="429"/>
                  </a:lnTo>
                  <a:lnTo>
                    <a:pt x="787" y="449"/>
                  </a:lnTo>
                  <a:lnTo>
                    <a:pt x="785" y="470"/>
                  </a:lnTo>
                  <a:lnTo>
                    <a:pt x="843" y="504"/>
                  </a:lnTo>
                  <a:lnTo>
                    <a:pt x="843" y="504"/>
                  </a:lnTo>
                  <a:lnTo>
                    <a:pt x="849" y="508"/>
                  </a:lnTo>
                  <a:lnTo>
                    <a:pt x="853" y="513"/>
                  </a:lnTo>
                  <a:lnTo>
                    <a:pt x="857" y="519"/>
                  </a:lnTo>
                  <a:lnTo>
                    <a:pt x="859" y="525"/>
                  </a:lnTo>
                  <a:lnTo>
                    <a:pt x="859" y="525"/>
                  </a:lnTo>
                  <a:lnTo>
                    <a:pt x="860" y="531"/>
                  </a:lnTo>
                  <a:lnTo>
                    <a:pt x="860" y="537"/>
                  </a:lnTo>
                  <a:lnTo>
                    <a:pt x="858" y="544"/>
                  </a:lnTo>
                  <a:lnTo>
                    <a:pt x="856" y="550"/>
                  </a:lnTo>
                  <a:lnTo>
                    <a:pt x="747" y="737"/>
                  </a:lnTo>
                  <a:lnTo>
                    <a:pt x="747" y="737"/>
                  </a:lnTo>
                  <a:lnTo>
                    <a:pt x="744" y="742"/>
                  </a:lnTo>
                  <a:lnTo>
                    <a:pt x="739" y="747"/>
                  </a:lnTo>
                  <a:lnTo>
                    <a:pt x="734" y="750"/>
                  </a:lnTo>
                  <a:lnTo>
                    <a:pt x="728" y="752"/>
                  </a:lnTo>
                  <a:lnTo>
                    <a:pt x="728" y="752"/>
                  </a:lnTo>
                  <a:lnTo>
                    <a:pt x="721" y="754"/>
                  </a:lnTo>
                  <a:lnTo>
                    <a:pt x="715" y="753"/>
                  </a:lnTo>
                  <a:lnTo>
                    <a:pt x="708" y="752"/>
                  </a:lnTo>
                  <a:lnTo>
                    <a:pt x="703" y="749"/>
                  </a:lnTo>
                  <a:lnTo>
                    <a:pt x="644" y="714"/>
                  </a:lnTo>
                  <a:lnTo>
                    <a:pt x="644" y="714"/>
                  </a:lnTo>
                  <a:lnTo>
                    <a:pt x="627" y="727"/>
                  </a:lnTo>
                  <a:lnTo>
                    <a:pt x="610" y="737"/>
                  </a:lnTo>
                  <a:lnTo>
                    <a:pt x="591" y="748"/>
                  </a:lnTo>
                  <a:lnTo>
                    <a:pt x="572" y="756"/>
                  </a:lnTo>
                  <a:lnTo>
                    <a:pt x="572" y="825"/>
                  </a:lnTo>
                  <a:lnTo>
                    <a:pt x="572" y="825"/>
                  </a:lnTo>
                  <a:lnTo>
                    <a:pt x="571" y="831"/>
                  </a:lnTo>
                  <a:lnTo>
                    <a:pt x="569" y="838"/>
                  </a:lnTo>
                  <a:lnTo>
                    <a:pt x="566" y="843"/>
                  </a:lnTo>
                  <a:lnTo>
                    <a:pt x="562" y="848"/>
                  </a:lnTo>
                  <a:lnTo>
                    <a:pt x="558" y="852"/>
                  </a:lnTo>
                  <a:lnTo>
                    <a:pt x="552" y="855"/>
                  </a:lnTo>
                  <a:lnTo>
                    <a:pt x="545" y="857"/>
                  </a:lnTo>
                  <a:lnTo>
                    <a:pt x="539" y="857"/>
                  </a:lnTo>
                  <a:lnTo>
                    <a:pt x="539" y="857"/>
                  </a:lnTo>
                  <a:close/>
                  <a:moveTo>
                    <a:pt x="356" y="792"/>
                  </a:moveTo>
                  <a:lnTo>
                    <a:pt x="506" y="792"/>
                  </a:lnTo>
                  <a:lnTo>
                    <a:pt x="506" y="734"/>
                  </a:lnTo>
                  <a:lnTo>
                    <a:pt x="506" y="734"/>
                  </a:lnTo>
                  <a:lnTo>
                    <a:pt x="506" y="729"/>
                  </a:lnTo>
                  <a:lnTo>
                    <a:pt x="507" y="724"/>
                  </a:lnTo>
                  <a:lnTo>
                    <a:pt x="509" y="720"/>
                  </a:lnTo>
                  <a:lnTo>
                    <a:pt x="511" y="716"/>
                  </a:lnTo>
                  <a:lnTo>
                    <a:pt x="514" y="711"/>
                  </a:lnTo>
                  <a:lnTo>
                    <a:pt x="519" y="708"/>
                  </a:lnTo>
                  <a:lnTo>
                    <a:pt x="523" y="705"/>
                  </a:lnTo>
                  <a:lnTo>
                    <a:pt x="528" y="703"/>
                  </a:lnTo>
                  <a:lnTo>
                    <a:pt x="528" y="703"/>
                  </a:lnTo>
                  <a:lnTo>
                    <a:pt x="553" y="693"/>
                  </a:lnTo>
                  <a:lnTo>
                    <a:pt x="576" y="679"/>
                  </a:lnTo>
                  <a:lnTo>
                    <a:pt x="599" y="666"/>
                  </a:lnTo>
                  <a:lnTo>
                    <a:pt x="619" y="650"/>
                  </a:lnTo>
                  <a:lnTo>
                    <a:pt x="619" y="650"/>
                  </a:lnTo>
                  <a:lnTo>
                    <a:pt x="623" y="647"/>
                  </a:lnTo>
                  <a:lnTo>
                    <a:pt x="628" y="644"/>
                  </a:lnTo>
                  <a:lnTo>
                    <a:pt x="632" y="643"/>
                  </a:lnTo>
                  <a:lnTo>
                    <a:pt x="638" y="642"/>
                  </a:lnTo>
                  <a:lnTo>
                    <a:pt x="643" y="642"/>
                  </a:lnTo>
                  <a:lnTo>
                    <a:pt x="648" y="643"/>
                  </a:lnTo>
                  <a:lnTo>
                    <a:pt x="653" y="644"/>
                  </a:lnTo>
                  <a:lnTo>
                    <a:pt x="657" y="646"/>
                  </a:lnTo>
                  <a:lnTo>
                    <a:pt x="707" y="675"/>
                  </a:lnTo>
                  <a:lnTo>
                    <a:pt x="781" y="546"/>
                  </a:lnTo>
                  <a:lnTo>
                    <a:pt x="732" y="517"/>
                  </a:lnTo>
                  <a:lnTo>
                    <a:pt x="732" y="517"/>
                  </a:lnTo>
                  <a:lnTo>
                    <a:pt x="728" y="514"/>
                  </a:lnTo>
                  <a:lnTo>
                    <a:pt x="723" y="511"/>
                  </a:lnTo>
                  <a:lnTo>
                    <a:pt x="720" y="506"/>
                  </a:lnTo>
                  <a:lnTo>
                    <a:pt x="718" y="502"/>
                  </a:lnTo>
                  <a:lnTo>
                    <a:pt x="716" y="497"/>
                  </a:lnTo>
                  <a:lnTo>
                    <a:pt x="715" y="492"/>
                  </a:lnTo>
                  <a:lnTo>
                    <a:pt x="715" y="487"/>
                  </a:lnTo>
                  <a:lnTo>
                    <a:pt x="716" y="482"/>
                  </a:lnTo>
                  <a:lnTo>
                    <a:pt x="716" y="482"/>
                  </a:lnTo>
                  <a:lnTo>
                    <a:pt x="719" y="455"/>
                  </a:lnTo>
                  <a:lnTo>
                    <a:pt x="720" y="442"/>
                  </a:lnTo>
                  <a:lnTo>
                    <a:pt x="720" y="429"/>
                  </a:lnTo>
                  <a:lnTo>
                    <a:pt x="720" y="429"/>
                  </a:lnTo>
                  <a:lnTo>
                    <a:pt x="720" y="415"/>
                  </a:lnTo>
                  <a:lnTo>
                    <a:pt x="719" y="403"/>
                  </a:lnTo>
                  <a:lnTo>
                    <a:pt x="716" y="376"/>
                  </a:lnTo>
                  <a:lnTo>
                    <a:pt x="716" y="376"/>
                  </a:lnTo>
                  <a:lnTo>
                    <a:pt x="715" y="371"/>
                  </a:lnTo>
                  <a:lnTo>
                    <a:pt x="715" y="366"/>
                  </a:lnTo>
                  <a:lnTo>
                    <a:pt x="716" y="360"/>
                  </a:lnTo>
                  <a:lnTo>
                    <a:pt x="718" y="356"/>
                  </a:lnTo>
                  <a:lnTo>
                    <a:pt x="720" y="351"/>
                  </a:lnTo>
                  <a:lnTo>
                    <a:pt x="723" y="348"/>
                  </a:lnTo>
                  <a:lnTo>
                    <a:pt x="728" y="344"/>
                  </a:lnTo>
                  <a:lnTo>
                    <a:pt x="732" y="341"/>
                  </a:lnTo>
                  <a:lnTo>
                    <a:pt x="781" y="312"/>
                  </a:lnTo>
                  <a:lnTo>
                    <a:pt x="707" y="182"/>
                  </a:lnTo>
                  <a:lnTo>
                    <a:pt x="657" y="211"/>
                  </a:lnTo>
                  <a:lnTo>
                    <a:pt x="657" y="211"/>
                  </a:lnTo>
                  <a:lnTo>
                    <a:pt x="653" y="213"/>
                  </a:lnTo>
                  <a:lnTo>
                    <a:pt x="648" y="216"/>
                  </a:lnTo>
                  <a:lnTo>
                    <a:pt x="643" y="216"/>
                  </a:lnTo>
                  <a:lnTo>
                    <a:pt x="638" y="216"/>
                  </a:lnTo>
                  <a:lnTo>
                    <a:pt x="632" y="215"/>
                  </a:lnTo>
                  <a:lnTo>
                    <a:pt x="628" y="213"/>
                  </a:lnTo>
                  <a:lnTo>
                    <a:pt x="623" y="211"/>
                  </a:lnTo>
                  <a:lnTo>
                    <a:pt x="619" y="208"/>
                  </a:lnTo>
                  <a:lnTo>
                    <a:pt x="619" y="208"/>
                  </a:lnTo>
                  <a:lnTo>
                    <a:pt x="599" y="192"/>
                  </a:lnTo>
                  <a:lnTo>
                    <a:pt x="576" y="178"/>
                  </a:lnTo>
                  <a:lnTo>
                    <a:pt x="553" y="165"/>
                  </a:lnTo>
                  <a:lnTo>
                    <a:pt x="528" y="154"/>
                  </a:lnTo>
                  <a:lnTo>
                    <a:pt x="528" y="154"/>
                  </a:lnTo>
                  <a:lnTo>
                    <a:pt x="523" y="152"/>
                  </a:lnTo>
                  <a:lnTo>
                    <a:pt x="519" y="149"/>
                  </a:lnTo>
                  <a:lnTo>
                    <a:pt x="514" y="146"/>
                  </a:lnTo>
                  <a:lnTo>
                    <a:pt x="511" y="143"/>
                  </a:lnTo>
                  <a:lnTo>
                    <a:pt x="509" y="138"/>
                  </a:lnTo>
                  <a:lnTo>
                    <a:pt x="507" y="134"/>
                  </a:lnTo>
                  <a:lnTo>
                    <a:pt x="506" y="129"/>
                  </a:lnTo>
                  <a:lnTo>
                    <a:pt x="506" y="123"/>
                  </a:lnTo>
                  <a:lnTo>
                    <a:pt x="506" y="67"/>
                  </a:lnTo>
                  <a:lnTo>
                    <a:pt x="356" y="67"/>
                  </a:lnTo>
                  <a:lnTo>
                    <a:pt x="356" y="123"/>
                  </a:lnTo>
                  <a:lnTo>
                    <a:pt x="356" y="123"/>
                  </a:lnTo>
                  <a:lnTo>
                    <a:pt x="356" y="129"/>
                  </a:lnTo>
                  <a:lnTo>
                    <a:pt x="355" y="134"/>
                  </a:lnTo>
                  <a:lnTo>
                    <a:pt x="353" y="138"/>
                  </a:lnTo>
                  <a:lnTo>
                    <a:pt x="350" y="143"/>
                  </a:lnTo>
                  <a:lnTo>
                    <a:pt x="347" y="146"/>
                  </a:lnTo>
                  <a:lnTo>
                    <a:pt x="344" y="149"/>
                  </a:lnTo>
                  <a:lnTo>
                    <a:pt x="340" y="152"/>
                  </a:lnTo>
                  <a:lnTo>
                    <a:pt x="334" y="154"/>
                  </a:lnTo>
                  <a:lnTo>
                    <a:pt x="334" y="154"/>
                  </a:lnTo>
                  <a:lnTo>
                    <a:pt x="308" y="166"/>
                  </a:lnTo>
                  <a:lnTo>
                    <a:pt x="285" y="178"/>
                  </a:lnTo>
                  <a:lnTo>
                    <a:pt x="262" y="193"/>
                  </a:lnTo>
                  <a:lnTo>
                    <a:pt x="252" y="200"/>
                  </a:lnTo>
                  <a:lnTo>
                    <a:pt x="242" y="208"/>
                  </a:lnTo>
                  <a:lnTo>
                    <a:pt x="242" y="208"/>
                  </a:lnTo>
                  <a:lnTo>
                    <a:pt x="237" y="211"/>
                  </a:lnTo>
                  <a:lnTo>
                    <a:pt x="233" y="213"/>
                  </a:lnTo>
                  <a:lnTo>
                    <a:pt x="228" y="215"/>
                  </a:lnTo>
                  <a:lnTo>
                    <a:pt x="224" y="216"/>
                  </a:lnTo>
                  <a:lnTo>
                    <a:pt x="218" y="216"/>
                  </a:lnTo>
                  <a:lnTo>
                    <a:pt x="213" y="216"/>
                  </a:lnTo>
                  <a:lnTo>
                    <a:pt x="208" y="213"/>
                  </a:lnTo>
                  <a:lnTo>
                    <a:pt x="204" y="211"/>
                  </a:lnTo>
                  <a:lnTo>
                    <a:pt x="153" y="182"/>
                  </a:lnTo>
                  <a:lnTo>
                    <a:pt x="79" y="313"/>
                  </a:lnTo>
                  <a:lnTo>
                    <a:pt x="128" y="341"/>
                  </a:lnTo>
                  <a:lnTo>
                    <a:pt x="128" y="341"/>
                  </a:lnTo>
                  <a:lnTo>
                    <a:pt x="133" y="344"/>
                  </a:lnTo>
                  <a:lnTo>
                    <a:pt x="137" y="348"/>
                  </a:lnTo>
                  <a:lnTo>
                    <a:pt x="140" y="351"/>
                  </a:lnTo>
                  <a:lnTo>
                    <a:pt x="142" y="356"/>
                  </a:lnTo>
                  <a:lnTo>
                    <a:pt x="144" y="360"/>
                  </a:lnTo>
                  <a:lnTo>
                    <a:pt x="145" y="366"/>
                  </a:lnTo>
                  <a:lnTo>
                    <a:pt x="145" y="371"/>
                  </a:lnTo>
                  <a:lnTo>
                    <a:pt x="144" y="376"/>
                  </a:lnTo>
                  <a:lnTo>
                    <a:pt x="144" y="376"/>
                  </a:lnTo>
                  <a:lnTo>
                    <a:pt x="141" y="403"/>
                  </a:lnTo>
                  <a:lnTo>
                    <a:pt x="140" y="429"/>
                  </a:lnTo>
                  <a:lnTo>
                    <a:pt x="140" y="429"/>
                  </a:lnTo>
                  <a:lnTo>
                    <a:pt x="140" y="442"/>
                  </a:lnTo>
                  <a:lnTo>
                    <a:pt x="141" y="455"/>
                  </a:lnTo>
                  <a:lnTo>
                    <a:pt x="144" y="482"/>
                  </a:lnTo>
                  <a:lnTo>
                    <a:pt x="144" y="482"/>
                  </a:lnTo>
                  <a:lnTo>
                    <a:pt x="145" y="487"/>
                  </a:lnTo>
                  <a:lnTo>
                    <a:pt x="145" y="492"/>
                  </a:lnTo>
                  <a:lnTo>
                    <a:pt x="144" y="497"/>
                  </a:lnTo>
                  <a:lnTo>
                    <a:pt x="142" y="502"/>
                  </a:lnTo>
                  <a:lnTo>
                    <a:pt x="140" y="506"/>
                  </a:lnTo>
                  <a:lnTo>
                    <a:pt x="137" y="511"/>
                  </a:lnTo>
                  <a:lnTo>
                    <a:pt x="133" y="514"/>
                  </a:lnTo>
                  <a:lnTo>
                    <a:pt x="128" y="517"/>
                  </a:lnTo>
                  <a:lnTo>
                    <a:pt x="79" y="546"/>
                  </a:lnTo>
                  <a:lnTo>
                    <a:pt x="153" y="675"/>
                  </a:lnTo>
                  <a:lnTo>
                    <a:pt x="204" y="646"/>
                  </a:lnTo>
                  <a:lnTo>
                    <a:pt x="204" y="646"/>
                  </a:lnTo>
                  <a:lnTo>
                    <a:pt x="208" y="644"/>
                  </a:lnTo>
                  <a:lnTo>
                    <a:pt x="213" y="643"/>
                  </a:lnTo>
                  <a:lnTo>
                    <a:pt x="218" y="642"/>
                  </a:lnTo>
                  <a:lnTo>
                    <a:pt x="224" y="642"/>
                  </a:lnTo>
                  <a:lnTo>
                    <a:pt x="228" y="643"/>
                  </a:lnTo>
                  <a:lnTo>
                    <a:pt x="233" y="644"/>
                  </a:lnTo>
                  <a:lnTo>
                    <a:pt x="237" y="647"/>
                  </a:lnTo>
                  <a:lnTo>
                    <a:pt x="242" y="650"/>
                  </a:lnTo>
                  <a:lnTo>
                    <a:pt x="242" y="650"/>
                  </a:lnTo>
                  <a:lnTo>
                    <a:pt x="252" y="658"/>
                  </a:lnTo>
                  <a:lnTo>
                    <a:pt x="262" y="665"/>
                  </a:lnTo>
                  <a:lnTo>
                    <a:pt x="285" y="679"/>
                  </a:lnTo>
                  <a:lnTo>
                    <a:pt x="308" y="692"/>
                  </a:lnTo>
                  <a:lnTo>
                    <a:pt x="334" y="703"/>
                  </a:lnTo>
                  <a:lnTo>
                    <a:pt x="334" y="703"/>
                  </a:lnTo>
                  <a:lnTo>
                    <a:pt x="340" y="705"/>
                  </a:lnTo>
                  <a:lnTo>
                    <a:pt x="344" y="708"/>
                  </a:lnTo>
                  <a:lnTo>
                    <a:pt x="347" y="711"/>
                  </a:lnTo>
                  <a:lnTo>
                    <a:pt x="350" y="716"/>
                  </a:lnTo>
                  <a:lnTo>
                    <a:pt x="353" y="720"/>
                  </a:lnTo>
                  <a:lnTo>
                    <a:pt x="355" y="724"/>
                  </a:lnTo>
                  <a:lnTo>
                    <a:pt x="356" y="729"/>
                  </a:lnTo>
                  <a:lnTo>
                    <a:pt x="356" y="734"/>
                  </a:lnTo>
                  <a:lnTo>
                    <a:pt x="356" y="7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9" name="Freeform 195">
              <a:extLst>
                <a:ext uri="{FF2B5EF4-FFF2-40B4-BE49-F238E27FC236}">
                  <a16:creationId xmlns:a16="http://schemas.microsoft.com/office/drawing/2014/main" id="{81EFB8F7-9993-4BA2-94E4-9BF6A44F8E0C}"/>
                </a:ext>
              </a:extLst>
            </p:cNvPr>
            <p:cNvSpPr>
              <a:spLocks noEditPoints="1"/>
            </p:cNvSpPr>
            <p:nvPr/>
          </p:nvSpPr>
          <p:spPr bwMode="auto">
            <a:xfrm>
              <a:off x="7210425" y="3471863"/>
              <a:ext cx="80963" cy="79375"/>
            </a:xfrm>
            <a:custGeom>
              <a:avLst/>
              <a:gdLst>
                <a:gd name="T0" fmla="*/ 159 w 355"/>
                <a:gd name="T1" fmla="*/ 353 h 354"/>
                <a:gd name="T2" fmla="*/ 108 w 355"/>
                <a:gd name="T3" fmla="*/ 340 h 354"/>
                <a:gd name="T4" fmla="*/ 65 w 355"/>
                <a:gd name="T5" fmla="*/ 313 h 354"/>
                <a:gd name="T6" fmla="*/ 31 w 355"/>
                <a:gd name="T7" fmla="*/ 276 h 354"/>
                <a:gd name="T8" fmla="*/ 8 w 355"/>
                <a:gd name="T9" fmla="*/ 230 h 354"/>
                <a:gd name="T10" fmla="*/ 0 w 355"/>
                <a:gd name="T11" fmla="*/ 177 h 354"/>
                <a:gd name="T12" fmla="*/ 4 w 355"/>
                <a:gd name="T13" fmla="*/ 142 h 354"/>
                <a:gd name="T14" fmla="*/ 21 w 355"/>
                <a:gd name="T15" fmla="*/ 93 h 354"/>
                <a:gd name="T16" fmla="*/ 52 w 355"/>
                <a:gd name="T17" fmla="*/ 52 h 354"/>
                <a:gd name="T18" fmla="*/ 93 w 355"/>
                <a:gd name="T19" fmla="*/ 22 h 354"/>
                <a:gd name="T20" fmla="*/ 141 w 355"/>
                <a:gd name="T21" fmla="*/ 4 h 354"/>
                <a:gd name="T22" fmla="*/ 177 w 355"/>
                <a:gd name="T23" fmla="*/ 0 h 354"/>
                <a:gd name="T24" fmla="*/ 229 w 355"/>
                <a:gd name="T25" fmla="*/ 8 h 354"/>
                <a:gd name="T26" fmla="*/ 276 w 355"/>
                <a:gd name="T27" fmla="*/ 30 h 354"/>
                <a:gd name="T28" fmla="*/ 313 w 355"/>
                <a:gd name="T29" fmla="*/ 64 h 354"/>
                <a:gd name="T30" fmla="*/ 340 w 355"/>
                <a:gd name="T31" fmla="*/ 108 h 354"/>
                <a:gd name="T32" fmla="*/ 354 w 355"/>
                <a:gd name="T33" fmla="*/ 159 h 354"/>
                <a:gd name="T34" fmla="*/ 354 w 355"/>
                <a:gd name="T35" fmla="*/ 194 h 354"/>
                <a:gd name="T36" fmla="*/ 340 w 355"/>
                <a:gd name="T37" fmla="*/ 246 h 354"/>
                <a:gd name="T38" fmla="*/ 313 w 355"/>
                <a:gd name="T39" fmla="*/ 290 h 354"/>
                <a:gd name="T40" fmla="*/ 276 w 355"/>
                <a:gd name="T41" fmla="*/ 324 h 354"/>
                <a:gd name="T42" fmla="*/ 229 w 355"/>
                <a:gd name="T43" fmla="*/ 346 h 354"/>
                <a:gd name="T44" fmla="*/ 177 w 355"/>
                <a:gd name="T45" fmla="*/ 354 h 354"/>
                <a:gd name="T46" fmla="*/ 177 w 355"/>
                <a:gd name="T47" fmla="*/ 66 h 354"/>
                <a:gd name="T48" fmla="*/ 144 w 355"/>
                <a:gd name="T49" fmla="*/ 71 h 354"/>
                <a:gd name="T50" fmla="*/ 115 w 355"/>
                <a:gd name="T51" fmla="*/ 85 h 354"/>
                <a:gd name="T52" fmla="*/ 92 w 355"/>
                <a:gd name="T53" fmla="*/ 106 h 354"/>
                <a:gd name="T54" fmla="*/ 75 w 355"/>
                <a:gd name="T55" fmla="*/ 133 h 354"/>
                <a:gd name="T56" fmla="*/ 67 w 355"/>
                <a:gd name="T57" fmla="*/ 165 h 354"/>
                <a:gd name="T58" fmla="*/ 67 w 355"/>
                <a:gd name="T59" fmla="*/ 188 h 354"/>
                <a:gd name="T60" fmla="*/ 75 w 355"/>
                <a:gd name="T61" fmla="*/ 220 h 354"/>
                <a:gd name="T62" fmla="*/ 92 w 355"/>
                <a:gd name="T63" fmla="*/ 247 h 354"/>
                <a:gd name="T64" fmla="*/ 115 w 355"/>
                <a:gd name="T65" fmla="*/ 269 h 354"/>
                <a:gd name="T66" fmla="*/ 144 w 355"/>
                <a:gd name="T67" fmla="*/ 282 h 354"/>
                <a:gd name="T68" fmla="*/ 177 w 355"/>
                <a:gd name="T69" fmla="*/ 288 h 354"/>
                <a:gd name="T70" fmla="*/ 199 w 355"/>
                <a:gd name="T71" fmla="*/ 285 h 354"/>
                <a:gd name="T72" fmla="*/ 229 w 355"/>
                <a:gd name="T73" fmla="*/ 274 h 354"/>
                <a:gd name="T74" fmla="*/ 255 w 355"/>
                <a:gd name="T75" fmla="*/ 255 h 354"/>
                <a:gd name="T76" fmla="*/ 275 w 355"/>
                <a:gd name="T77" fmla="*/ 230 h 354"/>
                <a:gd name="T78" fmla="*/ 285 w 355"/>
                <a:gd name="T79" fmla="*/ 200 h 354"/>
                <a:gd name="T80" fmla="*/ 288 w 355"/>
                <a:gd name="T81" fmla="*/ 177 h 354"/>
                <a:gd name="T82" fmla="*/ 283 w 355"/>
                <a:gd name="T83" fmla="*/ 144 h 354"/>
                <a:gd name="T84" fmla="*/ 269 w 355"/>
                <a:gd name="T85" fmla="*/ 115 h 354"/>
                <a:gd name="T86" fmla="*/ 248 w 355"/>
                <a:gd name="T87" fmla="*/ 91 h 354"/>
                <a:gd name="T88" fmla="*/ 220 w 355"/>
                <a:gd name="T89" fmla="*/ 74 h 354"/>
                <a:gd name="T90" fmla="*/ 188 w 355"/>
                <a:gd name="T91" fmla="*/ 6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5" h="354">
                  <a:moveTo>
                    <a:pt x="177" y="354"/>
                  </a:moveTo>
                  <a:lnTo>
                    <a:pt x="177" y="354"/>
                  </a:lnTo>
                  <a:lnTo>
                    <a:pt x="159" y="353"/>
                  </a:lnTo>
                  <a:lnTo>
                    <a:pt x="141" y="351"/>
                  </a:lnTo>
                  <a:lnTo>
                    <a:pt x="125" y="346"/>
                  </a:lnTo>
                  <a:lnTo>
                    <a:pt x="108" y="340"/>
                  </a:lnTo>
                  <a:lnTo>
                    <a:pt x="93" y="332"/>
                  </a:lnTo>
                  <a:lnTo>
                    <a:pt x="78" y="324"/>
                  </a:lnTo>
                  <a:lnTo>
                    <a:pt x="65" y="313"/>
                  </a:lnTo>
                  <a:lnTo>
                    <a:pt x="52" y="302"/>
                  </a:lnTo>
                  <a:lnTo>
                    <a:pt x="41" y="290"/>
                  </a:lnTo>
                  <a:lnTo>
                    <a:pt x="31" y="276"/>
                  </a:lnTo>
                  <a:lnTo>
                    <a:pt x="21" y="261"/>
                  </a:lnTo>
                  <a:lnTo>
                    <a:pt x="14" y="246"/>
                  </a:lnTo>
                  <a:lnTo>
                    <a:pt x="8" y="230"/>
                  </a:lnTo>
                  <a:lnTo>
                    <a:pt x="4" y="212"/>
                  </a:lnTo>
                  <a:lnTo>
                    <a:pt x="1" y="194"/>
                  </a:lnTo>
                  <a:lnTo>
                    <a:pt x="0" y="177"/>
                  </a:lnTo>
                  <a:lnTo>
                    <a:pt x="0" y="177"/>
                  </a:lnTo>
                  <a:lnTo>
                    <a:pt x="1" y="159"/>
                  </a:lnTo>
                  <a:lnTo>
                    <a:pt x="4" y="142"/>
                  </a:lnTo>
                  <a:lnTo>
                    <a:pt x="8" y="124"/>
                  </a:lnTo>
                  <a:lnTo>
                    <a:pt x="14" y="108"/>
                  </a:lnTo>
                  <a:lnTo>
                    <a:pt x="21" y="93"/>
                  </a:lnTo>
                  <a:lnTo>
                    <a:pt x="31" y="77"/>
                  </a:lnTo>
                  <a:lnTo>
                    <a:pt x="41" y="64"/>
                  </a:lnTo>
                  <a:lnTo>
                    <a:pt x="52" y="52"/>
                  </a:lnTo>
                  <a:lnTo>
                    <a:pt x="65" y="40"/>
                  </a:lnTo>
                  <a:lnTo>
                    <a:pt x="78" y="30"/>
                  </a:lnTo>
                  <a:lnTo>
                    <a:pt x="93" y="22"/>
                  </a:lnTo>
                  <a:lnTo>
                    <a:pt x="108" y="13"/>
                  </a:lnTo>
                  <a:lnTo>
                    <a:pt x="125" y="8"/>
                  </a:lnTo>
                  <a:lnTo>
                    <a:pt x="141" y="4"/>
                  </a:lnTo>
                  <a:lnTo>
                    <a:pt x="159" y="1"/>
                  </a:lnTo>
                  <a:lnTo>
                    <a:pt x="177" y="0"/>
                  </a:lnTo>
                  <a:lnTo>
                    <a:pt x="177" y="0"/>
                  </a:lnTo>
                  <a:lnTo>
                    <a:pt x="195" y="1"/>
                  </a:lnTo>
                  <a:lnTo>
                    <a:pt x="213" y="4"/>
                  </a:lnTo>
                  <a:lnTo>
                    <a:pt x="229" y="8"/>
                  </a:lnTo>
                  <a:lnTo>
                    <a:pt x="246" y="13"/>
                  </a:lnTo>
                  <a:lnTo>
                    <a:pt x="261" y="22"/>
                  </a:lnTo>
                  <a:lnTo>
                    <a:pt x="276" y="30"/>
                  </a:lnTo>
                  <a:lnTo>
                    <a:pt x="289" y="40"/>
                  </a:lnTo>
                  <a:lnTo>
                    <a:pt x="302" y="52"/>
                  </a:lnTo>
                  <a:lnTo>
                    <a:pt x="313" y="64"/>
                  </a:lnTo>
                  <a:lnTo>
                    <a:pt x="323" y="77"/>
                  </a:lnTo>
                  <a:lnTo>
                    <a:pt x="333" y="93"/>
                  </a:lnTo>
                  <a:lnTo>
                    <a:pt x="340" y="108"/>
                  </a:lnTo>
                  <a:lnTo>
                    <a:pt x="346" y="124"/>
                  </a:lnTo>
                  <a:lnTo>
                    <a:pt x="350" y="142"/>
                  </a:lnTo>
                  <a:lnTo>
                    <a:pt x="354" y="159"/>
                  </a:lnTo>
                  <a:lnTo>
                    <a:pt x="355" y="177"/>
                  </a:lnTo>
                  <a:lnTo>
                    <a:pt x="355" y="177"/>
                  </a:lnTo>
                  <a:lnTo>
                    <a:pt x="354" y="194"/>
                  </a:lnTo>
                  <a:lnTo>
                    <a:pt x="350" y="212"/>
                  </a:lnTo>
                  <a:lnTo>
                    <a:pt x="346" y="230"/>
                  </a:lnTo>
                  <a:lnTo>
                    <a:pt x="340" y="246"/>
                  </a:lnTo>
                  <a:lnTo>
                    <a:pt x="333" y="261"/>
                  </a:lnTo>
                  <a:lnTo>
                    <a:pt x="323" y="276"/>
                  </a:lnTo>
                  <a:lnTo>
                    <a:pt x="313" y="290"/>
                  </a:lnTo>
                  <a:lnTo>
                    <a:pt x="302" y="302"/>
                  </a:lnTo>
                  <a:lnTo>
                    <a:pt x="289" y="313"/>
                  </a:lnTo>
                  <a:lnTo>
                    <a:pt x="276" y="324"/>
                  </a:lnTo>
                  <a:lnTo>
                    <a:pt x="261" y="332"/>
                  </a:lnTo>
                  <a:lnTo>
                    <a:pt x="246" y="340"/>
                  </a:lnTo>
                  <a:lnTo>
                    <a:pt x="229" y="346"/>
                  </a:lnTo>
                  <a:lnTo>
                    <a:pt x="213" y="351"/>
                  </a:lnTo>
                  <a:lnTo>
                    <a:pt x="195" y="353"/>
                  </a:lnTo>
                  <a:lnTo>
                    <a:pt x="177" y="354"/>
                  </a:lnTo>
                  <a:lnTo>
                    <a:pt x="177" y="354"/>
                  </a:lnTo>
                  <a:close/>
                  <a:moveTo>
                    <a:pt x="177" y="66"/>
                  </a:moveTo>
                  <a:lnTo>
                    <a:pt x="177" y="66"/>
                  </a:lnTo>
                  <a:lnTo>
                    <a:pt x="166" y="66"/>
                  </a:lnTo>
                  <a:lnTo>
                    <a:pt x="155" y="68"/>
                  </a:lnTo>
                  <a:lnTo>
                    <a:pt x="144" y="71"/>
                  </a:lnTo>
                  <a:lnTo>
                    <a:pt x="134" y="74"/>
                  </a:lnTo>
                  <a:lnTo>
                    <a:pt x="124" y="79"/>
                  </a:lnTo>
                  <a:lnTo>
                    <a:pt x="115" y="85"/>
                  </a:lnTo>
                  <a:lnTo>
                    <a:pt x="106" y="91"/>
                  </a:lnTo>
                  <a:lnTo>
                    <a:pt x="99" y="98"/>
                  </a:lnTo>
                  <a:lnTo>
                    <a:pt x="92" y="106"/>
                  </a:lnTo>
                  <a:lnTo>
                    <a:pt x="85" y="115"/>
                  </a:lnTo>
                  <a:lnTo>
                    <a:pt x="79" y="124"/>
                  </a:lnTo>
                  <a:lnTo>
                    <a:pt x="75" y="133"/>
                  </a:lnTo>
                  <a:lnTo>
                    <a:pt x="71" y="144"/>
                  </a:lnTo>
                  <a:lnTo>
                    <a:pt x="68" y="154"/>
                  </a:lnTo>
                  <a:lnTo>
                    <a:pt x="67" y="165"/>
                  </a:lnTo>
                  <a:lnTo>
                    <a:pt x="66" y="177"/>
                  </a:lnTo>
                  <a:lnTo>
                    <a:pt x="66" y="177"/>
                  </a:lnTo>
                  <a:lnTo>
                    <a:pt x="67" y="188"/>
                  </a:lnTo>
                  <a:lnTo>
                    <a:pt x="68" y="200"/>
                  </a:lnTo>
                  <a:lnTo>
                    <a:pt x="71" y="210"/>
                  </a:lnTo>
                  <a:lnTo>
                    <a:pt x="75" y="220"/>
                  </a:lnTo>
                  <a:lnTo>
                    <a:pt x="79" y="230"/>
                  </a:lnTo>
                  <a:lnTo>
                    <a:pt x="85" y="239"/>
                  </a:lnTo>
                  <a:lnTo>
                    <a:pt x="92" y="247"/>
                  </a:lnTo>
                  <a:lnTo>
                    <a:pt x="99" y="255"/>
                  </a:lnTo>
                  <a:lnTo>
                    <a:pt x="106" y="263"/>
                  </a:lnTo>
                  <a:lnTo>
                    <a:pt x="115" y="269"/>
                  </a:lnTo>
                  <a:lnTo>
                    <a:pt x="124" y="274"/>
                  </a:lnTo>
                  <a:lnTo>
                    <a:pt x="134" y="279"/>
                  </a:lnTo>
                  <a:lnTo>
                    <a:pt x="144" y="282"/>
                  </a:lnTo>
                  <a:lnTo>
                    <a:pt x="155" y="285"/>
                  </a:lnTo>
                  <a:lnTo>
                    <a:pt x="166" y="288"/>
                  </a:lnTo>
                  <a:lnTo>
                    <a:pt x="177" y="288"/>
                  </a:lnTo>
                  <a:lnTo>
                    <a:pt x="177" y="288"/>
                  </a:lnTo>
                  <a:lnTo>
                    <a:pt x="188" y="288"/>
                  </a:lnTo>
                  <a:lnTo>
                    <a:pt x="199" y="285"/>
                  </a:lnTo>
                  <a:lnTo>
                    <a:pt x="210" y="282"/>
                  </a:lnTo>
                  <a:lnTo>
                    <a:pt x="220" y="279"/>
                  </a:lnTo>
                  <a:lnTo>
                    <a:pt x="229" y="274"/>
                  </a:lnTo>
                  <a:lnTo>
                    <a:pt x="239" y="269"/>
                  </a:lnTo>
                  <a:lnTo>
                    <a:pt x="248" y="263"/>
                  </a:lnTo>
                  <a:lnTo>
                    <a:pt x="255" y="255"/>
                  </a:lnTo>
                  <a:lnTo>
                    <a:pt x="262" y="247"/>
                  </a:lnTo>
                  <a:lnTo>
                    <a:pt x="269" y="239"/>
                  </a:lnTo>
                  <a:lnTo>
                    <a:pt x="275" y="230"/>
                  </a:lnTo>
                  <a:lnTo>
                    <a:pt x="279" y="220"/>
                  </a:lnTo>
                  <a:lnTo>
                    <a:pt x="283" y="210"/>
                  </a:lnTo>
                  <a:lnTo>
                    <a:pt x="285" y="200"/>
                  </a:lnTo>
                  <a:lnTo>
                    <a:pt x="287" y="188"/>
                  </a:lnTo>
                  <a:lnTo>
                    <a:pt x="288" y="177"/>
                  </a:lnTo>
                  <a:lnTo>
                    <a:pt x="288" y="177"/>
                  </a:lnTo>
                  <a:lnTo>
                    <a:pt x="287" y="165"/>
                  </a:lnTo>
                  <a:lnTo>
                    <a:pt x="285" y="154"/>
                  </a:lnTo>
                  <a:lnTo>
                    <a:pt x="283" y="144"/>
                  </a:lnTo>
                  <a:lnTo>
                    <a:pt x="279" y="133"/>
                  </a:lnTo>
                  <a:lnTo>
                    <a:pt x="275" y="124"/>
                  </a:lnTo>
                  <a:lnTo>
                    <a:pt x="269" y="115"/>
                  </a:lnTo>
                  <a:lnTo>
                    <a:pt x="262" y="106"/>
                  </a:lnTo>
                  <a:lnTo>
                    <a:pt x="255" y="98"/>
                  </a:lnTo>
                  <a:lnTo>
                    <a:pt x="248" y="91"/>
                  </a:lnTo>
                  <a:lnTo>
                    <a:pt x="239" y="85"/>
                  </a:lnTo>
                  <a:lnTo>
                    <a:pt x="229" y="79"/>
                  </a:lnTo>
                  <a:lnTo>
                    <a:pt x="220" y="74"/>
                  </a:lnTo>
                  <a:lnTo>
                    <a:pt x="210" y="71"/>
                  </a:lnTo>
                  <a:lnTo>
                    <a:pt x="199" y="68"/>
                  </a:lnTo>
                  <a:lnTo>
                    <a:pt x="188" y="66"/>
                  </a:lnTo>
                  <a:lnTo>
                    <a:pt x="177" y="66"/>
                  </a:lnTo>
                  <a:lnTo>
                    <a:pt x="17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0" name="Freeform 196">
              <a:extLst>
                <a:ext uri="{FF2B5EF4-FFF2-40B4-BE49-F238E27FC236}">
                  <a16:creationId xmlns:a16="http://schemas.microsoft.com/office/drawing/2014/main" id="{166A42E3-63E6-48FD-9098-D4DDF1FABD9D}"/>
                </a:ext>
              </a:extLst>
            </p:cNvPr>
            <p:cNvSpPr>
              <a:spLocks/>
            </p:cNvSpPr>
            <p:nvPr/>
          </p:nvSpPr>
          <p:spPr bwMode="auto">
            <a:xfrm>
              <a:off x="6996113" y="3249613"/>
              <a:ext cx="300038" cy="314325"/>
            </a:xfrm>
            <a:custGeom>
              <a:avLst/>
              <a:gdLst>
                <a:gd name="T0" fmla="*/ 33 w 1322"/>
                <a:gd name="T1" fmla="*/ 1389 h 1389"/>
                <a:gd name="T2" fmla="*/ 27 w 1322"/>
                <a:gd name="T3" fmla="*/ 1388 h 1389"/>
                <a:gd name="T4" fmla="*/ 14 w 1322"/>
                <a:gd name="T5" fmla="*/ 1382 h 1389"/>
                <a:gd name="T6" fmla="*/ 6 w 1322"/>
                <a:gd name="T7" fmla="*/ 1374 h 1389"/>
                <a:gd name="T8" fmla="*/ 1 w 1322"/>
                <a:gd name="T9" fmla="*/ 1362 h 1389"/>
                <a:gd name="T10" fmla="*/ 0 w 1322"/>
                <a:gd name="T11" fmla="*/ 33 h 1389"/>
                <a:gd name="T12" fmla="*/ 1 w 1322"/>
                <a:gd name="T13" fmla="*/ 25 h 1389"/>
                <a:gd name="T14" fmla="*/ 6 w 1322"/>
                <a:gd name="T15" fmla="*/ 14 h 1389"/>
                <a:gd name="T16" fmla="*/ 14 w 1322"/>
                <a:gd name="T17" fmla="*/ 5 h 1389"/>
                <a:gd name="T18" fmla="*/ 27 w 1322"/>
                <a:gd name="T19" fmla="*/ 0 h 1389"/>
                <a:gd name="T20" fmla="*/ 1289 w 1322"/>
                <a:gd name="T21" fmla="*/ 0 h 1389"/>
                <a:gd name="T22" fmla="*/ 1296 w 1322"/>
                <a:gd name="T23" fmla="*/ 0 h 1389"/>
                <a:gd name="T24" fmla="*/ 1308 w 1322"/>
                <a:gd name="T25" fmla="*/ 5 h 1389"/>
                <a:gd name="T26" fmla="*/ 1317 w 1322"/>
                <a:gd name="T27" fmla="*/ 14 h 1389"/>
                <a:gd name="T28" fmla="*/ 1322 w 1322"/>
                <a:gd name="T29" fmla="*/ 25 h 1389"/>
                <a:gd name="T30" fmla="*/ 1322 w 1322"/>
                <a:gd name="T31" fmla="*/ 628 h 1389"/>
                <a:gd name="T32" fmla="*/ 1322 w 1322"/>
                <a:gd name="T33" fmla="*/ 634 h 1389"/>
                <a:gd name="T34" fmla="*/ 1317 w 1322"/>
                <a:gd name="T35" fmla="*/ 647 h 1389"/>
                <a:gd name="T36" fmla="*/ 1308 w 1322"/>
                <a:gd name="T37" fmla="*/ 655 h 1389"/>
                <a:gd name="T38" fmla="*/ 1296 w 1322"/>
                <a:gd name="T39" fmla="*/ 660 h 1389"/>
                <a:gd name="T40" fmla="*/ 1289 w 1322"/>
                <a:gd name="T41" fmla="*/ 661 h 1389"/>
                <a:gd name="T42" fmla="*/ 1277 w 1322"/>
                <a:gd name="T43" fmla="*/ 658 h 1389"/>
                <a:gd name="T44" fmla="*/ 1266 w 1322"/>
                <a:gd name="T45" fmla="*/ 651 h 1389"/>
                <a:gd name="T46" fmla="*/ 1259 w 1322"/>
                <a:gd name="T47" fmla="*/ 640 h 1389"/>
                <a:gd name="T48" fmla="*/ 1256 w 1322"/>
                <a:gd name="T49" fmla="*/ 628 h 1389"/>
                <a:gd name="T50" fmla="*/ 66 w 1322"/>
                <a:gd name="T51" fmla="*/ 66 h 1389"/>
                <a:gd name="T52" fmla="*/ 628 w 1322"/>
                <a:gd name="T53" fmla="*/ 1322 h 1389"/>
                <a:gd name="T54" fmla="*/ 635 w 1322"/>
                <a:gd name="T55" fmla="*/ 1322 h 1389"/>
                <a:gd name="T56" fmla="*/ 646 w 1322"/>
                <a:gd name="T57" fmla="*/ 1328 h 1389"/>
                <a:gd name="T58" fmla="*/ 656 w 1322"/>
                <a:gd name="T59" fmla="*/ 1337 h 1389"/>
                <a:gd name="T60" fmla="*/ 661 w 1322"/>
                <a:gd name="T61" fmla="*/ 1348 h 1389"/>
                <a:gd name="T62" fmla="*/ 661 w 1322"/>
                <a:gd name="T63" fmla="*/ 1356 h 1389"/>
                <a:gd name="T64" fmla="*/ 659 w 1322"/>
                <a:gd name="T65" fmla="*/ 1368 h 1389"/>
                <a:gd name="T66" fmla="*/ 652 w 1322"/>
                <a:gd name="T67" fmla="*/ 1378 h 1389"/>
                <a:gd name="T68" fmla="*/ 641 w 1322"/>
                <a:gd name="T69" fmla="*/ 1386 h 1389"/>
                <a:gd name="T70" fmla="*/ 628 w 1322"/>
                <a:gd name="T71" fmla="*/ 1389 h 1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22" h="1389">
                  <a:moveTo>
                    <a:pt x="628" y="1389"/>
                  </a:moveTo>
                  <a:lnTo>
                    <a:pt x="33" y="1389"/>
                  </a:lnTo>
                  <a:lnTo>
                    <a:pt x="33" y="1389"/>
                  </a:lnTo>
                  <a:lnTo>
                    <a:pt x="27" y="1388"/>
                  </a:lnTo>
                  <a:lnTo>
                    <a:pt x="20" y="1386"/>
                  </a:lnTo>
                  <a:lnTo>
                    <a:pt x="14" y="1382"/>
                  </a:lnTo>
                  <a:lnTo>
                    <a:pt x="10" y="1378"/>
                  </a:lnTo>
                  <a:lnTo>
                    <a:pt x="6" y="1374"/>
                  </a:lnTo>
                  <a:lnTo>
                    <a:pt x="3" y="1368"/>
                  </a:lnTo>
                  <a:lnTo>
                    <a:pt x="1" y="1362"/>
                  </a:lnTo>
                  <a:lnTo>
                    <a:pt x="0" y="1356"/>
                  </a:lnTo>
                  <a:lnTo>
                    <a:pt x="0" y="33"/>
                  </a:lnTo>
                  <a:lnTo>
                    <a:pt x="0" y="33"/>
                  </a:lnTo>
                  <a:lnTo>
                    <a:pt x="1" y="25"/>
                  </a:lnTo>
                  <a:lnTo>
                    <a:pt x="3" y="19"/>
                  </a:lnTo>
                  <a:lnTo>
                    <a:pt x="6" y="14"/>
                  </a:lnTo>
                  <a:lnTo>
                    <a:pt x="10" y="9"/>
                  </a:lnTo>
                  <a:lnTo>
                    <a:pt x="14" y="5"/>
                  </a:lnTo>
                  <a:lnTo>
                    <a:pt x="20" y="2"/>
                  </a:lnTo>
                  <a:lnTo>
                    <a:pt x="27" y="0"/>
                  </a:lnTo>
                  <a:lnTo>
                    <a:pt x="33" y="0"/>
                  </a:lnTo>
                  <a:lnTo>
                    <a:pt x="1289" y="0"/>
                  </a:lnTo>
                  <a:lnTo>
                    <a:pt x="1289" y="0"/>
                  </a:lnTo>
                  <a:lnTo>
                    <a:pt x="1296" y="0"/>
                  </a:lnTo>
                  <a:lnTo>
                    <a:pt x="1303" y="2"/>
                  </a:lnTo>
                  <a:lnTo>
                    <a:pt x="1308" y="5"/>
                  </a:lnTo>
                  <a:lnTo>
                    <a:pt x="1313" y="9"/>
                  </a:lnTo>
                  <a:lnTo>
                    <a:pt x="1317" y="14"/>
                  </a:lnTo>
                  <a:lnTo>
                    <a:pt x="1320" y="19"/>
                  </a:lnTo>
                  <a:lnTo>
                    <a:pt x="1322" y="25"/>
                  </a:lnTo>
                  <a:lnTo>
                    <a:pt x="1322" y="33"/>
                  </a:lnTo>
                  <a:lnTo>
                    <a:pt x="1322" y="628"/>
                  </a:lnTo>
                  <a:lnTo>
                    <a:pt x="1322" y="628"/>
                  </a:lnTo>
                  <a:lnTo>
                    <a:pt x="1322" y="634"/>
                  </a:lnTo>
                  <a:lnTo>
                    <a:pt x="1320" y="640"/>
                  </a:lnTo>
                  <a:lnTo>
                    <a:pt x="1317" y="647"/>
                  </a:lnTo>
                  <a:lnTo>
                    <a:pt x="1313" y="651"/>
                  </a:lnTo>
                  <a:lnTo>
                    <a:pt x="1308" y="655"/>
                  </a:lnTo>
                  <a:lnTo>
                    <a:pt x="1303" y="658"/>
                  </a:lnTo>
                  <a:lnTo>
                    <a:pt x="1296" y="660"/>
                  </a:lnTo>
                  <a:lnTo>
                    <a:pt x="1289" y="661"/>
                  </a:lnTo>
                  <a:lnTo>
                    <a:pt x="1289" y="661"/>
                  </a:lnTo>
                  <a:lnTo>
                    <a:pt x="1283" y="660"/>
                  </a:lnTo>
                  <a:lnTo>
                    <a:pt x="1277" y="658"/>
                  </a:lnTo>
                  <a:lnTo>
                    <a:pt x="1270" y="655"/>
                  </a:lnTo>
                  <a:lnTo>
                    <a:pt x="1266" y="651"/>
                  </a:lnTo>
                  <a:lnTo>
                    <a:pt x="1262" y="647"/>
                  </a:lnTo>
                  <a:lnTo>
                    <a:pt x="1259" y="640"/>
                  </a:lnTo>
                  <a:lnTo>
                    <a:pt x="1257" y="634"/>
                  </a:lnTo>
                  <a:lnTo>
                    <a:pt x="1256" y="628"/>
                  </a:lnTo>
                  <a:lnTo>
                    <a:pt x="1256" y="66"/>
                  </a:lnTo>
                  <a:lnTo>
                    <a:pt x="66" y="66"/>
                  </a:lnTo>
                  <a:lnTo>
                    <a:pt x="66" y="1322"/>
                  </a:lnTo>
                  <a:lnTo>
                    <a:pt x="628" y="1322"/>
                  </a:lnTo>
                  <a:lnTo>
                    <a:pt x="628" y="1322"/>
                  </a:lnTo>
                  <a:lnTo>
                    <a:pt x="635" y="1322"/>
                  </a:lnTo>
                  <a:lnTo>
                    <a:pt x="641" y="1325"/>
                  </a:lnTo>
                  <a:lnTo>
                    <a:pt x="646" y="1328"/>
                  </a:lnTo>
                  <a:lnTo>
                    <a:pt x="652" y="1332"/>
                  </a:lnTo>
                  <a:lnTo>
                    <a:pt x="656" y="1337"/>
                  </a:lnTo>
                  <a:lnTo>
                    <a:pt x="659" y="1342"/>
                  </a:lnTo>
                  <a:lnTo>
                    <a:pt x="661" y="1348"/>
                  </a:lnTo>
                  <a:lnTo>
                    <a:pt x="661" y="1356"/>
                  </a:lnTo>
                  <a:lnTo>
                    <a:pt x="661" y="1356"/>
                  </a:lnTo>
                  <a:lnTo>
                    <a:pt x="661" y="1362"/>
                  </a:lnTo>
                  <a:lnTo>
                    <a:pt x="659" y="1368"/>
                  </a:lnTo>
                  <a:lnTo>
                    <a:pt x="656" y="1374"/>
                  </a:lnTo>
                  <a:lnTo>
                    <a:pt x="652" y="1378"/>
                  </a:lnTo>
                  <a:lnTo>
                    <a:pt x="646" y="1382"/>
                  </a:lnTo>
                  <a:lnTo>
                    <a:pt x="641" y="1386"/>
                  </a:lnTo>
                  <a:lnTo>
                    <a:pt x="635" y="1388"/>
                  </a:lnTo>
                  <a:lnTo>
                    <a:pt x="628" y="1389"/>
                  </a:lnTo>
                  <a:lnTo>
                    <a:pt x="628" y="1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1" name="Freeform 197">
              <a:extLst>
                <a:ext uri="{FF2B5EF4-FFF2-40B4-BE49-F238E27FC236}">
                  <a16:creationId xmlns:a16="http://schemas.microsoft.com/office/drawing/2014/main" id="{CB8208CE-B576-4BB5-9679-5869DF896946}"/>
                </a:ext>
              </a:extLst>
            </p:cNvPr>
            <p:cNvSpPr>
              <a:spLocks/>
            </p:cNvSpPr>
            <p:nvPr/>
          </p:nvSpPr>
          <p:spPr bwMode="auto">
            <a:xfrm>
              <a:off x="7227888" y="3249613"/>
              <a:ext cx="15875" cy="36513"/>
            </a:xfrm>
            <a:custGeom>
              <a:avLst/>
              <a:gdLst>
                <a:gd name="T0" fmla="*/ 33 w 66"/>
                <a:gd name="T1" fmla="*/ 164 h 164"/>
                <a:gd name="T2" fmla="*/ 33 w 66"/>
                <a:gd name="T3" fmla="*/ 164 h 164"/>
                <a:gd name="T4" fmla="*/ 26 w 66"/>
                <a:gd name="T5" fmla="*/ 164 h 164"/>
                <a:gd name="T6" fmla="*/ 20 w 66"/>
                <a:gd name="T7" fmla="*/ 162 h 164"/>
                <a:gd name="T8" fmla="*/ 15 w 66"/>
                <a:gd name="T9" fmla="*/ 159 h 164"/>
                <a:gd name="T10" fmla="*/ 10 w 66"/>
                <a:gd name="T11" fmla="*/ 155 h 164"/>
                <a:gd name="T12" fmla="*/ 5 w 66"/>
                <a:gd name="T13" fmla="*/ 150 h 164"/>
                <a:gd name="T14" fmla="*/ 2 w 66"/>
                <a:gd name="T15" fmla="*/ 145 h 164"/>
                <a:gd name="T16" fmla="*/ 0 w 66"/>
                <a:gd name="T17" fmla="*/ 138 h 164"/>
                <a:gd name="T18" fmla="*/ 0 w 66"/>
                <a:gd name="T19" fmla="*/ 132 h 164"/>
                <a:gd name="T20" fmla="*/ 0 w 66"/>
                <a:gd name="T21" fmla="*/ 33 h 164"/>
                <a:gd name="T22" fmla="*/ 0 w 66"/>
                <a:gd name="T23" fmla="*/ 33 h 164"/>
                <a:gd name="T24" fmla="*/ 0 w 66"/>
                <a:gd name="T25" fmla="*/ 25 h 164"/>
                <a:gd name="T26" fmla="*/ 2 w 66"/>
                <a:gd name="T27" fmla="*/ 19 h 164"/>
                <a:gd name="T28" fmla="*/ 5 w 66"/>
                <a:gd name="T29" fmla="*/ 14 h 164"/>
                <a:gd name="T30" fmla="*/ 10 w 66"/>
                <a:gd name="T31" fmla="*/ 9 h 164"/>
                <a:gd name="T32" fmla="*/ 15 w 66"/>
                <a:gd name="T33" fmla="*/ 5 h 164"/>
                <a:gd name="T34" fmla="*/ 20 w 66"/>
                <a:gd name="T35" fmla="*/ 2 h 164"/>
                <a:gd name="T36" fmla="*/ 26 w 66"/>
                <a:gd name="T37" fmla="*/ 0 h 164"/>
                <a:gd name="T38" fmla="*/ 33 w 66"/>
                <a:gd name="T39" fmla="*/ 0 h 164"/>
                <a:gd name="T40" fmla="*/ 33 w 66"/>
                <a:gd name="T41" fmla="*/ 0 h 164"/>
                <a:gd name="T42" fmla="*/ 40 w 66"/>
                <a:gd name="T43" fmla="*/ 0 h 164"/>
                <a:gd name="T44" fmla="*/ 46 w 66"/>
                <a:gd name="T45" fmla="*/ 2 h 164"/>
                <a:gd name="T46" fmla="*/ 51 w 66"/>
                <a:gd name="T47" fmla="*/ 5 h 164"/>
                <a:gd name="T48" fmla="*/ 56 w 66"/>
                <a:gd name="T49" fmla="*/ 9 h 164"/>
                <a:gd name="T50" fmla="*/ 60 w 66"/>
                <a:gd name="T51" fmla="*/ 14 h 164"/>
                <a:gd name="T52" fmla="*/ 63 w 66"/>
                <a:gd name="T53" fmla="*/ 19 h 164"/>
                <a:gd name="T54" fmla="*/ 65 w 66"/>
                <a:gd name="T55" fmla="*/ 25 h 164"/>
                <a:gd name="T56" fmla="*/ 66 w 66"/>
                <a:gd name="T57" fmla="*/ 33 h 164"/>
                <a:gd name="T58" fmla="*/ 66 w 66"/>
                <a:gd name="T59" fmla="*/ 132 h 164"/>
                <a:gd name="T60" fmla="*/ 66 w 66"/>
                <a:gd name="T61" fmla="*/ 132 h 164"/>
                <a:gd name="T62" fmla="*/ 65 w 66"/>
                <a:gd name="T63" fmla="*/ 138 h 164"/>
                <a:gd name="T64" fmla="*/ 63 w 66"/>
                <a:gd name="T65" fmla="*/ 145 h 164"/>
                <a:gd name="T66" fmla="*/ 60 w 66"/>
                <a:gd name="T67" fmla="*/ 150 h 164"/>
                <a:gd name="T68" fmla="*/ 56 w 66"/>
                <a:gd name="T69" fmla="*/ 155 h 164"/>
                <a:gd name="T70" fmla="*/ 51 w 66"/>
                <a:gd name="T71" fmla="*/ 159 h 164"/>
                <a:gd name="T72" fmla="*/ 46 w 66"/>
                <a:gd name="T73" fmla="*/ 162 h 164"/>
                <a:gd name="T74" fmla="*/ 40 w 66"/>
                <a:gd name="T75" fmla="*/ 164 h 164"/>
                <a:gd name="T76" fmla="*/ 33 w 66"/>
                <a:gd name="T77" fmla="*/ 164 h 164"/>
                <a:gd name="T78" fmla="*/ 33 w 66"/>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64">
                  <a:moveTo>
                    <a:pt x="33" y="164"/>
                  </a:moveTo>
                  <a:lnTo>
                    <a:pt x="33" y="164"/>
                  </a:lnTo>
                  <a:lnTo>
                    <a:pt x="26" y="164"/>
                  </a:lnTo>
                  <a:lnTo>
                    <a:pt x="20" y="162"/>
                  </a:lnTo>
                  <a:lnTo>
                    <a:pt x="15" y="159"/>
                  </a:lnTo>
                  <a:lnTo>
                    <a:pt x="10" y="155"/>
                  </a:lnTo>
                  <a:lnTo>
                    <a:pt x="5" y="150"/>
                  </a:lnTo>
                  <a:lnTo>
                    <a:pt x="2" y="145"/>
                  </a:lnTo>
                  <a:lnTo>
                    <a:pt x="0" y="138"/>
                  </a:lnTo>
                  <a:lnTo>
                    <a:pt x="0" y="132"/>
                  </a:lnTo>
                  <a:lnTo>
                    <a:pt x="0" y="33"/>
                  </a:lnTo>
                  <a:lnTo>
                    <a:pt x="0" y="33"/>
                  </a:lnTo>
                  <a:lnTo>
                    <a:pt x="0" y="25"/>
                  </a:lnTo>
                  <a:lnTo>
                    <a:pt x="2" y="19"/>
                  </a:lnTo>
                  <a:lnTo>
                    <a:pt x="5" y="14"/>
                  </a:lnTo>
                  <a:lnTo>
                    <a:pt x="10" y="9"/>
                  </a:lnTo>
                  <a:lnTo>
                    <a:pt x="15" y="5"/>
                  </a:lnTo>
                  <a:lnTo>
                    <a:pt x="20" y="2"/>
                  </a:lnTo>
                  <a:lnTo>
                    <a:pt x="26" y="0"/>
                  </a:lnTo>
                  <a:lnTo>
                    <a:pt x="33" y="0"/>
                  </a:lnTo>
                  <a:lnTo>
                    <a:pt x="33" y="0"/>
                  </a:lnTo>
                  <a:lnTo>
                    <a:pt x="40" y="0"/>
                  </a:lnTo>
                  <a:lnTo>
                    <a:pt x="46" y="2"/>
                  </a:lnTo>
                  <a:lnTo>
                    <a:pt x="51" y="5"/>
                  </a:lnTo>
                  <a:lnTo>
                    <a:pt x="56" y="9"/>
                  </a:lnTo>
                  <a:lnTo>
                    <a:pt x="60" y="14"/>
                  </a:lnTo>
                  <a:lnTo>
                    <a:pt x="63" y="19"/>
                  </a:lnTo>
                  <a:lnTo>
                    <a:pt x="65" y="25"/>
                  </a:lnTo>
                  <a:lnTo>
                    <a:pt x="66" y="33"/>
                  </a:lnTo>
                  <a:lnTo>
                    <a:pt x="66" y="132"/>
                  </a:lnTo>
                  <a:lnTo>
                    <a:pt x="66" y="132"/>
                  </a:lnTo>
                  <a:lnTo>
                    <a:pt x="65" y="138"/>
                  </a:lnTo>
                  <a:lnTo>
                    <a:pt x="63" y="145"/>
                  </a:lnTo>
                  <a:lnTo>
                    <a:pt x="60" y="150"/>
                  </a:lnTo>
                  <a:lnTo>
                    <a:pt x="56" y="155"/>
                  </a:lnTo>
                  <a:lnTo>
                    <a:pt x="51" y="159"/>
                  </a:lnTo>
                  <a:lnTo>
                    <a:pt x="46" y="162"/>
                  </a:lnTo>
                  <a:lnTo>
                    <a:pt x="40" y="164"/>
                  </a:lnTo>
                  <a:lnTo>
                    <a:pt x="33" y="164"/>
                  </a:lnTo>
                  <a:lnTo>
                    <a:pt x="3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2" name="Freeform 198">
              <a:extLst>
                <a:ext uri="{FF2B5EF4-FFF2-40B4-BE49-F238E27FC236}">
                  <a16:creationId xmlns:a16="http://schemas.microsoft.com/office/drawing/2014/main" id="{7DC7A4F5-4515-40D9-AB2E-ECAF88B14412}"/>
                </a:ext>
              </a:extLst>
            </p:cNvPr>
            <p:cNvSpPr>
              <a:spLocks/>
            </p:cNvSpPr>
            <p:nvPr/>
          </p:nvSpPr>
          <p:spPr bwMode="auto">
            <a:xfrm>
              <a:off x="7167563" y="3249613"/>
              <a:ext cx="15875" cy="36513"/>
            </a:xfrm>
            <a:custGeom>
              <a:avLst/>
              <a:gdLst>
                <a:gd name="T0" fmla="*/ 33 w 67"/>
                <a:gd name="T1" fmla="*/ 164 h 164"/>
                <a:gd name="T2" fmla="*/ 33 w 67"/>
                <a:gd name="T3" fmla="*/ 164 h 164"/>
                <a:gd name="T4" fmla="*/ 27 w 67"/>
                <a:gd name="T5" fmla="*/ 164 h 164"/>
                <a:gd name="T6" fmla="*/ 21 w 67"/>
                <a:gd name="T7" fmla="*/ 162 h 164"/>
                <a:gd name="T8" fmla="*/ 15 w 67"/>
                <a:gd name="T9" fmla="*/ 159 h 164"/>
                <a:gd name="T10" fmla="*/ 10 w 67"/>
                <a:gd name="T11" fmla="*/ 155 h 164"/>
                <a:gd name="T12" fmla="*/ 7 w 67"/>
                <a:gd name="T13" fmla="*/ 150 h 164"/>
                <a:gd name="T14" fmla="*/ 3 w 67"/>
                <a:gd name="T15" fmla="*/ 145 h 164"/>
                <a:gd name="T16" fmla="*/ 1 w 67"/>
                <a:gd name="T17" fmla="*/ 138 h 164"/>
                <a:gd name="T18" fmla="*/ 0 w 67"/>
                <a:gd name="T19" fmla="*/ 132 h 164"/>
                <a:gd name="T20" fmla="*/ 0 w 67"/>
                <a:gd name="T21" fmla="*/ 33 h 164"/>
                <a:gd name="T22" fmla="*/ 0 w 67"/>
                <a:gd name="T23" fmla="*/ 33 h 164"/>
                <a:gd name="T24" fmla="*/ 1 w 67"/>
                <a:gd name="T25" fmla="*/ 25 h 164"/>
                <a:gd name="T26" fmla="*/ 3 w 67"/>
                <a:gd name="T27" fmla="*/ 19 h 164"/>
                <a:gd name="T28" fmla="*/ 7 w 67"/>
                <a:gd name="T29" fmla="*/ 14 h 164"/>
                <a:gd name="T30" fmla="*/ 10 w 67"/>
                <a:gd name="T31" fmla="*/ 9 h 164"/>
                <a:gd name="T32" fmla="*/ 15 w 67"/>
                <a:gd name="T33" fmla="*/ 5 h 164"/>
                <a:gd name="T34" fmla="*/ 21 w 67"/>
                <a:gd name="T35" fmla="*/ 2 h 164"/>
                <a:gd name="T36" fmla="*/ 27 w 67"/>
                <a:gd name="T37" fmla="*/ 0 h 164"/>
                <a:gd name="T38" fmla="*/ 33 w 67"/>
                <a:gd name="T39" fmla="*/ 0 h 164"/>
                <a:gd name="T40" fmla="*/ 33 w 67"/>
                <a:gd name="T41" fmla="*/ 0 h 164"/>
                <a:gd name="T42" fmla="*/ 40 w 67"/>
                <a:gd name="T43" fmla="*/ 0 h 164"/>
                <a:gd name="T44" fmla="*/ 46 w 67"/>
                <a:gd name="T45" fmla="*/ 2 h 164"/>
                <a:gd name="T46" fmla="*/ 52 w 67"/>
                <a:gd name="T47" fmla="*/ 5 h 164"/>
                <a:gd name="T48" fmla="*/ 57 w 67"/>
                <a:gd name="T49" fmla="*/ 9 h 164"/>
                <a:gd name="T50" fmla="*/ 60 w 67"/>
                <a:gd name="T51" fmla="*/ 14 h 164"/>
                <a:gd name="T52" fmla="*/ 63 w 67"/>
                <a:gd name="T53" fmla="*/ 19 h 164"/>
                <a:gd name="T54" fmla="*/ 66 w 67"/>
                <a:gd name="T55" fmla="*/ 25 h 164"/>
                <a:gd name="T56" fmla="*/ 67 w 67"/>
                <a:gd name="T57" fmla="*/ 33 h 164"/>
                <a:gd name="T58" fmla="*/ 67 w 67"/>
                <a:gd name="T59" fmla="*/ 132 h 164"/>
                <a:gd name="T60" fmla="*/ 67 w 67"/>
                <a:gd name="T61" fmla="*/ 132 h 164"/>
                <a:gd name="T62" fmla="*/ 66 w 67"/>
                <a:gd name="T63" fmla="*/ 138 h 164"/>
                <a:gd name="T64" fmla="*/ 63 w 67"/>
                <a:gd name="T65" fmla="*/ 145 h 164"/>
                <a:gd name="T66" fmla="*/ 60 w 67"/>
                <a:gd name="T67" fmla="*/ 150 h 164"/>
                <a:gd name="T68" fmla="*/ 57 w 67"/>
                <a:gd name="T69" fmla="*/ 155 h 164"/>
                <a:gd name="T70" fmla="*/ 52 w 67"/>
                <a:gd name="T71" fmla="*/ 159 h 164"/>
                <a:gd name="T72" fmla="*/ 46 w 67"/>
                <a:gd name="T73" fmla="*/ 162 h 164"/>
                <a:gd name="T74" fmla="*/ 40 w 67"/>
                <a:gd name="T75" fmla="*/ 164 h 164"/>
                <a:gd name="T76" fmla="*/ 33 w 67"/>
                <a:gd name="T77" fmla="*/ 164 h 164"/>
                <a:gd name="T78" fmla="*/ 33 w 67"/>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 h="164">
                  <a:moveTo>
                    <a:pt x="33" y="164"/>
                  </a:moveTo>
                  <a:lnTo>
                    <a:pt x="33" y="164"/>
                  </a:lnTo>
                  <a:lnTo>
                    <a:pt x="27" y="164"/>
                  </a:lnTo>
                  <a:lnTo>
                    <a:pt x="21" y="162"/>
                  </a:lnTo>
                  <a:lnTo>
                    <a:pt x="15" y="159"/>
                  </a:lnTo>
                  <a:lnTo>
                    <a:pt x="10" y="155"/>
                  </a:lnTo>
                  <a:lnTo>
                    <a:pt x="7" y="150"/>
                  </a:lnTo>
                  <a:lnTo>
                    <a:pt x="3" y="145"/>
                  </a:lnTo>
                  <a:lnTo>
                    <a:pt x="1" y="138"/>
                  </a:lnTo>
                  <a:lnTo>
                    <a:pt x="0" y="132"/>
                  </a:lnTo>
                  <a:lnTo>
                    <a:pt x="0" y="33"/>
                  </a:lnTo>
                  <a:lnTo>
                    <a:pt x="0" y="33"/>
                  </a:lnTo>
                  <a:lnTo>
                    <a:pt x="1" y="25"/>
                  </a:lnTo>
                  <a:lnTo>
                    <a:pt x="3" y="19"/>
                  </a:lnTo>
                  <a:lnTo>
                    <a:pt x="7" y="14"/>
                  </a:lnTo>
                  <a:lnTo>
                    <a:pt x="10" y="9"/>
                  </a:lnTo>
                  <a:lnTo>
                    <a:pt x="15" y="5"/>
                  </a:lnTo>
                  <a:lnTo>
                    <a:pt x="21" y="2"/>
                  </a:lnTo>
                  <a:lnTo>
                    <a:pt x="27" y="0"/>
                  </a:lnTo>
                  <a:lnTo>
                    <a:pt x="33" y="0"/>
                  </a:lnTo>
                  <a:lnTo>
                    <a:pt x="33" y="0"/>
                  </a:lnTo>
                  <a:lnTo>
                    <a:pt x="40" y="0"/>
                  </a:lnTo>
                  <a:lnTo>
                    <a:pt x="46" y="2"/>
                  </a:lnTo>
                  <a:lnTo>
                    <a:pt x="52" y="5"/>
                  </a:lnTo>
                  <a:lnTo>
                    <a:pt x="57" y="9"/>
                  </a:lnTo>
                  <a:lnTo>
                    <a:pt x="60" y="14"/>
                  </a:lnTo>
                  <a:lnTo>
                    <a:pt x="63" y="19"/>
                  </a:lnTo>
                  <a:lnTo>
                    <a:pt x="66" y="25"/>
                  </a:lnTo>
                  <a:lnTo>
                    <a:pt x="67" y="33"/>
                  </a:lnTo>
                  <a:lnTo>
                    <a:pt x="67" y="132"/>
                  </a:lnTo>
                  <a:lnTo>
                    <a:pt x="67" y="132"/>
                  </a:lnTo>
                  <a:lnTo>
                    <a:pt x="66" y="138"/>
                  </a:lnTo>
                  <a:lnTo>
                    <a:pt x="63" y="145"/>
                  </a:lnTo>
                  <a:lnTo>
                    <a:pt x="60" y="150"/>
                  </a:lnTo>
                  <a:lnTo>
                    <a:pt x="57" y="155"/>
                  </a:lnTo>
                  <a:lnTo>
                    <a:pt x="52" y="159"/>
                  </a:lnTo>
                  <a:lnTo>
                    <a:pt x="46" y="162"/>
                  </a:lnTo>
                  <a:lnTo>
                    <a:pt x="40" y="164"/>
                  </a:lnTo>
                  <a:lnTo>
                    <a:pt x="33" y="164"/>
                  </a:lnTo>
                  <a:lnTo>
                    <a:pt x="3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Freeform 199">
              <a:extLst>
                <a:ext uri="{FF2B5EF4-FFF2-40B4-BE49-F238E27FC236}">
                  <a16:creationId xmlns:a16="http://schemas.microsoft.com/office/drawing/2014/main" id="{1D8A57BD-2361-4E0A-B4E6-CEF07A896FBC}"/>
                </a:ext>
              </a:extLst>
            </p:cNvPr>
            <p:cNvSpPr>
              <a:spLocks/>
            </p:cNvSpPr>
            <p:nvPr/>
          </p:nvSpPr>
          <p:spPr bwMode="auto">
            <a:xfrm>
              <a:off x="7108825" y="3249613"/>
              <a:ext cx="14288" cy="36513"/>
            </a:xfrm>
            <a:custGeom>
              <a:avLst/>
              <a:gdLst>
                <a:gd name="T0" fmla="*/ 33 w 67"/>
                <a:gd name="T1" fmla="*/ 164 h 164"/>
                <a:gd name="T2" fmla="*/ 33 w 67"/>
                <a:gd name="T3" fmla="*/ 164 h 164"/>
                <a:gd name="T4" fmla="*/ 27 w 67"/>
                <a:gd name="T5" fmla="*/ 164 h 164"/>
                <a:gd name="T6" fmla="*/ 21 w 67"/>
                <a:gd name="T7" fmla="*/ 162 h 164"/>
                <a:gd name="T8" fmla="*/ 16 w 67"/>
                <a:gd name="T9" fmla="*/ 159 h 164"/>
                <a:gd name="T10" fmla="*/ 11 w 67"/>
                <a:gd name="T11" fmla="*/ 155 h 164"/>
                <a:gd name="T12" fmla="*/ 7 w 67"/>
                <a:gd name="T13" fmla="*/ 150 h 164"/>
                <a:gd name="T14" fmla="*/ 3 w 67"/>
                <a:gd name="T15" fmla="*/ 145 h 164"/>
                <a:gd name="T16" fmla="*/ 1 w 67"/>
                <a:gd name="T17" fmla="*/ 138 h 164"/>
                <a:gd name="T18" fmla="*/ 0 w 67"/>
                <a:gd name="T19" fmla="*/ 132 h 164"/>
                <a:gd name="T20" fmla="*/ 0 w 67"/>
                <a:gd name="T21" fmla="*/ 33 h 164"/>
                <a:gd name="T22" fmla="*/ 0 w 67"/>
                <a:gd name="T23" fmla="*/ 33 h 164"/>
                <a:gd name="T24" fmla="*/ 1 w 67"/>
                <a:gd name="T25" fmla="*/ 25 h 164"/>
                <a:gd name="T26" fmla="*/ 3 w 67"/>
                <a:gd name="T27" fmla="*/ 19 h 164"/>
                <a:gd name="T28" fmla="*/ 7 w 67"/>
                <a:gd name="T29" fmla="*/ 14 h 164"/>
                <a:gd name="T30" fmla="*/ 11 w 67"/>
                <a:gd name="T31" fmla="*/ 9 h 164"/>
                <a:gd name="T32" fmla="*/ 16 w 67"/>
                <a:gd name="T33" fmla="*/ 5 h 164"/>
                <a:gd name="T34" fmla="*/ 21 w 67"/>
                <a:gd name="T35" fmla="*/ 2 h 164"/>
                <a:gd name="T36" fmla="*/ 27 w 67"/>
                <a:gd name="T37" fmla="*/ 0 h 164"/>
                <a:gd name="T38" fmla="*/ 33 w 67"/>
                <a:gd name="T39" fmla="*/ 0 h 164"/>
                <a:gd name="T40" fmla="*/ 33 w 67"/>
                <a:gd name="T41" fmla="*/ 0 h 164"/>
                <a:gd name="T42" fmla="*/ 41 w 67"/>
                <a:gd name="T43" fmla="*/ 0 h 164"/>
                <a:gd name="T44" fmla="*/ 47 w 67"/>
                <a:gd name="T45" fmla="*/ 2 h 164"/>
                <a:gd name="T46" fmla="*/ 52 w 67"/>
                <a:gd name="T47" fmla="*/ 5 h 164"/>
                <a:gd name="T48" fmla="*/ 57 w 67"/>
                <a:gd name="T49" fmla="*/ 9 h 164"/>
                <a:gd name="T50" fmla="*/ 61 w 67"/>
                <a:gd name="T51" fmla="*/ 14 h 164"/>
                <a:gd name="T52" fmla="*/ 65 w 67"/>
                <a:gd name="T53" fmla="*/ 19 h 164"/>
                <a:gd name="T54" fmla="*/ 67 w 67"/>
                <a:gd name="T55" fmla="*/ 25 h 164"/>
                <a:gd name="T56" fmla="*/ 67 w 67"/>
                <a:gd name="T57" fmla="*/ 33 h 164"/>
                <a:gd name="T58" fmla="*/ 67 w 67"/>
                <a:gd name="T59" fmla="*/ 132 h 164"/>
                <a:gd name="T60" fmla="*/ 67 w 67"/>
                <a:gd name="T61" fmla="*/ 132 h 164"/>
                <a:gd name="T62" fmla="*/ 67 w 67"/>
                <a:gd name="T63" fmla="*/ 138 h 164"/>
                <a:gd name="T64" fmla="*/ 65 w 67"/>
                <a:gd name="T65" fmla="*/ 145 h 164"/>
                <a:gd name="T66" fmla="*/ 61 w 67"/>
                <a:gd name="T67" fmla="*/ 150 h 164"/>
                <a:gd name="T68" fmla="*/ 57 w 67"/>
                <a:gd name="T69" fmla="*/ 155 h 164"/>
                <a:gd name="T70" fmla="*/ 52 w 67"/>
                <a:gd name="T71" fmla="*/ 159 h 164"/>
                <a:gd name="T72" fmla="*/ 47 w 67"/>
                <a:gd name="T73" fmla="*/ 162 h 164"/>
                <a:gd name="T74" fmla="*/ 41 w 67"/>
                <a:gd name="T75" fmla="*/ 164 h 164"/>
                <a:gd name="T76" fmla="*/ 33 w 67"/>
                <a:gd name="T77" fmla="*/ 164 h 164"/>
                <a:gd name="T78" fmla="*/ 33 w 67"/>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 h="164">
                  <a:moveTo>
                    <a:pt x="33" y="164"/>
                  </a:moveTo>
                  <a:lnTo>
                    <a:pt x="33" y="164"/>
                  </a:lnTo>
                  <a:lnTo>
                    <a:pt x="27" y="164"/>
                  </a:lnTo>
                  <a:lnTo>
                    <a:pt x="21" y="162"/>
                  </a:lnTo>
                  <a:lnTo>
                    <a:pt x="16" y="159"/>
                  </a:lnTo>
                  <a:lnTo>
                    <a:pt x="11" y="155"/>
                  </a:lnTo>
                  <a:lnTo>
                    <a:pt x="7" y="150"/>
                  </a:lnTo>
                  <a:lnTo>
                    <a:pt x="3" y="145"/>
                  </a:lnTo>
                  <a:lnTo>
                    <a:pt x="1" y="138"/>
                  </a:lnTo>
                  <a:lnTo>
                    <a:pt x="0" y="132"/>
                  </a:lnTo>
                  <a:lnTo>
                    <a:pt x="0" y="33"/>
                  </a:lnTo>
                  <a:lnTo>
                    <a:pt x="0" y="33"/>
                  </a:lnTo>
                  <a:lnTo>
                    <a:pt x="1" y="25"/>
                  </a:lnTo>
                  <a:lnTo>
                    <a:pt x="3" y="19"/>
                  </a:lnTo>
                  <a:lnTo>
                    <a:pt x="7" y="14"/>
                  </a:lnTo>
                  <a:lnTo>
                    <a:pt x="11" y="9"/>
                  </a:lnTo>
                  <a:lnTo>
                    <a:pt x="16" y="5"/>
                  </a:lnTo>
                  <a:lnTo>
                    <a:pt x="21" y="2"/>
                  </a:lnTo>
                  <a:lnTo>
                    <a:pt x="27" y="0"/>
                  </a:lnTo>
                  <a:lnTo>
                    <a:pt x="33" y="0"/>
                  </a:lnTo>
                  <a:lnTo>
                    <a:pt x="33" y="0"/>
                  </a:lnTo>
                  <a:lnTo>
                    <a:pt x="41" y="0"/>
                  </a:lnTo>
                  <a:lnTo>
                    <a:pt x="47" y="2"/>
                  </a:lnTo>
                  <a:lnTo>
                    <a:pt x="52" y="5"/>
                  </a:lnTo>
                  <a:lnTo>
                    <a:pt x="57" y="9"/>
                  </a:lnTo>
                  <a:lnTo>
                    <a:pt x="61" y="14"/>
                  </a:lnTo>
                  <a:lnTo>
                    <a:pt x="65" y="19"/>
                  </a:lnTo>
                  <a:lnTo>
                    <a:pt x="67" y="25"/>
                  </a:lnTo>
                  <a:lnTo>
                    <a:pt x="67" y="33"/>
                  </a:lnTo>
                  <a:lnTo>
                    <a:pt x="67" y="132"/>
                  </a:lnTo>
                  <a:lnTo>
                    <a:pt x="67" y="132"/>
                  </a:lnTo>
                  <a:lnTo>
                    <a:pt x="67" y="138"/>
                  </a:lnTo>
                  <a:lnTo>
                    <a:pt x="65" y="145"/>
                  </a:lnTo>
                  <a:lnTo>
                    <a:pt x="61" y="150"/>
                  </a:lnTo>
                  <a:lnTo>
                    <a:pt x="57" y="155"/>
                  </a:lnTo>
                  <a:lnTo>
                    <a:pt x="52" y="159"/>
                  </a:lnTo>
                  <a:lnTo>
                    <a:pt x="47" y="162"/>
                  </a:lnTo>
                  <a:lnTo>
                    <a:pt x="41" y="164"/>
                  </a:lnTo>
                  <a:lnTo>
                    <a:pt x="33" y="164"/>
                  </a:lnTo>
                  <a:lnTo>
                    <a:pt x="3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Freeform 200">
              <a:extLst>
                <a:ext uri="{FF2B5EF4-FFF2-40B4-BE49-F238E27FC236}">
                  <a16:creationId xmlns:a16="http://schemas.microsoft.com/office/drawing/2014/main" id="{9BD5198A-2944-4218-BD0C-E91222D4E873}"/>
                </a:ext>
              </a:extLst>
            </p:cNvPr>
            <p:cNvSpPr>
              <a:spLocks/>
            </p:cNvSpPr>
            <p:nvPr/>
          </p:nvSpPr>
          <p:spPr bwMode="auto">
            <a:xfrm>
              <a:off x="7048500" y="3249613"/>
              <a:ext cx="14288" cy="36513"/>
            </a:xfrm>
            <a:custGeom>
              <a:avLst/>
              <a:gdLst>
                <a:gd name="T0" fmla="*/ 34 w 67"/>
                <a:gd name="T1" fmla="*/ 164 h 164"/>
                <a:gd name="T2" fmla="*/ 34 w 67"/>
                <a:gd name="T3" fmla="*/ 164 h 164"/>
                <a:gd name="T4" fmla="*/ 26 w 67"/>
                <a:gd name="T5" fmla="*/ 164 h 164"/>
                <a:gd name="T6" fmla="*/ 20 w 67"/>
                <a:gd name="T7" fmla="*/ 162 h 164"/>
                <a:gd name="T8" fmla="*/ 15 w 67"/>
                <a:gd name="T9" fmla="*/ 159 h 164"/>
                <a:gd name="T10" fmla="*/ 10 w 67"/>
                <a:gd name="T11" fmla="*/ 155 h 164"/>
                <a:gd name="T12" fmla="*/ 6 w 67"/>
                <a:gd name="T13" fmla="*/ 150 h 164"/>
                <a:gd name="T14" fmla="*/ 3 w 67"/>
                <a:gd name="T15" fmla="*/ 145 h 164"/>
                <a:gd name="T16" fmla="*/ 0 w 67"/>
                <a:gd name="T17" fmla="*/ 138 h 164"/>
                <a:gd name="T18" fmla="*/ 0 w 67"/>
                <a:gd name="T19" fmla="*/ 132 h 164"/>
                <a:gd name="T20" fmla="*/ 0 w 67"/>
                <a:gd name="T21" fmla="*/ 33 h 164"/>
                <a:gd name="T22" fmla="*/ 0 w 67"/>
                <a:gd name="T23" fmla="*/ 33 h 164"/>
                <a:gd name="T24" fmla="*/ 0 w 67"/>
                <a:gd name="T25" fmla="*/ 25 h 164"/>
                <a:gd name="T26" fmla="*/ 3 w 67"/>
                <a:gd name="T27" fmla="*/ 19 h 164"/>
                <a:gd name="T28" fmla="*/ 6 w 67"/>
                <a:gd name="T29" fmla="*/ 14 h 164"/>
                <a:gd name="T30" fmla="*/ 10 w 67"/>
                <a:gd name="T31" fmla="*/ 9 h 164"/>
                <a:gd name="T32" fmla="*/ 15 w 67"/>
                <a:gd name="T33" fmla="*/ 5 h 164"/>
                <a:gd name="T34" fmla="*/ 20 w 67"/>
                <a:gd name="T35" fmla="*/ 2 h 164"/>
                <a:gd name="T36" fmla="*/ 26 w 67"/>
                <a:gd name="T37" fmla="*/ 0 h 164"/>
                <a:gd name="T38" fmla="*/ 34 w 67"/>
                <a:gd name="T39" fmla="*/ 0 h 164"/>
                <a:gd name="T40" fmla="*/ 34 w 67"/>
                <a:gd name="T41" fmla="*/ 0 h 164"/>
                <a:gd name="T42" fmla="*/ 40 w 67"/>
                <a:gd name="T43" fmla="*/ 0 h 164"/>
                <a:gd name="T44" fmla="*/ 46 w 67"/>
                <a:gd name="T45" fmla="*/ 2 h 164"/>
                <a:gd name="T46" fmla="*/ 52 w 67"/>
                <a:gd name="T47" fmla="*/ 5 h 164"/>
                <a:gd name="T48" fmla="*/ 56 w 67"/>
                <a:gd name="T49" fmla="*/ 9 h 164"/>
                <a:gd name="T50" fmla="*/ 61 w 67"/>
                <a:gd name="T51" fmla="*/ 14 h 164"/>
                <a:gd name="T52" fmla="*/ 64 w 67"/>
                <a:gd name="T53" fmla="*/ 19 h 164"/>
                <a:gd name="T54" fmla="*/ 66 w 67"/>
                <a:gd name="T55" fmla="*/ 25 h 164"/>
                <a:gd name="T56" fmla="*/ 67 w 67"/>
                <a:gd name="T57" fmla="*/ 33 h 164"/>
                <a:gd name="T58" fmla="*/ 67 w 67"/>
                <a:gd name="T59" fmla="*/ 132 h 164"/>
                <a:gd name="T60" fmla="*/ 67 w 67"/>
                <a:gd name="T61" fmla="*/ 132 h 164"/>
                <a:gd name="T62" fmla="*/ 66 w 67"/>
                <a:gd name="T63" fmla="*/ 138 h 164"/>
                <a:gd name="T64" fmla="*/ 64 w 67"/>
                <a:gd name="T65" fmla="*/ 145 h 164"/>
                <a:gd name="T66" fmla="*/ 61 w 67"/>
                <a:gd name="T67" fmla="*/ 150 h 164"/>
                <a:gd name="T68" fmla="*/ 56 w 67"/>
                <a:gd name="T69" fmla="*/ 155 h 164"/>
                <a:gd name="T70" fmla="*/ 52 w 67"/>
                <a:gd name="T71" fmla="*/ 159 h 164"/>
                <a:gd name="T72" fmla="*/ 46 w 67"/>
                <a:gd name="T73" fmla="*/ 162 h 164"/>
                <a:gd name="T74" fmla="*/ 40 w 67"/>
                <a:gd name="T75" fmla="*/ 164 h 164"/>
                <a:gd name="T76" fmla="*/ 34 w 67"/>
                <a:gd name="T77" fmla="*/ 164 h 164"/>
                <a:gd name="T78" fmla="*/ 34 w 67"/>
                <a:gd name="T7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7" h="164">
                  <a:moveTo>
                    <a:pt x="34" y="164"/>
                  </a:moveTo>
                  <a:lnTo>
                    <a:pt x="34" y="164"/>
                  </a:lnTo>
                  <a:lnTo>
                    <a:pt x="26" y="164"/>
                  </a:lnTo>
                  <a:lnTo>
                    <a:pt x="20" y="162"/>
                  </a:lnTo>
                  <a:lnTo>
                    <a:pt x="15" y="159"/>
                  </a:lnTo>
                  <a:lnTo>
                    <a:pt x="10" y="155"/>
                  </a:lnTo>
                  <a:lnTo>
                    <a:pt x="6" y="150"/>
                  </a:lnTo>
                  <a:lnTo>
                    <a:pt x="3" y="145"/>
                  </a:lnTo>
                  <a:lnTo>
                    <a:pt x="0" y="138"/>
                  </a:lnTo>
                  <a:lnTo>
                    <a:pt x="0" y="132"/>
                  </a:lnTo>
                  <a:lnTo>
                    <a:pt x="0" y="33"/>
                  </a:lnTo>
                  <a:lnTo>
                    <a:pt x="0" y="33"/>
                  </a:lnTo>
                  <a:lnTo>
                    <a:pt x="0" y="25"/>
                  </a:lnTo>
                  <a:lnTo>
                    <a:pt x="3" y="19"/>
                  </a:lnTo>
                  <a:lnTo>
                    <a:pt x="6" y="14"/>
                  </a:lnTo>
                  <a:lnTo>
                    <a:pt x="10" y="9"/>
                  </a:lnTo>
                  <a:lnTo>
                    <a:pt x="15" y="5"/>
                  </a:lnTo>
                  <a:lnTo>
                    <a:pt x="20" y="2"/>
                  </a:lnTo>
                  <a:lnTo>
                    <a:pt x="26" y="0"/>
                  </a:lnTo>
                  <a:lnTo>
                    <a:pt x="34" y="0"/>
                  </a:lnTo>
                  <a:lnTo>
                    <a:pt x="34" y="0"/>
                  </a:lnTo>
                  <a:lnTo>
                    <a:pt x="40" y="0"/>
                  </a:lnTo>
                  <a:lnTo>
                    <a:pt x="46" y="2"/>
                  </a:lnTo>
                  <a:lnTo>
                    <a:pt x="52" y="5"/>
                  </a:lnTo>
                  <a:lnTo>
                    <a:pt x="56" y="9"/>
                  </a:lnTo>
                  <a:lnTo>
                    <a:pt x="61" y="14"/>
                  </a:lnTo>
                  <a:lnTo>
                    <a:pt x="64" y="19"/>
                  </a:lnTo>
                  <a:lnTo>
                    <a:pt x="66" y="25"/>
                  </a:lnTo>
                  <a:lnTo>
                    <a:pt x="67" y="33"/>
                  </a:lnTo>
                  <a:lnTo>
                    <a:pt x="67" y="132"/>
                  </a:lnTo>
                  <a:lnTo>
                    <a:pt x="67" y="132"/>
                  </a:lnTo>
                  <a:lnTo>
                    <a:pt x="66" y="138"/>
                  </a:lnTo>
                  <a:lnTo>
                    <a:pt x="64" y="145"/>
                  </a:lnTo>
                  <a:lnTo>
                    <a:pt x="61" y="150"/>
                  </a:lnTo>
                  <a:lnTo>
                    <a:pt x="56" y="155"/>
                  </a:lnTo>
                  <a:lnTo>
                    <a:pt x="52" y="159"/>
                  </a:lnTo>
                  <a:lnTo>
                    <a:pt x="46" y="162"/>
                  </a:lnTo>
                  <a:lnTo>
                    <a:pt x="40" y="164"/>
                  </a:lnTo>
                  <a:lnTo>
                    <a:pt x="34" y="164"/>
                  </a:lnTo>
                  <a:lnTo>
                    <a:pt x="34"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Freeform 201">
              <a:extLst>
                <a:ext uri="{FF2B5EF4-FFF2-40B4-BE49-F238E27FC236}">
                  <a16:creationId xmlns:a16="http://schemas.microsoft.com/office/drawing/2014/main" id="{CD3DAF31-140C-44C0-8C35-A0218B12209B}"/>
                </a:ext>
              </a:extLst>
            </p:cNvPr>
            <p:cNvSpPr>
              <a:spLocks/>
            </p:cNvSpPr>
            <p:nvPr/>
          </p:nvSpPr>
          <p:spPr bwMode="auto">
            <a:xfrm>
              <a:off x="7040563"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Freeform 202">
              <a:extLst>
                <a:ext uri="{FF2B5EF4-FFF2-40B4-BE49-F238E27FC236}">
                  <a16:creationId xmlns:a16="http://schemas.microsoft.com/office/drawing/2014/main" id="{996AFA4C-25D3-4A17-A0E5-F77914AB7D36}"/>
                </a:ext>
              </a:extLst>
            </p:cNvPr>
            <p:cNvSpPr>
              <a:spLocks/>
            </p:cNvSpPr>
            <p:nvPr/>
          </p:nvSpPr>
          <p:spPr bwMode="auto">
            <a:xfrm>
              <a:off x="7100888"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Freeform 203">
              <a:extLst>
                <a:ext uri="{FF2B5EF4-FFF2-40B4-BE49-F238E27FC236}">
                  <a16:creationId xmlns:a16="http://schemas.microsoft.com/office/drawing/2014/main" id="{CE37A539-E47F-424C-8328-2B5BB22C509B}"/>
                </a:ext>
              </a:extLst>
            </p:cNvPr>
            <p:cNvSpPr>
              <a:spLocks/>
            </p:cNvSpPr>
            <p:nvPr/>
          </p:nvSpPr>
          <p:spPr bwMode="auto">
            <a:xfrm>
              <a:off x="7161213"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Freeform 204">
              <a:extLst>
                <a:ext uri="{FF2B5EF4-FFF2-40B4-BE49-F238E27FC236}">
                  <a16:creationId xmlns:a16="http://schemas.microsoft.com/office/drawing/2014/main" id="{0F5187C5-9736-431E-917E-F24AAEDE4DD7}"/>
                </a:ext>
              </a:extLst>
            </p:cNvPr>
            <p:cNvSpPr>
              <a:spLocks/>
            </p:cNvSpPr>
            <p:nvPr/>
          </p:nvSpPr>
          <p:spPr bwMode="auto">
            <a:xfrm>
              <a:off x="7221538" y="3279776"/>
              <a:ext cx="30163" cy="28575"/>
            </a:xfrm>
            <a:custGeom>
              <a:avLst/>
              <a:gdLst>
                <a:gd name="T0" fmla="*/ 133 w 133"/>
                <a:gd name="T1" fmla="*/ 0 h 132"/>
                <a:gd name="T2" fmla="*/ 0 w 133"/>
                <a:gd name="T3" fmla="*/ 0 h 132"/>
                <a:gd name="T4" fmla="*/ 0 w 133"/>
                <a:gd name="T5" fmla="*/ 132 h 132"/>
                <a:gd name="T6" fmla="*/ 133 w 133"/>
                <a:gd name="T7" fmla="*/ 132 h 132"/>
                <a:gd name="T8" fmla="*/ 133 w 133"/>
                <a:gd name="T9" fmla="*/ 0 h 132"/>
                <a:gd name="T10" fmla="*/ 133 w 133"/>
                <a:gd name="T11" fmla="*/ 0 h 132"/>
              </a:gdLst>
              <a:ahLst/>
              <a:cxnLst>
                <a:cxn ang="0">
                  <a:pos x="T0" y="T1"/>
                </a:cxn>
                <a:cxn ang="0">
                  <a:pos x="T2" y="T3"/>
                </a:cxn>
                <a:cxn ang="0">
                  <a:pos x="T4" y="T5"/>
                </a:cxn>
                <a:cxn ang="0">
                  <a:pos x="T6" y="T7"/>
                </a:cxn>
                <a:cxn ang="0">
                  <a:pos x="T8" y="T9"/>
                </a:cxn>
                <a:cxn ang="0">
                  <a:pos x="T10" y="T11"/>
                </a:cxn>
              </a:cxnLst>
              <a:rect l="0" t="0" r="r" b="b"/>
              <a:pathLst>
                <a:path w="133" h="132">
                  <a:moveTo>
                    <a:pt x="133" y="0"/>
                  </a:moveTo>
                  <a:lnTo>
                    <a:pt x="0" y="0"/>
                  </a:lnTo>
                  <a:lnTo>
                    <a:pt x="0" y="132"/>
                  </a:lnTo>
                  <a:lnTo>
                    <a:pt x="133" y="132"/>
                  </a:lnTo>
                  <a:lnTo>
                    <a:pt x="133"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aphicFrame>
        <p:nvGraphicFramePr>
          <p:cNvPr id="39" name="Table 38">
            <a:extLst>
              <a:ext uri="{FF2B5EF4-FFF2-40B4-BE49-F238E27FC236}">
                <a16:creationId xmlns:a16="http://schemas.microsoft.com/office/drawing/2014/main" id="{07B39ABB-E537-4BF9-BA60-5A35655CDE6C}"/>
              </a:ext>
            </a:extLst>
          </p:cNvPr>
          <p:cNvGraphicFramePr>
            <a:graphicFrameLocks noGrp="1"/>
          </p:cNvGraphicFramePr>
          <p:nvPr/>
        </p:nvGraphicFramePr>
        <p:xfrm>
          <a:off x="3876036" y="1318351"/>
          <a:ext cx="4889044" cy="2897526"/>
        </p:xfrm>
        <a:graphic>
          <a:graphicData uri="http://schemas.openxmlformats.org/drawingml/2006/table">
            <a:tbl>
              <a:tblPr firstRow="1" bandRow="1"/>
              <a:tblGrid>
                <a:gridCol w="1189740">
                  <a:extLst>
                    <a:ext uri="{9D8B030D-6E8A-4147-A177-3AD203B41FA5}">
                      <a16:colId xmlns:a16="http://schemas.microsoft.com/office/drawing/2014/main" val="3124300238"/>
                    </a:ext>
                  </a:extLst>
                </a:gridCol>
                <a:gridCol w="426720">
                  <a:extLst>
                    <a:ext uri="{9D8B030D-6E8A-4147-A177-3AD203B41FA5}">
                      <a16:colId xmlns:a16="http://schemas.microsoft.com/office/drawing/2014/main" val="1524352174"/>
                    </a:ext>
                  </a:extLst>
                </a:gridCol>
                <a:gridCol w="1881698">
                  <a:extLst>
                    <a:ext uri="{9D8B030D-6E8A-4147-A177-3AD203B41FA5}">
                      <a16:colId xmlns:a16="http://schemas.microsoft.com/office/drawing/2014/main" val="1032482332"/>
                    </a:ext>
                  </a:extLst>
                </a:gridCol>
                <a:gridCol w="854795">
                  <a:extLst>
                    <a:ext uri="{9D8B030D-6E8A-4147-A177-3AD203B41FA5}">
                      <a16:colId xmlns:a16="http://schemas.microsoft.com/office/drawing/2014/main" val="270147319"/>
                    </a:ext>
                  </a:extLst>
                </a:gridCol>
                <a:gridCol w="536091">
                  <a:extLst>
                    <a:ext uri="{9D8B030D-6E8A-4147-A177-3AD203B41FA5}">
                      <a16:colId xmlns:a16="http://schemas.microsoft.com/office/drawing/2014/main" val="625496589"/>
                    </a:ext>
                  </a:extLst>
                </a:gridCol>
              </a:tblGrid>
              <a:tr h="382926">
                <a:tc>
                  <a:txBody>
                    <a:bodyPr/>
                    <a:lstStyle/>
                    <a:p>
                      <a:r>
                        <a:rPr lang="en-IN" sz="1100" b="1" dirty="0">
                          <a:solidFill>
                            <a:schemeClr val="bg1"/>
                          </a:solidFill>
                          <a:latin typeface="Gene Sans Light" panose="00000400000000000000" pitchFamily="50" charset="0"/>
                        </a:rPr>
                        <a:t>Subgroup analyses for OS</a:t>
                      </a:r>
                      <a:endParaRPr lang="en-US" sz="1100" b="1" dirty="0">
                        <a:solidFill>
                          <a:schemeClr val="bg1"/>
                        </a:solidFill>
                        <a:latin typeface="Gene Sans Light" panose="00000400000000000000" pitchFamily="50" charset="0"/>
                      </a:endParaRPr>
                    </a:p>
                  </a:txBody>
                  <a:tcPr marL="27432" marR="27432" marT="9144" marB="9144"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13294B"/>
                    </a:solidFill>
                  </a:tcPr>
                </a:tc>
                <a:tc>
                  <a:txBody>
                    <a:bodyPr/>
                    <a:lstStyle/>
                    <a:p>
                      <a:pPr algn="ctr"/>
                      <a:r>
                        <a:rPr lang="en-IN" sz="700" b="1" dirty="0">
                          <a:solidFill>
                            <a:schemeClr val="bg1"/>
                          </a:solidFill>
                          <a:latin typeface="Gene Sans Light" panose="00000400000000000000" pitchFamily="50" charset="0"/>
                        </a:rPr>
                        <a:t>No. of Studies</a:t>
                      </a:r>
                      <a:endParaRPr lang="en-US" sz="700" b="1" dirty="0">
                        <a:solidFill>
                          <a:schemeClr val="bg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13294B"/>
                    </a:solidFill>
                  </a:tcPr>
                </a:tc>
                <a:tc>
                  <a:txBody>
                    <a:bodyPr/>
                    <a:lstStyle/>
                    <a:p>
                      <a:endParaRPr lang="en-US" sz="700" b="1" dirty="0">
                        <a:solidFill>
                          <a:schemeClr val="bg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13294B"/>
                    </a:solidFill>
                  </a:tcPr>
                </a:tc>
                <a:tc>
                  <a:txBody>
                    <a:bodyPr/>
                    <a:lstStyle/>
                    <a:p>
                      <a:pPr algn="ctr"/>
                      <a:r>
                        <a:rPr lang="en-IN" sz="700" b="1" dirty="0">
                          <a:solidFill>
                            <a:schemeClr val="bg1"/>
                          </a:solidFill>
                          <a:latin typeface="Gene Sans Light" panose="00000400000000000000" pitchFamily="50" charset="0"/>
                        </a:rPr>
                        <a:t>Pooled HR (95% CI) Random effect</a:t>
                      </a:r>
                      <a:endParaRPr lang="en-US" sz="700" b="1" dirty="0">
                        <a:solidFill>
                          <a:schemeClr val="bg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13294B"/>
                    </a:solidFill>
                  </a:tcPr>
                </a:tc>
                <a:tc>
                  <a:txBody>
                    <a:bodyPr/>
                    <a:lstStyle/>
                    <a:p>
                      <a:pPr algn="ctr"/>
                      <a:r>
                        <a:rPr lang="en-IN" sz="800" b="1" dirty="0">
                          <a:solidFill>
                            <a:schemeClr val="bg1"/>
                          </a:solidFill>
                          <a:latin typeface="Gene Sans Light" panose="00000400000000000000" pitchFamily="50" charset="0"/>
                        </a:rPr>
                        <a:t>I</a:t>
                      </a:r>
                      <a:r>
                        <a:rPr lang="en-IN" sz="800" b="1" baseline="30000" dirty="0">
                          <a:solidFill>
                            <a:schemeClr val="bg1"/>
                          </a:solidFill>
                          <a:latin typeface="Gene Sans Light" panose="00000400000000000000" pitchFamily="50" charset="0"/>
                        </a:rPr>
                        <a:t>2</a:t>
                      </a:r>
                      <a:endParaRPr lang="en-US" sz="800" b="1" baseline="30000" dirty="0">
                        <a:solidFill>
                          <a:schemeClr val="bg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solidFill>
                      <a:srgbClr val="13294B"/>
                    </a:solidFill>
                  </a:tcPr>
                </a:tc>
                <a:extLst>
                  <a:ext uri="{0D108BD9-81ED-4DB2-BD59-A6C34878D82A}">
                    <a16:rowId xmlns:a16="http://schemas.microsoft.com/office/drawing/2014/main" val="2074656311"/>
                  </a:ext>
                </a:extLst>
              </a:tr>
              <a:tr h="228600">
                <a:tc>
                  <a:txBody>
                    <a:bodyPr/>
                    <a:lstStyle/>
                    <a:p>
                      <a:r>
                        <a:rPr lang="en-IN" sz="800" b="1" dirty="0">
                          <a:solidFill>
                            <a:schemeClr val="tx1"/>
                          </a:solidFill>
                          <a:latin typeface="Gene Sans Light" panose="00000400000000000000" pitchFamily="50" charset="0"/>
                        </a:rPr>
                        <a:t>Patient Characteristics</a:t>
                      </a:r>
                      <a:endParaRPr lang="en-US" sz="800" b="1" dirty="0">
                        <a:solidFill>
                          <a:schemeClr val="tx1"/>
                        </a:solidFill>
                        <a:latin typeface="Gene Sans Light" panose="00000400000000000000" pitchFamily="50" charset="0"/>
                      </a:endParaRPr>
                    </a:p>
                  </a:txBody>
                  <a:tcPr marL="27432" marR="27432" marT="9144" marB="9144"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658990162"/>
                  </a:ext>
                </a:extLst>
              </a:tr>
              <a:tr h="228600">
                <a:tc>
                  <a:txBody>
                    <a:bodyPr/>
                    <a:lstStyle/>
                    <a:p>
                      <a:r>
                        <a:rPr lang="en-IN" sz="800" dirty="0">
                          <a:solidFill>
                            <a:schemeClr val="tx1"/>
                          </a:solidFill>
                          <a:latin typeface="Gene Sans Light" panose="00000400000000000000" pitchFamily="50" charset="0"/>
                        </a:rPr>
                        <a:t>Cancer type</a:t>
                      </a:r>
                      <a:endParaRPr lang="en-US" sz="800" dirty="0">
                        <a:solidFill>
                          <a:schemeClr val="tx1"/>
                        </a:solidFill>
                        <a:latin typeface="Gene Sans Light" panose="00000400000000000000" pitchFamily="50" charset="0"/>
                      </a:endParaRPr>
                    </a:p>
                  </a:txBody>
                  <a:tcPr marL="27432" marR="27432" marT="9144" marB="9144"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038744454"/>
                  </a:ext>
                </a:extLst>
              </a:tr>
              <a:tr h="228600">
                <a:tc>
                  <a:txBody>
                    <a:bodyPr/>
                    <a:lstStyle/>
                    <a:p>
                      <a:r>
                        <a:rPr lang="en-IN" sz="800" dirty="0">
                          <a:solidFill>
                            <a:schemeClr val="tx1"/>
                          </a:solidFill>
                          <a:latin typeface="Gene Sans Light" panose="00000400000000000000" pitchFamily="50" charset="0"/>
                        </a:rPr>
                        <a:t>NSCLC</a:t>
                      </a:r>
                      <a:endParaRPr lang="en-US" sz="800" dirty="0">
                        <a:solidFill>
                          <a:schemeClr val="tx1"/>
                        </a:solidFill>
                        <a:latin typeface="Gene Sans Light" panose="00000400000000000000" pitchFamily="50" charset="0"/>
                      </a:endParaRPr>
                    </a:p>
                  </a:txBody>
                  <a:tcPr marR="27432" marT="9144" marB="9144"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14</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50 (0.39-0.63)</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62.6%</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488472700"/>
                  </a:ext>
                </a:extLst>
              </a:tr>
              <a:tr h="228600">
                <a:tc>
                  <a:txBody>
                    <a:bodyPr/>
                    <a:lstStyle/>
                    <a:p>
                      <a:r>
                        <a:rPr lang="en-IN" sz="800" dirty="0">
                          <a:solidFill>
                            <a:schemeClr val="tx1"/>
                          </a:solidFill>
                          <a:latin typeface="Gene Sans Light" panose="00000400000000000000" pitchFamily="50" charset="0"/>
                        </a:rPr>
                        <a:t>Melanoma</a:t>
                      </a:r>
                      <a:endParaRPr lang="en-US" sz="800" dirty="0">
                        <a:solidFill>
                          <a:schemeClr val="tx1"/>
                        </a:solidFill>
                        <a:latin typeface="Gene Sans Light" panose="00000400000000000000" pitchFamily="50" charset="0"/>
                      </a:endParaRPr>
                    </a:p>
                  </a:txBody>
                  <a:tcPr marR="27432" marT="9144" marB="9144"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7</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58 (0.35-0.95)</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72.3%</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415742709"/>
                  </a:ext>
                </a:extLst>
              </a:tr>
              <a:tr h="228600">
                <a:tc>
                  <a:txBody>
                    <a:bodyPr/>
                    <a:lstStyle/>
                    <a:p>
                      <a:r>
                        <a:rPr lang="en-IN" sz="800" dirty="0">
                          <a:solidFill>
                            <a:schemeClr val="tx1"/>
                          </a:solidFill>
                          <a:latin typeface="Gene Sans Light" panose="00000400000000000000" pitchFamily="50" charset="0"/>
                        </a:rPr>
                        <a:t>Others</a:t>
                      </a:r>
                      <a:endParaRPr lang="en-US" sz="800" baseline="30000" dirty="0">
                        <a:solidFill>
                          <a:schemeClr val="tx1"/>
                        </a:solidFill>
                        <a:latin typeface="Gene Sans Light" panose="00000400000000000000" pitchFamily="50" charset="0"/>
                      </a:endParaRPr>
                    </a:p>
                  </a:txBody>
                  <a:tcPr marR="27432" marT="9144" marB="9144"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5</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63 (0.48-0.82)</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20.8%</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4069552942"/>
                  </a:ext>
                </a:extLst>
              </a:tr>
              <a:tr h="228600">
                <a:tc>
                  <a:txBody>
                    <a:bodyPr/>
                    <a:lstStyle/>
                    <a:p>
                      <a:r>
                        <a:rPr lang="en-IN" sz="800" dirty="0">
                          <a:solidFill>
                            <a:schemeClr val="tx1"/>
                          </a:solidFill>
                          <a:latin typeface="Gene Sans Light" panose="00000400000000000000" pitchFamily="50" charset="0"/>
                        </a:rPr>
                        <a:t>Class of ICIs</a:t>
                      </a:r>
                      <a:endParaRPr lang="en-US" sz="800" baseline="30000" dirty="0">
                        <a:solidFill>
                          <a:schemeClr val="tx1"/>
                        </a:solidFill>
                        <a:latin typeface="Gene Sans Light" panose="00000400000000000000" pitchFamily="50" charset="0"/>
                      </a:endParaRPr>
                    </a:p>
                  </a:txBody>
                  <a:tcPr marL="27432" marR="27432" marT="9144" marB="9144"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220739350"/>
                  </a:ext>
                </a:extLst>
              </a:tr>
              <a:tr h="228600">
                <a:tc>
                  <a:txBody>
                    <a:bodyPr/>
                    <a:lstStyle/>
                    <a:p>
                      <a:r>
                        <a:rPr lang="en-IN" sz="800" dirty="0">
                          <a:solidFill>
                            <a:schemeClr val="tx1"/>
                          </a:solidFill>
                          <a:latin typeface="Gene Sans Light" panose="00000400000000000000" pitchFamily="50" charset="0"/>
                        </a:rPr>
                        <a:t>Anti-PD-1</a:t>
                      </a:r>
                      <a:endParaRPr lang="en-US" sz="800" dirty="0">
                        <a:solidFill>
                          <a:schemeClr val="tx1"/>
                        </a:solidFill>
                        <a:latin typeface="Gene Sans Light" panose="00000400000000000000" pitchFamily="50" charset="0"/>
                      </a:endParaRPr>
                    </a:p>
                  </a:txBody>
                  <a:tcPr marR="27432" marT="9144" marB="9144"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22</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51 (0.42-0.62)</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56.1%</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940337396"/>
                  </a:ext>
                </a:extLst>
              </a:tr>
              <a:tr h="228600">
                <a:tc>
                  <a:txBody>
                    <a:bodyPr/>
                    <a:lstStyle/>
                    <a:p>
                      <a:r>
                        <a:rPr lang="en-IN" sz="800" dirty="0">
                          <a:solidFill>
                            <a:schemeClr val="tx1"/>
                          </a:solidFill>
                          <a:latin typeface="Gene Sans Light" panose="00000400000000000000" pitchFamily="50" charset="0"/>
                        </a:rPr>
                        <a:t>Anti-CTLA-4</a:t>
                      </a:r>
                      <a:endParaRPr lang="en-US" sz="800" dirty="0">
                        <a:solidFill>
                          <a:schemeClr val="tx1"/>
                        </a:solidFill>
                        <a:latin typeface="Gene Sans Light" panose="00000400000000000000" pitchFamily="50" charset="0"/>
                      </a:endParaRPr>
                    </a:p>
                  </a:txBody>
                  <a:tcPr marR="27432" marT="9144" marB="9144"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3</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89 (0.49-1.61)</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78.6%</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364127316"/>
                  </a:ext>
                </a:extLst>
              </a:tr>
              <a:tr h="228600">
                <a:tc>
                  <a:txBody>
                    <a:bodyPr/>
                    <a:lstStyle/>
                    <a:p>
                      <a:r>
                        <a:rPr lang="en-IN" sz="800" dirty="0">
                          <a:solidFill>
                            <a:schemeClr val="tx1"/>
                          </a:solidFill>
                          <a:latin typeface="Gene Sans Light" panose="00000400000000000000" pitchFamily="50" charset="0"/>
                        </a:rPr>
                        <a:t>Combination therapy</a:t>
                      </a:r>
                      <a:endParaRPr lang="en-US" sz="800" dirty="0">
                        <a:solidFill>
                          <a:schemeClr val="tx1"/>
                        </a:solidFill>
                        <a:latin typeface="Gene Sans Light" panose="00000400000000000000" pitchFamily="50" charset="0"/>
                      </a:endParaRPr>
                    </a:p>
                  </a:txBody>
                  <a:tcPr marL="27432" marR="27432" marT="9144" marB="9144"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368233709"/>
                  </a:ext>
                </a:extLst>
              </a:tr>
              <a:tr h="228600">
                <a:tc>
                  <a:txBody>
                    <a:bodyPr/>
                    <a:lstStyle/>
                    <a:p>
                      <a:r>
                        <a:rPr lang="en-IN" sz="800" dirty="0">
                          <a:solidFill>
                            <a:schemeClr val="tx1"/>
                          </a:solidFill>
                          <a:latin typeface="Gene Sans Light" panose="00000400000000000000" pitchFamily="50" charset="0"/>
                        </a:rPr>
                        <a:t>Yes</a:t>
                      </a:r>
                      <a:endParaRPr lang="en-US" sz="800" baseline="30000" dirty="0">
                        <a:solidFill>
                          <a:schemeClr val="tx1"/>
                        </a:solidFill>
                        <a:latin typeface="Gene Sans Light" panose="00000400000000000000" pitchFamily="50" charset="0"/>
                      </a:endParaRPr>
                    </a:p>
                  </a:txBody>
                  <a:tcPr marR="27432" marT="9144" marB="9144"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4</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62 (0.36-1.05)</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66.9%</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017529910"/>
                  </a:ext>
                </a:extLst>
              </a:tr>
              <a:tr h="228600">
                <a:tc>
                  <a:txBody>
                    <a:bodyPr/>
                    <a:lstStyle/>
                    <a:p>
                      <a:r>
                        <a:rPr lang="en-IN" sz="800" dirty="0">
                          <a:solidFill>
                            <a:schemeClr val="tx1"/>
                          </a:solidFill>
                          <a:latin typeface="Gene Sans Light" panose="00000400000000000000" pitchFamily="50" charset="0"/>
                        </a:rPr>
                        <a:t>No</a:t>
                      </a:r>
                      <a:endParaRPr lang="en-US" sz="800" baseline="30000" dirty="0">
                        <a:solidFill>
                          <a:schemeClr val="tx1"/>
                        </a:solidFill>
                        <a:latin typeface="Gene Sans Light" panose="00000400000000000000" pitchFamily="50" charset="0"/>
                      </a:endParaRPr>
                    </a:p>
                  </a:txBody>
                  <a:tcPr marR="27432" marT="9144" marB="9144" anchor="ctr">
                    <a:lnL w="6350" cap="flat" cmpd="sng" algn="ctr">
                      <a:no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22</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0.53 (0.43-0.65)</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tc>
                  <a:txBody>
                    <a:bodyPr/>
                    <a:lstStyle/>
                    <a:p>
                      <a:pPr algn="ctr"/>
                      <a:r>
                        <a:rPr lang="en-IN" sz="800" dirty="0">
                          <a:solidFill>
                            <a:schemeClr val="tx1"/>
                          </a:solidFill>
                          <a:latin typeface="Gene Sans Light" panose="00000400000000000000" pitchFamily="50" charset="0"/>
                        </a:rPr>
                        <a:t>62.8%</a:t>
                      </a:r>
                      <a:endParaRPr lang="en-US" sz="800" dirty="0">
                        <a:solidFill>
                          <a:schemeClr val="tx1"/>
                        </a:solidFill>
                        <a:latin typeface="Gene Sans Light" panose="00000400000000000000" pitchFamily="50" charset="0"/>
                      </a:endParaRPr>
                    </a:p>
                  </a:txBody>
                  <a:tcPr marL="27432" marR="27432" marT="9144" marB="9144" anchor="ctr">
                    <a:lnL w="635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95000"/>
                        </a:schemeClr>
                      </a:solidFill>
                      <a:prstDash val="solid"/>
                      <a:round/>
                      <a:headEnd type="none" w="med" len="med"/>
                      <a:tailEnd type="none" w="med" len="med"/>
                    </a:lnT>
                    <a:lnB w="635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2933625581"/>
                  </a:ext>
                </a:extLst>
              </a:tr>
            </a:tbl>
          </a:graphicData>
        </a:graphic>
      </p:graphicFrame>
      <p:graphicFrame>
        <p:nvGraphicFramePr>
          <p:cNvPr id="40" name="Chart 39">
            <a:extLst>
              <a:ext uri="{FF2B5EF4-FFF2-40B4-BE49-F238E27FC236}">
                <a16:creationId xmlns:a16="http://schemas.microsoft.com/office/drawing/2014/main" id="{C6DFF688-B15D-4BDF-99CB-1CA6A6890928}"/>
              </a:ext>
            </a:extLst>
          </p:cNvPr>
          <p:cNvGraphicFramePr/>
          <p:nvPr/>
        </p:nvGraphicFramePr>
        <p:xfrm>
          <a:off x="5468112" y="1706880"/>
          <a:ext cx="1898706" cy="2731007"/>
        </p:xfrm>
        <a:graphic>
          <a:graphicData uri="http://schemas.openxmlformats.org/drawingml/2006/chart">
            <c:chart xmlns:c="http://schemas.openxmlformats.org/drawingml/2006/chart" xmlns:r="http://schemas.openxmlformats.org/officeDocument/2006/relationships" r:id="rId3"/>
          </a:graphicData>
        </a:graphic>
      </p:graphicFrame>
      <p:sp>
        <p:nvSpPr>
          <p:cNvPr id="41" name="Isosceles Triangle 40">
            <a:extLst>
              <a:ext uri="{FF2B5EF4-FFF2-40B4-BE49-F238E27FC236}">
                <a16:creationId xmlns:a16="http://schemas.microsoft.com/office/drawing/2014/main" id="{35FC04EA-0DA8-4727-A382-4A3B92D7489D}"/>
              </a:ext>
            </a:extLst>
          </p:cNvPr>
          <p:cNvSpPr>
            <a:spLocks noChangeAspect="1"/>
          </p:cNvSpPr>
          <p:nvPr/>
        </p:nvSpPr>
        <p:spPr>
          <a:xfrm rot="5400000">
            <a:off x="7164477" y="3385684"/>
            <a:ext cx="75581" cy="65156"/>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43" name="Straight Arrow Connector 42">
            <a:extLst>
              <a:ext uri="{FF2B5EF4-FFF2-40B4-BE49-F238E27FC236}">
                <a16:creationId xmlns:a16="http://schemas.microsoft.com/office/drawing/2014/main" id="{D8EC5FAC-39FE-44BC-9BF8-B32ED51AAA0F}"/>
              </a:ext>
            </a:extLst>
          </p:cNvPr>
          <p:cNvCxnSpPr/>
          <p:nvPr/>
        </p:nvCxnSpPr>
        <p:spPr>
          <a:xfrm>
            <a:off x="6688297" y="4429100"/>
            <a:ext cx="82397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3C74460D-535D-4D27-9BF1-CA152BFF5EB7}"/>
              </a:ext>
            </a:extLst>
          </p:cNvPr>
          <p:cNvCxnSpPr>
            <a:cxnSpLocks/>
          </p:cNvCxnSpPr>
          <p:nvPr/>
        </p:nvCxnSpPr>
        <p:spPr>
          <a:xfrm flipH="1">
            <a:off x="5845017" y="4429100"/>
            <a:ext cx="82397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297BF7A9-6D8F-4A2A-9FA7-0B70649C9004}"/>
              </a:ext>
            </a:extLst>
          </p:cNvPr>
          <p:cNvSpPr txBox="1"/>
          <p:nvPr/>
        </p:nvSpPr>
        <p:spPr>
          <a:xfrm>
            <a:off x="5986321" y="4466057"/>
            <a:ext cx="633186"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8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Favours </a:t>
            </a:r>
            <a:r>
              <a:rPr kumimoji="0" lang="en-IN" sz="800" b="1"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irAEs</a:t>
            </a:r>
            <a:endParaRPr kumimoji="0" lang="en-US" sz="8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46" name="TextBox 45">
            <a:extLst>
              <a:ext uri="{FF2B5EF4-FFF2-40B4-BE49-F238E27FC236}">
                <a16:creationId xmlns:a16="http://schemas.microsoft.com/office/drawing/2014/main" id="{8138841C-B7DD-4280-BCDD-195D08CBA0A9}"/>
              </a:ext>
            </a:extLst>
          </p:cNvPr>
          <p:cNvSpPr txBox="1"/>
          <p:nvPr/>
        </p:nvSpPr>
        <p:spPr>
          <a:xfrm>
            <a:off x="6689649" y="4450817"/>
            <a:ext cx="849592" cy="12311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8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Favours non-</a:t>
            </a:r>
            <a:r>
              <a:rPr kumimoji="0" lang="en-IN" sz="800" b="1"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irAEs</a:t>
            </a:r>
            <a:endParaRPr kumimoji="0" lang="en-US" sz="8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Tree>
    <p:extLst>
      <p:ext uri="{BB962C8B-B14F-4D97-AF65-F5344CB8AC3E}">
        <p14:creationId xmlns:p14="http://schemas.microsoft.com/office/powerpoint/2010/main" val="2274901347"/>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C95D54E-9E33-44AB-9D5D-7A4703CE0CDE}"/>
              </a:ext>
            </a:extLst>
          </p:cNvPr>
          <p:cNvSpPr>
            <a:spLocks noGrp="1"/>
          </p:cNvSpPr>
          <p:nvPr>
            <p:ph type="body" idx="1"/>
          </p:nvPr>
        </p:nvSpPr>
        <p:spPr/>
        <p:txBody>
          <a:bodyPr/>
          <a:lstStyle/>
          <a:p>
            <a:endParaRPr lang="en-US"/>
          </a:p>
        </p:txBody>
      </p:sp>
      <p:sp>
        <p:nvSpPr>
          <p:cNvPr id="3" name="Text Placeholder 2">
            <a:extLst>
              <a:ext uri="{FF2B5EF4-FFF2-40B4-BE49-F238E27FC236}">
                <a16:creationId xmlns:a16="http://schemas.microsoft.com/office/drawing/2014/main" id="{04F67E10-3325-41B5-B0E4-369B28ADE24E}"/>
              </a:ext>
            </a:extLst>
          </p:cNvPr>
          <p:cNvSpPr>
            <a:spLocks noGrp="1"/>
          </p:cNvSpPr>
          <p:nvPr>
            <p:ph type="body" idx="2"/>
          </p:nvPr>
        </p:nvSpPr>
        <p:spPr/>
        <p:txBody>
          <a:bodyPr anchor="ctr"/>
          <a:lstStyle/>
          <a:p>
            <a:pPr marL="0" lvl="0" indent="0" algn="l" rtl="0">
              <a:spcAft>
                <a:spcPts val="0"/>
              </a:spcAft>
              <a:buClr>
                <a:schemeClr val="dk1"/>
              </a:buClr>
              <a:buSzPts val="800"/>
              <a:buNone/>
            </a:pPr>
            <a:r>
              <a:rPr lang="en-US" dirty="0"/>
              <a:t>1. Adapted from Hodi FS, et al. </a:t>
            </a:r>
            <a:r>
              <a:rPr lang="en-US" i="1" dirty="0"/>
              <a:t>Lancet Oncol</a:t>
            </a:r>
            <a:r>
              <a:rPr lang="en-US" dirty="0"/>
              <a:t>. 2016;17:1558-1568 and Hodi FS, et al. Poster. ASCO. 2016 (abstract 9518). 2. Freeman-Keller M, et al. </a:t>
            </a:r>
            <a:r>
              <a:rPr lang="en-US" i="1" dirty="0"/>
              <a:t>Clin Cancer Res</a:t>
            </a:r>
            <a:r>
              <a:rPr lang="en-US" dirty="0"/>
              <a:t>. </a:t>
            </a:r>
            <a:br>
              <a:rPr lang="en-US" dirty="0"/>
            </a:br>
            <a:r>
              <a:rPr lang="en-US" dirty="0"/>
              <a:t>2016;22:886-894.</a:t>
            </a:r>
          </a:p>
        </p:txBody>
      </p:sp>
      <p:sp>
        <p:nvSpPr>
          <p:cNvPr id="5" name="Title 4">
            <a:extLst>
              <a:ext uri="{FF2B5EF4-FFF2-40B4-BE49-F238E27FC236}">
                <a16:creationId xmlns:a16="http://schemas.microsoft.com/office/drawing/2014/main" id="{F01D18BE-0443-4628-94BF-FCFDC3C196C3}"/>
              </a:ext>
            </a:extLst>
          </p:cNvPr>
          <p:cNvSpPr>
            <a:spLocks noGrp="1"/>
          </p:cNvSpPr>
          <p:nvPr>
            <p:ph type="title"/>
          </p:nvPr>
        </p:nvSpPr>
        <p:spPr/>
        <p:txBody>
          <a:bodyPr/>
          <a:lstStyle/>
          <a:p>
            <a:r>
              <a:rPr lang="en-US" dirty="0"/>
              <a:t>Association Between </a:t>
            </a:r>
            <a:r>
              <a:rPr lang="en-US" dirty="0" err="1"/>
              <a:t>irAEs</a:t>
            </a:r>
            <a:r>
              <a:rPr lang="en-US" dirty="0"/>
              <a:t> and Outcomes</a:t>
            </a:r>
          </a:p>
        </p:txBody>
      </p:sp>
      <p:sp>
        <p:nvSpPr>
          <p:cNvPr id="6" name="Google Shape;122;p3">
            <a:extLst>
              <a:ext uri="{FF2B5EF4-FFF2-40B4-BE49-F238E27FC236}">
                <a16:creationId xmlns:a16="http://schemas.microsoft.com/office/drawing/2014/main" id="{E471B720-21C1-4494-8635-9FEBD8B63980}"/>
              </a:ext>
            </a:extLst>
          </p:cNvPr>
          <p:cNvSpPr txBox="1">
            <a:spLocks/>
          </p:cNvSpPr>
          <p:nvPr/>
        </p:nvSpPr>
        <p:spPr>
          <a:xfrm>
            <a:off x="381000" y="94526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
        <p:nvSpPr>
          <p:cNvPr id="61" name="Google Shape;1252;p17">
            <a:extLst>
              <a:ext uri="{FF2B5EF4-FFF2-40B4-BE49-F238E27FC236}">
                <a16:creationId xmlns:a16="http://schemas.microsoft.com/office/drawing/2014/main" id="{E74812A1-1512-43E4-BFF4-8175924D1685}"/>
              </a:ext>
            </a:extLst>
          </p:cNvPr>
          <p:cNvSpPr/>
          <p:nvPr/>
        </p:nvSpPr>
        <p:spPr>
          <a:xfrm>
            <a:off x="6649060" y="4487746"/>
            <a:ext cx="711987" cy="138499"/>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1"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OS (weeks)</a:t>
            </a:r>
            <a:endParaRPr kumimoji="0" sz="9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
        <p:nvSpPr>
          <p:cNvPr id="241" name="Google Shape;1122;p17">
            <a:extLst>
              <a:ext uri="{FF2B5EF4-FFF2-40B4-BE49-F238E27FC236}">
                <a16:creationId xmlns:a16="http://schemas.microsoft.com/office/drawing/2014/main" id="{9E876E10-2D2D-4FBC-847D-116CD3C87D22}"/>
              </a:ext>
            </a:extLst>
          </p:cNvPr>
          <p:cNvSpPr/>
          <p:nvPr/>
        </p:nvSpPr>
        <p:spPr>
          <a:xfrm>
            <a:off x="2367591" y="4487746"/>
            <a:ext cx="841690" cy="138499"/>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400"/>
              <a:buFont typeface="Arial"/>
              <a:buNone/>
              <a:tabLst/>
              <a:defRPr/>
            </a:pPr>
            <a:r>
              <a:rPr kumimoji="0" lang="en-US" sz="900" b="1"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Time (months)</a:t>
            </a:r>
            <a:endParaRPr kumimoji="0" sz="9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
        <p:nvSpPr>
          <p:cNvPr id="346" name="Google Shape;1221;p17">
            <a:extLst>
              <a:ext uri="{FF2B5EF4-FFF2-40B4-BE49-F238E27FC236}">
                <a16:creationId xmlns:a16="http://schemas.microsoft.com/office/drawing/2014/main" id="{7801B1E9-FF83-4DB4-89D9-77941C290A14}"/>
              </a:ext>
            </a:extLst>
          </p:cNvPr>
          <p:cNvSpPr/>
          <p:nvPr/>
        </p:nvSpPr>
        <p:spPr>
          <a:xfrm rot="16200000">
            <a:off x="-279717" y="2986683"/>
            <a:ext cx="1440460" cy="138499"/>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1"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Survival probability (%)</a:t>
            </a:r>
            <a:endParaRPr kumimoji="0" sz="9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
        <p:nvSpPr>
          <p:cNvPr id="75" name="Google Shape;1410;p17">
            <a:extLst>
              <a:ext uri="{FF2B5EF4-FFF2-40B4-BE49-F238E27FC236}">
                <a16:creationId xmlns:a16="http://schemas.microsoft.com/office/drawing/2014/main" id="{021F14DC-3799-4332-B3AD-A1924EA924A4}"/>
              </a:ext>
            </a:extLst>
          </p:cNvPr>
          <p:cNvSpPr/>
          <p:nvPr/>
        </p:nvSpPr>
        <p:spPr>
          <a:xfrm rot="16200000">
            <a:off x="4529804" y="2986683"/>
            <a:ext cx="1213112" cy="138499"/>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1"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Survival probability</a:t>
            </a:r>
            <a:endParaRPr kumimoji="0" sz="9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grpSp>
        <p:nvGrpSpPr>
          <p:cNvPr id="23" name="Group 22">
            <a:extLst>
              <a:ext uri="{FF2B5EF4-FFF2-40B4-BE49-F238E27FC236}">
                <a16:creationId xmlns:a16="http://schemas.microsoft.com/office/drawing/2014/main" id="{9A7FD22E-4224-4B8C-AD33-8EA1282C1AF8}"/>
              </a:ext>
            </a:extLst>
          </p:cNvPr>
          <p:cNvGrpSpPr/>
          <p:nvPr/>
        </p:nvGrpSpPr>
        <p:grpSpPr>
          <a:xfrm>
            <a:off x="5247759" y="2000250"/>
            <a:ext cx="3514588" cy="2430950"/>
            <a:chOff x="5247759" y="1836022"/>
            <a:chExt cx="3514588" cy="2595178"/>
          </a:xfrm>
        </p:grpSpPr>
        <p:sp>
          <p:nvSpPr>
            <p:cNvPr id="48" name="Google Shape;1239;p17">
              <a:extLst>
                <a:ext uri="{FF2B5EF4-FFF2-40B4-BE49-F238E27FC236}">
                  <a16:creationId xmlns:a16="http://schemas.microsoft.com/office/drawing/2014/main" id="{358C7D5F-9B3B-46F8-B74B-521448909E53}"/>
                </a:ext>
              </a:extLst>
            </p:cNvPr>
            <p:cNvSpPr/>
            <p:nvPr/>
          </p:nvSpPr>
          <p:spPr>
            <a:xfrm>
              <a:off x="5618587" y="1836022"/>
              <a:ext cx="3143760" cy="2540819"/>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49" name="Google Shape;1240;p17">
              <a:extLst>
                <a:ext uri="{FF2B5EF4-FFF2-40B4-BE49-F238E27FC236}">
                  <a16:creationId xmlns:a16="http://schemas.microsoft.com/office/drawing/2014/main" id="{DD6C6508-1BE5-40ED-94F1-160ACA105B09}"/>
                </a:ext>
              </a:extLst>
            </p:cNvPr>
            <p:cNvSpPr/>
            <p:nvPr/>
          </p:nvSpPr>
          <p:spPr>
            <a:xfrm>
              <a:off x="5247759" y="1864142"/>
              <a:ext cx="302177" cy="138499"/>
            </a:xfrm>
            <a:prstGeom prst="rect">
              <a:avLst/>
            </a:prstGeom>
            <a:noFill/>
            <a:ln>
              <a:noFill/>
            </a:ln>
          </p:spPr>
          <p:txBody>
            <a:bodyPr spcFirstLastPara="1" wrap="square" lIns="0" tIns="0" rIns="73152"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1.0</a:t>
              </a:r>
              <a:endParaRPr kumimoji="0" sz="9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
          <p:nvSpPr>
            <p:cNvPr id="50" name="Google Shape;1241;p17">
              <a:extLst>
                <a:ext uri="{FF2B5EF4-FFF2-40B4-BE49-F238E27FC236}">
                  <a16:creationId xmlns:a16="http://schemas.microsoft.com/office/drawing/2014/main" id="{057EBE08-1466-44FA-80CF-0B35805562C4}"/>
                </a:ext>
              </a:extLst>
            </p:cNvPr>
            <p:cNvSpPr/>
            <p:nvPr/>
          </p:nvSpPr>
          <p:spPr>
            <a:xfrm>
              <a:off x="5247759" y="2270852"/>
              <a:ext cx="302177" cy="138499"/>
            </a:xfrm>
            <a:prstGeom prst="rect">
              <a:avLst/>
            </a:prstGeom>
            <a:noFill/>
            <a:ln>
              <a:noFill/>
            </a:ln>
          </p:spPr>
          <p:txBody>
            <a:bodyPr spcFirstLastPara="1" wrap="square" lIns="0" tIns="0" rIns="73152"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0.8</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51" name="Google Shape;1242;p17">
              <a:extLst>
                <a:ext uri="{FF2B5EF4-FFF2-40B4-BE49-F238E27FC236}">
                  <a16:creationId xmlns:a16="http://schemas.microsoft.com/office/drawing/2014/main" id="{8ECB6659-845A-4475-8C8C-02460280E6F2}"/>
                </a:ext>
              </a:extLst>
            </p:cNvPr>
            <p:cNvSpPr/>
            <p:nvPr/>
          </p:nvSpPr>
          <p:spPr>
            <a:xfrm>
              <a:off x="5247759" y="2735348"/>
              <a:ext cx="302177" cy="138499"/>
            </a:xfrm>
            <a:prstGeom prst="rect">
              <a:avLst/>
            </a:prstGeom>
            <a:noFill/>
            <a:ln>
              <a:noFill/>
            </a:ln>
          </p:spPr>
          <p:txBody>
            <a:bodyPr spcFirstLastPara="1" wrap="square" lIns="0" tIns="0" rIns="73152"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0.6</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52" name="Google Shape;1243;p17">
              <a:extLst>
                <a:ext uri="{FF2B5EF4-FFF2-40B4-BE49-F238E27FC236}">
                  <a16:creationId xmlns:a16="http://schemas.microsoft.com/office/drawing/2014/main" id="{C9EC3D7C-5346-4773-8045-53A7E9BE11CE}"/>
                </a:ext>
              </a:extLst>
            </p:cNvPr>
            <p:cNvSpPr/>
            <p:nvPr/>
          </p:nvSpPr>
          <p:spPr>
            <a:xfrm>
              <a:off x="5247759" y="3189342"/>
              <a:ext cx="302177" cy="138499"/>
            </a:xfrm>
            <a:prstGeom prst="rect">
              <a:avLst/>
            </a:prstGeom>
            <a:noFill/>
            <a:ln>
              <a:noFill/>
            </a:ln>
          </p:spPr>
          <p:txBody>
            <a:bodyPr spcFirstLastPara="1" wrap="square" lIns="0" tIns="0" rIns="73152"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0.4</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53" name="Google Shape;1244;p17">
              <a:extLst>
                <a:ext uri="{FF2B5EF4-FFF2-40B4-BE49-F238E27FC236}">
                  <a16:creationId xmlns:a16="http://schemas.microsoft.com/office/drawing/2014/main" id="{611BFE0A-9C60-4B70-830F-5B5D4F29BECC}"/>
                </a:ext>
              </a:extLst>
            </p:cNvPr>
            <p:cNvSpPr/>
            <p:nvPr/>
          </p:nvSpPr>
          <p:spPr>
            <a:xfrm>
              <a:off x="5247759" y="3643335"/>
              <a:ext cx="302177" cy="138499"/>
            </a:xfrm>
            <a:prstGeom prst="rect">
              <a:avLst/>
            </a:prstGeom>
            <a:noFill/>
            <a:ln>
              <a:noFill/>
            </a:ln>
          </p:spPr>
          <p:txBody>
            <a:bodyPr spcFirstLastPara="1" wrap="square" lIns="0" tIns="0" rIns="73152"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0.0</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54" name="Google Shape;1245;p17">
              <a:extLst>
                <a:ext uri="{FF2B5EF4-FFF2-40B4-BE49-F238E27FC236}">
                  <a16:creationId xmlns:a16="http://schemas.microsoft.com/office/drawing/2014/main" id="{5B5617F2-61A3-4FB6-BCC3-98365B89CE85}"/>
                </a:ext>
              </a:extLst>
            </p:cNvPr>
            <p:cNvSpPr/>
            <p:nvPr/>
          </p:nvSpPr>
          <p:spPr>
            <a:xfrm>
              <a:off x="5247759" y="4109225"/>
              <a:ext cx="302177" cy="138499"/>
            </a:xfrm>
            <a:prstGeom prst="rect">
              <a:avLst/>
            </a:prstGeom>
            <a:noFill/>
            <a:ln>
              <a:noFill/>
            </a:ln>
          </p:spPr>
          <p:txBody>
            <a:bodyPr spcFirstLastPara="1" wrap="square" lIns="0" tIns="0" rIns="73152"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0.0</a:t>
              </a:r>
              <a:endParaRPr kumimoji="0" sz="9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
          <p:nvSpPr>
            <p:cNvPr id="55" name="Google Shape;1246;p17">
              <a:extLst>
                <a:ext uri="{FF2B5EF4-FFF2-40B4-BE49-F238E27FC236}">
                  <a16:creationId xmlns:a16="http://schemas.microsoft.com/office/drawing/2014/main" id="{FD879580-966D-47CC-B636-917366BF741A}"/>
                </a:ext>
              </a:extLst>
            </p:cNvPr>
            <p:cNvSpPr/>
            <p:nvPr/>
          </p:nvSpPr>
          <p:spPr>
            <a:xfrm>
              <a:off x="5507173" y="4292701"/>
              <a:ext cx="69558" cy="1384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0</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56" name="Google Shape;1247;p17">
              <a:extLst>
                <a:ext uri="{FF2B5EF4-FFF2-40B4-BE49-F238E27FC236}">
                  <a16:creationId xmlns:a16="http://schemas.microsoft.com/office/drawing/2014/main" id="{EC6EE321-EE42-440F-ABDD-AEB76952B759}"/>
                </a:ext>
              </a:extLst>
            </p:cNvPr>
            <p:cNvSpPr/>
            <p:nvPr/>
          </p:nvSpPr>
          <p:spPr>
            <a:xfrm>
              <a:off x="5807405" y="4292701"/>
              <a:ext cx="139114" cy="1384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25</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57" name="Google Shape;1248;p17">
              <a:extLst>
                <a:ext uri="{FF2B5EF4-FFF2-40B4-BE49-F238E27FC236}">
                  <a16:creationId xmlns:a16="http://schemas.microsoft.com/office/drawing/2014/main" id="{7B93A67F-9FAA-478D-9DA8-DB0C8CBDC490}"/>
                </a:ext>
              </a:extLst>
            </p:cNvPr>
            <p:cNvSpPr/>
            <p:nvPr/>
          </p:nvSpPr>
          <p:spPr>
            <a:xfrm>
              <a:off x="6147141" y="4292701"/>
              <a:ext cx="139114" cy="1384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50</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58" name="Google Shape;1249;p17">
              <a:extLst>
                <a:ext uri="{FF2B5EF4-FFF2-40B4-BE49-F238E27FC236}">
                  <a16:creationId xmlns:a16="http://schemas.microsoft.com/office/drawing/2014/main" id="{0C1A98AD-7DDC-49A7-BBDF-865E7C8AE9FF}"/>
                </a:ext>
              </a:extLst>
            </p:cNvPr>
            <p:cNvSpPr/>
            <p:nvPr/>
          </p:nvSpPr>
          <p:spPr>
            <a:xfrm>
              <a:off x="6484246" y="4292701"/>
              <a:ext cx="139114" cy="1384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75</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59" name="Google Shape;1250;p17">
              <a:extLst>
                <a:ext uri="{FF2B5EF4-FFF2-40B4-BE49-F238E27FC236}">
                  <a16:creationId xmlns:a16="http://schemas.microsoft.com/office/drawing/2014/main" id="{13C38AD1-D4B8-4A3C-836D-A9A18595BF73}"/>
                </a:ext>
              </a:extLst>
            </p:cNvPr>
            <p:cNvSpPr/>
            <p:nvPr/>
          </p:nvSpPr>
          <p:spPr>
            <a:xfrm>
              <a:off x="6781844" y="4292701"/>
              <a:ext cx="208672" cy="1384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100</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60" name="Google Shape;1251;p17">
              <a:extLst>
                <a:ext uri="{FF2B5EF4-FFF2-40B4-BE49-F238E27FC236}">
                  <a16:creationId xmlns:a16="http://schemas.microsoft.com/office/drawing/2014/main" id="{3043BB45-C279-4093-B611-07DCB9817A4D}"/>
                </a:ext>
              </a:extLst>
            </p:cNvPr>
            <p:cNvSpPr/>
            <p:nvPr/>
          </p:nvSpPr>
          <p:spPr>
            <a:xfrm>
              <a:off x="7120930" y="4292701"/>
              <a:ext cx="208672" cy="1384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125</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62" name="Google Shape;1253;p17">
              <a:extLst>
                <a:ext uri="{FF2B5EF4-FFF2-40B4-BE49-F238E27FC236}">
                  <a16:creationId xmlns:a16="http://schemas.microsoft.com/office/drawing/2014/main" id="{B7AE27CC-9356-477C-ABF3-985D01E169F2}"/>
                </a:ext>
              </a:extLst>
            </p:cNvPr>
            <p:cNvSpPr/>
            <p:nvPr/>
          </p:nvSpPr>
          <p:spPr>
            <a:xfrm>
              <a:off x="7457368" y="4292701"/>
              <a:ext cx="208672" cy="1384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150</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63" name="Google Shape;1254;p17">
              <a:extLst>
                <a:ext uri="{FF2B5EF4-FFF2-40B4-BE49-F238E27FC236}">
                  <a16:creationId xmlns:a16="http://schemas.microsoft.com/office/drawing/2014/main" id="{471F1623-7854-4FC7-B247-40C9F0CD1116}"/>
                </a:ext>
              </a:extLst>
            </p:cNvPr>
            <p:cNvSpPr/>
            <p:nvPr/>
          </p:nvSpPr>
          <p:spPr>
            <a:xfrm>
              <a:off x="7797105" y="4292701"/>
              <a:ext cx="208672" cy="1384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175</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64" name="Google Shape;1255;p17">
              <a:extLst>
                <a:ext uri="{FF2B5EF4-FFF2-40B4-BE49-F238E27FC236}">
                  <a16:creationId xmlns:a16="http://schemas.microsoft.com/office/drawing/2014/main" id="{006164D6-A495-4764-950A-740F172FA9BE}"/>
                </a:ext>
              </a:extLst>
            </p:cNvPr>
            <p:cNvSpPr/>
            <p:nvPr/>
          </p:nvSpPr>
          <p:spPr>
            <a:xfrm>
              <a:off x="8136842" y="4292701"/>
              <a:ext cx="208672" cy="1384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200</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65" name="Google Shape;1256;p17">
              <a:extLst>
                <a:ext uri="{FF2B5EF4-FFF2-40B4-BE49-F238E27FC236}">
                  <a16:creationId xmlns:a16="http://schemas.microsoft.com/office/drawing/2014/main" id="{F17EB4F6-8D86-4200-8923-027C6111E5C0}"/>
                </a:ext>
              </a:extLst>
            </p:cNvPr>
            <p:cNvSpPr/>
            <p:nvPr/>
          </p:nvSpPr>
          <p:spPr>
            <a:xfrm>
              <a:off x="8473946" y="4292701"/>
              <a:ext cx="208672" cy="1384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225</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grpSp>
          <p:nvGrpSpPr>
            <p:cNvPr id="66" name="Google Shape;1257;p17">
              <a:extLst>
                <a:ext uri="{FF2B5EF4-FFF2-40B4-BE49-F238E27FC236}">
                  <a16:creationId xmlns:a16="http://schemas.microsoft.com/office/drawing/2014/main" id="{95EEDA66-BB8D-47A9-8B7D-EAD4E15B11EF}"/>
                </a:ext>
              </a:extLst>
            </p:cNvPr>
            <p:cNvGrpSpPr/>
            <p:nvPr/>
          </p:nvGrpSpPr>
          <p:grpSpPr>
            <a:xfrm>
              <a:off x="5549309" y="1880130"/>
              <a:ext cx="3010229" cy="1748282"/>
              <a:chOff x="5052" y="1597"/>
              <a:chExt cx="2286" cy="1498"/>
            </a:xfrm>
          </p:grpSpPr>
          <p:sp>
            <p:nvSpPr>
              <p:cNvPr id="192" name="Google Shape;1258;p17">
                <a:extLst>
                  <a:ext uri="{FF2B5EF4-FFF2-40B4-BE49-F238E27FC236}">
                    <a16:creationId xmlns:a16="http://schemas.microsoft.com/office/drawing/2014/main" id="{6FB4CBD7-B3E9-4B97-96B0-8F7FBCF115B6}"/>
                  </a:ext>
                </a:extLst>
              </p:cNvPr>
              <p:cNvSpPr/>
              <p:nvPr/>
            </p:nvSpPr>
            <p:spPr>
              <a:xfrm>
                <a:off x="5052" y="1597"/>
                <a:ext cx="2252" cy="1464"/>
              </a:xfrm>
              <a:custGeom>
                <a:avLst/>
                <a:gdLst/>
                <a:ahLst/>
                <a:cxnLst/>
                <a:rect l="l" t="t" r="r" b="b"/>
                <a:pathLst>
                  <a:path w="994" h="645" extrusionOk="0">
                    <a:moveTo>
                      <a:pt x="0" y="0"/>
                    </a:moveTo>
                    <a:cubicBezTo>
                      <a:pt x="10" y="0"/>
                      <a:pt x="10" y="0"/>
                      <a:pt x="10" y="0"/>
                    </a:cubicBezTo>
                    <a:cubicBezTo>
                      <a:pt x="10" y="34"/>
                      <a:pt x="10" y="34"/>
                      <a:pt x="10" y="34"/>
                    </a:cubicBezTo>
                    <a:cubicBezTo>
                      <a:pt x="17" y="34"/>
                      <a:pt x="17" y="34"/>
                      <a:pt x="17" y="34"/>
                    </a:cubicBezTo>
                    <a:cubicBezTo>
                      <a:pt x="17" y="63"/>
                      <a:pt x="17" y="63"/>
                      <a:pt x="17" y="63"/>
                    </a:cubicBezTo>
                    <a:cubicBezTo>
                      <a:pt x="22" y="63"/>
                      <a:pt x="22" y="63"/>
                      <a:pt x="22" y="63"/>
                    </a:cubicBezTo>
                    <a:cubicBezTo>
                      <a:pt x="22" y="88"/>
                      <a:pt x="22" y="88"/>
                      <a:pt x="22" y="88"/>
                    </a:cubicBezTo>
                    <a:cubicBezTo>
                      <a:pt x="29" y="88"/>
                      <a:pt x="29" y="88"/>
                      <a:pt x="29" y="88"/>
                    </a:cubicBezTo>
                    <a:cubicBezTo>
                      <a:pt x="29" y="109"/>
                      <a:pt x="29" y="109"/>
                      <a:pt x="29" y="109"/>
                    </a:cubicBezTo>
                    <a:cubicBezTo>
                      <a:pt x="33" y="109"/>
                      <a:pt x="33" y="109"/>
                      <a:pt x="33" y="109"/>
                    </a:cubicBezTo>
                    <a:cubicBezTo>
                      <a:pt x="33" y="144"/>
                      <a:pt x="33" y="144"/>
                      <a:pt x="33" y="144"/>
                    </a:cubicBezTo>
                    <a:cubicBezTo>
                      <a:pt x="37" y="144"/>
                      <a:pt x="37" y="144"/>
                      <a:pt x="37" y="144"/>
                    </a:cubicBezTo>
                    <a:cubicBezTo>
                      <a:pt x="37" y="160"/>
                      <a:pt x="37" y="160"/>
                      <a:pt x="37" y="160"/>
                    </a:cubicBezTo>
                    <a:cubicBezTo>
                      <a:pt x="45" y="160"/>
                      <a:pt x="45" y="160"/>
                      <a:pt x="45" y="160"/>
                    </a:cubicBezTo>
                    <a:cubicBezTo>
                      <a:pt x="45" y="187"/>
                      <a:pt x="45" y="187"/>
                      <a:pt x="45" y="187"/>
                    </a:cubicBezTo>
                    <a:cubicBezTo>
                      <a:pt x="70" y="187"/>
                      <a:pt x="70" y="187"/>
                      <a:pt x="70" y="187"/>
                    </a:cubicBezTo>
                    <a:cubicBezTo>
                      <a:pt x="70" y="210"/>
                      <a:pt x="70" y="210"/>
                      <a:pt x="70" y="210"/>
                    </a:cubicBezTo>
                    <a:cubicBezTo>
                      <a:pt x="82" y="210"/>
                      <a:pt x="82" y="210"/>
                      <a:pt x="82" y="210"/>
                    </a:cubicBezTo>
                    <a:cubicBezTo>
                      <a:pt x="82" y="232"/>
                      <a:pt x="82" y="232"/>
                      <a:pt x="82" y="232"/>
                    </a:cubicBezTo>
                    <a:cubicBezTo>
                      <a:pt x="144" y="232"/>
                      <a:pt x="144" y="232"/>
                      <a:pt x="144" y="232"/>
                    </a:cubicBezTo>
                    <a:cubicBezTo>
                      <a:pt x="144" y="265"/>
                      <a:pt x="144" y="265"/>
                      <a:pt x="144" y="265"/>
                    </a:cubicBezTo>
                    <a:cubicBezTo>
                      <a:pt x="168" y="265"/>
                      <a:pt x="168" y="265"/>
                      <a:pt x="168" y="265"/>
                    </a:cubicBezTo>
                    <a:cubicBezTo>
                      <a:pt x="168" y="268"/>
                      <a:pt x="168" y="278"/>
                      <a:pt x="168" y="278"/>
                    </a:cubicBezTo>
                    <a:cubicBezTo>
                      <a:pt x="174" y="278"/>
                      <a:pt x="174" y="278"/>
                      <a:pt x="174" y="278"/>
                    </a:cubicBezTo>
                    <a:cubicBezTo>
                      <a:pt x="174" y="313"/>
                      <a:pt x="174" y="313"/>
                      <a:pt x="174" y="313"/>
                    </a:cubicBezTo>
                    <a:cubicBezTo>
                      <a:pt x="201" y="313"/>
                      <a:pt x="201" y="313"/>
                      <a:pt x="201" y="313"/>
                    </a:cubicBezTo>
                    <a:cubicBezTo>
                      <a:pt x="201" y="333"/>
                      <a:pt x="201" y="333"/>
                      <a:pt x="201" y="333"/>
                    </a:cubicBezTo>
                    <a:cubicBezTo>
                      <a:pt x="226" y="333"/>
                      <a:pt x="226" y="333"/>
                      <a:pt x="226" y="333"/>
                    </a:cubicBezTo>
                    <a:cubicBezTo>
                      <a:pt x="226" y="354"/>
                      <a:pt x="226" y="354"/>
                      <a:pt x="226" y="354"/>
                    </a:cubicBezTo>
                    <a:cubicBezTo>
                      <a:pt x="231" y="354"/>
                      <a:pt x="231" y="354"/>
                      <a:pt x="231" y="354"/>
                    </a:cubicBezTo>
                    <a:cubicBezTo>
                      <a:pt x="231" y="385"/>
                      <a:pt x="231" y="385"/>
                      <a:pt x="231" y="385"/>
                    </a:cubicBezTo>
                    <a:cubicBezTo>
                      <a:pt x="270" y="385"/>
                      <a:pt x="270" y="385"/>
                      <a:pt x="270" y="385"/>
                    </a:cubicBezTo>
                    <a:cubicBezTo>
                      <a:pt x="270" y="420"/>
                      <a:pt x="270" y="420"/>
                      <a:pt x="270" y="420"/>
                    </a:cubicBezTo>
                    <a:cubicBezTo>
                      <a:pt x="281" y="420"/>
                      <a:pt x="281" y="420"/>
                      <a:pt x="281" y="420"/>
                    </a:cubicBezTo>
                    <a:cubicBezTo>
                      <a:pt x="281" y="439"/>
                      <a:pt x="281" y="439"/>
                      <a:pt x="281" y="439"/>
                    </a:cubicBezTo>
                    <a:cubicBezTo>
                      <a:pt x="293" y="439"/>
                      <a:pt x="293" y="439"/>
                      <a:pt x="293" y="439"/>
                    </a:cubicBezTo>
                    <a:cubicBezTo>
                      <a:pt x="293" y="454"/>
                      <a:pt x="293" y="454"/>
                      <a:pt x="293" y="454"/>
                    </a:cubicBezTo>
                    <a:cubicBezTo>
                      <a:pt x="300" y="454"/>
                      <a:pt x="300" y="454"/>
                      <a:pt x="300" y="454"/>
                    </a:cubicBezTo>
                    <a:cubicBezTo>
                      <a:pt x="300" y="472"/>
                      <a:pt x="300" y="472"/>
                      <a:pt x="300" y="472"/>
                    </a:cubicBezTo>
                    <a:cubicBezTo>
                      <a:pt x="308" y="472"/>
                      <a:pt x="308" y="472"/>
                      <a:pt x="308" y="472"/>
                    </a:cubicBezTo>
                    <a:cubicBezTo>
                      <a:pt x="308" y="509"/>
                      <a:pt x="308" y="509"/>
                      <a:pt x="308" y="509"/>
                    </a:cubicBezTo>
                    <a:cubicBezTo>
                      <a:pt x="330" y="509"/>
                      <a:pt x="330" y="509"/>
                      <a:pt x="330" y="509"/>
                    </a:cubicBezTo>
                    <a:cubicBezTo>
                      <a:pt x="330" y="527"/>
                      <a:pt x="330" y="527"/>
                      <a:pt x="330" y="527"/>
                    </a:cubicBezTo>
                    <a:cubicBezTo>
                      <a:pt x="374" y="527"/>
                      <a:pt x="374" y="527"/>
                      <a:pt x="374" y="527"/>
                    </a:cubicBezTo>
                    <a:cubicBezTo>
                      <a:pt x="374" y="544"/>
                      <a:pt x="374" y="544"/>
                      <a:pt x="374" y="544"/>
                    </a:cubicBezTo>
                    <a:cubicBezTo>
                      <a:pt x="415" y="544"/>
                      <a:pt x="415" y="544"/>
                      <a:pt x="415" y="544"/>
                    </a:cubicBezTo>
                    <a:cubicBezTo>
                      <a:pt x="415" y="563"/>
                      <a:pt x="415" y="563"/>
                      <a:pt x="415" y="563"/>
                    </a:cubicBezTo>
                    <a:cubicBezTo>
                      <a:pt x="436" y="563"/>
                      <a:pt x="436" y="563"/>
                      <a:pt x="436" y="563"/>
                    </a:cubicBezTo>
                    <a:cubicBezTo>
                      <a:pt x="436" y="585"/>
                      <a:pt x="436" y="585"/>
                      <a:pt x="436" y="585"/>
                    </a:cubicBezTo>
                    <a:cubicBezTo>
                      <a:pt x="605" y="585"/>
                      <a:pt x="605" y="585"/>
                      <a:pt x="605" y="585"/>
                    </a:cubicBezTo>
                    <a:cubicBezTo>
                      <a:pt x="605" y="616"/>
                      <a:pt x="605" y="616"/>
                      <a:pt x="605" y="616"/>
                    </a:cubicBezTo>
                    <a:cubicBezTo>
                      <a:pt x="671" y="616"/>
                      <a:pt x="671" y="616"/>
                      <a:pt x="671" y="616"/>
                    </a:cubicBezTo>
                    <a:cubicBezTo>
                      <a:pt x="671" y="645"/>
                      <a:pt x="671" y="645"/>
                      <a:pt x="671" y="645"/>
                    </a:cubicBezTo>
                    <a:cubicBezTo>
                      <a:pt x="994" y="645"/>
                      <a:pt x="994" y="645"/>
                      <a:pt x="994" y="645"/>
                    </a:cubicBezTo>
                  </a:path>
                </a:pathLst>
              </a:custGeom>
              <a:noFill/>
              <a:ln w="19050" cap="flat" cmpd="sng">
                <a:solidFill>
                  <a:schemeClr val="accen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cxnSp>
            <p:nvCxnSpPr>
              <p:cNvPr id="193" name="Google Shape;1259;p17">
                <a:extLst>
                  <a:ext uri="{FF2B5EF4-FFF2-40B4-BE49-F238E27FC236}">
                    <a16:creationId xmlns:a16="http://schemas.microsoft.com/office/drawing/2014/main" id="{1637F635-E72C-483D-8390-67989768CB13}"/>
                  </a:ext>
                </a:extLst>
              </p:cNvPr>
              <p:cNvCxnSpPr/>
              <p:nvPr/>
            </p:nvCxnSpPr>
            <p:spPr>
              <a:xfrm>
                <a:off x="7304" y="3027"/>
                <a:ext cx="0" cy="68"/>
              </a:xfrm>
              <a:prstGeom prst="straightConnector1">
                <a:avLst/>
              </a:prstGeom>
              <a:noFill/>
              <a:ln w="19050" cap="flat" cmpd="sng">
                <a:solidFill>
                  <a:schemeClr val="accent1"/>
                </a:solidFill>
                <a:prstDash val="solid"/>
                <a:miter lim="800000"/>
                <a:headEnd type="none" w="med" len="med"/>
                <a:tailEnd type="none" w="med" len="med"/>
              </a:ln>
            </p:spPr>
          </p:cxnSp>
          <p:cxnSp>
            <p:nvCxnSpPr>
              <p:cNvPr id="194" name="Google Shape;1260;p17">
                <a:extLst>
                  <a:ext uri="{FF2B5EF4-FFF2-40B4-BE49-F238E27FC236}">
                    <a16:creationId xmlns:a16="http://schemas.microsoft.com/office/drawing/2014/main" id="{F27755D3-D0C4-436B-946B-4CB917AAE2DE}"/>
                  </a:ext>
                </a:extLst>
              </p:cNvPr>
              <p:cNvCxnSpPr/>
              <p:nvPr/>
            </p:nvCxnSpPr>
            <p:spPr>
              <a:xfrm rot="10800000">
                <a:off x="7272" y="3061"/>
                <a:ext cx="66" cy="0"/>
              </a:xfrm>
              <a:prstGeom prst="straightConnector1">
                <a:avLst/>
              </a:prstGeom>
              <a:noFill/>
              <a:ln w="19050" cap="flat" cmpd="sng">
                <a:solidFill>
                  <a:schemeClr val="accent1"/>
                </a:solidFill>
                <a:prstDash val="solid"/>
                <a:miter lim="800000"/>
                <a:headEnd type="none" w="med" len="med"/>
                <a:tailEnd type="none" w="med" len="med"/>
              </a:ln>
            </p:spPr>
          </p:cxnSp>
          <p:cxnSp>
            <p:nvCxnSpPr>
              <p:cNvPr id="195" name="Google Shape;1261;p17">
                <a:extLst>
                  <a:ext uri="{FF2B5EF4-FFF2-40B4-BE49-F238E27FC236}">
                    <a16:creationId xmlns:a16="http://schemas.microsoft.com/office/drawing/2014/main" id="{9F9C3460-5B7B-41AD-892D-7C6E5ABDA565}"/>
                  </a:ext>
                </a:extLst>
              </p:cNvPr>
              <p:cNvCxnSpPr/>
              <p:nvPr/>
            </p:nvCxnSpPr>
            <p:spPr>
              <a:xfrm>
                <a:off x="7193" y="3027"/>
                <a:ext cx="0" cy="68"/>
              </a:xfrm>
              <a:prstGeom prst="straightConnector1">
                <a:avLst/>
              </a:prstGeom>
              <a:noFill/>
              <a:ln w="19050" cap="flat" cmpd="sng">
                <a:solidFill>
                  <a:schemeClr val="accent1"/>
                </a:solidFill>
                <a:prstDash val="solid"/>
                <a:miter lim="800000"/>
                <a:headEnd type="none" w="med" len="med"/>
                <a:tailEnd type="none" w="med" len="med"/>
              </a:ln>
            </p:spPr>
          </p:cxnSp>
          <p:cxnSp>
            <p:nvCxnSpPr>
              <p:cNvPr id="196" name="Google Shape;1262;p17">
                <a:extLst>
                  <a:ext uri="{FF2B5EF4-FFF2-40B4-BE49-F238E27FC236}">
                    <a16:creationId xmlns:a16="http://schemas.microsoft.com/office/drawing/2014/main" id="{7FB5BDF9-AB1A-4224-9780-202FA16933CB}"/>
                  </a:ext>
                </a:extLst>
              </p:cNvPr>
              <p:cNvCxnSpPr/>
              <p:nvPr/>
            </p:nvCxnSpPr>
            <p:spPr>
              <a:xfrm rot="10800000">
                <a:off x="7159" y="3061"/>
                <a:ext cx="68" cy="0"/>
              </a:xfrm>
              <a:prstGeom prst="straightConnector1">
                <a:avLst/>
              </a:prstGeom>
              <a:noFill/>
              <a:ln w="19050" cap="flat" cmpd="sng">
                <a:solidFill>
                  <a:schemeClr val="accent1"/>
                </a:solidFill>
                <a:prstDash val="solid"/>
                <a:miter lim="800000"/>
                <a:headEnd type="none" w="med" len="med"/>
                <a:tailEnd type="none" w="med" len="med"/>
              </a:ln>
            </p:spPr>
          </p:cxnSp>
          <p:cxnSp>
            <p:nvCxnSpPr>
              <p:cNvPr id="197" name="Google Shape;1263;p17">
                <a:extLst>
                  <a:ext uri="{FF2B5EF4-FFF2-40B4-BE49-F238E27FC236}">
                    <a16:creationId xmlns:a16="http://schemas.microsoft.com/office/drawing/2014/main" id="{FF9A440B-BC0E-4C56-8504-D2A725422E56}"/>
                  </a:ext>
                </a:extLst>
              </p:cNvPr>
              <p:cNvCxnSpPr/>
              <p:nvPr/>
            </p:nvCxnSpPr>
            <p:spPr>
              <a:xfrm>
                <a:off x="7150" y="3027"/>
                <a:ext cx="0" cy="68"/>
              </a:xfrm>
              <a:prstGeom prst="straightConnector1">
                <a:avLst/>
              </a:prstGeom>
              <a:noFill/>
              <a:ln w="19050" cap="flat" cmpd="sng">
                <a:solidFill>
                  <a:schemeClr val="accent1"/>
                </a:solidFill>
                <a:prstDash val="solid"/>
                <a:miter lim="800000"/>
                <a:headEnd type="none" w="med" len="med"/>
                <a:tailEnd type="none" w="med" len="med"/>
              </a:ln>
            </p:spPr>
          </p:cxnSp>
          <p:cxnSp>
            <p:nvCxnSpPr>
              <p:cNvPr id="198" name="Google Shape;1264;p17">
                <a:extLst>
                  <a:ext uri="{FF2B5EF4-FFF2-40B4-BE49-F238E27FC236}">
                    <a16:creationId xmlns:a16="http://schemas.microsoft.com/office/drawing/2014/main" id="{DBEDCACD-0AA7-41ED-9C7F-47E2087CB023}"/>
                  </a:ext>
                </a:extLst>
              </p:cNvPr>
              <p:cNvCxnSpPr/>
              <p:nvPr/>
            </p:nvCxnSpPr>
            <p:spPr>
              <a:xfrm rot="10800000">
                <a:off x="7116" y="3061"/>
                <a:ext cx="68" cy="0"/>
              </a:xfrm>
              <a:prstGeom prst="straightConnector1">
                <a:avLst/>
              </a:prstGeom>
              <a:noFill/>
              <a:ln w="19050" cap="flat" cmpd="sng">
                <a:solidFill>
                  <a:schemeClr val="accent1"/>
                </a:solidFill>
                <a:prstDash val="solid"/>
                <a:miter lim="800000"/>
                <a:headEnd type="none" w="med" len="med"/>
                <a:tailEnd type="none" w="med" len="med"/>
              </a:ln>
            </p:spPr>
          </p:cxnSp>
          <p:cxnSp>
            <p:nvCxnSpPr>
              <p:cNvPr id="199" name="Google Shape;1265;p17">
                <a:extLst>
                  <a:ext uri="{FF2B5EF4-FFF2-40B4-BE49-F238E27FC236}">
                    <a16:creationId xmlns:a16="http://schemas.microsoft.com/office/drawing/2014/main" id="{11E3E7CD-BD2E-4FA7-8718-CB03BCEB7891}"/>
                  </a:ext>
                </a:extLst>
              </p:cNvPr>
              <p:cNvCxnSpPr/>
              <p:nvPr/>
            </p:nvCxnSpPr>
            <p:spPr>
              <a:xfrm>
                <a:off x="7043" y="3027"/>
                <a:ext cx="0" cy="68"/>
              </a:xfrm>
              <a:prstGeom prst="straightConnector1">
                <a:avLst/>
              </a:prstGeom>
              <a:noFill/>
              <a:ln w="19050" cap="flat" cmpd="sng">
                <a:solidFill>
                  <a:schemeClr val="accent1"/>
                </a:solidFill>
                <a:prstDash val="solid"/>
                <a:miter lim="800000"/>
                <a:headEnd type="none" w="med" len="med"/>
                <a:tailEnd type="none" w="med" len="med"/>
              </a:ln>
            </p:spPr>
          </p:cxnSp>
          <p:cxnSp>
            <p:nvCxnSpPr>
              <p:cNvPr id="200" name="Google Shape;1266;p17">
                <a:extLst>
                  <a:ext uri="{FF2B5EF4-FFF2-40B4-BE49-F238E27FC236}">
                    <a16:creationId xmlns:a16="http://schemas.microsoft.com/office/drawing/2014/main" id="{F43520F1-62DA-48CF-9A83-31CFF2798D26}"/>
                  </a:ext>
                </a:extLst>
              </p:cNvPr>
              <p:cNvCxnSpPr/>
              <p:nvPr/>
            </p:nvCxnSpPr>
            <p:spPr>
              <a:xfrm rot="10800000">
                <a:off x="7009" y="3061"/>
                <a:ext cx="68" cy="0"/>
              </a:xfrm>
              <a:prstGeom prst="straightConnector1">
                <a:avLst/>
              </a:prstGeom>
              <a:noFill/>
              <a:ln w="19050" cap="flat" cmpd="sng">
                <a:solidFill>
                  <a:schemeClr val="accent1"/>
                </a:solidFill>
                <a:prstDash val="solid"/>
                <a:miter lim="800000"/>
                <a:headEnd type="none" w="med" len="med"/>
                <a:tailEnd type="none" w="med" len="med"/>
              </a:ln>
            </p:spPr>
          </p:cxnSp>
          <p:cxnSp>
            <p:nvCxnSpPr>
              <p:cNvPr id="209" name="Google Shape;1267;p17">
                <a:extLst>
                  <a:ext uri="{FF2B5EF4-FFF2-40B4-BE49-F238E27FC236}">
                    <a16:creationId xmlns:a16="http://schemas.microsoft.com/office/drawing/2014/main" id="{50387D49-B209-435B-B797-2835E0C0B550}"/>
                  </a:ext>
                </a:extLst>
              </p:cNvPr>
              <p:cNvCxnSpPr/>
              <p:nvPr/>
            </p:nvCxnSpPr>
            <p:spPr>
              <a:xfrm>
                <a:off x="6950" y="3027"/>
                <a:ext cx="0" cy="68"/>
              </a:xfrm>
              <a:prstGeom prst="straightConnector1">
                <a:avLst/>
              </a:prstGeom>
              <a:noFill/>
              <a:ln w="19050" cap="flat" cmpd="sng">
                <a:solidFill>
                  <a:schemeClr val="accent1"/>
                </a:solidFill>
                <a:prstDash val="solid"/>
                <a:miter lim="800000"/>
                <a:headEnd type="none" w="med" len="med"/>
                <a:tailEnd type="none" w="med" len="med"/>
              </a:ln>
            </p:spPr>
          </p:cxnSp>
          <p:cxnSp>
            <p:nvCxnSpPr>
              <p:cNvPr id="210" name="Google Shape;1268;p17">
                <a:extLst>
                  <a:ext uri="{FF2B5EF4-FFF2-40B4-BE49-F238E27FC236}">
                    <a16:creationId xmlns:a16="http://schemas.microsoft.com/office/drawing/2014/main" id="{6E8C4283-16BE-4A0F-A6E6-B931850E204C}"/>
                  </a:ext>
                </a:extLst>
              </p:cNvPr>
              <p:cNvCxnSpPr/>
              <p:nvPr/>
            </p:nvCxnSpPr>
            <p:spPr>
              <a:xfrm rot="10800000">
                <a:off x="6916" y="3061"/>
                <a:ext cx="68" cy="0"/>
              </a:xfrm>
              <a:prstGeom prst="straightConnector1">
                <a:avLst/>
              </a:prstGeom>
              <a:noFill/>
              <a:ln w="19050" cap="flat" cmpd="sng">
                <a:solidFill>
                  <a:schemeClr val="accent1"/>
                </a:solidFill>
                <a:prstDash val="solid"/>
                <a:miter lim="800000"/>
                <a:headEnd type="none" w="med" len="med"/>
                <a:tailEnd type="none" w="med" len="med"/>
              </a:ln>
            </p:spPr>
          </p:cxnSp>
          <p:cxnSp>
            <p:nvCxnSpPr>
              <p:cNvPr id="211" name="Google Shape;1269;p17">
                <a:extLst>
                  <a:ext uri="{FF2B5EF4-FFF2-40B4-BE49-F238E27FC236}">
                    <a16:creationId xmlns:a16="http://schemas.microsoft.com/office/drawing/2014/main" id="{63AF6B94-5BA4-4CF4-9CE5-C3ECF7446DC7}"/>
                  </a:ext>
                </a:extLst>
              </p:cNvPr>
              <p:cNvCxnSpPr/>
              <p:nvPr/>
            </p:nvCxnSpPr>
            <p:spPr>
              <a:xfrm>
                <a:off x="6896" y="3027"/>
                <a:ext cx="0" cy="68"/>
              </a:xfrm>
              <a:prstGeom prst="straightConnector1">
                <a:avLst/>
              </a:prstGeom>
              <a:noFill/>
              <a:ln w="19050" cap="flat" cmpd="sng">
                <a:solidFill>
                  <a:schemeClr val="accent1"/>
                </a:solidFill>
                <a:prstDash val="solid"/>
                <a:miter lim="800000"/>
                <a:headEnd type="none" w="med" len="med"/>
                <a:tailEnd type="none" w="med" len="med"/>
              </a:ln>
            </p:spPr>
          </p:cxnSp>
          <p:cxnSp>
            <p:nvCxnSpPr>
              <p:cNvPr id="212" name="Google Shape;1270;p17">
                <a:extLst>
                  <a:ext uri="{FF2B5EF4-FFF2-40B4-BE49-F238E27FC236}">
                    <a16:creationId xmlns:a16="http://schemas.microsoft.com/office/drawing/2014/main" id="{78972A48-80E0-493F-8C62-49260279A217}"/>
                  </a:ext>
                </a:extLst>
              </p:cNvPr>
              <p:cNvCxnSpPr/>
              <p:nvPr/>
            </p:nvCxnSpPr>
            <p:spPr>
              <a:xfrm rot="10800000">
                <a:off x="6862" y="3061"/>
                <a:ext cx="66" cy="0"/>
              </a:xfrm>
              <a:prstGeom prst="straightConnector1">
                <a:avLst/>
              </a:prstGeom>
              <a:noFill/>
              <a:ln w="19050" cap="flat" cmpd="sng">
                <a:solidFill>
                  <a:schemeClr val="accent1"/>
                </a:solidFill>
                <a:prstDash val="solid"/>
                <a:miter lim="800000"/>
                <a:headEnd type="none" w="med" len="med"/>
                <a:tailEnd type="none" w="med" len="med"/>
              </a:ln>
            </p:spPr>
          </p:cxnSp>
          <p:cxnSp>
            <p:nvCxnSpPr>
              <p:cNvPr id="213" name="Google Shape;1271;p17">
                <a:extLst>
                  <a:ext uri="{FF2B5EF4-FFF2-40B4-BE49-F238E27FC236}">
                    <a16:creationId xmlns:a16="http://schemas.microsoft.com/office/drawing/2014/main" id="{FA35A460-29B5-48DB-87E7-AD8C3A6BC4D9}"/>
                  </a:ext>
                </a:extLst>
              </p:cNvPr>
              <p:cNvCxnSpPr/>
              <p:nvPr/>
            </p:nvCxnSpPr>
            <p:spPr>
              <a:xfrm>
                <a:off x="6386" y="2889"/>
                <a:ext cx="0" cy="68"/>
              </a:xfrm>
              <a:prstGeom prst="straightConnector1">
                <a:avLst/>
              </a:prstGeom>
              <a:noFill/>
              <a:ln w="19050" cap="flat" cmpd="sng">
                <a:solidFill>
                  <a:schemeClr val="accent1"/>
                </a:solidFill>
                <a:prstDash val="solid"/>
                <a:miter lim="800000"/>
                <a:headEnd type="none" w="med" len="med"/>
                <a:tailEnd type="none" w="med" len="med"/>
              </a:ln>
            </p:spPr>
          </p:cxnSp>
          <p:cxnSp>
            <p:nvCxnSpPr>
              <p:cNvPr id="214" name="Google Shape;1272;p17">
                <a:extLst>
                  <a:ext uri="{FF2B5EF4-FFF2-40B4-BE49-F238E27FC236}">
                    <a16:creationId xmlns:a16="http://schemas.microsoft.com/office/drawing/2014/main" id="{6BD31498-F183-4231-8C8A-E6CF5006F120}"/>
                  </a:ext>
                </a:extLst>
              </p:cNvPr>
              <p:cNvCxnSpPr/>
              <p:nvPr/>
            </p:nvCxnSpPr>
            <p:spPr>
              <a:xfrm rot="10800000">
                <a:off x="6352" y="2923"/>
                <a:ext cx="68" cy="0"/>
              </a:xfrm>
              <a:prstGeom prst="straightConnector1">
                <a:avLst/>
              </a:prstGeom>
              <a:noFill/>
              <a:ln w="19050" cap="flat" cmpd="sng">
                <a:solidFill>
                  <a:schemeClr val="accent1"/>
                </a:solidFill>
                <a:prstDash val="solid"/>
                <a:miter lim="800000"/>
                <a:headEnd type="none" w="med" len="med"/>
                <a:tailEnd type="none" w="med" len="med"/>
              </a:ln>
            </p:spPr>
          </p:cxnSp>
          <p:cxnSp>
            <p:nvCxnSpPr>
              <p:cNvPr id="215" name="Google Shape;1273;p17">
                <a:extLst>
                  <a:ext uri="{FF2B5EF4-FFF2-40B4-BE49-F238E27FC236}">
                    <a16:creationId xmlns:a16="http://schemas.microsoft.com/office/drawing/2014/main" id="{101D10A7-5F51-45EC-B15B-11F975EDAAA8}"/>
                  </a:ext>
                </a:extLst>
              </p:cNvPr>
              <p:cNvCxnSpPr/>
              <p:nvPr/>
            </p:nvCxnSpPr>
            <p:spPr>
              <a:xfrm>
                <a:off x="6294" y="2889"/>
                <a:ext cx="0" cy="68"/>
              </a:xfrm>
              <a:prstGeom prst="straightConnector1">
                <a:avLst/>
              </a:prstGeom>
              <a:noFill/>
              <a:ln w="19050" cap="flat" cmpd="sng">
                <a:solidFill>
                  <a:schemeClr val="accent1"/>
                </a:solidFill>
                <a:prstDash val="solid"/>
                <a:miter lim="800000"/>
                <a:headEnd type="none" w="med" len="med"/>
                <a:tailEnd type="none" w="med" len="med"/>
              </a:ln>
            </p:spPr>
          </p:cxnSp>
          <p:cxnSp>
            <p:nvCxnSpPr>
              <p:cNvPr id="217" name="Google Shape;1274;p17">
                <a:extLst>
                  <a:ext uri="{FF2B5EF4-FFF2-40B4-BE49-F238E27FC236}">
                    <a16:creationId xmlns:a16="http://schemas.microsoft.com/office/drawing/2014/main" id="{CB7FC223-5CDC-4919-8678-393D965BCB2B}"/>
                  </a:ext>
                </a:extLst>
              </p:cNvPr>
              <p:cNvCxnSpPr/>
              <p:nvPr/>
            </p:nvCxnSpPr>
            <p:spPr>
              <a:xfrm rot="10800000">
                <a:off x="6260" y="2923"/>
                <a:ext cx="65" cy="0"/>
              </a:xfrm>
              <a:prstGeom prst="straightConnector1">
                <a:avLst/>
              </a:prstGeom>
              <a:noFill/>
              <a:ln w="19050" cap="flat" cmpd="sng">
                <a:solidFill>
                  <a:schemeClr val="accent1"/>
                </a:solidFill>
                <a:prstDash val="solid"/>
                <a:miter lim="800000"/>
                <a:headEnd type="none" w="med" len="med"/>
                <a:tailEnd type="none" w="med" len="med"/>
              </a:ln>
            </p:spPr>
          </p:cxnSp>
          <p:cxnSp>
            <p:nvCxnSpPr>
              <p:cNvPr id="218" name="Google Shape;1275;p17">
                <a:extLst>
                  <a:ext uri="{FF2B5EF4-FFF2-40B4-BE49-F238E27FC236}">
                    <a16:creationId xmlns:a16="http://schemas.microsoft.com/office/drawing/2014/main" id="{00216D00-2CEB-4ACE-B77C-51706BC2863B}"/>
                  </a:ext>
                </a:extLst>
              </p:cNvPr>
              <p:cNvCxnSpPr/>
              <p:nvPr/>
            </p:nvCxnSpPr>
            <p:spPr>
              <a:xfrm>
                <a:off x="6135" y="2889"/>
                <a:ext cx="0" cy="68"/>
              </a:xfrm>
              <a:prstGeom prst="straightConnector1">
                <a:avLst/>
              </a:prstGeom>
              <a:noFill/>
              <a:ln w="19050" cap="flat" cmpd="sng">
                <a:solidFill>
                  <a:schemeClr val="accent1"/>
                </a:solidFill>
                <a:prstDash val="solid"/>
                <a:miter lim="800000"/>
                <a:headEnd type="none" w="med" len="med"/>
                <a:tailEnd type="none" w="med" len="med"/>
              </a:ln>
            </p:spPr>
          </p:cxnSp>
          <p:cxnSp>
            <p:nvCxnSpPr>
              <p:cNvPr id="219" name="Google Shape;1276;p17">
                <a:extLst>
                  <a:ext uri="{FF2B5EF4-FFF2-40B4-BE49-F238E27FC236}">
                    <a16:creationId xmlns:a16="http://schemas.microsoft.com/office/drawing/2014/main" id="{8B0C1A74-00AE-4722-B910-61BA736A1B30}"/>
                  </a:ext>
                </a:extLst>
              </p:cNvPr>
              <p:cNvCxnSpPr/>
              <p:nvPr/>
            </p:nvCxnSpPr>
            <p:spPr>
              <a:xfrm rot="10800000">
                <a:off x="6103" y="2923"/>
                <a:ext cx="66" cy="0"/>
              </a:xfrm>
              <a:prstGeom prst="straightConnector1">
                <a:avLst/>
              </a:prstGeom>
              <a:noFill/>
              <a:ln w="19050" cap="flat" cmpd="sng">
                <a:solidFill>
                  <a:schemeClr val="accent1"/>
                </a:solidFill>
                <a:prstDash val="solid"/>
                <a:miter lim="800000"/>
                <a:headEnd type="none" w="med" len="med"/>
                <a:tailEnd type="none" w="med" len="med"/>
              </a:ln>
            </p:spPr>
          </p:cxnSp>
          <p:cxnSp>
            <p:nvCxnSpPr>
              <p:cNvPr id="224" name="Google Shape;1277;p17">
                <a:extLst>
                  <a:ext uri="{FF2B5EF4-FFF2-40B4-BE49-F238E27FC236}">
                    <a16:creationId xmlns:a16="http://schemas.microsoft.com/office/drawing/2014/main" id="{5C27E3E9-F0FF-452E-A742-D18E13C5F4A9}"/>
                  </a:ext>
                </a:extLst>
              </p:cNvPr>
              <p:cNvCxnSpPr/>
              <p:nvPr/>
            </p:nvCxnSpPr>
            <p:spPr>
              <a:xfrm>
                <a:off x="6092" y="2889"/>
                <a:ext cx="0" cy="68"/>
              </a:xfrm>
              <a:prstGeom prst="straightConnector1">
                <a:avLst/>
              </a:prstGeom>
              <a:noFill/>
              <a:ln w="19050" cap="flat" cmpd="sng">
                <a:solidFill>
                  <a:schemeClr val="accent1"/>
                </a:solidFill>
                <a:prstDash val="solid"/>
                <a:miter lim="800000"/>
                <a:headEnd type="none" w="med" len="med"/>
                <a:tailEnd type="none" w="med" len="med"/>
              </a:ln>
            </p:spPr>
          </p:cxnSp>
          <p:cxnSp>
            <p:nvCxnSpPr>
              <p:cNvPr id="225" name="Google Shape;1278;p17">
                <a:extLst>
                  <a:ext uri="{FF2B5EF4-FFF2-40B4-BE49-F238E27FC236}">
                    <a16:creationId xmlns:a16="http://schemas.microsoft.com/office/drawing/2014/main" id="{8057E716-7005-4C4C-A8EB-CE760B11057D}"/>
                  </a:ext>
                </a:extLst>
              </p:cNvPr>
              <p:cNvCxnSpPr/>
              <p:nvPr/>
            </p:nvCxnSpPr>
            <p:spPr>
              <a:xfrm rot="10800000">
                <a:off x="6058" y="2923"/>
                <a:ext cx="68" cy="0"/>
              </a:xfrm>
              <a:prstGeom prst="straightConnector1">
                <a:avLst/>
              </a:prstGeom>
              <a:noFill/>
              <a:ln w="19050" cap="flat" cmpd="sng">
                <a:solidFill>
                  <a:schemeClr val="accent1"/>
                </a:solidFill>
                <a:prstDash val="solid"/>
                <a:miter lim="800000"/>
                <a:headEnd type="none" w="med" len="med"/>
                <a:tailEnd type="none" w="med" len="med"/>
              </a:ln>
            </p:spPr>
          </p:cxnSp>
          <p:cxnSp>
            <p:nvCxnSpPr>
              <p:cNvPr id="226" name="Google Shape;1279;p17">
                <a:extLst>
                  <a:ext uri="{FF2B5EF4-FFF2-40B4-BE49-F238E27FC236}">
                    <a16:creationId xmlns:a16="http://schemas.microsoft.com/office/drawing/2014/main" id="{9FA2A0A5-2541-4FBB-9337-D34666C32E45}"/>
                  </a:ext>
                </a:extLst>
              </p:cNvPr>
              <p:cNvCxnSpPr/>
              <p:nvPr/>
            </p:nvCxnSpPr>
            <p:spPr>
              <a:xfrm>
                <a:off x="6013" y="2843"/>
                <a:ext cx="0" cy="66"/>
              </a:xfrm>
              <a:prstGeom prst="straightConnector1">
                <a:avLst/>
              </a:prstGeom>
              <a:noFill/>
              <a:ln w="19050" cap="flat" cmpd="sng">
                <a:solidFill>
                  <a:schemeClr val="accent1"/>
                </a:solidFill>
                <a:prstDash val="solid"/>
                <a:miter lim="800000"/>
                <a:headEnd type="none" w="med" len="med"/>
                <a:tailEnd type="none" w="med" len="med"/>
              </a:ln>
            </p:spPr>
          </p:cxnSp>
          <p:cxnSp>
            <p:nvCxnSpPr>
              <p:cNvPr id="227" name="Google Shape;1280;p17">
                <a:extLst>
                  <a:ext uri="{FF2B5EF4-FFF2-40B4-BE49-F238E27FC236}">
                    <a16:creationId xmlns:a16="http://schemas.microsoft.com/office/drawing/2014/main" id="{B33AF608-A7E3-43CC-B62D-7496A02A13B4}"/>
                  </a:ext>
                </a:extLst>
              </p:cNvPr>
              <p:cNvCxnSpPr/>
              <p:nvPr/>
            </p:nvCxnSpPr>
            <p:spPr>
              <a:xfrm rot="10800000">
                <a:off x="5979" y="2877"/>
                <a:ext cx="68" cy="0"/>
              </a:xfrm>
              <a:prstGeom prst="straightConnector1">
                <a:avLst/>
              </a:prstGeom>
              <a:noFill/>
              <a:ln w="19050" cap="flat" cmpd="sng">
                <a:solidFill>
                  <a:schemeClr val="accent1"/>
                </a:solidFill>
                <a:prstDash val="solid"/>
                <a:miter lim="800000"/>
                <a:headEnd type="none" w="med" len="med"/>
                <a:tailEnd type="none" w="med" len="med"/>
              </a:ln>
            </p:spPr>
          </p:cxnSp>
          <p:cxnSp>
            <p:nvCxnSpPr>
              <p:cNvPr id="228" name="Google Shape;1281;p17">
                <a:extLst>
                  <a:ext uri="{FF2B5EF4-FFF2-40B4-BE49-F238E27FC236}">
                    <a16:creationId xmlns:a16="http://schemas.microsoft.com/office/drawing/2014/main" id="{C71C9826-2522-4C96-88CF-22D0D8039C22}"/>
                  </a:ext>
                </a:extLst>
              </p:cNvPr>
              <p:cNvCxnSpPr/>
              <p:nvPr/>
            </p:nvCxnSpPr>
            <p:spPr>
              <a:xfrm>
                <a:off x="5963" y="2796"/>
                <a:ext cx="0" cy="68"/>
              </a:xfrm>
              <a:prstGeom prst="straightConnector1">
                <a:avLst/>
              </a:prstGeom>
              <a:noFill/>
              <a:ln w="19050" cap="flat" cmpd="sng">
                <a:solidFill>
                  <a:schemeClr val="accent1"/>
                </a:solidFill>
                <a:prstDash val="solid"/>
                <a:miter lim="800000"/>
                <a:headEnd type="none" w="med" len="med"/>
                <a:tailEnd type="none" w="med" len="med"/>
              </a:ln>
            </p:spPr>
          </p:cxnSp>
          <p:cxnSp>
            <p:nvCxnSpPr>
              <p:cNvPr id="229" name="Google Shape;1282;p17">
                <a:extLst>
                  <a:ext uri="{FF2B5EF4-FFF2-40B4-BE49-F238E27FC236}">
                    <a16:creationId xmlns:a16="http://schemas.microsoft.com/office/drawing/2014/main" id="{A3766574-80C7-4E9B-8B50-7FB9CD1BA189}"/>
                  </a:ext>
                </a:extLst>
              </p:cNvPr>
              <p:cNvCxnSpPr/>
              <p:nvPr/>
            </p:nvCxnSpPr>
            <p:spPr>
              <a:xfrm rot="10800000">
                <a:off x="5929" y="2830"/>
                <a:ext cx="66" cy="0"/>
              </a:xfrm>
              <a:prstGeom prst="straightConnector1">
                <a:avLst/>
              </a:prstGeom>
              <a:noFill/>
              <a:ln w="19050" cap="flat" cmpd="sng">
                <a:solidFill>
                  <a:schemeClr val="accent1"/>
                </a:solidFill>
                <a:prstDash val="solid"/>
                <a:miter lim="800000"/>
                <a:headEnd type="none" w="med" len="med"/>
                <a:tailEnd type="none" w="med" len="med"/>
              </a:ln>
            </p:spPr>
          </p:cxnSp>
          <p:cxnSp>
            <p:nvCxnSpPr>
              <p:cNvPr id="230" name="Google Shape;1283;p17">
                <a:extLst>
                  <a:ext uri="{FF2B5EF4-FFF2-40B4-BE49-F238E27FC236}">
                    <a16:creationId xmlns:a16="http://schemas.microsoft.com/office/drawing/2014/main" id="{0F557B6C-82BF-443E-A2BA-67450C51788B}"/>
                  </a:ext>
                </a:extLst>
              </p:cNvPr>
              <p:cNvCxnSpPr/>
              <p:nvPr/>
            </p:nvCxnSpPr>
            <p:spPr>
              <a:xfrm>
                <a:off x="5908" y="2796"/>
                <a:ext cx="0" cy="68"/>
              </a:xfrm>
              <a:prstGeom prst="straightConnector1">
                <a:avLst/>
              </a:prstGeom>
              <a:noFill/>
              <a:ln w="19050" cap="flat" cmpd="sng">
                <a:solidFill>
                  <a:schemeClr val="accent1"/>
                </a:solidFill>
                <a:prstDash val="solid"/>
                <a:miter lim="800000"/>
                <a:headEnd type="none" w="med" len="med"/>
                <a:tailEnd type="none" w="med" len="med"/>
              </a:ln>
            </p:spPr>
          </p:cxnSp>
          <p:cxnSp>
            <p:nvCxnSpPr>
              <p:cNvPr id="231" name="Google Shape;1284;p17">
                <a:extLst>
                  <a:ext uri="{FF2B5EF4-FFF2-40B4-BE49-F238E27FC236}">
                    <a16:creationId xmlns:a16="http://schemas.microsoft.com/office/drawing/2014/main" id="{027BAA0F-44C0-4B08-943F-DE0387460EAA}"/>
                  </a:ext>
                </a:extLst>
              </p:cNvPr>
              <p:cNvCxnSpPr/>
              <p:nvPr/>
            </p:nvCxnSpPr>
            <p:spPr>
              <a:xfrm rot="10800000">
                <a:off x="5877" y="2830"/>
                <a:ext cx="65" cy="0"/>
              </a:xfrm>
              <a:prstGeom prst="straightConnector1">
                <a:avLst/>
              </a:prstGeom>
              <a:noFill/>
              <a:ln w="19050" cap="flat" cmpd="sng">
                <a:solidFill>
                  <a:schemeClr val="accent1"/>
                </a:solidFill>
                <a:prstDash val="solid"/>
                <a:miter lim="800000"/>
                <a:headEnd type="none" w="med" len="med"/>
                <a:tailEnd type="none" w="med" len="med"/>
              </a:ln>
            </p:spPr>
          </p:cxnSp>
          <p:cxnSp>
            <p:nvCxnSpPr>
              <p:cNvPr id="232" name="Google Shape;1285;p17">
                <a:extLst>
                  <a:ext uri="{FF2B5EF4-FFF2-40B4-BE49-F238E27FC236}">
                    <a16:creationId xmlns:a16="http://schemas.microsoft.com/office/drawing/2014/main" id="{B9826913-AD85-46B5-9F64-BBBAD0C0017A}"/>
                  </a:ext>
                </a:extLst>
              </p:cNvPr>
              <p:cNvCxnSpPr/>
              <p:nvPr/>
            </p:nvCxnSpPr>
            <p:spPr>
              <a:xfrm>
                <a:off x="5564" y="2348"/>
                <a:ext cx="0" cy="69"/>
              </a:xfrm>
              <a:prstGeom prst="straightConnector1">
                <a:avLst/>
              </a:prstGeom>
              <a:noFill/>
              <a:ln w="19050" cap="flat" cmpd="sng">
                <a:solidFill>
                  <a:schemeClr val="accent1"/>
                </a:solidFill>
                <a:prstDash val="solid"/>
                <a:miter lim="800000"/>
                <a:headEnd type="none" w="med" len="med"/>
                <a:tailEnd type="none" w="med" len="med"/>
              </a:ln>
            </p:spPr>
          </p:cxnSp>
          <p:cxnSp>
            <p:nvCxnSpPr>
              <p:cNvPr id="233" name="Google Shape;1286;p17">
                <a:extLst>
                  <a:ext uri="{FF2B5EF4-FFF2-40B4-BE49-F238E27FC236}">
                    <a16:creationId xmlns:a16="http://schemas.microsoft.com/office/drawing/2014/main" id="{8E300E86-FD3C-4989-9CF1-537FA6444C95}"/>
                  </a:ext>
                </a:extLst>
              </p:cNvPr>
              <p:cNvCxnSpPr/>
              <p:nvPr/>
            </p:nvCxnSpPr>
            <p:spPr>
              <a:xfrm rot="10800000">
                <a:off x="5530" y="2383"/>
                <a:ext cx="68" cy="0"/>
              </a:xfrm>
              <a:prstGeom prst="straightConnector1">
                <a:avLst/>
              </a:prstGeom>
              <a:noFill/>
              <a:ln w="19050" cap="flat" cmpd="sng">
                <a:solidFill>
                  <a:schemeClr val="accent1"/>
                </a:solidFill>
                <a:prstDash val="solid"/>
                <a:miter lim="800000"/>
                <a:headEnd type="none" w="med" len="med"/>
                <a:tailEnd type="none" w="med" len="med"/>
              </a:ln>
            </p:spPr>
          </p:cxnSp>
          <p:cxnSp>
            <p:nvCxnSpPr>
              <p:cNvPr id="234" name="Google Shape;1287;p17">
                <a:extLst>
                  <a:ext uri="{FF2B5EF4-FFF2-40B4-BE49-F238E27FC236}">
                    <a16:creationId xmlns:a16="http://schemas.microsoft.com/office/drawing/2014/main" id="{AA18C931-A783-49C3-B77F-8CAE899F64C3}"/>
                  </a:ext>
                </a:extLst>
              </p:cNvPr>
              <p:cNvCxnSpPr/>
              <p:nvPr/>
            </p:nvCxnSpPr>
            <p:spPr>
              <a:xfrm>
                <a:off x="5442" y="2199"/>
                <a:ext cx="0" cy="68"/>
              </a:xfrm>
              <a:prstGeom prst="straightConnector1">
                <a:avLst/>
              </a:prstGeom>
              <a:noFill/>
              <a:ln w="19050" cap="flat" cmpd="sng">
                <a:solidFill>
                  <a:schemeClr val="accent1"/>
                </a:solidFill>
                <a:prstDash val="solid"/>
                <a:miter lim="800000"/>
                <a:headEnd type="none" w="med" len="med"/>
                <a:tailEnd type="none" w="med" len="med"/>
              </a:ln>
            </p:spPr>
          </p:cxnSp>
          <p:cxnSp>
            <p:nvCxnSpPr>
              <p:cNvPr id="235" name="Google Shape;1288;p17">
                <a:extLst>
                  <a:ext uri="{FF2B5EF4-FFF2-40B4-BE49-F238E27FC236}">
                    <a16:creationId xmlns:a16="http://schemas.microsoft.com/office/drawing/2014/main" id="{3728D9B8-F58A-4CB5-8745-F334928D07D0}"/>
                  </a:ext>
                </a:extLst>
              </p:cNvPr>
              <p:cNvCxnSpPr/>
              <p:nvPr/>
            </p:nvCxnSpPr>
            <p:spPr>
              <a:xfrm rot="10800000">
                <a:off x="5408" y="2233"/>
                <a:ext cx="68" cy="0"/>
              </a:xfrm>
              <a:prstGeom prst="straightConnector1">
                <a:avLst/>
              </a:prstGeom>
              <a:noFill/>
              <a:ln w="19050" cap="flat" cmpd="sng">
                <a:solidFill>
                  <a:schemeClr val="accent1"/>
                </a:solidFill>
                <a:prstDash val="solid"/>
                <a:miter lim="800000"/>
                <a:headEnd type="none" w="med" len="med"/>
                <a:tailEnd type="none" w="med" len="med"/>
              </a:ln>
            </p:spPr>
          </p:cxnSp>
          <p:cxnSp>
            <p:nvCxnSpPr>
              <p:cNvPr id="236" name="Google Shape;1289;p17">
                <a:extLst>
                  <a:ext uri="{FF2B5EF4-FFF2-40B4-BE49-F238E27FC236}">
                    <a16:creationId xmlns:a16="http://schemas.microsoft.com/office/drawing/2014/main" id="{530E9D13-29BE-40EA-8857-6056D817BBE8}"/>
                  </a:ext>
                </a:extLst>
              </p:cNvPr>
              <p:cNvCxnSpPr/>
              <p:nvPr/>
            </p:nvCxnSpPr>
            <p:spPr>
              <a:xfrm>
                <a:off x="5211" y="2022"/>
                <a:ext cx="0" cy="68"/>
              </a:xfrm>
              <a:prstGeom prst="straightConnector1">
                <a:avLst/>
              </a:prstGeom>
              <a:noFill/>
              <a:ln w="19050" cap="flat" cmpd="sng">
                <a:solidFill>
                  <a:schemeClr val="accent1"/>
                </a:solidFill>
                <a:prstDash val="solid"/>
                <a:miter lim="800000"/>
                <a:headEnd type="none" w="med" len="med"/>
                <a:tailEnd type="none" w="med" len="med"/>
              </a:ln>
            </p:spPr>
          </p:cxnSp>
          <p:cxnSp>
            <p:nvCxnSpPr>
              <p:cNvPr id="237" name="Google Shape;1290;p17">
                <a:extLst>
                  <a:ext uri="{FF2B5EF4-FFF2-40B4-BE49-F238E27FC236}">
                    <a16:creationId xmlns:a16="http://schemas.microsoft.com/office/drawing/2014/main" id="{41952398-6A9F-4DF7-9E46-E650A44BBDCB}"/>
                  </a:ext>
                </a:extLst>
              </p:cNvPr>
              <p:cNvCxnSpPr/>
              <p:nvPr/>
            </p:nvCxnSpPr>
            <p:spPr>
              <a:xfrm rot="10800000">
                <a:off x="5177" y="2056"/>
                <a:ext cx="68" cy="0"/>
              </a:xfrm>
              <a:prstGeom prst="straightConnector1">
                <a:avLst/>
              </a:prstGeom>
              <a:noFill/>
              <a:ln w="19050" cap="flat" cmpd="sng">
                <a:solidFill>
                  <a:schemeClr val="accent1"/>
                </a:solidFill>
                <a:prstDash val="solid"/>
                <a:miter lim="800000"/>
                <a:headEnd type="none" w="med" len="med"/>
                <a:tailEnd type="none" w="med" len="med"/>
              </a:ln>
            </p:spPr>
          </p:cxnSp>
          <p:cxnSp>
            <p:nvCxnSpPr>
              <p:cNvPr id="238" name="Google Shape;1291;p17">
                <a:extLst>
                  <a:ext uri="{FF2B5EF4-FFF2-40B4-BE49-F238E27FC236}">
                    <a16:creationId xmlns:a16="http://schemas.microsoft.com/office/drawing/2014/main" id="{CA827B87-6AB9-4B46-867A-97124BAEEF25}"/>
                  </a:ext>
                </a:extLst>
              </p:cNvPr>
              <p:cNvCxnSpPr/>
              <p:nvPr/>
            </p:nvCxnSpPr>
            <p:spPr>
              <a:xfrm>
                <a:off x="5417" y="2165"/>
                <a:ext cx="0" cy="68"/>
              </a:xfrm>
              <a:prstGeom prst="straightConnector1">
                <a:avLst/>
              </a:prstGeom>
              <a:noFill/>
              <a:ln w="19050" cap="flat" cmpd="sng">
                <a:solidFill>
                  <a:schemeClr val="accent1"/>
                </a:solidFill>
                <a:prstDash val="solid"/>
                <a:miter lim="800000"/>
                <a:headEnd type="none" w="med" len="med"/>
                <a:tailEnd type="none" w="med" len="med"/>
              </a:ln>
            </p:spPr>
          </p:cxnSp>
          <p:cxnSp>
            <p:nvCxnSpPr>
              <p:cNvPr id="239" name="Google Shape;1292;p17">
                <a:extLst>
                  <a:ext uri="{FF2B5EF4-FFF2-40B4-BE49-F238E27FC236}">
                    <a16:creationId xmlns:a16="http://schemas.microsoft.com/office/drawing/2014/main" id="{417B72BB-AB0D-49D9-A152-642608FA4B61}"/>
                  </a:ext>
                </a:extLst>
              </p:cNvPr>
              <p:cNvCxnSpPr/>
              <p:nvPr/>
            </p:nvCxnSpPr>
            <p:spPr>
              <a:xfrm rot="10800000">
                <a:off x="5383" y="2199"/>
                <a:ext cx="68" cy="0"/>
              </a:xfrm>
              <a:prstGeom prst="straightConnector1">
                <a:avLst/>
              </a:prstGeom>
              <a:noFill/>
              <a:ln w="19050" cap="flat" cmpd="sng">
                <a:solidFill>
                  <a:schemeClr val="accent1"/>
                </a:solidFill>
                <a:prstDash val="solid"/>
                <a:miter lim="800000"/>
                <a:headEnd type="none" w="med" len="med"/>
                <a:tailEnd type="none" w="med" len="med"/>
              </a:ln>
            </p:spPr>
          </p:cxnSp>
        </p:grpSp>
        <p:grpSp>
          <p:nvGrpSpPr>
            <p:cNvPr id="67" name="Google Shape;1293;p17">
              <a:extLst>
                <a:ext uri="{FF2B5EF4-FFF2-40B4-BE49-F238E27FC236}">
                  <a16:creationId xmlns:a16="http://schemas.microsoft.com/office/drawing/2014/main" id="{F0BF017D-E761-494D-975A-56A094F325C3}"/>
                </a:ext>
              </a:extLst>
            </p:cNvPr>
            <p:cNvGrpSpPr/>
            <p:nvPr/>
          </p:nvGrpSpPr>
          <p:grpSpPr>
            <a:xfrm>
              <a:off x="5549310" y="1866127"/>
              <a:ext cx="3115426" cy="1161242"/>
              <a:chOff x="5060" y="1585"/>
              <a:chExt cx="2354" cy="990"/>
            </a:xfrm>
          </p:grpSpPr>
          <p:sp>
            <p:nvSpPr>
              <p:cNvPr id="131" name="Google Shape;1294;p17">
                <a:extLst>
                  <a:ext uri="{FF2B5EF4-FFF2-40B4-BE49-F238E27FC236}">
                    <a16:creationId xmlns:a16="http://schemas.microsoft.com/office/drawing/2014/main" id="{5CEDAC49-2E61-47B2-A099-EB4901E1B9C3}"/>
                  </a:ext>
                </a:extLst>
              </p:cNvPr>
              <p:cNvSpPr/>
              <p:nvPr/>
            </p:nvSpPr>
            <p:spPr>
              <a:xfrm>
                <a:off x="5060" y="1585"/>
                <a:ext cx="2320" cy="956"/>
              </a:xfrm>
              <a:custGeom>
                <a:avLst/>
                <a:gdLst/>
                <a:ahLst/>
                <a:cxnLst/>
                <a:rect l="l" t="t" r="r" b="b"/>
                <a:pathLst>
                  <a:path w="2320" h="956" extrusionOk="0">
                    <a:moveTo>
                      <a:pt x="0" y="0"/>
                    </a:moveTo>
                    <a:lnTo>
                      <a:pt x="0" y="102"/>
                    </a:lnTo>
                    <a:lnTo>
                      <a:pt x="84" y="102"/>
                    </a:lnTo>
                    <a:lnTo>
                      <a:pt x="84" y="137"/>
                    </a:lnTo>
                    <a:lnTo>
                      <a:pt x="115" y="137"/>
                    </a:lnTo>
                    <a:lnTo>
                      <a:pt x="115" y="207"/>
                    </a:lnTo>
                    <a:lnTo>
                      <a:pt x="176" y="207"/>
                    </a:lnTo>
                    <a:lnTo>
                      <a:pt x="176" y="243"/>
                    </a:lnTo>
                    <a:lnTo>
                      <a:pt x="194" y="243"/>
                    </a:lnTo>
                    <a:lnTo>
                      <a:pt x="194" y="268"/>
                    </a:lnTo>
                    <a:lnTo>
                      <a:pt x="253" y="268"/>
                    </a:lnTo>
                    <a:lnTo>
                      <a:pt x="253" y="302"/>
                    </a:lnTo>
                    <a:lnTo>
                      <a:pt x="289" y="302"/>
                    </a:lnTo>
                    <a:lnTo>
                      <a:pt x="289" y="338"/>
                    </a:lnTo>
                    <a:lnTo>
                      <a:pt x="332" y="338"/>
                    </a:lnTo>
                    <a:lnTo>
                      <a:pt x="332" y="373"/>
                    </a:lnTo>
                    <a:lnTo>
                      <a:pt x="384" y="373"/>
                    </a:lnTo>
                    <a:lnTo>
                      <a:pt x="384" y="407"/>
                    </a:lnTo>
                    <a:lnTo>
                      <a:pt x="472" y="407"/>
                    </a:lnTo>
                    <a:lnTo>
                      <a:pt x="472" y="443"/>
                    </a:lnTo>
                    <a:lnTo>
                      <a:pt x="612" y="443"/>
                    </a:lnTo>
                    <a:lnTo>
                      <a:pt x="612" y="479"/>
                    </a:lnTo>
                    <a:lnTo>
                      <a:pt x="619" y="479"/>
                    </a:lnTo>
                    <a:lnTo>
                      <a:pt x="619" y="522"/>
                    </a:lnTo>
                    <a:lnTo>
                      <a:pt x="635" y="522"/>
                    </a:lnTo>
                    <a:lnTo>
                      <a:pt x="635" y="554"/>
                    </a:lnTo>
                    <a:lnTo>
                      <a:pt x="678" y="554"/>
                    </a:lnTo>
                    <a:lnTo>
                      <a:pt x="678" y="597"/>
                    </a:lnTo>
                    <a:lnTo>
                      <a:pt x="748" y="597"/>
                    </a:lnTo>
                    <a:lnTo>
                      <a:pt x="748" y="631"/>
                    </a:lnTo>
                    <a:lnTo>
                      <a:pt x="763" y="631"/>
                    </a:lnTo>
                    <a:lnTo>
                      <a:pt x="763" y="670"/>
                    </a:lnTo>
                    <a:lnTo>
                      <a:pt x="775" y="670"/>
                    </a:lnTo>
                    <a:lnTo>
                      <a:pt x="775" y="704"/>
                    </a:lnTo>
                    <a:lnTo>
                      <a:pt x="791" y="704"/>
                    </a:lnTo>
                    <a:lnTo>
                      <a:pt x="791" y="745"/>
                    </a:lnTo>
                    <a:lnTo>
                      <a:pt x="861" y="745"/>
                    </a:lnTo>
                    <a:lnTo>
                      <a:pt x="861" y="781"/>
                    </a:lnTo>
                    <a:lnTo>
                      <a:pt x="894" y="781"/>
                    </a:lnTo>
                    <a:lnTo>
                      <a:pt x="894" y="867"/>
                    </a:lnTo>
                    <a:lnTo>
                      <a:pt x="919" y="867"/>
                    </a:lnTo>
                    <a:lnTo>
                      <a:pt x="919" y="901"/>
                    </a:lnTo>
                    <a:lnTo>
                      <a:pt x="1109" y="901"/>
                    </a:lnTo>
                    <a:lnTo>
                      <a:pt x="1109" y="956"/>
                    </a:lnTo>
                    <a:lnTo>
                      <a:pt x="2320" y="956"/>
                    </a:lnTo>
                  </a:path>
                </a:pathLst>
              </a:custGeom>
              <a:noFill/>
              <a:ln w="19050" cap="flat" cmpd="sng">
                <a:solidFill>
                  <a:schemeClr val="dk2"/>
                </a:solidFill>
                <a:prstDash val="solid"/>
                <a:miter lim="800000"/>
                <a:headEnd type="none" w="med" len="med"/>
                <a:tailEnd type="none" w="med" len="med"/>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cxnSp>
            <p:nvCxnSpPr>
              <p:cNvPr id="132" name="Google Shape;1295;p17">
                <a:extLst>
                  <a:ext uri="{FF2B5EF4-FFF2-40B4-BE49-F238E27FC236}">
                    <a16:creationId xmlns:a16="http://schemas.microsoft.com/office/drawing/2014/main" id="{C1A4FD2A-B803-4118-AE33-A47D2A66B553}"/>
                  </a:ext>
                </a:extLst>
              </p:cNvPr>
              <p:cNvCxnSpPr/>
              <p:nvPr/>
            </p:nvCxnSpPr>
            <p:spPr>
              <a:xfrm>
                <a:off x="7380" y="2507"/>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33" name="Google Shape;1296;p17">
                <a:extLst>
                  <a:ext uri="{FF2B5EF4-FFF2-40B4-BE49-F238E27FC236}">
                    <a16:creationId xmlns:a16="http://schemas.microsoft.com/office/drawing/2014/main" id="{444FEEA5-C67F-4A7E-AEEB-3E40544A227F}"/>
                  </a:ext>
                </a:extLst>
              </p:cNvPr>
              <p:cNvCxnSpPr/>
              <p:nvPr/>
            </p:nvCxnSpPr>
            <p:spPr>
              <a:xfrm rot="10800000">
                <a:off x="7346" y="2541"/>
                <a:ext cx="68" cy="0"/>
              </a:xfrm>
              <a:prstGeom prst="straightConnector1">
                <a:avLst/>
              </a:prstGeom>
              <a:noFill/>
              <a:ln w="19050" cap="flat" cmpd="sng">
                <a:solidFill>
                  <a:schemeClr val="dk2"/>
                </a:solidFill>
                <a:prstDash val="solid"/>
                <a:miter lim="800000"/>
                <a:headEnd type="none" w="med" len="med"/>
                <a:tailEnd type="none" w="med" len="med"/>
              </a:ln>
            </p:spPr>
          </p:cxnSp>
          <p:cxnSp>
            <p:nvCxnSpPr>
              <p:cNvPr id="134" name="Google Shape;1297;p17">
                <a:extLst>
                  <a:ext uri="{FF2B5EF4-FFF2-40B4-BE49-F238E27FC236}">
                    <a16:creationId xmlns:a16="http://schemas.microsoft.com/office/drawing/2014/main" id="{4DEBD00A-AFC9-4E8B-BE65-70A9699EED3D}"/>
                  </a:ext>
                </a:extLst>
              </p:cNvPr>
              <p:cNvCxnSpPr/>
              <p:nvPr/>
            </p:nvCxnSpPr>
            <p:spPr>
              <a:xfrm>
                <a:off x="6881" y="2507"/>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35" name="Google Shape;1298;p17">
                <a:extLst>
                  <a:ext uri="{FF2B5EF4-FFF2-40B4-BE49-F238E27FC236}">
                    <a16:creationId xmlns:a16="http://schemas.microsoft.com/office/drawing/2014/main" id="{78928736-E963-48D9-B942-488E5408FC30}"/>
                  </a:ext>
                </a:extLst>
              </p:cNvPr>
              <p:cNvCxnSpPr/>
              <p:nvPr/>
            </p:nvCxnSpPr>
            <p:spPr>
              <a:xfrm rot="10800000">
                <a:off x="6847" y="2541"/>
                <a:ext cx="67" cy="0"/>
              </a:xfrm>
              <a:prstGeom prst="straightConnector1">
                <a:avLst/>
              </a:prstGeom>
              <a:noFill/>
              <a:ln w="19050" cap="flat" cmpd="sng">
                <a:solidFill>
                  <a:schemeClr val="dk2"/>
                </a:solidFill>
                <a:prstDash val="solid"/>
                <a:miter lim="800000"/>
                <a:headEnd type="none" w="med" len="med"/>
                <a:tailEnd type="none" w="med" len="med"/>
              </a:ln>
            </p:spPr>
          </p:cxnSp>
          <p:cxnSp>
            <p:nvCxnSpPr>
              <p:cNvPr id="136" name="Google Shape;1299;p17">
                <a:extLst>
                  <a:ext uri="{FF2B5EF4-FFF2-40B4-BE49-F238E27FC236}">
                    <a16:creationId xmlns:a16="http://schemas.microsoft.com/office/drawing/2014/main" id="{15ED2010-B263-4BBC-AC37-1F793CF99E68}"/>
                  </a:ext>
                </a:extLst>
              </p:cNvPr>
              <p:cNvCxnSpPr/>
              <p:nvPr/>
            </p:nvCxnSpPr>
            <p:spPr>
              <a:xfrm>
                <a:off x="6865" y="2507"/>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37" name="Google Shape;1300;p17">
                <a:extLst>
                  <a:ext uri="{FF2B5EF4-FFF2-40B4-BE49-F238E27FC236}">
                    <a16:creationId xmlns:a16="http://schemas.microsoft.com/office/drawing/2014/main" id="{F709F107-63EB-4399-8754-1992354AFEE6}"/>
                  </a:ext>
                </a:extLst>
              </p:cNvPr>
              <p:cNvCxnSpPr/>
              <p:nvPr/>
            </p:nvCxnSpPr>
            <p:spPr>
              <a:xfrm rot="10800000">
                <a:off x="6831" y="2541"/>
                <a:ext cx="68" cy="0"/>
              </a:xfrm>
              <a:prstGeom prst="straightConnector1">
                <a:avLst/>
              </a:prstGeom>
              <a:noFill/>
              <a:ln w="19050" cap="flat" cmpd="sng">
                <a:solidFill>
                  <a:schemeClr val="dk2"/>
                </a:solidFill>
                <a:prstDash val="solid"/>
                <a:miter lim="800000"/>
                <a:headEnd type="none" w="med" len="med"/>
                <a:tailEnd type="none" w="med" len="med"/>
              </a:ln>
            </p:spPr>
          </p:cxnSp>
          <p:cxnSp>
            <p:nvCxnSpPr>
              <p:cNvPr id="138" name="Google Shape;1301;p17">
                <a:extLst>
                  <a:ext uri="{FF2B5EF4-FFF2-40B4-BE49-F238E27FC236}">
                    <a16:creationId xmlns:a16="http://schemas.microsoft.com/office/drawing/2014/main" id="{B406496E-6627-4482-A453-7C6237DCAD38}"/>
                  </a:ext>
                </a:extLst>
              </p:cNvPr>
              <p:cNvCxnSpPr/>
              <p:nvPr/>
            </p:nvCxnSpPr>
            <p:spPr>
              <a:xfrm>
                <a:off x="6858" y="2507"/>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39" name="Google Shape;1302;p17">
                <a:extLst>
                  <a:ext uri="{FF2B5EF4-FFF2-40B4-BE49-F238E27FC236}">
                    <a16:creationId xmlns:a16="http://schemas.microsoft.com/office/drawing/2014/main" id="{6E5F72FD-CABE-414A-BA37-D6470A5A9849}"/>
                  </a:ext>
                </a:extLst>
              </p:cNvPr>
              <p:cNvCxnSpPr/>
              <p:nvPr/>
            </p:nvCxnSpPr>
            <p:spPr>
              <a:xfrm rot="10800000">
                <a:off x="6824" y="2541"/>
                <a:ext cx="68" cy="0"/>
              </a:xfrm>
              <a:prstGeom prst="straightConnector1">
                <a:avLst/>
              </a:prstGeom>
              <a:noFill/>
              <a:ln w="19050" cap="flat" cmpd="sng">
                <a:solidFill>
                  <a:schemeClr val="dk2"/>
                </a:solidFill>
                <a:prstDash val="solid"/>
                <a:miter lim="800000"/>
                <a:headEnd type="none" w="med" len="med"/>
                <a:tailEnd type="none" w="med" len="med"/>
              </a:ln>
            </p:spPr>
          </p:cxnSp>
          <p:cxnSp>
            <p:nvCxnSpPr>
              <p:cNvPr id="140" name="Google Shape;1303;p17">
                <a:extLst>
                  <a:ext uri="{FF2B5EF4-FFF2-40B4-BE49-F238E27FC236}">
                    <a16:creationId xmlns:a16="http://schemas.microsoft.com/office/drawing/2014/main" id="{FCDA2087-0B1D-484C-BEEA-BE31E85DF98D}"/>
                  </a:ext>
                </a:extLst>
              </p:cNvPr>
              <p:cNvCxnSpPr/>
              <p:nvPr/>
            </p:nvCxnSpPr>
            <p:spPr>
              <a:xfrm>
                <a:off x="6813" y="2507"/>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41" name="Google Shape;1304;p17">
                <a:extLst>
                  <a:ext uri="{FF2B5EF4-FFF2-40B4-BE49-F238E27FC236}">
                    <a16:creationId xmlns:a16="http://schemas.microsoft.com/office/drawing/2014/main" id="{0D205B09-CF99-40BE-88AE-0854A686EB9C}"/>
                  </a:ext>
                </a:extLst>
              </p:cNvPr>
              <p:cNvCxnSpPr/>
              <p:nvPr/>
            </p:nvCxnSpPr>
            <p:spPr>
              <a:xfrm rot="10800000">
                <a:off x="6779" y="2541"/>
                <a:ext cx="68" cy="0"/>
              </a:xfrm>
              <a:prstGeom prst="straightConnector1">
                <a:avLst/>
              </a:prstGeom>
              <a:noFill/>
              <a:ln w="19050" cap="flat" cmpd="sng">
                <a:solidFill>
                  <a:schemeClr val="dk2"/>
                </a:solidFill>
                <a:prstDash val="solid"/>
                <a:miter lim="800000"/>
                <a:headEnd type="none" w="med" len="med"/>
                <a:tailEnd type="none" w="med" len="med"/>
              </a:ln>
            </p:spPr>
          </p:cxnSp>
          <p:cxnSp>
            <p:nvCxnSpPr>
              <p:cNvPr id="142" name="Google Shape;1305;p17">
                <a:extLst>
                  <a:ext uri="{FF2B5EF4-FFF2-40B4-BE49-F238E27FC236}">
                    <a16:creationId xmlns:a16="http://schemas.microsoft.com/office/drawing/2014/main" id="{F30EA587-B622-4D90-9C46-61A4BFE523A0}"/>
                  </a:ext>
                </a:extLst>
              </p:cNvPr>
              <p:cNvCxnSpPr/>
              <p:nvPr/>
            </p:nvCxnSpPr>
            <p:spPr>
              <a:xfrm>
                <a:off x="6806" y="2507"/>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43" name="Google Shape;1306;p17">
                <a:extLst>
                  <a:ext uri="{FF2B5EF4-FFF2-40B4-BE49-F238E27FC236}">
                    <a16:creationId xmlns:a16="http://schemas.microsoft.com/office/drawing/2014/main" id="{B3AAB04A-36E7-4DA8-A9E0-FB31B18C683B}"/>
                  </a:ext>
                </a:extLst>
              </p:cNvPr>
              <p:cNvCxnSpPr/>
              <p:nvPr/>
            </p:nvCxnSpPr>
            <p:spPr>
              <a:xfrm rot="10800000">
                <a:off x="6772" y="2541"/>
                <a:ext cx="68" cy="0"/>
              </a:xfrm>
              <a:prstGeom prst="straightConnector1">
                <a:avLst/>
              </a:prstGeom>
              <a:noFill/>
              <a:ln w="19050" cap="flat" cmpd="sng">
                <a:solidFill>
                  <a:schemeClr val="dk2"/>
                </a:solidFill>
                <a:prstDash val="solid"/>
                <a:miter lim="800000"/>
                <a:headEnd type="none" w="med" len="med"/>
                <a:tailEnd type="none" w="med" len="med"/>
              </a:ln>
            </p:spPr>
          </p:cxnSp>
          <p:cxnSp>
            <p:nvCxnSpPr>
              <p:cNvPr id="144" name="Google Shape;1307;p17">
                <a:extLst>
                  <a:ext uri="{FF2B5EF4-FFF2-40B4-BE49-F238E27FC236}">
                    <a16:creationId xmlns:a16="http://schemas.microsoft.com/office/drawing/2014/main" id="{E811F4BD-D6B0-4263-8CD1-FED3B462418B}"/>
                  </a:ext>
                </a:extLst>
              </p:cNvPr>
              <p:cNvCxnSpPr/>
              <p:nvPr/>
            </p:nvCxnSpPr>
            <p:spPr>
              <a:xfrm>
                <a:off x="6788" y="2507"/>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45" name="Google Shape;1308;p17">
                <a:extLst>
                  <a:ext uri="{FF2B5EF4-FFF2-40B4-BE49-F238E27FC236}">
                    <a16:creationId xmlns:a16="http://schemas.microsoft.com/office/drawing/2014/main" id="{DECDA693-A20B-4A8C-8A20-F8D5D46610E0}"/>
                  </a:ext>
                </a:extLst>
              </p:cNvPr>
              <p:cNvCxnSpPr/>
              <p:nvPr/>
            </p:nvCxnSpPr>
            <p:spPr>
              <a:xfrm rot="10800000">
                <a:off x="6754" y="2541"/>
                <a:ext cx="68" cy="0"/>
              </a:xfrm>
              <a:prstGeom prst="straightConnector1">
                <a:avLst/>
              </a:prstGeom>
              <a:noFill/>
              <a:ln w="19050" cap="flat" cmpd="sng">
                <a:solidFill>
                  <a:schemeClr val="dk2"/>
                </a:solidFill>
                <a:prstDash val="solid"/>
                <a:miter lim="800000"/>
                <a:headEnd type="none" w="med" len="med"/>
                <a:tailEnd type="none" w="med" len="med"/>
              </a:ln>
            </p:spPr>
          </p:cxnSp>
          <p:cxnSp>
            <p:nvCxnSpPr>
              <p:cNvPr id="146" name="Google Shape;1309;p17">
                <a:extLst>
                  <a:ext uri="{FF2B5EF4-FFF2-40B4-BE49-F238E27FC236}">
                    <a16:creationId xmlns:a16="http://schemas.microsoft.com/office/drawing/2014/main" id="{8C1A0572-50FA-4C50-A191-06A83D3A2007}"/>
                  </a:ext>
                </a:extLst>
              </p:cNvPr>
              <p:cNvCxnSpPr/>
              <p:nvPr/>
            </p:nvCxnSpPr>
            <p:spPr>
              <a:xfrm>
                <a:off x="6718" y="2507"/>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47" name="Google Shape;1310;p17">
                <a:extLst>
                  <a:ext uri="{FF2B5EF4-FFF2-40B4-BE49-F238E27FC236}">
                    <a16:creationId xmlns:a16="http://schemas.microsoft.com/office/drawing/2014/main" id="{E709432B-C50B-43E1-B40A-BFC27686B8B0}"/>
                  </a:ext>
                </a:extLst>
              </p:cNvPr>
              <p:cNvCxnSpPr/>
              <p:nvPr/>
            </p:nvCxnSpPr>
            <p:spPr>
              <a:xfrm rot="10800000">
                <a:off x="6684" y="2541"/>
                <a:ext cx="68" cy="0"/>
              </a:xfrm>
              <a:prstGeom prst="straightConnector1">
                <a:avLst/>
              </a:prstGeom>
              <a:noFill/>
              <a:ln w="19050" cap="flat" cmpd="sng">
                <a:solidFill>
                  <a:schemeClr val="dk2"/>
                </a:solidFill>
                <a:prstDash val="solid"/>
                <a:miter lim="800000"/>
                <a:headEnd type="none" w="med" len="med"/>
                <a:tailEnd type="none" w="med" len="med"/>
              </a:ln>
            </p:spPr>
          </p:cxnSp>
          <p:cxnSp>
            <p:nvCxnSpPr>
              <p:cNvPr id="148" name="Google Shape;1311;p17">
                <a:extLst>
                  <a:ext uri="{FF2B5EF4-FFF2-40B4-BE49-F238E27FC236}">
                    <a16:creationId xmlns:a16="http://schemas.microsoft.com/office/drawing/2014/main" id="{E0DEB4DB-85F5-45FA-90B5-6BCCD7B6423E}"/>
                  </a:ext>
                </a:extLst>
              </p:cNvPr>
              <p:cNvCxnSpPr/>
              <p:nvPr/>
            </p:nvCxnSpPr>
            <p:spPr>
              <a:xfrm>
                <a:off x="6630" y="2507"/>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49" name="Google Shape;1312;p17">
                <a:extLst>
                  <a:ext uri="{FF2B5EF4-FFF2-40B4-BE49-F238E27FC236}">
                    <a16:creationId xmlns:a16="http://schemas.microsoft.com/office/drawing/2014/main" id="{B68A0B19-498B-4280-A69B-2B13F022B7F4}"/>
                  </a:ext>
                </a:extLst>
              </p:cNvPr>
              <p:cNvCxnSpPr/>
              <p:nvPr/>
            </p:nvCxnSpPr>
            <p:spPr>
              <a:xfrm rot="10800000">
                <a:off x="6596" y="2541"/>
                <a:ext cx="68" cy="0"/>
              </a:xfrm>
              <a:prstGeom prst="straightConnector1">
                <a:avLst/>
              </a:prstGeom>
              <a:noFill/>
              <a:ln w="19050" cap="flat" cmpd="sng">
                <a:solidFill>
                  <a:schemeClr val="dk2"/>
                </a:solidFill>
                <a:prstDash val="solid"/>
                <a:miter lim="800000"/>
                <a:headEnd type="none" w="med" len="med"/>
                <a:tailEnd type="none" w="med" len="med"/>
              </a:ln>
            </p:spPr>
          </p:cxnSp>
          <p:cxnSp>
            <p:nvCxnSpPr>
              <p:cNvPr id="150" name="Google Shape;1313;p17">
                <a:extLst>
                  <a:ext uri="{FF2B5EF4-FFF2-40B4-BE49-F238E27FC236}">
                    <a16:creationId xmlns:a16="http://schemas.microsoft.com/office/drawing/2014/main" id="{43D78008-8B54-4BB0-A0FB-33168144CEF1}"/>
                  </a:ext>
                </a:extLst>
              </p:cNvPr>
              <p:cNvCxnSpPr/>
              <p:nvPr/>
            </p:nvCxnSpPr>
            <p:spPr>
              <a:xfrm>
                <a:off x="6503" y="2507"/>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51" name="Google Shape;1314;p17">
                <a:extLst>
                  <a:ext uri="{FF2B5EF4-FFF2-40B4-BE49-F238E27FC236}">
                    <a16:creationId xmlns:a16="http://schemas.microsoft.com/office/drawing/2014/main" id="{F4CCC4CA-5197-415E-ADDF-845731E03B6B}"/>
                  </a:ext>
                </a:extLst>
              </p:cNvPr>
              <p:cNvCxnSpPr/>
              <p:nvPr/>
            </p:nvCxnSpPr>
            <p:spPr>
              <a:xfrm rot="10800000">
                <a:off x="6469" y="2541"/>
                <a:ext cx="68" cy="0"/>
              </a:xfrm>
              <a:prstGeom prst="straightConnector1">
                <a:avLst/>
              </a:prstGeom>
              <a:noFill/>
              <a:ln w="19050" cap="flat" cmpd="sng">
                <a:solidFill>
                  <a:schemeClr val="dk2"/>
                </a:solidFill>
                <a:prstDash val="solid"/>
                <a:miter lim="800000"/>
                <a:headEnd type="none" w="med" len="med"/>
                <a:tailEnd type="none" w="med" len="med"/>
              </a:ln>
            </p:spPr>
          </p:cxnSp>
          <p:cxnSp>
            <p:nvCxnSpPr>
              <p:cNvPr id="152" name="Google Shape;1315;p17">
                <a:extLst>
                  <a:ext uri="{FF2B5EF4-FFF2-40B4-BE49-F238E27FC236}">
                    <a16:creationId xmlns:a16="http://schemas.microsoft.com/office/drawing/2014/main" id="{75E9A36F-1062-4D9B-89A3-6B780EE28C3C}"/>
                  </a:ext>
                </a:extLst>
              </p:cNvPr>
              <p:cNvCxnSpPr/>
              <p:nvPr/>
            </p:nvCxnSpPr>
            <p:spPr>
              <a:xfrm>
                <a:off x="6433" y="2507"/>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53" name="Google Shape;1316;p17">
                <a:extLst>
                  <a:ext uri="{FF2B5EF4-FFF2-40B4-BE49-F238E27FC236}">
                    <a16:creationId xmlns:a16="http://schemas.microsoft.com/office/drawing/2014/main" id="{94B53913-9E4F-4040-A13A-140938BE3E7F}"/>
                  </a:ext>
                </a:extLst>
              </p:cNvPr>
              <p:cNvCxnSpPr/>
              <p:nvPr/>
            </p:nvCxnSpPr>
            <p:spPr>
              <a:xfrm rot="10800000">
                <a:off x="6399" y="2541"/>
                <a:ext cx="68" cy="0"/>
              </a:xfrm>
              <a:prstGeom prst="straightConnector1">
                <a:avLst/>
              </a:prstGeom>
              <a:noFill/>
              <a:ln w="19050" cap="flat" cmpd="sng">
                <a:solidFill>
                  <a:schemeClr val="dk2"/>
                </a:solidFill>
                <a:prstDash val="solid"/>
                <a:miter lim="800000"/>
                <a:headEnd type="none" w="med" len="med"/>
                <a:tailEnd type="none" w="med" len="med"/>
              </a:ln>
            </p:spPr>
          </p:cxnSp>
          <p:cxnSp>
            <p:nvCxnSpPr>
              <p:cNvPr id="154" name="Google Shape;1317;p17">
                <a:extLst>
                  <a:ext uri="{FF2B5EF4-FFF2-40B4-BE49-F238E27FC236}">
                    <a16:creationId xmlns:a16="http://schemas.microsoft.com/office/drawing/2014/main" id="{86C2145F-EDE5-4F04-ADCD-28BE190F6E1C}"/>
                  </a:ext>
                </a:extLst>
              </p:cNvPr>
              <p:cNvCxnSpPr/>
              <p:nvPr/>
            </p:nvCxnSpPr>
            <p:spPr>
              <a:xfrm>
                <a:off x="6424" y="2507"/>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55" name="Google Shape;1318;p17">
                <a:extLst>
                  <a:ext uri="{FF2B5EF4-FFF2-40B4-BE49-F238E27FC236}">
                    <a16:creationId xmlns:a16="http://schemas.microsoft.com/office/drawing/2014/main" id="{859F32BC-CE03-47D0-BF4E-D4339F1BE975}"/>
                  </a:ext>
                </a:extLst>
              </p:cNvPr>
              <p:cNvCxnSpPr/>
              <p:nvPr/>
            </p:nvCxnSpPr>
            <p:spPr>
              <a:xfrm rot="10800000">
                <a:off x="6390" y="2541"/>
                <a:ext cx="68" cy="0"/>
              </a:xfrm>
              <a:prstGeom prst="straightConnector1">
                <a:avLst/>
              </a:prstGeom>
              <a:noFill/>
              <a:ln w="19050" cap="flat" cmpd="sng">
                <a:solidFill>
                  <a:schemeClr val="dk2"/>
                </a:solidFill>
                <a:prstDash val="solid"/>
                <a:miter lim="800000"/>
                <a:headEnd type="none" w="med" len="med"/>
                <a:tailEnd type="none" w="med" len="med"/>
              </a:ln>
            </p:spPr>
          </p:cxnSp>
          <p:cxnSp>
            <p:nvCxnSpPr>
              <p:cNvPr id="156" name="Google Shape;1319;p17">
                <a:extLst>
                  <a:ext uri="{FF2B5EF4-FFF2-40B4-BE49-F238E27FC236}">
                    <a16:creationId xmlns:a16="http://schemas.microsoft.com/office/drawing/2014/main" id="{ECE7F2DC-E341-4E99-AC2A-E70336B4AC40}"/>
                  </a:ext>
                </a:extLst>
              </p:cNvPr>
              <p:cNvCxnSpPr/>
              <p:nvPr/>
            </p:nvCxnSpPr>
            <p:spPr>
              <a:xfrm>
                <a:off x="6418" y="2507"/>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57" name="Google Shape;1320;p17">
                <a:extLst>
                  <a:ext uri="{FF2B5EF4-FFF2-40B4-BE49-F238E27FC236}">
                    <a16:creationId xmlns:a16="http://schemas.microsoft.com/office/drawing/2014/main" id="{10E66E52-6EF2-4055-9BE4-DEA8B8F10207}"/>
                  </a:ext>
                </a:extLst>
              </p:cNvPr>
              <p:cNvCxnSpPr/>
              <p:nvPr/>
            </p:nvCxnSpPr>
            <p:spPr>
              <a:xfrm rot="10800000">
                <a:off x="6384" y="2541"/>
                <a:ext cx="67" cy="0"/>
              </a:xfrm>
              <a:prstGeom prst="straightConnector1">
                <a:avLst/>
              </a:prstGeom>
              <a:noFill/>
              <a:ln w="19050" cap="flat" cmpd="sng">
                <a:solidFill>
                  <a:schemeClr val="dk2"/>
                </a:solidFill>
                <a:prstDash val="solid"/>
                <a:miter lim="800000"/>
                <a:headEnd type="none" w="med" len="med"/>
                <a:tailEnd type="none" w="med" len="med"/>
              </a:ln>
            </p:spPr>
          </p:cxnSp>
          <p:cxnSp>
            <p:nvCxnSpPr>
              <p:cNvPr id="158" name="Google Shape;1321;p17">
                <a:extLst>
                  <a:ext uri="{FF2B5EF4-FFF2-40B4-BE49-F238E27FC236}">
                    <a16:creationId xmlns:a16="http://schemas.microsoft.com/office/drawing/2014/main" id="{52CE984D-6961-411E-A4BE-A0AE6F46E4C6}"/>
                  </a:ext>
                </a:extLst>
              </p:cNvPr>
              <p:cNvCxnSpPr/>
              <p:nvPr/>
            </p:nvCxnSpPr>
            <p:spPr>
              <a:xfrm>
                <a:off x="6372" y="2507"/>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59" name="Google Shape;1322;p17">
                <a:extLst>
                  <a:ext uri="{FF2B5EF4-FFF2-40B4-BE49-F238E27FC236}">
                    <a16:creationId xmlns:a16="http://schemas.microsoft.com/office/drawing/2014/main" id="{2EC52CA8-6E7A-47A5-AA3E-28189F51E564}"/>
                  </a:ext>
                </a:extLst>
              </p:cNvPr>
              <p:cNvCxnSpPr/>
              <p:nvPr/>
            </p:nvCxnSpPr>
            <p:spPr>
              <a:xfrm rot="10800000">
                <a:off x="6338" y="2541"/>
                <a:ext cx="68" cy="0"/>
              </a:xfrm>
              <a:prstGeom prst="straightConnector1">
                <a:avLst/>
              </a:prstGeom>
              <a:noFill/>
              <a:ln w="19050" cap="flat" cmpd="sng">
                <a:solidFill>
                  <a:schemeClr val="dk2"/>
                </a:solidFill>
                <a:prstDash val="solid"/>
                <a:miter lim="800000"/>
                <a:headEnd type="none" w="med" len="med"/>
                <a:tailEnd type="none" w="med" len="med"/>
              </a:ln>
            </p:spPr>
          </p:cxnSp>
          <p:cxnSp>
            <p:nvCxnSpPr>
              <p:cNvPr id="160" name="Google Shape;1323;p17">
                <a:extLst>
                  <a:ext uri="{FF2B5EF4-FFF2-40B4-BE49-F238E27FC236}">
                    <a16:creationId xmlns:a16="http://schemas.microsoft.com/office/drawing/2014/main" id="{36D90423-70AB-44D1-B9CC-30B24FFD9FC3}"/>
                  </a:ext>
                </a:extLst>
              </p:cNvPr>
              <p:cNvCxnSpPr/>
              <p:nvPr/>
            </p:nvCxnSpPr>
            <p:spPr>
              <a:xfrm>
                <a:off x="6338" y="2507"/>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61" name="Google Shape;1324;p17">
                <a:extLst>
                  <a:ext uri="{FF2B5EF4-FFF2-40B4-BE49-F238E27FC236}">
                    <a16:creationId xmlns:a16="http://schemas.microsoft.com/office/drawing/2014/main" id="{46879F8D-9336-49B8-94AF-611063A0C226}"/>
                  </a:ext>
                </a:extLst>
              </p:cNvPr>
              <p:cNvCxnSpPr/>
              <p:nvPr/>
            </p:nvCxnSpPr>
            <p:spPr>
              <a:xfrm rot="10800000">
                <a:off x="6307" y="2541"/>
                <a:ext cx="65" cy="0"/>
              </a:xfrm>
              <a:prstGeom prst="straightConnector1">
                <a:avLst/>
              </a:prstGeom>
              <a:noFill/>
              <a:ln w="19050" cap="flat" cmpd="sng">
                <a:solidFill>
                  <a:schemeClr val="dk2"/>
                </a:solidFill>
                <a:prstDash val="solid"/>
                <a:miter lim="800000"/>
                <a:headEnd type="none" w="med" len="med"/>
                <a:tailEnd type="none" w="med" len="med"/>
              </a:ln>
            </p:spPr>
          </p:cxnSp>
          <p:cxnSp>
            <p:nvCxnSpPr>
              <p:cNvPr id="162" name="Google Shape;1325;p17">
                <a:extLst>
                  <a:ext uri="{FF2B5EF4-FFF2-40B4-BE49-F238E27FC236}">
                    <a16:creationId xmlns:a16="http://schemas.microsoft.com/office/drawing/2014/main" id="{963290C0-EBDB-4F51-A159-9D81ED985771}"/>
                  </a:ext>
                </a:extLst>
              </p:cNvPr>
              <p:cNvCxnSpPr/>
              <p:nvPr/>
            </p:nvCxnSpPr>
            <p:spPr>
              <a:xfrm>
                <a:off x="6320" y="2507"/>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63" name="Google Shape;1326;p17">
                <a:extLst>
                  <a:ext uri="{FF2B5EF4-FFF2-40B4-BE49-F238E27FC236}">
                    <a16:creationId xmlns:a16="http://schemas.microsoft.com/office/drawing/2014/main" id="{22F400D3-ED4B-4C29-A97B-98D1ACEE19A6}"/>
                  </a:ext>
                </a:extLst>
              </p:cNvPr>
              <p:cNvCxnSpPr/>
              <p:nvPr/>
            </p:nvCxnSpPr>
            <p:spPr>
              <a:xfrm rot="10800000">
                <a:off x="6287" y="2541"/>
                <a:ext cx="67" cy="0"/>
              </a:xfrm>
              <a:prstGeom prst="straightConnector1">
                <a:avLst/>
              </a:prstGeom>
              <a:noFill/>
              <a:ln w="19050" cap="flat" cmpd="sng">
                <a:solidFill>
                  <a:schemeClr val="dk2"/>
                </a:solidFill>
                <a:prstDash val="solid"/>
                <a:miter lim="800000"/>
                <a:headEnd type="none" w="med" len="med"/>
                <a:tailEnd type="none" w="med" len="med"/>
              </a:ln>
            </p:spPr>
          </p:cxnSp>
          <p:cxnSp>
            <p:nvCxnSpPr>
              <p:cNvPr id="166" name="Google Shape;1327;p17">
                <a:extLst>
                  <a:ext uri="{FF2B5EF4-FFF2-40B4-BE49-F238E27FC236}">
                    <a16:creationId xmlns:a16="http://schemas.microsoft.com/office/drawing/2014/main" id="{AC94A9DD-F2EB-4ED3-92A6-7F6F6F7A37D1}"/>
                  </a:ext>
                </a:extLst>
              </p:cNvPr>
              <p:cNvCxnSpPr/>
              <p:nvPr/>
            </p:nvCxnSpPr>
            <p:spPr>
              <a:xfrm>
                <a:off x="6235" y="2507"/>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67" name="Google Shape;1328;p17">
                <a:extLst>
                  <a:ext uri="{FF2B5EF4-FFF2-40B4-BE49-F238E27FC236}">
                    <a16:creationId xmlns:a16="http://schemas.microsoft.com/office/drawing/2014/main" id="{44160B5D-74BD-4D88-98A7-00382C50D325}"/>
                  </a:ext>
                </a:extLst>
              </p:cNvPr>
              <p:cNvCxnSpPr/>
              <p:nvPr/>
            </p:nvCxnSpPr>
            <p:spPr>
              <a:xfrm rot="10800000">
                <a:off x="6201" y="2541"/>
                <a:ext cx="67" cy="0"/>
              </a:xfrm>
              <a:prstGeom prst="straightConnector1">
                <a:avLst/>
              </a:prstGeom>
              <a:noFill/>
              <a:ln w="19050" cap="flat" cmpd="sng">
                <a:solidFill>
                  <a:schemeClr val="dk2"/>
                </a:solidFill>
                <a:prstDash val="solid"/>
                <a:miter lim="800000"/>
                <a:headEnd type="none" w="med" len="med"/>
                <a:tailEnd type="none" w="med" len="med"/>
              </a:ln>
            </p:spPr>
          </p:cxnSp>
          <p:cxnSp>
            <p:nvCxnSpPr>
              <p:cNvPr id="168" name="Google Shape;1329;p17">
                <a:extLst>
                  <a:ext uri="{FF2B5EF4-FFF2-40B4-BE49-F238E27FC236}">
                    <a16:creationId xmlns:a16="http://schemas.microsoft.com/office/drawing/2014/main" id="{028A8BC4-FE6F-444E-9867-ED614A5045E2}"/>
                  </a:ext>
                </a:extLst>
              </p:cNvPr>
              <p:cNvCxnSpPr/>
              <p:nvPr/>
            </p:nvCxnSpPr>
            <p:spPr>
              <a:xfrm>
                <a:off x="6207" y="2507"/>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69" name="Google Shape;1330;p17">
                <a:extLst>
                  <a:ext uri="{FF2B5EF4-FFF2-40B4-BE49-F238E27FC236}">
                    <a16:creationId xmlns:a16="http://schemas.microsoft.com/office/drawing/2014/main" id="{2DAACA37-63C5-46AB-BD61-D369F86A566D}"/>
                  </a:ext>
                </a:extLst>
              </p:cNvPr>
              <p:cNvCxnSpPr/>
              <p:nvPr/>
            </p:nvCxnSpPr>
            <p:spPr>
              <a:xfrm rot="10800000">
                <a:off x="6174" y="2541"/>
                <a:ext cx="67" cy="0"/>
              </a:xfrm>
              <a:prstGeom prst="straightConnector1">
                <a:avLst/>
              </a:prstGeom>
              <a:noFill/>
              <a:ln w="19050" cap="flat" cmpd="sng">
                <a:solidFill>
                  <a:schemeClr val="dk2"/>
                </a:solidFill>
                <a:prstDash val="solid"/>
                <a:miter lim="800000"/>
                <a:headEnd type="none" w="med" len="med"/>
                <a:tailEnd type="none" w="med" len="med"/>
              </a:ln>
            </p:spPr>
          </p:cxnSp>
          <p:cxnSp>
            <p:nvCxnSpPr>
              <p:cNvPr id="170" name="Google Shape;1331;p17">
                <a:extLst>
                  <a:ext uri="{FF2B5EF4-FFF2-40B4-BE49-F238E27FC236}">
                    <a16:creationId xmlns:a16="http://schemas.microsoft.com/office/drawing/2014/main" id="{A5D76310-9F43-4960-AE2F-672D52E87913}"/>
                  </a:ext>
                </a:extLst>
              </p:cNvPr>
              <p:cNvCxnSpPr/>
              <p:nvPr/>
            </p:nvCxnSpPr>
            <p:spPr>
              <a:xfrm>
                <a:off x="6183" y="2507"/>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71" name="Google Shape;1332;p17">
                <a:extLst>
                  <a:ext uri="{FF2B5EF4-FFF2-40B4-BE49-F238E27FC236}">
                    <a16:creationId xmlns:a16="http://schemas.microsoft.com/office/drawing/2014/main" id="{C6E74323-6AD4-4D26-9536-4B86EE4A8C22}"/>
                  </a:ext>
                </a:extLst>
              </p:cNvPr>
              <p:cNvCxnSpPr/>
              <p:nvPr/>
            </p:nvCxnSpPr>
            <p:spPr>
              <a:xfrm rot="10800000">
                <a:off x="6149" y="2541"/>
                <a:ext cx="68" cy="0"/>
              </a:xfrm>
              <a:prstGeom prst="straightConnector1">
                <a:avLst/>
              </a:prstGeom>
              <a:noFill/>
              <a:ln w="19050" cap="flat" cmpd="sng">
                <a:solidFill>
                  <a:schemeClr val="dk2"/>
                </a:solidFill>
                <a:prstDash val="solid"/>
                <a:miter lim="800000"/>
                <a:headEnd type="none" w="med" len="med"/>
                <a:tailEnd type="none" w="med" len="med"/>
              </a:ln>
            </p:spPr>
          </p:cxnSp>
          <p:cxnSp>
            <p:nvCxnSpPr>
              <p:cNvPr id="172" name="Google Shape;1333;p17">
                <a:extLst>
                  <a:ext uri="{FF2B5EF4-FFF2-40B4-BE49-F238E27FC236}">
                    <a16:creationId xmlns:a16="http://schemas.microsoft.com/office/drawing/2014/main" id="{3228D827-AB92-4E26-911B-474D7A9638F6}"/>
                  </a:ext>
                </a:extLst>
              </p:cNvPr>
              <p:cNvCxnSpPr/>
              <p:nvPr/>
            </p:nvCxnSpPr>
            <p:spPr>
              <a:xfrm>
                <a:off x="6097" y="2454"/>
                <a:ext cx="0" cy="69"/>
              </a:xfrm>
              <a:prstGeom prst="straightConnector1">
                <a:avLst/>
              </a:prstGeom>
              <a:noFill/>
              <a:ln w="19050" cap="flat" cmpd="sng">
                <a:solidFill>
                  <a:schemeClr val="dk2"/>
                </a:solidFill>
                <a:prstDash val="solid"/>
                <a:miter lim="800000"/>
                <a:headEnd type="none" w="med" len="med"/>
                <a:tailEnd type="none" w="med" len="med"/>
              </a:ln>
            </p:spPr>
          </p:cxnSp>
          <p:cxnSp>
            <p:nvCxnSpPr>
              <p:cNvPr id="173" name="Google Shape;1334;p17">
                <a:extLst>
                  <a:ext uri="{FF2B5EF4-FFF2-40B4-BE49-F238E27FC236}">
                    <a16:creationId xmlns:a16="http://schemas.microsoft.com/office/drawing/2014/main" id="{43E378EC-6B7F-4C72-BF96-19BA1FCFCBCC}"/>
                  </a:ext>
                </a:extLst>
              </p:cNvPr>
              <p:cNvCxnSpPr/>
              <p:nvPr/>
            </p:nvCxnSpPr>
            <p:spPr>
              <a:xfrm rot="10800000">
                <a:off x="6063" y="2488"/>
                <a:ext cx="68" cy="0"/>
              </a:xfrm>
              <a:prstGeom prst="straightConnector1">
                <a:avLst/>
              </a:prstGeom>
              <a:noFill/>
              <a:ln w="19050" cap="flat" cmpd="sng">
                <a:solidFill>
                  <a:schemeClr val="dk2"/>
                </a:solidFill>
                <a:prstDash val="solid"/>
                <a:miter lim="800000"/>
                <a:headEnd type="none" w="med" len="med"/>
                <a:tailEnd type="none" w="med" len="med"/>
              </a:ln>
            </p:spPr>
          </p:cxnSp>
          <p:cxnSp>
            <p:nvCxnSpPr>
              <p:cNvPr id="174" name="Google Shape;1335;p17">
                <a:extLst>
                  <a:ext uri="{FF2B5EF4-FFF2-40B4-BE49-F238E27FC236}">
                    <a16:creationId xmlns:a16="http://schemas.microsoft.com/office/drawing/2014/main" id="{53EC6638-FCF9-45D9-82B7-600A81FCA036}"/>
                  </a:ext>
                </a:extLst>
              </p:cNvPr>
              <p:cNvCxnSpPr/>
              <p:nvPr/>
            </p:nvCxnSpPr>
            <p:spPr>
              <a:xfrm>
                <a:off x="6061" y="2454"/>
                <a:ext cx="0" cy="69"/>
              </a:xfrm>
              <a:prstGeom prst="straightConnector1">
                <a:avLst/>
              </a:prstGeom>
              <a:noFill/>
              <a:ln w="19050" cap="flat" cmpd="sng">
                <a:solidFill>
                  <a:schemeClr val="dk2"/>
                </a:solidFill>
                <a:prstDash val="solid"/>
                <a:miter lim="800000"/>
                <a:headEnd type="none" w="med" len="med"/>
                <a:tailEnd type="none" w="med" len="med"/>
              </a:ln>
            </p:spPr>
          </p:cxnSp>
          <p:cxnSp>
            <p:nvCxnSpPr>
              <p:cNvPr id="175" name="Google Shape;1336;p17">
                <a:extLst>
                  <a:ext uri="{FF2B5EF4-FFF2-40B4-BE49-F238E27FC236}">
                    <a16:creationId xmlns:a16="http://schemas.microsoft.com/office/drawing/2014/main" id="{B3FA978A-6F71-4630-A3F4-B842159E120B}"/>
                  </a:ext>
                </a:extLst>
              </p:cNvPr>
              <p:cNvCxnSpPr/>
              <p:nvPr/>
            </p:nvCxnSpPr>
            <p:spPr>
              <a:xfrm rot="10800000">
                <a:off x="6027" y="2488"/>
                <a:ext cx="68" cy="0"/>
              </a:xfrm>
              <a:prstGeom prst="straightConnector1">
                <a:avLst/>
              </a:prstGeom>
              <a:noFill/>
              <a:ln w="19050" cap="flat" cmpd="sng">
                <a:solidFill>
                  <a:schemeClr val="dk2"/>
                </a:solidFill>
                <a:prstDash val="solid"/>
                <a:miter lim="800000"/>
                <a:headEnd type="none" w="med" len="med"/>
                <a:tailEnd type="none" w="med" len="med"/>
              </a:ln>
            </p:spPr>
          </p:cxnSp>
          <p:cxnSp>
            <p:nvCxnSpPr>
              <p:cNvPr id="176" name="Google Shape;1337;p17">
                <a:extLst>
                  <a:ext uri="{FF2B5EF4-FFF2-40B4-BE49-F238E27FC236}">
                    <a16:creationId xmlns:a16="http://schemas.microsoft.com/office/drawing/2014/main" id="{370BEC84-0577-44C5-AE66-BAB29DF5FB2D}"/>
                  </a:ext>
                </a:extLst>
              </p:cNvPr>
              <p:cNvCxnSpPr/>
              <p:nvPr/>
            </p:nvCxnSpPr>
            <p:spPr>
              <a:xfrm>
                <a:off x="6045" y="2454"/>
                <a:ext cx="0" cy="69"/>
              </a:xfrm>
              <a:prstGeom prst="straightConnector1">
                <a:avLst/>
              </a:prstGeom>
              <a:noFill/>
              <a:ln w="19050" cap="flat" cmpd="sng">
                <a:solidFill>
                  <a:schemeClr val="dk2"/>
                </a:solidFill>
                <a:prstDash val="solid"/>
                <a:miter lim="800000"/>
                <a:headEnd type="none" w="med" len="med"/>
                <a:tailEnd type="none" w="med" len="med"/>
              </a:ln>
            </p:spPr>
          </p:cxnSp>
          <p:cxnSp>
            <p:nvCxnSpPr>
              <p:cNvPr id="177" name="Google Shape;1338;p17">
                <a:extLst>
                  <a:ext uri="{FF2B5EF4-FFF2-40B4-BE49-F238E27FC236}">
                    <a16:creationId xmlns:a16="http://schemas.microsoft.com/office/drawing/2014/main" id="{DB2740AC-9F3C-4C81-89AF-E02A3BBF9B07}"/>
                  </a:ext>
                </a:extLst>
              </p:cNvPr>
              <p:cNvCxnSpPr/>
              <p:nvPr/>
            </p:nvCxnSpPr>
            <p:spPr>
              <a:xfrm rot="10800000">
                <a:off x="6011" y="2488"/>
                <a:ext cx="68" cy="0"/>
              </a:xfrm>
              <a:prstGeom prst="straightConnector1">
                <a:avLst/>
              </a:prstGeom>
              <a:noFill/>
              <a:ln w="19050" cap="flat" cmpd="sng">
                <a:solidFill>
                  <a:schemeClr val="dk2"/>
                </a:solidFill>
                <a:prstDash val="solid"/>
                <a:miter lim="800000"/>
                <a:headEnd type="none" w="med" len="med"/>
                <a:tailEnd type="none" w="med" len="med"/>
              </a:ln>
            </p:spPr>
          </p:cxnSp>
          <p:cxnSp>
            <p:nvCxnSpPr>
              <p:cNvPr id="178" name="Google Shape;1339;p17">
                <a:extLst>
                  <a:ext uri="{FF2B5EF4-FFF2-40B4-BE49-F238E27FC236}">
                    <a16:creationId xmlns:a16="http://schemas.microsoft.com/office/drawing/2014/main" id="{F2FB9AEE-A0C7-45F9-A390-F34B7842A2D0}"/>
                  </a:ext>
                </a:extLst>
              </p:cNvPr>
              <p:cNvCxnSpPr/>
              <p:nvPr/>
            </p:nvCxnSpPr>
            <p:spPr>
              <a:xfrm>
                <a:off x="5952" y="2336"/>
                <a:ext cx="0" cy="69"/>
              </a:xfrm>
              <a:prstGeom prst="straightConnector1">
                <a:avLst/>
              </a:prstGeom>
              <a:noFill/>
              <a:ln w="19050" cap="flat" cmpd="sng">
                <a:solidFill>
                  <a:schemeClr val="dk2"/>
                </a:solidFill>
                <a:prstDash val="solid"/>
                <a:miter lim="800000"/>
                <a:headEnd type="none" w="med" len="med"/>
                <a:tailEnd type="none" w="med" len="med"/>
              </a:ln>
            </p:spPr>
          </p:cxnSp>
          <p:cxnSp>
            <p:nvCxnSpPr>
              <p:cNvPr id="179" name="Google Shape;1340;p17">
                <a:extLst>
                  <a:ext uri="{FF2B5EF4-FFF2-40B4-BE49-F238E27FC236}">
                    <a16:creationId xmlns:a16="http://schemas.microsoft.com/office/drawing/2014/main" id="{6449FF64-8F4C-44F0-BFF9-36C3B3FAC3FF}"/>
                  </a:ext>
                </a:extLst>
              </p:cNvPr>
              <p:cNvCxnSpPr/>
              <p:nvPr/>
            </p:nvCxnSpPr>
            <p:spPr>
              <a:xfrm rot="10800000">
                <a:off x="5918" y="2371"/>
                <a:ext cx="68" cy="0"/>
              </a:xfrm>
              <a:prstGeom prst="straightConnector1">
                <a:avLst/>
              </a:prstGeom>
              <a:noFill/>
              <a:ln w="19050" cap="flat" cmpd="sng">
                <a:solidFill>
                  <a:schemeClr val="dk2"/>
                </a:solidFill>
                <a:prstDash val="solid"/>
                <a:miter lim="800000"/>
                <a:headEnd type="none" w="med" len="med"/>
                <a:tailEnd type="none" w="med" len="med"/>
              </a:ln>
            </p:spPr>
          </p:cxnSp>
          <p:cxnSp>
            <p:nvCxnSpPr>
              <p:cNvPr id="180" name="Google Shape;1341;p17">
                <a:extLst>
                  <a:ext uri="{FF2B5EF4-FFF2-40B4-BE49-F238E27FC236}">
                    <a16:creationId xmlns:a16="http://schemas.microsoft.com/office/drawing/2014/main" id="{9C6DEF7E-5381-48D7-9540-047703BE0AE0}"/>
                  </a:ext>
                </a:extLst>
              </p:cNvPr>
              <p:cNvCxnSpPr/>
              <p:nvPr/>
            </p:nvCxnSpPr>
            <p:spPr>
              <a:xfrm>
                <a:off x="5914" y="2296"/>
                <a:ext cx="0" cy="65"/>
              </a:xfrm>
              <a:prstGeom prst="straightConnector1">
                <a:avLst/>
              </a:prstGeom>
              <a:noFill/>
              <a:ln w="19050" cap="flat" cmpd="sng">
                <a:solidFill>
                  <a:schemeClr val="dk2"/>
                </a:solidFill>
                <a:prstDash val="solid"/>
                <a:miter lim="800000"/>
                <a:headEnd type="none" w="med" len="med"/>
                <a:tailEnd type="none" w="med" len="med"/>
              </a:ln>
            </p:spPr>
          </p:cxnSp>
          <p:cxnSp>
            <p:nvCxnSpPr>
              <p:cNvPr id="181" name="Google Shape;1342;p17">
                <a:extLst>
                  <a:ext uri="{FF2B5EF4-FFF2-40B4-BE49-F238E27FC236}">
                    <a16:creationId xmlns:a16="http://schemas.microsoft.com/office/drawing/2014/main" id="{5D7CE74D-0175-4831-A5DF-4E50F64BCA5F}"/>
                  </a:ext>
                </a:extLst>
              </p:cNvPr>
              <p:cNvCxnSpPr/>
              <p:nvPr/>
            </p:nvCxnSpPr>
            <p:spPr>
              <a:xfrm rot="10800000">
                <a:off x="5882" y="2330"/>
                <a:ext cx="66" cy="0"/>
              </a:xfrm>
              <a:prstGeom prst="straightConnector1">
                <a:avLst/>
              </a:prstGeom>
              <a:noFill/>
              <a:ln w="19050" cap="flat" cmpd="sng">
                <a:solidFill>
                  <a:schemeClr val="dk2"/>
                </a:solidFill>
                <a:prstDash val="solid"/>
                <a:miter lim="800000"/>
                <a:headEnd type="none" w="med" len="med"/>
                <a:tailEnd type="none" w="med" len="med"/>
              </a:ln>
            </p:spPr>
          </p:cxnSp>
          <p:cxnSp>
            <p:nvCxnSpPr>
              <p:cNvPr id="182" name="Google Shape;1343;p17">
                <a:extLst>
                  <a:ext uri="{FF2B5EF4-FFF2-40B4-BE49-F238E27FC236}">
                    <a16:creationId xmlns:a16="http://schemas.microsoft.com/office/drawing/2014/main" id="{E16391FF-7CC9-4C0B-A969-0930740E8C20}"/>
                  </a:ext>
                </a:extLst>
              </p:cNvPr>
              <p:cNvCxnSpPr/>
              <p:nvPr/>
            </p:nvCxnSpPr>
            <p:spPr>
              <a:xfrm>
                <a:off x="5647" y="1996"/>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83" name="Google Shape;1344;p17">
                <a:extLst>
                  <a:ext uri="{FF2B5EF4-FFF2-40B4-BE49-F238E27FC236}">
                    <a16:creationId xmlns:a16="http://schemas.microsoft.com/office/drawing/2014/main" id="{165E9831-9C92-4DAD-BC86-782C9679A2C3}"/>
                  </a:ext>
                </a:extLst>
              </p:cNvPr>
              <p:cNvCxnSpPr/>
              <p:nvPr/>
            </p:nvCxnSpPr>
            <p:spPr>
              <a:xfrm rot="10800000">
                <a:off x="5613" y="2030"/>
                <a:ext cx="68" cy="0"/>
              </a:xfrm>
              <a:prstGeom prst="straightConnector1">
                <a:avLst/>
              </a:prstGeom>
              <a:noFill/>
              <a:ln w="19050" cap="flat" cmpd="sng">
                <a:solidFill>
                  <a:schemeClr val="dk2"/>
                </a:solidFill>
                <a:prstDash val="solid"/>
                <a:miter lim="800000"/>
                <a:headEnd type="none" w="med" len="med"/>
                <a:tailEnd type="none" w="med" len="med"/>
              </a:ln>
            </p:spPr>
          </p:cxnSp>
          <p:cxnSp>
            <p:nvCxnSpPr>
              <p:cNvPr id="184" name="Google Shape;1345;p17">
                <a:extLst>
                  <a:ext uri="{FF2B5EF4-FFF2-40B4-BE49-F238E27FC236}">
                    <a16:creationId xmlns:a16="http://schemas.microsoft.com/office/drawing/2014/main" id="{394E054D-8836-40D5-85DC-4260FF699016}"/>
                  </a:ext>
                </a:extLst>
              </p:cNvPr>
              <p:cNvCxnSpPr/>
              <p:nvPr/>
            </p:nvCxnSpPr>
            <p:spPr>
              <a:xfrm>
                <a:off x="5604" y="1996"/>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85" name="Google Shape;1346;p17">
                <a:extLst>
                  <a:ext uri="{FF2B5EF4-FFF2-40B4-BE49-F238E27FC236}">
                    <a16:creationId xmlns:a16="http://schemas.microsoft.com/office/drawing/2014/main" id="{EBE343AE-A251-479B-A627-C5B39C8AA84D}"/>
                  </a:ext>
                </a:extLst>
              </p:cNvPr>
              <p:cNvCxnSpPr/>
              <p:nvPr/>
            </p:nvCxnSpPr>
            <p:spPr>
              <a:xfrm rot="10800000">
                <a:off x="5570" y="2030"/>
                <a:ext cx="68" cy="0"/>
              </a:xfrm>
              <a:prstGeom prst="straightConnector1">
                <a:avLst/>
              </a:prstGeom>
              <a:noFill/>
              <a:ln w="19050" cap="flat" cmpd="sng">
                <a:solidFill>
                  <a:schemeClr val="dk2"/>
                </a:solidFill>
                <a:prstDash val="solid"/>
                <a:miter lim="800000"/>
                <a:headEnd type="none" w="med" len="med"/>
                <a:tailEnd type="none" w="med" len="med"/>
              </a:ln>
            </p:spPr>
          </p:cxnSp>
          <p:cxnSp>
            <p:nvCxnSpPr>
              <p:cNvPr id="186" name="Google Shape;1347;p17">
                <a:extLst>
                  <a:ext uri="{FF2B5EF4-FFF2-40B4-BE49-F238E27FC236}">
                    <a16:creationId xmlns:a16="http://schemas.microsoft.com/office/drawing/2014/main" id="{3F7DD261-8693-4ECE-9DF9-8907CFDB9D51}"/>
                  </a:ext>
                </a:extLst>
              </p:cNvPr>
              <p:cNvCxnSpPr/>
              <p:nvPr/>
            </p:nvCxnSpPr>
            <p:spPr>
              <a:xfrm>
                <a:off x="5552" y="1996"/>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87" name="Google Shape;1348;p17">
                <a:extLst>
                  <a:ext uri="{FF2B5EF4-FFF2-40B4-BE49-F238E27FC236}">
                    <a16:creationId xmlns:a16="http://schemas.microsoft.com/office/drawing/2014/main" id="{DC2A26D3-6D7A-4413-8983-03BC4D2721C1}"/>
                  </a:ext>
                </a:extLst>
              </p:cNvPr>
              <p:cNvCxnSpPr/>
              <p:nvPr/>
            </p:nvCxnSpPr>
            <p:spPr>
              <a:xfrm rot="10800000">
                <a:off x="5519" y="2030"/>
                <a:ext cx="67" cy="0"/>
              </a:xfrm>
              <a:prstGeom prst="straightConnector1">
                <a:avLst/>
              </a:prstGeom>
              <a:noFill/>
              <a:ln w="19050" cap="flat" cmpd="sng">
                <a:solidFill>
                  <a:schemeClr val="dk2"/>
                </a:solidFill>
                <a:prstDash val="solid"/>
                <a:miter lim="800000"/>
                <a:headEnd type="none" w="med" len="med"/>
                <a:tailEnd type="none" w="med" len="med"/>
              </a:ln>
            </p:spPr>
          </p:cxnSp>
          <p:cxnSp>
            <p:nvCxnSpPr>
              <p:cNvPr id="188" name="Google Shape;1349;p17">
                <a:extLst>
                  <a:ext uri="{FF2B5EF4-FFF2-40B4-BE49-F238E27FC236}">
                    <a16:creationId xmlns:a16="http://schemas.microsoft.com/office/drawing/2014/main" id="{0FB14319-42B0-4782-9309-F9009373B037}"/>
                  </a:ext>
                </a:extLst>
              </p:cNvPr>
              <p:cNvCxnSpPr/>
              <p:nvPr/>
            </p:nvCxnSpPr>
            <p:spPr>
              <a:xfrm>
                <a:off x="5546" y="1996"/>
                <a:ext cx="0" cy="68"/>
              </a:xfrm>
              <a:prstGeom prst="straightConnector1">
                <a:avLst/>
              </a:prstGeom>
              <a:noFill/>
              <a:ln w="19050" cap="flat" cmpd="sng">
                <a:solidFill>
                  <a:schemeClr val="dk2"/>
                </a:solidFill>
                <a:prstDash val="solid"/>
                <a:miter lim="800000"/>
                <a:headEnd type="none" w="med" len="med"/>
                <a:tailEnd type="none" w="med" len="med"/>
              </a:ln>
            </p:spPr>
          </p:cxnSp>
          <p:cxnSp>
            <p:nvCxnSpPr>
              <p:cNvPr id="189" name="Google Shape;1350;p17">
                <a:extLst>
                  <a:ext uri="{FF2B5EF4-FFF2-40B4-BE49-F238E27FC236}">
                    <a16:creationId xmlns:a16="http://schemas.microsoft.com/office/drawing/2014/main" id="{49BA4A1D-9652-41DC-8778-B1D0A331B828}"/>
                  </a:ext>
                </a:extLst>
              </p:cNvPr>
              <p:cNvCxnSpPr/>
              <p:nvPr/>
            </p:nvCxnSpPr>
            <p:spPr>
              <a:xfrm rot="10800000">
                <a:off x="5512" y="2030"/>
                <a:ext cx="67" cy="0"/>
              </a:xfrm>
              <a:prstGeom prst="straightConnector1">
                <a:avLst/>
              </a:prstGeom>
              <a:noFill/>
              <a:ln w="19050" cap="flat" cmpd="sng">
                <a:solidFill>
                  <a:schemeClr val="dk2"/>
                </a:solidFill>
                <a:prstDash val="solid"/>
                <a:miter lim="800000"/>
                <a:headEnd type="none" w="med" len="med"/>
                <a:tailEnd type="none" w="med" len="med"/>
              </a:ln>
            </p:spPr>
          </p:cxnSp>
          <p:cxnSp>
            <p:nvCxnSpPr>
              <p:cNvPr id="190" name="Google Shape;1351;p17">
                <a:extLst>
                  <a:ext uri="{FF2B5EF4-FFF2-40B4-BE49-F238E27FC236}">
                    <a16:creationId xmlns:a16="http://schemas.microsoft.com/office/drawing/2014/main" id="{69331DE0-5959-47EC-88EB-FE7C686F485D}"/>
                  </a:ext>
                </a:extLst>
              </p:cNvPr>
              <p:cNvCxnSpPr/>
              <p:nvPr/>
            </p:nvCxnSpPr>
            <p:spPr>
              <a:xfrm>
                <a:off x="5433" y="1923"/>
                <a:ext cx="0" cy="69"/>
              </a:xfrm>
              <a:prstGeom prst="straightConnector1">
                <a:avLst/>
              </a:prstGeom>
              <a:noFill/>
              <a:ln w="19050" cap="flat" cmpd="sng">
                <a:solidFill>
                  <a:schemeClr val="dk2"/>
                </a:solidFill>
                <a:prstDash val="solid"/>
                <a:miter lim="800000"/>
                <a:headEnd type="none" w="med" len="med"/>
                <a:tailEnd type="none" w="med" len="med"/>
              </a:ln>
            </p:spPr>
          </p:cxnSp>
          <p:cxnSp>
            <p:nvCxnSpPr>
              <p:cNvPr id="191" name="Google Shape;1352;p17">
                <a:extLst>
                  <a:ext uri="{FF2B5EF4-FFF2-40B4-BE49-F238E27FC236}">
                    <a16:creationId xmlns:a16="http://schemas.microsoft.com/office/drawing/2014/main" id="{F90327C5-2C05-41B8-9000-D7F713A473CC}"/>
                  </a:ext>
                </a:extLst>
              </p:cNvPr>
              <p:cNvCxnSpPr/>
              <p:nvPr/>
            </p:nvCxnSpPr>
            <p:spPr>
              <a:xfrm rot="10800000">
                <a:off x="5399" y="1958"/>
                <a:ext cx="68" cy="0"/>
              </a:xfrm>
              <a:prstGeom prst="straightConnector1">
                <a:avLst/>
              </a:prstGeom>
              <a:noFill/>
              <a:ln w="19050" cap="flat" cmpd="sng">
                <a:solidFill>
                  <a:schemeClr val="dk2"/>
                </a:solidFill>
                <a:prstDash val="solid"/>
                <a:miter lim="800000"/>
                <a:headEnd type="none" w="med" len="med"/>
                <a:tailEnd type="none" w="med" len="med"/>
              </a:ln>
            </p:spPr>
          </p:cxnSp>
        </p:grpSp>
        <p:grpSp>
          <p:nvGrpSpPr>
            <p:cNvPr id="68" name="Google Shape;1353;p17">
              <a:extLst>
                <a:ext uri="{FF2B5EF4-FFF2-40B4-BE49-F238E27FC236}">
                  <a16:creationId xmlns:a16="http://schemas.microsoft.com/office/drawing/2014/main" id="{8EE86BDE-2D98-4329-A0A1-4C0BB6A1AD1F}"/>
                </a:ext>
              </a:extLst>
            </p:cNvPr>
            <p:cNvGrpSpPr/>
            <p:nvPr/>
          </p:nvGrpSpPr>
          <p:grpSpPr>
            <a:xfrm>
              <a:off x="5549309" y="1873130"/>
              <a:ext cx="2662591" cy="323279"/>
              <a:chOff x="5042" y="1591"/>
              <a:chExt cx="2032" cy="285"/>
            </a:xfrm>
          </p:grpSpPr>
          <p:sp>
            <p:nvSpPr>
              <p:cNvPr id="102" name="Google Shape;1354;p17">
                <a:extLst>
                  <a:ext uri="{FF2B5EF4-FFF2-40B4-BE49-F238E27FC236}">
                    <a16:creationId xmlns:a16="http://schemas.microsoft.com/office/drawing/2014/main" id="{5C01EF16-FED6-4E7A-800F-4C2B6B7A7A17}"/>
                  </a:ext>
                </a:extLst>
              </p:cNvPr>
              <p:cNvSpPr/>
              <p:nvPr/>
            </p:nvSpPr>
            <p:spPr>
              <a:xfrm>
                <a:off x="5042" y="1591"/>
                <a:ext cx="2000" cy="250"/>
              </a:xfrm>
              <a:custGeom>
                <a:avLst/>
                <a:gdLst/>
                <a:ahLst/>
                <a:cxnLst/>
                <a:rect l="l" t="t" r="r" b="b"/>
                <a:pathLst>
                  <a:path w="2000" h="250" extrusionOk="0">
                    <a:moveTo>
                      <a:pt x="0" y="0"/>
                    </a:moveTo>
                    <a:lnTo>
                      <a:pt x="212" y="0"/>
                    </a:lnTo>
                    <a:lnTo>
                      <a:pt x="212" y="124"/>
                    </a:lnTo>
                    <a:lnTo>
                      <a:pt x="587" y="124"/>
                    </a:lnTo>
                    <a:lnTo>
                      <a:pt x="587" y="250"/>
                    </a:lnTo>
                    <a:lnTo>
                      <a:pt x="2000" y="250"/>
                    </a:lnTo>
                  </a:path>
                </a:pathLst>
              </a:custGeom>
              <a:noFill/>
              <a:ln w="19050" cap="flat" cmpd="sng">
                <a:solidFill>
                  <a:schemeClr val="accent2"/>
                </a:solidFill>
                <a:prstDash val="solid"/>
                <a:miter lim="800000"/>
                <a:headEnd type="none" w="med" len="med"/>
                <a:tailEnd type="none" w="med" len="med"/>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cxnSp>
            <p:nvCxnSpPr>
              <p:cNvPr id="103" name="Google Shape;1355;p17">
                <a:extLst>
                  <a:ext uri="{FF2B5EF4-FFF2-40B4-BE49-F238E27FC236}">
                    <a16:creationId xmlns:a16="http://schemas.microsoft.com/office/drawing/2014/main" id="{3DA9C290-5B09-4E62-BED8-757914104DFE}"/>
                  </a:ext>
                </a:extLst>
              </p:cNvPr>
              <p:cNvCxnSpPr/>
              <p:nvPr/>
            </p:nvCxnSpPr>
            <p:spPr>
              <a:xfrm>
                <a:off x="7040" y="1804"/>
                <a:ext cx="0" cy="70"/>
              </a:xfrm>
              <a:prstGeom prst="straightConnector1">
                <a:avLst/>
              </a:prstGeom>
              <a:noFill/>
              <a:ln w="19050" cap="flat" cmpd="sng">
                <a:solidFill>
                  <a:schemeClr val="accent2"/>
                </a:solidFill>
                <a:prstDash val="solid"/>
                <a:miter lim="800000"/>
                <a:headEnd type="none" w="med" len="med"/>
                <a:tailEnd type="none" w="med" len="med"/>
              </a:ln>
            </p:spPr>
          </p:cxnSp>
          <p:cxnSp>
            <p:nvCxnSpPr>
              <p:cNvPr id="104" name="Google Shape;1356;p17">
                <a:extLst>
                  <a:ext uri="{FF2B5EF4-FFF2-40B4-BE49-F238E27FC236}">
                    <a16:creationId xmlns:a16="http://schemas.microsoft.com/office/drawing/2014/main" id="{CC2681B1-1CC7-4C40-AE03-380D7C38ED5D}"/>
                  </a:ext>
                </a:extLst>
              </p:cNvPr>
              <p:cNvCxnSpPr/>
              <p:nvPr/>
            </p:nvCxnSpPr>
            <p:spPr>
              <a:xfrm rot="10800000">
                <a:off x="7006" y="1839"/>
                <a:ext cx="68" cy="0"/>
              </a:xfrm>
              <a:prstGeom prst="straightConnector1">
                <a:avLst/>
              </a:prstGeom>
              <a:noFill/>
              <a:ln w="19050" cap="flat" cmpd="sng">
                <a:solidFill>
                  <a:schemeClr val="accent2"/>
                </a:solidFill>
                <a:prstDash val="solid"/>
                <a:miter lim="800000"/>
                <a:headEnd type="none" w="med" len="med"/>
                <a:tailEnd type="none" w="med" len="med"/>
              </a:ln>
            </p:spPr>
          </p:cxnSp>
          <p:cxnSp>
            <p:nvCxnSpPr>
              <p:cNvPr id="105" name="Google Shape;1357;p17">
                <a:extLst>
                  <a:ext uri="{FF2B5EF4-FFF2-40B4-BE49-F238E27FC236}">
                    <a16:creationId xmlns:a16="http://schemas.microsoft.com/office/drawing/2014/main" id="{B965541C-4141-4D12-933C-EBFF96B9A3EC}"/>
                  </a:ext>
                </a:extLst>
              </p:cNvPr>
              <p:cNvCxnSpPr/>
              <p:nvPr/>
            </p:nvCxnSpPr>
            <p:spPr>
              <a:xfrm>
                <a:off x="7031" y="1804"/>
                <a:ext cx="0" cy="70"/>
              </a:xfrm>
              <a:prstGeom prst="straightConnector1">
                <a:avLst/>
              </a:prstGeom>
              <a:noFill/>
              <a:ln w="19050" cap="flat" cmpd="sng">
                <a:solidFill>
                  <a:schemeClr val="accent2"/>
                </a:solidFill>
                <a:prstDash val="solid"/>
                <a:miter lim="800000"/>
                <a:headEnd type="none" w="med" len="med"/>
                <a:tailEnd type="none" w="med" len="med"/>
              </a:ln>
            </p:spPr>
          </p:cxnSp>
          <p:cxnSp>
            <p:nvCxnSpPr>
              <p:cNvPr id="106" name="Google Shape;1358;p17">
                <a:extLst>
                  <a:ext uri="{FF2B5EF4-FFF2-40B4-BE49-F238E27FC236}">
                    <a16:creationId xmlns:a16="http://schemas.microsoft.com/office/drawing/2014/main" id="{829D1593-75E7-4FF3-9082-645CEA226330}"/>
                  </a:ext>
                </a:extLst>
              </p:cNvPr>
              <p:cNvCxnSpPr/>
              <p:nvPr/>
            </p:nvCxnSpPr>
            <p:spPr>
              <a:xfrm rot="10800000">
                <a:off x="6997" y="1839"/>
                <a:ext cx="68" cy="0"/>
              </a:xfrm>
              <a:prstGeom prst="straightConnector1">
                <a:avLst/>
              </a:prstGeom>
              <a:noFill/>
              <a:ln w="19050" cap="flat" cmpd="sng">
                <a:solidFill>
                  <a:schemeClr val="accent2"/>
                </a:solidFill>
                <a:prstDash val="solid"/>
                <a:miter lim="800000"/>
                <a:headEnd type="none" w="med" len="med"/>
                <a:tailEnd type="none" w="med" len="med"/>
              </a:ln>
            </p:spPr>
          </p:cxnSp>
          <p:cxnSp>
            <p:nvCxnSpPr>
              <p:cNvPr id="107" name="Google Shape;1359;p17">
                <a:extLst>
                  <a:ext uri="{FF2B5EF4-FFF2-40B4-BE49-F238E27FC236}">
                    <a16:creationId xmlns:a16="http://schemas.microsoft.com/office/drawing/2014/main" id="{B30A73E7-0E8E-4C75-8CD4-B1C003078AF7}"/>
                  </a:ext>
                </a:extLst>
              </p:cNvPr>
              <p:cNvCxnSpPr/>
              <p:nvPr/>
            </p:nvCxnSpPr>
            <p:spPr>
              <a:xfrm>
                <a:off x="6777" y="1804"/>
                <a:ext cx="0" cy="70"/>
              </a:xfrm>
              <a:prstGeom prst="straightConnector1">
                <a:avLst/>
              </a:prstGeom>
              <a:noFill/>
              <a:ln w="19050" cap="flat" cmpd="sng">
                <a:solidFill>
                  <a:schemeClr val="accent2"/>
                </a:solidFill>
                <a:prstDash val="solid"/>
                <a:miter lim="800000"/>
                <a:headEnd type="none" w="med" len="med"/>
                <a:tailEnd type="none" w="med" len="med"/>
              </a:ln>
            </p:spPr>
          </p:cxnSp>
          <p:cxnSp>
            <p:nvCxnSpPr>
              <p:cNvPr id="108" name="Google Shape;1360;p17">
                <a:extLst>
                  <a:ext uri="{FF2B5EF4-FFF2-40B4-BE49-F238E27FC236}">
                    <a16:creationId xmlns:a16="http://schemas.microsoft.com/office/drawing/2014/main" id="{93F93018-8EBA-4B4B-9195-B7DE9277D64E}"/>
                  </a:ext>
                </a:extLst>
              </p:cNvPr>
              <p:cNvCxnSpPr/>
              <p:nvPr/>
            </p:nvCxnSpPr>
            <p:spPr>
              <a:xfrm rot="10800000">
                <a:off x="6743" y="1839"/>
                <a:ext cx="69" cy="0"/>
              </a:xfrm>
              <a:prstGeom prst="straightConnector1">
                <a:avLst/>
              </a:prstGeom>
              <a:noFill/>
              <a:ln w="19050" cap="flat" cmpd="sng">
                <a:solidFill>
                  <a:schemeClr val="accent2"/>
                </a:solidFill>
                <a:prstDash val="solid"/>
                <a:miter lim="800000"/>
                <a:headEnd type="none" w="med" len="med"/>
                <a:tailEnd type="none" w="med" len="med"/>
              </a:ln>
            </p:spPr>
          </p:cxnSp>
          <p:cxnSp>
            <p:nvCxnSpPr>
              <p:cNvPr id="109" name="Google Shape;1361;p17">
                <a:extLst>
                  <a:ext uri="{FF2B5EF4-FFF2-40B4-BE49-F238E27FC236}">
                    <a16:creationId xmlns:a16="http://schemas.microsoft.com/office/drawing/2014/main" id="{5853A61D-60E5-4310-96EE-7E15F9E309B4}"/>
                  </a:ext>
                </a:extLst>
              </p:cNvPr>
              <p:cNvCxnSpPr/>
              <p:nvPr/>
            </p:nvCxnSpPr>
            <p:spPr>
              <a:xfrm>
                <a:off x="6725" y="1804"/>
                <a:ext cx="0" cy="70"/>
              </a:xfrm>
              <a:prstGeom prst="straightConnector1">
                <a:avLst/>
              </a:prstGeom>
              <a:noFill/>
              <a:ln w="19050" cap="flat" cmpd="sng">
                <a:solidFill>
                  <a:schemeClr val="accent2"/>
                </a:solidFill>
                <a:prstDash val="solid"/>
                <a:miter lim="800000"/>
                <a:headEnd type="none" w="med" len="med"/>
                <a:tailEnd type="none" w="med" len="med"/>
              </a:ln>
            </p:spPr>
          </p:cxnSp>
          <p:cxnSp>
            <p:nvCxnSpPr>
              <p:cNvPr id="110" name="Google Shape;1362;p17">
                <a:extLst>
                  <a:ext uri="{FF2B5EF4-FFF2-40B4-BE49-F238E27FC236}">
                    <a16:creationId xmlns:a16="http://schemas.microsoft.com/office/drawing/2014/main" id="{2E674E95-3790-4D50-BDC7-9D4E7DDFEE93}"/>
                  </a:ext>
                </a:extLst>
              </p:cNvPr>
              <p:cNvCxnSpPr/>
              <p:nvPr/>
            </p:nvCxnSpPr>
            <p:spPr>
              <a:xfrm rot="10800000">
                <a:off x="6691" y="1839"/>
                <a:ext cx="68" cy="0"/>
              </a:xfrm>
              <a:prstGeom prst="straightConnector1">
                <a:avLst/>
              </a:prstGeom>
              <a:noFill/>
              <a:ln w="19050" cap="flat" cmpd="sng">
                <a:solidFill>
                  <a:schemeClr val="accent2"/>
                </a:solidFill>
                <a:prstDash val="solid"/>
                <a:miter lim="800000"/>
                <a:headEnd type="none" w="med" len="med"/>
                <a:tailEnd type="none" w="med" len="med"/>
              </a:ln>
            </p:spPr>
          </p:cxnSp>
          <p:cxnSp>
            <p:nvCxnSpPr>
              <p:cNvPr id="111" name="Google Shape;1363;p17">
                <a:extLst>
                  <a:ext uri="{FF2B5EF4-FFF2-40B4-BE49-F238E27FC236}">
                    <a16:creationId xmlns:a16="http://schemas.microsoft.com/office/drawing/2014/main" id="{7A42BC3E-7E6C-41F7-ADBC-F5299BD6904F}"/>
                  </a:ext>
                </a:extLst>
              </p:cNvPr>
              <p:cNvCxnSpPr/>
              <p:nvPr/>
            </p:nvCxnSpPr>
            <p:spPr>
              <a:xfrm>
                <a:off x="6542" y="1804"/>
                <a:ext cx="0" cy="70"/>
              </a:xfrm>
              <a:prstGeom prst="straightConnector1">
                <a:avLst/>
              </a:prstGeom>
              <a:noFill/>
              <a:ln w="19050" cap="flat" cmpd="sng">
                <a:solidFill>
                  <a:schemeClr val="accent2"/>
                </a:solidFill>
                <a:prstDash val="solid"/>
                <a:miter lim="800000"/>
                <a:headEnd type="none" w="med" len="med"/>
                <a:tailEnd type="none" w="med" len="med"/>
              </a:ln>
            </p:spPr>
          </p:cxnSp>
          <p:cxnSp>
            <p:nvCxnSpPr>
              <p:cNvPr id="112" name="Google Shape;1364;p17">
                <a:extLst>
                  <a:ext uri="{FF2B5EF4-FFF2-40B4-BE49-F238E27FC236}">
                    <a16:creationId xmlns:a16="http://schemas.microsoft.com/office/drawing/2014/main" id="{35F4647D-BE6D-40AE-BE06-AC9F763CBCD2}"/>
                  </a:ext>
                </a:extLst>
              </p:cNvPr>
              <p:cNvCxnSpPr/>
              <p:nvPr/>
            </p:nvCxnSpPr>
            <p:spPr>
              <a:xfrm rot="10800000">
                <a:off x="6508" y="1839"/>
                <a:ext cx="68" cy="0"/>
              </a:xfrm>
              <a:prstGeom prst="straightConnector1">
                <a:avLst/>
              </a:prstGeom>
              <a:noFill/>
              <a:ln w="19050" cap="flat" cmpd="sng">
                <a:solidFill>
                  <a:schemeClr val="accent2"/>
                </a:solidFill>
                <a:prstDash val="solid"/>
                <a:miter lim="800000"/>
                <a:headEnd type="none" w="med" len="med"/>
                <a:tailEnd type="none" w="med" len="med"/>
              </a:ln>
            </p:spPr>
          </p:cxnSp>
          <p:cxnSp>
            <p:nvCxnSpPr>
              <p:cNvPr id="113" name="Google Shape;1365;p17">
                <a:extLst>
                  <a:ext uri="{FF2B5EF4-FFF2-40B4-BE49-F238E27FC236}">
                    <a16:creationId xmlns:a16="http://schemas.microsoft.com/office/drawing/2014/main" id="{89D9F9CC-275E-4A68-B080-CC41457C82F1}"/>
                  </a:ext>
                </a:extLst>
              </p:cNvPr>
              <p:cNvCxnSpPr/>
              <p:nvPr/>
            </p:nvCxnSpPr>
            <p:spPr>
              <a:xfrm>
                <a:off x="6487" y="1804"/>
                <a:ext cx="0" cy="70"/>
              </a:xfrm>
              <a:prstGeom prst="straightConnector1">
                <a:avLst/>
              </a:prstGeom>
              <a:noFill/>
              <a:ln w="19050" cap="flat" cmpd="sng">
                <a:solidFill>
                  <a:schemeClr val="accent2"/>
                </a:solidFill>
                <a:prstDash val="solid"/>
                <a:miter lim="800000"/>
                <a:headEnd type="none" w="med" len="med"/>
                <a:tailEnd type="none" w="med" len="med"/>
              </a:ln>
            </p:spPr>
          </p:cxnSp>
          <p:cxnSp>
            <p:nvCxnSpPr>
              <p:cNvPr id="114" name="Google Shape;1366;p17">
                <a:extLst>
                  <a:ext uri="{FF2B5EF4-FFF2-40B4-BE49-F238E27FC236}">
                    <a16:creationId xmlns:a16="http://schemas.microsoft.com/office/drawing/2014/main" id="{BE65B70D-675F-46B9-97F7-2287AC92AB8F}"/>
                  </a:ext>
                </a:extLst>
              </p:cNvPr>
              <p:cNvCxnSpPr/>
              <p:nvPr/>
            </p:nvCxnSpPr>
            <p:spPr>
              <a:xfrm rot="10800000">
                <a:off x="6455" y="1839"/>
                <a:ext cx="67" cy="0"/>
              </a:xfrm>
              <a:prstGeom prst="straightConnector1">
                <a:avLst/>
              </a:prstGeom>
              <a:noFill/>
              <a:ln w="19050" cap="flat" cmpd="sng">
                <a:solidFill>
                  <a:schemeClr val="accent2"/>
                </a:solidFill>
                <a:prstDash val="solid"/>
                <a:miter lim="800000"/>
                <a:headEnd type="none" w="med" len="med"/>
                <a:tailEnd type="none" w="med" len="med"/>
              </a:ln>
            </p:spPr>
          </p:cxnSp>
          <p:cxnSp>
            <p:nvCxnSpPr>
              <p:cNvPr id="115" name="Google Shape;1367;p17">
                <a:extLst>
                  <a:ext uri="{FF2B5EF4-FFF2-40B4-BE49-F238E27FC236}">
                    <a16:creationId xmlns:a16="http://schemas.microsoft.com/office/drawing/2014/main" id="{7C85286B-B442-40C0-A923-5ABE80C69320}"/>
                  </a:ext>
                </a:extLst>
              </p:cNvPr>
              <p:cNvCxnSpPr/>
              <p:nvPr/>
            </p:nvCxnSpPr>
            <p:spPr>
              <a:xfrm>
                <a:off x="6401" y="1804"/>
                <a:ext cx="0" cy="70"/>
              </a:xfrm>
              <a:prstGeom prst="straightConnector1">
                <a:avLst/>
              </a:prstGeom>
              <a:noFill/>
              <a:ln w="19050" cap="flat" cmpd="sng">
                <a:solidFill>
                  <a:schemeClr val="accent2"/>
                </a:solidFill>
                <a:prstDash val="solid"/>
                <a:miter lim="800000"/>
                <a:headEnd type="none" w="med" len="med"/>
                <a:tailEnd type="none" w="med" len="med"/>
              </a:ln>
            </p:spPr>
          </p:cxnSp>
          <p:cxnSp>
            <p:nvCxnSpPr>
              <p:cNvPr id="116" name="Google Shape;1368;p17">
                <a:extLst>
                  <a:ext uri="{FF2B5EF4-FFF2-40B4-BE49-F238E27FC236}">
                    <a16:creationId xmlns:a16="http://schemas.microsoft.com/office/drawing/2014/main" id="{971A6580-80C6-4A04-9093-77F73F59443C}"/>
                  </a:ext>
                </a:extLst>
              </p:cNvPr>
              <p:cNvCxnSpPr/>
              <p:nvPr/>
            </p:nvCxnSpPr>
            <p:spPr>
              <a:xfrm rot="10800000">
                <a:off x="6366" y="1839"/>
                <a:ext cx="69" cy="0"/>
              </a:xfrm>
              <a:prstGeom prst="straightConnector1">
                <a:avLst/>
              </a:prstGeom>
              <a:noFill/>
              <a:ln w="19050" cap="flat" cmpd="sng">
                <a:solidFill>
                  <a:schemeClr val="accent2"/>
                </a:solidFill>
                <a:prstDash val="solid"/>
                <a:miter lim="800000"/>
                <a:headEnd type="none" w="med" len="med"/>
                <a:tailEnd type="none" w="med" len="med"/>
              </a:ln>
            </p:spPr>
          </p:cxnSp>
          <p:cxnSp>
            <p:nvCxnSpPr>
              <p:cNvPr id="117" name="Google Shape;1369;p17">
                <a:extLst>
                  <a:ext uri="{FF2B5EF4-FFF2-40B4-BE49-F238E27FC236}">
                    <a16:creationId xmlns:a16="http://schemas.microsoft.com/office/drawing/2014/main" id="{4E4C7832-38AE-4136-AC1C-C3737B92ECBF}"/>
                  </a:ext>
                </a:extLst>
              </p:cNvPr>
              <p:cNvCxnSpPr/>
              <p:nvPr/>
            </p:nvCxnSpPr>
            <p:spPr>
              <a:xfrm>
                <a:off x="6332" y="1804"/>
                <a:ext cx="0" cy="70"/>
              </a:xfrm>
              <a:prstGeom prst="straightConnector1">
                <a:avLst/>
              </a:prstGeom>
              <a:noFill/>
              <a:ln w="19050" cap="flat" cmpd="sng">
                <a:solidFill>
                  <a:schemeClr val="accent2"/>
                </a:solidFill>
                <a:prstDash val="solid"/>
                <a:miter lim="800000"/>
                <a:headEnd type="none" w="med" len="med"/>
                <a:tailEnd type="none" w="med" len="med"/>
              </a:ln>
            </p:spPr>
          </p:cxnSp>
          <p:cxnSp>
            <p:nvCxnSpPr>
              <p:cNvPr id="118" name="Google Shape;1370;p17">
                <a:extLst>
                  <a:ext uri="{FF2B5EF4-FFF2-40B4-BE49-F238E27FC236}">
                    <a16:creationId xmlns:a16="http://schemas.microsoft.com/office/drawing/2014/main" id="{AD8E9278-2272-42AD-BF61-44AFA2D4B5B6}"/>
                  </a:ext>
                </a:extLst>
              </p:cNvPr>
              <p:cNvCxnSpPr/>
              <p:nvPr/>
            </p:nvCxnSpPr>
            <p:spPr>
              <a:xfrm rot="10800000">
                <a:off x="6298" y="1839"/>
                <a:ext cx="66" cy="0"/>
              </a:xfrm>
              <a:prstGeom prst="straightConnector1">
                <a:avLst/>
              </a:prstGeom>
              <a:noFill/>
              <a:ln w="19050" cap="flat" cmpd="sng">
                <a:solidFill>
                  <a:schemeClr val="accent2"/>
                </a:solidFill>
                <a:prstDash val="solid"/>
                <a:miter lim="800000"/>
                <a:headEnd type="none" w="med" len="med"/>
                <a:tailEnd type="none" w="med" len="med"/>
              </a:ln>
            </p:spPr>
          </p:cxnSp>
          <p:cxnSp>
            <p:nvCxnSpPr>
              <p:cNvPr id="119" name="Google Shape;1371;p17">
                <a:extLst>
                  <a:ext uri="{FF2B5EF4-FFF2-40B4-BE49-F238E27FC236}">
                    <a16:creationId xmlns:a16="http://schemas.microsoft.com/office/drawing/2014/main" id="{714FCDFE-18A2-444B-8A36-CD81C211C26C}"/>
                  </a:ext>
                </a:extLst>
              </p:cNvPr>
              <p:cNvCxnSpPr/>
              <p:nvPr/>
            </p:nvCxnSpPr>
            <p:spPr>
              <a:xfrm>
                <a:off x="6323" y="1804"/>
                <a:ext cx="0" cy="70"/>
              </a:xfrm>
              <a:prstGeom prst="straightConnector1">
                <a:avLst/>
              </a:prstGeom>
              <a:noFill/>
              <a:ln w="19050" cap="flat" cmpd="sng">
                <a:solidFill>
                  <a:schemeClr val="accent2"/>
                </a:solidFill>
                <a:prstDash val="solid"/>
                <a:miter lim="800000"/>
                <a:headEnd type="none" w="med" len="med"/>
                <a:tailEnd type="none" w="med" len="med"/>
              </a:ln>
            </p:spPr>
          </p:cxnSp>
          <p:cxnSp>
            <p:nvCxnSpPr>
              <p:cNvPr id="120" name="Google Shape;1372;p17">
                <a:extLst>
                  <a:ext uri="{FF2B5EF4-FFF2-40B4-BE49-F238E27FC236}">
                    <a16:creationId xmlns:a16="http://schemas.microsoft.com/office/drawing/2014/main" id="{9207E4B5-4D26-40CA-9F0E-A68B370CCB96}"/>
                  </a:ext>
                </a:extLst>
              </p:cNvPr>
              <p:cNvCxnSpPr/>
              <p:nvPr/>
            </p:nvCxnSpPr>
            <p:spPr>
              <a:xfrm rot="10800000">
                <a:off x="6289" y="1839"/>
                <a:ext cx="68" cy="0"/>
              </a:xfrm>
              <a:prstGeom prst="straightConnector1">
                <a:avLst/>
              </a:prstGeom>
              <a:noFill/>
              <a:ln w="19050" cap="flat" cmpd="sng">
                <a:solidFill>
                  <a:schemeClr val="accent2"/>
                </a:solidFill>
                <a:prstDash val="solid"/>
                <a:miter lim="800000"/>
                <a:headEnd type="none" w="med" len="med"/>
                <a:tailEnd type="none" w="med" len="med"/>
              </a:ln>
            </p:spPr>
          </p:cxnSp>
          <p:cxnSp>
            <p:nvCxnSpPr>
              <p:cNvPr id="121" name="Google Shape;1373;p17">
                <a:extLst>
                  <a:ext uri="{FF2B5EF4-FFF2-40B4-BE49-F238E27FC236}">
                    <a16:creationId xmlns:a16="http://schemas.microsoft.com/office/drawing/2014/main" id="{6431F769-22DF-463A-9A14-542B00B51975}"/>
                  </a:ext>
                </a:extLst>
              </p:cNvPr>
              <p:cNvCxnSpPr/>
              <p:nvPr/>
            </p:nvCxnSpPr>
            <p:spPr>
              <a:xfrm>
                <a:off x="6184" y="1804"/>
                <a:ext cx="0" cy="70"/>
              </a:xfrm>
              <a:prstGeom prst="straightConnector1">
                <a:avLst/>
              </a:prstGeom>
              <a:noFill/>
              <a:ln w="19050" cap="flat" cmpd="sng">
                <a:solidFill>
                  <a:schemeClr val="accent2"/>
                </a:solidFill>
                <a:prstDash val="solid"/>
                <a:miter lim="800000"/>
                <a:headEnd type="none" w="med" len="med"/>
                <a:tailEnd type="none" w="med" len="med"/>
              </a:ln>
            </p:spPr>
          </p:cxnSp>
          <p:cxnSp>
            <p:nvCxnSpPr>
              <p:cNvPr id="122" name="Google Shape;1374;p17">
                <a:extLst>
                  <a:ext uri="{FF2B5EF4-FFF2-40B4-BE49-F238E27FC236}">
                    <a16:creationId xmlns:a16="http://schemas.microsoft.com/office/drawing/2014/main" id="{C45B3B1B-702E-487A-BF68-FF99993DC58B}"/>
                  </a:ext>
                </a:extLst>
              </p:cNvPr>
              <p:cNvCxnSpPr/>
              <p:nvPr/>
            </p:nvCxnSpPr>
            <p:spPr>
              <a:xfrm rot="10800000">
                <a:off x="6149" y="1839"/>
                <a:ext cx="69" cy="0"/>
              </a:xfrm>
              <a:prstGeom prst="straightConnector1">
                <a:avLst/>
              </a:prstGeom>
              <a:noFill/>
              <a:ln w="19050" cap="flat" cmpd="sng">
                <a:solidFill>
                  <a:schemeClr val="accent2"/>
                </a:solidFill>
                <a:prstDash val="solid"/>
                <a:miter lim="800000"/>
                <a:headEnd type="none" w="med" len="med"/>
                <a:tailEnd type="none" w="med" len="med"/>
              </a:ln>
            </p:spPr>
          </p:cxnSp>
          <p:cxnSp>
            <p:nvCxnSpPr>
              <p:cNvPr id="123" name="Google Shape;1375;p17">
                <a:extLst>
                  <a:ext uri="{FF2B5EF4-FFF2-40B4-BE49-F238E27FC236}">
                    <a16:creationId xmlns:a16="http://schemas.microsoft.com/office/drawing/2014/main" id="{D53C66E2-018E-4F7A-8BF6-8C17B21588A0}"/>
                  </a:ext>
                </a:extLst>
              </p:cNvPr>
              <p:cNvCxnSpPr/>
              <p:nvPr/>
            </p:nvCxnSpPr>
            <p:spPr>
              <a:xfrm>
                <a:off x="5825" y="1806"/>
                <a:ext cx="0" cy="70"/>
              </a:xfrm>
              <a:prstGeom prst="straightConnector1">
                <a:avLst/>
              </a:prstGeom>
              <a:noFill/>
              <a:ln w="19050" cap="flat" cmpd="sng">
                <a:solidFill>
                  <a:schemeClr val="accent2"/>
                </a:solidFill>
                <a:prstDash val="solid"/>
                <a:miter lim="800000"/>
                <a:headEnd type="none" w="med" len="med"/>
                <a:tailEnd type="none" w="med" len="med"/>
              </a:ln>
            </p:spPr>
          </p:cxnSp>
          <p:cxnSp>
            <p:nvCxnSpPr>
              <p:cNvPr id="124" name="Google Shape;1376;p17">
                <a:extLst>
                  <a:ext uri="{FF2B5EF4-FFF2-40B4-BE49-F238E27FC236}">
                    <a16:creationId xmlns:a16="http://schemas.microsoft.com/office/drawing/2014/main" id="{C6F0FE8E-9A01-4966-AB31-8D4C6B23C341}"/>
                  </a:ext>
                </a:extLst>
              </p:cNvPr>
              <p:cNvCxnSpPr/>
              <p:nvPr/>
            </p:nvCxnSpPr>
            <p:spPr>
              <a:xfrm rot="10800000">
                <a:off x="5791" y="1841"/>
                <a:ext cx="68" cy="0"/>
              </a:xfrm>
              <a:prstGeom prst="straightConnector1">
                <a:avLst/>
              </a:prstGeom>
              <a:noFill/>
              <a:ln w="19050" cap="flat" cmpd="sng">
                <a:solidFill>
                  <a:schemeClr val="accent2"/>
                </a:solidFill>
                <a:prstDash val="solid"/>
                <a:miter lim="800000"/>
                <a:headEnd type="none" w="med" len="med"/>
                <a:tailEnd type="none" w="med" len="med"/>
              </a:ln>
            </p:spPr>
          </p:cxnSp>
          <p:cxnSp>
            <p:nvCxnSpPr>
              <p:cNvPr id="125" name="Google Shape;1377;p17">
                <a:extLst>
                  <a:ext uri="{FF2B5EF4-FFF2-40B4-BE49-F238E27FC236}">
                    <a16:creationId xmlns:a16="http://schemas.microsoft.com/office/drawing/2014/main" id="{6E3C4019-EBA3-430A-AE78-E4167949F356}"/>
                  </a:ext>
                </a:extLst>
              </p:cNvPr>
              <p:cNvCxnSpPr/>
              <p:nvPr/>
            </p:nvCxnSpPr>
            <p:spPr>
              <a:xfrm>
                <a:off x="5773" y="1806"/>
                <a:ext cx="0" cy="70"/>
              </a:xfrm>
              <a:prstGeom prst="straightConnector1">
                <a:avLst/>
              </a:prstGeom>
              <a:noFill/>
              <a:ln w="19050" cap="flat" cmpd="sng">
                <a:solidFill>
                  <a:schemeClr val="accent2"/>
                </a:solidFill>
                <a:prstDash val="solid"/>
                <a:miter lim="800000"/>
                <a:headEnd type="none" w="med" len="med"/>
                <a:tailEnd type="none" w="med" len="med"/>
              </a:ln>
            </p:spPr>
          </p:cxnSp>
          <p:cxnSp>
            <p:nvCxnSpPr>
              <p:cNvPr id="126" name="Google Shape;1378;p17">
                <a:extLst>
                  <a:ext uri="{FF2B5EF4-FFF2-40B4-BE49-F238E27FC236}">
                    <a16:creationId xmlns:a16="http://schemas.microsoft.com/office/drawing/2014/main" id="{9C1F106F-63E8-4519-9E96-2B674E7CF667}"/>
                  </a:ext>
                </a:extLst>
              </p:cNvPr>
              <p:cNvCxnSpPr/>
              <p:nvPr/>
            </p:nvCxnSpPr>
            <p:spPr>
              <a:xfrm rot="10800000">
                <a:off x="5738" y="1841"/>
                <a:ext cx="69" cy="0"/>
              </a:xfrm>
              <a:prstGeom prst="straightConnector1">
                <a:avLst/>
              </a:prstGeom>
              <a:noFill/>
              <a:ln w="19050" cap="flat" cmpd="sng">
                <a:solidFill>
                  <a:schemeClr val="accent2"/>
                </a:solidFill>
                <a:prstDash val="solid"/>
                <a:miter lim="800000"/>
                <a:headEnd type="none" w="med" len="med"/>
                <a:tailEnd type="none" w="med" len="med"/>
              </a:ln>
            </p:spPr>
          </p:cxnSp>
          <p:cxnSp>
            <p:nvCxnSpPr>
              <p:cNvPr id="127" name="Google Shape;1379;p17">
                <a:extLst>
                  <a:ext uri="{FF2B5EF4-FFF2-40B4-BE49-F238E27FC236}">
                    <a16:creationId xmlns:a16="http://schemas.microsoft.com/office/drawing/2014/main" id="{7C740325-301F-45C5-ABBA-4357B4CB76B3}"/>
                  </a:ext>
                </a:extLst>
              </p:cNvPr>
              <p:cNvCxnSpPr/>
              <p:nvPr/>
            </p:nvCxnSpPr>
            <p:spPr>
              <a:xfrm>
                <a:off x="5677" y="1806"/>
                <a:ext cx="0" cy="70"/>
              </a:xfrm>
              <a:prstGeom prst="straightConnector1">
                <a:avLst/>
              </a:prstGeom>
              <a:noFill/>
              <a:ln w="19050" cap="flat" cmpd="sng">
                <a:solidFill>
                  <a:schemeClr val="accent2"/>
                </a:solidFill>
                <a:prstDash val="solid"/>
                <a:miter lim="800000"/>
                <a:headEnd type="none" w="med" len="med"/>
                <a:tailEnd type="none" w="med" len="med"/>
              </a:ln>
            </p:spPr>
          </p:cxnSp>
          <p:cxnSp>
            <p:nvCxnSpPr>
              <p:cNvPr id="128" name="Google Shape;1380;p17">
                <a:extLst>
                  <a:ext uri="{FF2B5EF4-FFF2-40B4-BE49-F238E27FC236}">
                    <a16:creationId xmlns:a16="http://schemas.microsoft.com/office/drawing/2014/main" id="{06FB1BED-AC3B-4F0C-A5BF-B414F260CCE4}"/>
                  </a:ext>
                </a:extLst>
              </p:cNvPr>
              <p:cNvCxnSpPr/>
              <p:nvPr/>
            </p:nvCxnSpPr>
            <p:spPr>
              <a:xfrm rot="10800000">
                <a:off x="5642" y="1841"/>
                <a:ext cx="69" cy="0"/>
              </a:xfrm>
              <a:prstGeom prst="straightConnector1">
                <a:avLst/>
              </a:prstGeom>
              <a:noFill/>
              <a:ln w="19050" cap="flat" cmpd="sng">
                <a:solidFill>
                  <a:schemeClr val="accent2"/>
                </a:solidFill>
                <a:prstDash val="solid"/>
                <a:miter lim="800000"/>
                <a:headEnd type="none" w="med" len="med"/>
                <a:tailEnd type="none" w="med" len="med"/>
              </a:ln>
            </p:spPr>
          </p:cxnSp>
          <p:cxnSp>
            <p:nvCxnSpPr>
              <p:cNvPr id="129" name="Google Shape;1381;p17">
                <a:extLst>
                  <a:ext uri="{FF2B5EF4-FFF2-40B4-BE49-F238E27FC236}">
                    <a16:creationId xmlns:a16="http://schemas.microsoft.com/office/drawing/2014/main" id="{7752334E-F47F-43C9-B251-CF3B020E2E78}"/>
                  </a:ext>
                </a:extLst>
              </p:cNvPr>
              <p:cNvCxnSpPr/>
              <p:nvPr/>
            </p:nvCxnSpPr>
            <p:spPr>
              <a:xfrm>
                <a:off x="5581" y="1682"/>
                <a:ext cx="0" cy="68"/>
              </a:xfrm>
              <a:prstGeom prst="straightConnector1">
                <a:avLst/>
              </a:prstGeom>
              <a:noFill/>
              <a:ln w="19050" cap="flat" cmpd="sng">
                <a:solidFill>
                  <a:schemeClr val="accent2"/>
                </a:solidFill>
                <a:prstDash val="solid"/>
                <a:miter lim="800000"/>
                <a:headEnd type="none" w="med" len="med"/>
                <a:tailEnd type="none" w="med" len="med"/>
              </a:ln>
            </p:spPr>
          </p:cxnSp>
          <p:cxnSp>
            <p:nvCxnSpPr>
              <p:cNvPr id="130" name="Google Shape;1382;p17">
                <a:extLst>
                  <a:ext uri="{FF2B5EF4-FFF2-40B4-BE49-F238E27FC236}">
                    <a16:creationId xmlns:a16="http://schemas.microsoft.com/office/drawing/2014/main" id="{3C83DEFD-6332-4A13-89B9-90241D9DF3D7}"/>
                  </a:ext>
                </a:extLst>
              </p:cNvPr>
              <p:cNvCxnSpPr/>
              <p:nvPr/>
            </p:nvCxnSpPr>
            <p:spPr>
              <a:xfrm rot="10800000">
                <a:off x="5546" y="1717"/>
                <a:ext cx="69" cy="0"/>
              </a:xfrm>
              <a:prstGeom prst="straightConnector1">
                <a:avLst/>
              </a:prstGeom>
              <a:noFill/>
              <a:ln w="19050" cap="flat" cmpd="sng">
                <a:solidFill>
                  <a:schemeClr val="accent2"/>
                </a:solidFill>
                <a:prstDash val="solid"/>
                <a:miter lim="800000"/>
                <a:headEnd type="none" w="med" len="med"/>
                <a:tailEnd type="none" w="med" len="med"/>
              </a:ln>
            </p:spPr>
          </p:cxnSp>
        </p:grpSp>
        <p:grpSp>
          <p:nvGrpSpPr>
            <p:cNvPr id="69" name="Google Shape;1383;p17">
              <a:extLst>
                <a:ext uri="{FF2B5EF4-FFF2-40B4-BE49-F238E27FC236}">
                  <a16:creationId xmlns:a16="http://schemas.microsoft.com/office/drawing/2014/main" id="{CA383B24-8079-4900-8BF1-2B7AD9ED3673}"/>
                </a:ext>
              </a:extLst>
            </p:cNvPr>
            <p:cNvGrpSpPr/>
            <p:nvPr/>
          </p:nvGrpSpPr>
          <p:grpSpPr>
            <a:xfrm>
              <a:off x="5546675" y="1838116"/>
              <a:ext cx="2499306" cy="413659"/>
              <a:chOff x="5062" y="1565"/>
              <a:chExt cx="1901" cy="355"/>
            </a:xfrm>
          </p:grpSpPr>
          <p:sp>
            <p:nvSpPr>
              <p:cNvPr id="81" name="Google Shape;1384;p17">
                <a:extLst>
                  <a:ext uri="{FF2B5EF4-FFF2-40B4-BE49-F238E27FC236}">
                    <a16:creationId xmlns:a16="http://schemas.microsoft.com/office/drawing/2014/main" id="{A64FB4C8-2E49-4F11-A3DD-88E4390FF392}"/>
                  </a:ext>
                </a:extLst>
              </p:cNvPr>
              <p:cNvSpPr/>
              <p:nvPr/>
            </p:nvSpPr>
            <p:spPr>
              <a:xfrm>
                <a:off x="5062" y="1597"/>
                <a:ext cx="1878" cy="291"/>
              </a:xfrm>
              <a:custGeom>
                <a:avLst/>
                <a:gdLst/>
                <a:ahLst/>
                <a:cxnLst/>
                <a:rect l="l" t="t" r="r" b="b"/>
                <a:pathLst>
                  <a:path w="1878" h="291" extrusionOk="0">
                    <a:moveTo>
                      <a:pt x="0" y="0"/>
                    </a:moveTo>
                    <a:lnTo>
                      <a:pt x="916" y="0"/>
                    </a:lnTo>
                    <a:lnTo>
                      <a:pt x="916" y="291"/>
                    </a:lnTo>
                    <a:lnTo>
                      <a:pt x="1878" y="291"/>
                    </a:lnTo>
                  </a:path>
                </a:pathLst>
              </a:custGeom>
              <a:noFill/>
              <a:ln w="19050" cap="flat" cmpd="sng">
                <a:solidFill>
                  <a:schemeClr val="accent3"/>
                </a:solidFill>
                <a:prstDash val="solid"/>
                <a:miter lim="800000"/>
                <a:headEnd type="none" w="med" len="med"/>
                <a:tailEnd type="none" w="med" len="med"/>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cxnSp>
            <p:nvCxnSpPr>
              <p:cNvPr id="82" name="Google Shape;1385;p17">
                <a:extLst>
                  <a:ext uri="{FF2B5EF4-FFF2-40B4-BE49-F238E27FC236}">
                    <a16:creationId xmlns:a16="http://schemas.microsoft.com/office/drawing/2014/main" id="{0DEC3116-AAFA-47AC-ACD5-396E700ECA9F}"/>
                  </a:ext>
                </a:extLst>
              </p:cNvPr>
              <p:cNvCxnSpPr/>
              <p:nvPr/>
            </p:nvCxnSpPr>
            <p:spPr>
              <a:xfrm>
                <a:off x="6929" y="1851"/>
                <a:ext cx="0" cy="69"/>
              </a:xfrm>
              <a:prstGeom prst="straightConnector1">
                <a:avLst/>
              </a:prstGeom>
              <a:noFill/>
              <a:ln w="19050" cap="flat" cmpd="sng">
                <a:solidFill>
                  <a:schemeClr val="accent3"/>
                </a:solidFill>
                <a:prstDash val="solid"/>
                <a:miter lim="800000"/>
                <a:headEnd type="none" w="med" len="med"/>
                <a:tailEnd type="none" w="med" len="med"/>
              </a:ln>
            </p:spPr>
          </p:cxnSp>
          <p:cxnSp>
            <p:nvCxnSpPr>
              <p:cNvPr id="83" name="Google Shape;1386;p17">
                <a:extLst>
                  <a:ext uri="{FF2B5EF4-FFF2-40B4-BE49-F238E27FC236}">
                    <a16:creationId xmlns:a16="http://schemas.microsoft.com/office/drawing/2014/main" id="{0A5F2391-7913-4287-BBD2-903D17438A1D}"/>
                  </a:ext>
                </a:extLst>
              </p:cNvPr>
              <p:cNvCxnSpPr/>
              <p:nvPr/>
            </p:nvCxnSpPr>
            <p:spPr>
              <a:xfrm rot="10800000">
                <a:off x="6895" y="1885"/>
                <a:ext cx="68" cy="0"/>
              </a:xfrm>
              <a:prstGeom prst="straightConnector1">
                <a:avLst/>
              </a:prstGeom>
              <a:noFill/>
              <a:ln w="19050" cap="flat" cmpd="sng">
                <a:solidFill>
                  <a:schemeClr val="accent3"/>
                </a:solidFill>
                <a:prstDash val="solid"/>
                <a:miter lim="800000"/>
                <a:headEnd type="none" w="med" len="med"/>
                <a:tailEnd type="none" w="med" len="med"/>
              </a:ln>
            </p:spPr>
          </p:cxnSp>
          <p:cxnSp>
            <p:nvCxnSpPr>
              <p:cNvPr id="84" name="Google Shape;1387;p17">
                <a:extLst>
                  <a:ext uri="{FF2B5EF4-FFF2-40B4-BE49-F238E27FC236}">
                    <a16:creationId xmlns:a16="http://schemas.microsoft.com/office/drawing/2014/main" id="{52D74FDA-6FEC-450D-B676-AB389DD5ECEA}"/>
                  </a:ext>
                </a:extLst>
              </p:cNvPr>
              <p:cNvCxnSpPr/>
              <p:nvPr/>
            </p:nvCxnSpPr>
            <p:spPr>
              <a:xfrm>
                <a:off x="6800" y="1851"/>
                <a:ext cx="0" cy="69"/>
              </a:xfrm>
              <a:prstGeom prst="straightConnector1">
                <a:avLst/>
              </a:prstGeom>
              <a:noFill/>
              <a:ln w="19050" cap="flat" cmpd="sng">
                <a:solidFill>
                  <a:schemeClr val="accent3"/>
                </a:solidFill>
                <a:prstDash val="solid"/>
                <a:miter lim="800000"/>
                <a:headEnd type="none" w="med" len="med"/>
                <a:tailEnd type="none" w="med" len="med"/>
              </a:ln>
            </p:spPr>
          </p:cxnSp>
          <p:cxnSp>
            <p:nvCxnSpPr>
              <p:cNvPr id="85" name="Google Shape;1388;p17">
                <a:extLst>
                  <a:ext uri="{FF2B5EF4-FFF2-40B4-BE49-F238E27FC236}">
                    <a16:creationId xmlns:a16="http://schemas.microsoft.com/office/drawing/2014/main" id="{A3B4F175-1E82-48A6-ABBB-6F713E25EBE8}"/>
                  </a:ext>
                </a:extLst>
              </p:cNvPr>
              <p:cNvCxnSpPr/>
              <p:nvPr/>
            </p:nvCxnSpPr>
            <p:spPr>
              <a:xfrm rot="10800000">
                <a:off x="6766" y="1885"/>
                <a:ext cx="68" cy="0"/>
              </a:xfrm>
              <a:prstGeom prst="straightConnector1">
                <a:avLst/>
              </a:prstGeom>
              <a:noFill/>
              <a:ln w="19050" cap="flat" cmpd="sng">
                <a:solidFill>
                  <a:schemeClr val="accent3"/>
                </a:solidFill>
                <a:prstDash val="solid"/>
                <a:miter lim="800000"/>
                <a:headEnd type="none" w="med" len="med"/>
                <a:tailEnd type="none" w="med" len="med"/>
              </a:ln>
            </p:spPr>
          </p:cxnSp>
          <p:cxnSp>
            <p:nvCxnSpPr>
              <p:cNvPr id="86" name="Google Shape;1389;p17">
                <a:extLst>
                  <a:ext uri="{FF2B5EF4-FFF2-40B4-BE49-F238E27FC236}">
                    <a16:creationId xmlns:a16="http://schemas.microsoft.com/office/drawing/2014/main" id="{5A59E901-5DE4-4AEC-B064-716075DCAF04}"/>
                  </a:ext>
                </a:extLst>
              </p:cNvPr>
              <p:cNvCxnSpPr/>
              <p:nvPr/>
            </p:nvCxnSpPr>
            <p:spPr>
              <a:xfrm>
                <a:off x="6391" y="1851"/>
                <a:ext cx="0" cy="69"/>
              </a:xfrm>
              <a:prstGeom prst="straightConnector1">
                <a:avLst/>
              </a:prstGeom>
              <a:noFill/>
              <a:ln w="19050" cap="flat" cmpd="sng">
                <a:solidFill>
                  <a:schemeClr val="accent3"/>
                </a:solidFill>
                <a:prstDash val="solid"/>
                <a:miter lim="800000"/>
                <a:headEnd type="none" w="med" len="med"/>
                <a:tailEnd type="none" w="med" len="med"/>
              </a:ln>
            </p:spPr>
          </p:cxnSp>
          <p:cxnSp>
            <p:nvCxnSpPr>
              <p:cNvPr id="87" name="Google Shape;1390;p17">
                <a:extLst>
                  <a:ext uri="{FF2B5EF4-FFF2-40B4-BE49-F238E27FC236}">
                    <a16:creationId xmlns:a16="http://schemas.microsoft.com/office/drawing/2014/main" id="{3204168D-C148-499C-898B-618DB4180EFA}"/>
                  </a:ext>
                </a:extLst>
              </p:cNvPr>
              <p:cNvCxnSpPr/>
              <p:nvPr/>
            </p:nvCxnSpPr>
            <p:spPr>
              <a:xfrm rot="10800000">
                <a:off x="6357" y="1885"/>
                <a:ext cx="68" cy="0"/>
              </a:xfrm>
              <a:prstGeom prst="straightConnector1">
                <a:avLst/>
              </a:prstGeom>
              <a:noFill/>
              <a:ln w="19050" cap="flat" cmpd="sng">
                <a:solidFill>
                  <a:schemeClr val="accent3"/>
                </a:solidFill>
                <a:prstDash val="solid"/>
                <a:miter lim="800000"/>
                <a:headEnd type="none" w="med" len="med"/>
                <a:tailEnd type="none" w="med" len="med"/>
              </a:ln>
            </p:spPr>
          </p:cxnSp>
          <p:cxnSp>
            <p:nvCxnSpPr>
              <p:cNvPr id="88" name="Google Shape;1391;p17">
                <a:extLst>
                  <a:ext uri="{FF2B5EF4-FFF2-40B4-BE49-F238E27FC236}">
                    <a16:creationId xmlns:a16="http://schemas.microsoft.com/office/drawing/2014/main" id="{5B88E2D1-EF45-49D2-A638-EB47EC2EB12E}"/>
                  </a:ext>
                </a:extLst>
              </p:cNvPr>
              <p:cNvCxnSpPr/>
              <p:nvPr/>
            </p:nvCxnSpPr>
            <p:spPr>
              <a:xfrm>
                <a:off x="6364" y="1851"/>
                <a:ext cx="0" cy="69"/>
              </a:xfrm>
              <a:prstGeom prst="straightConnector1">
                <a:avLst/>
              </a:prstGeom>
              <a:noFill/>
              <a:ln w="19050" cap="flat" cmpd="sng">
                <a:solidFill>
                  <a:schemeClr val="accent3"/>
                </a:solidFill>
                <a:prstDash val="solid"/>
                <a:miter lim="800000"/>
                <a:headEnd type="none" w="med" len="med"/>
                <a:tailEnd type="none" w="med" len="med"/>
              </a:ln>
            </p:spPr>
          </p:cxnSp>
          <p:cxnSp>
            <p:nvCxnSpPr>
              <p:cNvPr id="89" name="Google Shape;1392;p17">
                <a:extLst>
                  <a:ext uri="{FF2B5EF4-FFF2-40B4-BE49-F238E27FC236}">
                    <a16:creationId xmlns:a16="http://schemas.microsoft.com/office/drawing/2014/main" id="{F5104C05-2296-410D-BE8A-2642BEB667DC}"/>
                  </a:ext>
                </a:extLst>
              </p:cNvPr>
              <p:cNvCxnSpPr/>
              <p:nvPr/>
            </p:nvCxnSpPr>
            <p:spPr>
              <a:xfrm rot="10800000">
                <a:off x="6330" y="1885"/>
                <a:ext cx="68" cy="0"/>
              </a:xfrm>
              <a:prstGeom prst="straightConnector1">
                <a:avLst/>
              </a:prstGeom>
              <a:noFill/>
              <a:ln w="19050" cap="flat" cmpd="sng">
                <a:solidFill>
                  <a:schemeClr val="accent3"/>
                </a:solidFill>
                <a:prstDash val="solid"/>
                <a:miter lim="800000"/>
                <a:headEnd type="none" w="med" len="med"/>
                <a:tailEnd type="none" w="med" len="med"/>
              </a:ln>
            </p:spPr>
          </p:cxnSp>
          <p:cxnSp>
            <p:nvCxnSpPr>
              <p:cNvPr id="90" name="Google Shape;1393;p17">
                <a:extLst>
                  <a:ext uri="{FF2B5EF4-FFF2-40B4-BE49-F238E27FC236}">
                    <a16:creationId xmlns:a16="http://schemas.microsoft.com/office/drawing/2014/main" id="{9D4B3E6A-986E-4A16-A30C-854D6FBE949C}"/>
                  </a:ext>
                </a:extLst>
              </p:cNvPr>
              <p:cNvCxnSpPr/>
              <p:nvPr/>
            </p:nvCxnSpPr>
            <p:spPr>
              <a:xfrm>
                <a:off x="6348" y="1851"/>
                <a:ext cx="0" cy="69"/>
              </a:xfrm>
              <a:prstGeom prst="straightConnector1">
                <a:avLst/>
              </a:prstGeom>
              <a:noFill/>
              <a:ln w="19050" cap="flat" cmpd="sng">
                <a:solidFill>
                  <a:schemeClr val="accent3"/>
                </a:solidFill>
                <a:prstDash val="solid"/>
                <a:miter lim="800000"/>
                <a:headEnd type="none" w="med" len="med"/>
                <a:tailEnd type="none" w="med" len="med"/>
              </a:ln>
            </p:spPr>
          </p:cxnSp>
          <p:cxnSp>
            <p:nvCxnSpPr>
              <p:cNvPr id="91" name="Google Shape;1394;p17">
                <a:extLst>
                  <a:ext uri="{FF2B5EF4-FFF2-40B4-BE49-F238E27FC236}">
                    <a16:creationId xmlns:a16="http://schemas.microsoft.com/office/drawing/2014/main" id="{548BE646-2639-4ACA-8F69-3310275416F3}"/>
                  </a:ext>
                </a:extLst>
              </p:cNvPr>
              <p:cNvCxnSpPr/>
              <p:nvPr/>
            </p:nvCxnSpPr>
            <p:spPr>
              <a:xfrm rot="10800000">
                <a:off x="6316" y="1885"/>
                <a:ext cx="66" cy="0"/>
              </a:xfrm>
              <a:prstGeom prst="straightConnector1">
                <a:avLst/>
              </a:prstGeom>
              <a:noFill/>
              <a:ln w="19050" cap="flat" cmpd="sng">
                <a:solidFill>
                  <a:schemeClr val="accent3"/>
                </a:solidFill>
                <a:prstDash val="solid"/>
                <a:miter lim="800000"/>
                <a:headEnd type="none" w="med" len="med"/>
                <a:tailEnd type="none" w="med" len="med"/>
              </a:ln>
            </p:spPr>
          </p:cxnSp>
          <p:cxnSp>
            <p:nvCxnSpPr>
              <p:cNvPr id="92" name="Google Shape;1395;p17">
                <a:extLst>
                  <a:ext uri="{FF2B5EF4-FFF2-40B4-BE49-F238E27FC236}">
                    <a16:creationId xmlns:a16="http://schemas.microsoft.com/office/drawing/2014/main" id="{9F0233CA-923D-46F0-9B15-EEF790973EAB}"/>
                  </a:ext>
                </a:extLst>
              </p:cNvPr>
              <p:cNvCxnSpPr/>
              <p:nvPr/>
            </p:nvCxnSpPr>
            <p:spPr>
              <a:xfrm>
                <a:off x="5903" y="1565"/>
                <a:ext cx="0" cy="67"/>
              </a:xfrm>
              <a:prstGeom prst="straightConnector1">
                <a:avLst/>
              </a:prstGeom>
              <a:noFill/>
              <a:ln w="19050" cap="flat" cmpd="sng">
                <a:solidFill>
                  <a:schemeClr val="accent3"/>
                </a:solidFill>
                <a:prstDash val="solid"/>
                <a:miter lim="800000"/>
                <a:headEnd type="none" w="med" len="med"/>
                <a:tailEnd type="none" w="med" len="med"/>
              </a:ln>
            </p:spPr>
          </p:cxnSp>
          <p:cxnSp>
            <p:nvCxnSpPr>
              <p:cNvPr id="93" name="Google Shape;1396;p17">
                <a:extLst>
                  <a:ext uri="{FF2B5EF4-FFF2-40B4-BE49-F238E27FC236}">
                    <a16:creationId xmlns:a16="http://schemas.microsoft.com/office/drawing/2014/main" id="{7CCEBC41-EDB1-4A52-B0E9-0A24B312FC9F}"/>
                  </a:ext>
                </a:extLst>
              </p:cNvPr>
              <p:cNvCxnSpPr/>
              <p:nvPr/>
            </p:nvCxnSpPr>
            <p:spPr>
              <a:xfrm rot="10800000">
                <a:off x="5868" y="1597"/>
                <a:ext cx="69" cy="0"/>
              </a:xfrm>
              <a:prstGeom prst="straightConnector1">
                <a:avLst/>
              </a:prstGeom>
              <a:noFill/>
              <a:ln w="19050" cap="flat" cmpd="sng">
                <a:solidFill>
                  <a:schemeClr val="accent3"/>
                </a:solidFill>
                <a:prstDash val="solid"/>
                <a:miter lim="800000"/>
                <a:headEnd type="none" w="med" len="med"/>
                <a:tailEnd type="none" w="med" len="med"/>
              </a:ln>
            </p:spPr>
          </p:cxnSp>
          <p:cxnSp>
            <p:nvCxnSpPr>
              <p:cNvPr id="94" name="Google Shape;1397;p17">
                <a:extLst>
                  <a:ext uri="{FF2B5EF4-FFF2-40B4-BE49-F238E27FC236}">
                    <a16:creationId xmlns:a16="http://schemas.microsoft.com/office/drawing/2014/main" id="{8977A085-ACB2-4017-B608-5D4EE117FFD1}"/>
                  </a:ext>
                </a:extLst>
              </p:cNvPr>
              <p:cNvCxnSpPr/>
              <p:nvPr/>
            </p:nvCxnSpPr>
            <p:spPr>
              <a:xfrm>
                <a:off x="5714" y="1565"/>
                <a:ext cx="0" cy="67"/>
              </a:xfrm>
              <a:prstGeom prst="straightConnector1">
                <a:avLst/>
              </a:prstGeom>
              <a:noFill/>
              <a:ln w="19050" cap="flat" cmpd="sng">
                <a:solidFill>
                  <a:schemeClr val="accent3"/>
                </a:solidFill>
                <a:prstDash val="solid"/>
                <a:miter lim="800000"/>
                <a:headEnd type="none" w="med" len="med"/>
                <a:tailEnd type="none" w="med" len="med"/>
              </a:ln>
            </p:spPr>
          </p:cxnSp>
          <p:cxnSp>
            <p:nvCxnSpPr>
              <p:cNvPr id="95" name="Google Shape;1398;p17">
                <a:extLst>
                  <a:ext uri="{FF2B5EF4-FFF2-40B4-BE49-F238E27FC236}">
                    <a16:creationId xmlns:a16="http://schemas.microsoft.com/office/drawing/2014/main" id="{3E2C3B60-D752-474F-B0A9-1ED5AC01EDAB}"/>
                  </a:ext>
                </a:extLst>
              </p:cNvPr>
              <p:cNvCxnSpPr/>
              <p:nvPr/>
            </p:nvCxnSpPr>
            <p:spPr>
              <a:xfrm rot="10800000">
                <a:off x="5680" y="1597"/>
                <a:ext cx="68" cy="0"/>
              </a:xfrm>
              <a:prstGeom prst="straightConnector1">
                <a:avLst/>
              </a:prstGeom>
              <a:noFill/>
              <a:ln w="19050" cap="flat" cmpd="sng">
                <a:solidFill>
                  <a:schemeClr val="accent3"/>
                </a:solidFill>
                <a:prstDash val="solid"/>
                <a:miter lim="800000"/>
                <a:headEnd type="none" w="med" len="med"/>
                <a:tailEnd type="none" w="med" len="med"/>
              </a:ln>
            </p:spPr>
          </p:cxnSp>
          <p:cxnSp>
            <p:nvCxnSpPr>
              <p:cNvPr id="96" name="Google Shape;1399;p17">
                <a:extLst>
                  <a:ext uri="{FF2B5EF4-FFF2-40B4-BE49-F238E27FC236}">
                    <a16:creationId xmlns:a16="http://schemas.microsoft.com/office/drawing/2014/main" id="{AA2CDB83-189C-41D1-ABB3-01438EDB412B}"/>
                  </a:ext>
                </a:extLst>
              </p:cNvPr>
              <p:cNvCxnSpPr/>
              <p:nvPr/>
            </p:nvCxnSpPr>
            <p:spPr>
              <a:xfrm>
                <a:off x="5262" y="1565"/>
                <a:ext cx="0" cy="67"/>
              </a:xfrm>
              <a:prstGeom prst="straightConnector1">
                <a:avLst/>
              </a:prstGeom>
              <a:noFill/>
              <a:ln w="19050" cap="flat" cmpd="sng">
                <a:solidFill>
                  <a:schemeClr val="accent3"/>
                </a:solidFill>
                <a:prstDash val="solid"/>
                <a:miter lim="800000"/>
                <a:headEnd type="none" w="med" len="med"/>
                <a:tailEnd type="none" w="med" len="med"/>
              </a:ln>
            </p:spPr>
          </p:cxnSp>
          <p:cxnSp>
            <p:nvCxnSpPr>
              <p:cNvPr id="97" name="Google Shape;1400;p17">
                <a:extLst>
                  <a:ext uri="{FF2B5EF4-FFF2-40B4-BE49-F238E27FC236}">
                    <a16:creationId xmlns:a16="http://schemas.microsoft.com/office/drawing/2014/main" id="{4BA923CE-A4F7-4311-BA80-F0E69D97EC80}"/>
                  </a:ext>
                </a:extLst>
              </p:cNvPr>
              <p:cNvCxnSpPr/>
              <p:nvPr/>
            </p:nvCxnSpPr>
            <p:spPr>
              <a:xfrm rot="10800000">
                <a:off x="5228" y="1597"/>
                <a:ext cx="68" cy="0"/>
              </a:xfrm>
              <a:prstGeom prst="straightConnector1">
                <a:avLst/>
              </a:prstGeom>
              <a:noFill/>
              <a:ln w="19050" cap="flat" cmpd="sng">
                <a:solidFill>
                  <a:schemeClr val="accent3"/>
                </a:solidFill>
                <a:prstDash val="solid"/>
                <a:miter lim="800000"/>
                <a:headEnd type="none" w="med" len="med"/>
                <a:tailEnd type="none" w="med" len="med"/>
              </a:ln>
            </p:spPr>
          </p:cxnSp>
          <p:cxnSp>
            <p:nvCxnSpPr>
              <p:cNvPr id="98" name="Google Shape;1401;p17">
                <a:extLst>
                  <a:ext uri="{FF2B5EF4-FFF2-40B4-BE49-F238E27FC236}">
                    <a16:creationId xmlns:a16="http://schemas.microsoft.com/office/drawing/2014/main" id="{50599533-2E60-4DC0-A674-E356CBB9983F}"/>
                  </a:ext>
                </a:extLst>
              </p:cNvPr>
              <p:cNvCxnSpPr/>
              <p:nvPr/>
            </p:nvCxnSpPr>
            <p:spPr>
              <a:xfrm>
                <a:off x="5174" y="1565"/>
                <a:ext cx="0" cy="67"/>
              </a:xfrm>
              <a:prstGeom prst="straightConnector1">
                <a:avLst/>
              </a:prstGeom>
              <a:noFill/>
              <a:ln w="19050" cap="flat" cmpd="sng">
                <a:solidFill>
                  <a:schemeClr val="accent3"/>
                </a:solidFill>
                <a:prstDash val="solid"/>
                <a:miter lim="800000"/>
                <a:headEnd type="none" w="med" len="med"/>
                <a:tailEnd type="none" w="med" len="med"/>
              </a:ln>
            </p:spPr>
          </p:cxnSp>
          <p:cxnSp>
            <p:nvCxnSpPr>
              <p:cNvPr id="99" name="Google Shape;1402;p17">
                <a:extLst>
                  <a:ext uri="{FF2B5EF4-FFF2-40B4-BE49-F238E27FC236}">
                    <a16:creationId xmlns:a16="http://schemas.microsoft.com/office/drawing/2014/main" id="{D72DEF9B-5E35-4126-B131-BBAE30A85F97}"/>
                  </a:ext>
                </a:extLst>
              </p:cNvPr>
              <p:cNvCxnSpPr/>
              <p:nvPr/>
            </p:nvCxnSpPr>
            <p:spPr>
              <a:xfrm rot="10800000">
                <a:off x="5139" y="1597"/>
                <a:ext cx="69" cy="0"/>
              </a:xfrm>
              <a:prstGeom prst="straightConnector1">
                <a:avLst/>
              </a:prstGeom>
              <a:noFill/>
              <a:ln w="19050" cap="flat" cmpd="sng">
                <a:solidFill>
                  <a:schemeClr val="accent3"/>
                </a:solidFill>
                <a:prstDash val="solid"/>
                <a:miter lim="800000"/>
                <a:headEnd type="none" w="med" len="med"/>
                <a:tailEnd type="none" w="med" len="med"/>
              </a:ln>
            </p:spPr>
          </p:cxnSp>
          <p:cxnSp>
            <p:nvCxnSpPr>
              <p:cNvPr id="100" name="Google Shape;1403;p17">
                <a:extLst>
                  <a:ext uri="{FF2B5EF4-FFF2-40B4-BE49-F238E27FC236}">
                    <a16:creationId xmlns:a16="http://schemas.microsoft.com/office/drawing/2014/main" id="{C18B5854-88CA-4DE2-9FA5-99C860657E1B}"/>
                  </a:ext>
                </a:extLst>
              </p:cNvPr>
              <p:cNvCxnSpPr/>
              <p:nvPr/>
            </p:nvCxnSpPr>
            <p:spPr>
              <a:xfrm>
                <a:off x="5114" y="1565"/>
                <a:ext cx="0" cy="67"/>
              </a:xfrm>
              <a:prstGeom prst="straightConnector1">
                <a:avLst/>
              </a:prstGeom>
              <a:noFill/>
              <a:ln w="19050" cap="flat" cmpd="sng">
                <a:solidFill>
                  <a:schemeClr val="accent3"/>
                </a:solidFill>
                <a:prstDash val="solid"/>
                <a:miter lim="800000"/>
                <a:headEnd type="none" w="med" len="med"/>
                <a:tailEnd type="none" w="med" len="med"/>
              </a:ln>
            </p:spPr>
          </p:cxnSp>
          <p:cxnSp>
            <p:nvCxnSpPr>
              <p:cNvPr id="101" name="Google Shape;1404;p17">
                <a:extLst>
                  <a:ext uri="{FF2B5EF4-FFF2-40B4-BE49-F238E27FC236}">
                    <a16:creationId xmlns:a16="http://schemas.microsoft.com/office/drawing/2014/main" id="{BF1599C0-4EEE-43D3-9932-014F48341350}"/>
                  </a:ext>
                </a:extLst>
              </p:cNvPr>
              <p:cNvCxnSpPr/>
              <p:nvPr/>
            </p:nvCxnSpPr>
            <p:spPr>
              <a:xfrm rot="10800000">
                <a:off x="5080" y="1597"/>
                <a:ext cx="69" cy="0"/>
              </a:xfrm>
              <a:prstGeom prst="straightConnector1">
                <a:avLst/>
              </a:prstGeom>
              <a:noFill/>
              <a:ln w="19050" cap="flat" cmpd="sng">
                <a:solidFill>
                  <a:schemeClr val="accent3"/>
                </a:solidFill>
                <a:prstDash val="solid"/>
                <a:miter lim="800000"/>
                <a:headEnd type="none" w="med" len="med"/>
                <a:tailEnd type="none" w="med" len="med"/>
              </a:ln>
            </p:spPr>
          </p:cxnSp>
        </p:grpSp>
        <p:sp>
          <p:nvSpPr>
            <p:cNvPr id="70" name="Google Shape;1405;p17">
              <a:extLst>
                <a:ext uri="{FF2B5EF4-FFF2-40B4-BE49-F238E27FC236}">
                  <a16:creationId xmlns:a16="http://schemas.microsoft.com/office/drawing/2014/main" id="{FC8B8D57-329A-45C7-A8C8-36B15F7AC9E7}"/>
                </a:ext>
              </a:extLst>
            </p:cNvPr>
            <p:cNvSpPr txBox="1"/>
            <p:nvPr/>
          </p:nvSpPr>
          <p:spPr>
            <a:xfrm>
              <a:off x="5667511" y="3237008"/>
              <a:ext cx="775612" cy="138499"/>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1"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 of </a:t>
              </a:r>
              <a:r>
                <a:rPr kumimoji="0" lang="en-US" sz="900" b="1" i="0" u="none" strike="noStrike" kern="0" cap="none" spc="0" normalizeH="0" baseline="0" noProof="0" dirty="0" err="1">
                  <a:ln>
                    <a:noFill/>
                  </a:ln>
                  <a:solidFill>
                    <a:srgbClr val="545859"/>
                  </a:solidFill>
                  <a:effectLst/>
                  <a:uLnTx/>
                  <a:uFillTx/>
                  <a:latin typeface="Gene Sans" panose="00000500000000000000" pitchFamily="50" charset="0"/>
                  <a:cs typeface="Arial"/>
                  <a:sym typeface="Arial"/>
                </a:rPr>
                <a:t>irAEs</a:t>
              </a:r>
              <a:endParaRPr kumimoji="0" sz="9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
          <p:nvSpPr>
            <p:cNvPr id="76" name="Google Shape;1411;p17">
              <a:extLst>
                <a:ext uri="{FF2B5EF4-FFF2-40B4-BE49-F238E27FC236}">
                  <a16:creationId xmlns:a16="http://schemas.microsoft.com/office/drawing/2014/main" id="{744CEAE1-FEF3-43F4-B1E4-CFA06EA0A26E}"/>
                </a:ext>
              </a:extLst>
            </p:cNvPr>
            <p:cNvSpPr/>
            <p:nvPr/>
          </p:nvSpPr>
          <p:spPr>
            <a:xfrm>
              <a:off x="5548859" y="1864142"/>
              <a:ext cx="3213488" cy="2371955"/>
            </a:xfrm>
            <a:custGeom>
              <a:avLst/>
              <a:gdLst/>
              <a:ahLst/>
              <a:cxnLst/>
              <a:rect l="l" t="t" r="r" b="b"/>
              <a:pathLst>
                <a:path w="3669" h="1983" extrusionOk="0">
                  <a:moveTo>
                    <a:pt x="0" y="0"/>
                  </a:moveTo>
                  <a:lnTo>
                    <a:pt x="0" y="1983"/>
                  </a:lnTo>
                  <a:lnTo>
                    <a:pt x="3669" y="1983"/>
                  </a:lnTo>
                </a:path>
              </a:pathLst>
            </a:custGeom>
            <a:noFill/>
            <a:ln w="12700" cap="flat" cmpd="sng">
              <a:solidFill>
                <a:schemeClr val="bg1">
                  <a:lumMod val="75000"/>
                </a:schemeClr>
              </a:solidFill>
              <a:prstDash val="solid"/>
              <a:round/>
              <a:headEnd type="none" w="med" len="med"/>
              <a:tailEnd type="none" w="med" len="med"/>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cxnSp>
          <p:nvCxnSpPr>
            <p:cNvPr id="74" name="Google Shape;1409;p17">
              <a:extLst>
                <a:ext uri="{FF2B5EF4-FFF2-40B4-BE49-F238E27FC236}">
                  <a16:creationId xmlns:a16="http://schemas.microsoft.com/office/drawing/2014/main" id="{C9DDEA8B-F221-4114-A5DC-8150A07288DE}"/>
                </a:ext>
              </a:extLst>
            </p:cNvPr>
            <p:cNvCxnSpPr/>
            <p:nvPr/>
          </p:nvCxnSpPr>
          <p:spPr>
            <a:xfrm>
              <a:off x="5667511" y="4089664"/>
              <a:ext cx="157675" cy="0"/>
            </a:xfrm>
            <a:prstGeom prst="straightConnector1">
              <a:avLst/>
            </a:prstGeom>
            <a:noFill/>
            <a:ln w="25400" cap="rnd" cmpd="sng">
              <a:solidFill>
                <a:schemeClr val="accent3"/>
              </a:solidFill>
              <a:prstDash val="solid"/>
              <a:round/>
              <a:headEnd type="none" w="sm" len="sm"/>
              <a:tailEnd type="none" w="sm" len="sm"/>
            </a:ln>
          </p:spPr>
        </p:cxnSp>
        <p:cxnSp>
          <p:nvCxnSpPr>
            <p:cNvPr id="71" name="Google Shape;1406;p17">
              <a:extLst>
                <a:ext uri="{FF2B5EF4-FFF2-40B4-BE49-F238E27FC236}">
                  <a16:creationId xmlns:a16="http://schemas.microsoft.com/office/drawing/2014/main" id="{0A2D82FC-2C57-451B-8ED5-444BBA9D85F4}"/>
                </a:ext>
              </a:extLst>
            </p:cNvPr>
            <p:cNvCxnSpPr>
              <a:cxnSpLocks/>
            </p:cNvCxnSpPr>
            <p:nvPr/>
          </p:nvCxnSpPr>
          <p:spPr>
            <a:xfrm>
              <a:off x="5667511" y="3531485"/>
              <a:ext cx="157675" cy="0"/>
            </a:xfrm>
            <a:prstGeom prst="straightConnector1">
              <a:avLst/>
            </a:prstGeom>
            <a:noFill/>
            <a:ln w="25400" cap="rnd" cmpd="sng">
              <a:solidFill>
                <a:schemeClr val="accent1"/>
              </a:solidFill>
              <a:prstDash val="solid"/>
              <a:round/>
              <a:headEnd type="none" w="sm" len="sm"/>
              <a:tailEnd type="none" w="sm" len="sm"/>
            </a:ln>
          </p:spPr>
        </p:cxnSp>
        <p:cxnSp>
          <p:nvCxnSpPr>
            <p:cNvPr id="72" name="Google Shape;1407;p17">
              <a:extLst>
                <a:ext uri="{FF2B5EF4-FFF2-40B4-BE49-F238E27FC236}">
                  <a16:creationId xmlns:a16="http://schemas.microsoft.com/office/drawing/2014/main" id="{85AC06EA-4691-4EFB-AEBE-16F85161CEBE}"/>
                </a:ext>
              </a:extLst>
            </p:cNvPr>
            <p:cNvCxnSpPr/>
            <p:nvPr/>
          </p:nvCxnSpPr>
          <p:spPr>
            <a:xfrm>
              <a:off x="5667511" y="3717545"/>
              <a:ext cx="157675" cy="0"/>
            </a:xfrm>
            <a:prstGeom prst="straightConnector1">
              <a:avLst/>
            </a:prstGeom>
            <a:noFill/>
            <a:ln w="25400" cap="rnd" cmpd="sng">
              <a:solidFill>
                <a:schemeClr val="dk2"/>
              </a:solidFill>
              <a:prstDash val="solid"/>
              <a:round/>
              <a:headEnd type="none" w="sm" len="sm"/>
              <a:tailEnd type="none" w="sm" len="sm"/>
            </a:ln>
          </p:spPr>
        </p:cxnSp>
        <p:cxnSp>
          <p:nvCxnSpPr>
            <p:cNvPr id="73" name="Google Shape;1408;p17">
              <a:extLst>
                <a:ext uri="{FF2B5EF4-FFF2-40B4-BE49-F238E27FC236}">
                  <a16:creationId xmlns:a16="http://schemas.microsoft.com/office/drawing/2014/main" id="{BED4F39F-B1F5-4694-A7B6-1A87DDC45B8E}"/>
                </a:ext>
              </a:extLst>
            </p:cNvPr>
            <p:cNvCxnSpPr/>
            <p:nvPr/>
          </p:nvCxnSpPr>
          <p:spPr>
            <a:xfrm>
              <a:off x="5667511" y="3903603"/>
              <a:ext cx="157675" cy="0"/>
            </a:xfrm>
            <a:prstGeom prst="straightConnector1">
              <a:avLst/>
            </a:prstGeom>
            <a:noFill/>
            <a:ln w="25400" cap="rnd" cmpd="sng">
              <a:solidFill>
                <a:schemeClr val="accent2"/>
              </a:solidFill>
              <a:prstDash val="solid"/>
              <a:round/>
              <a:headEnd type="none" w="sm" len="sm"/>
              <a:tailEnd type="none" w="sm" len="sm"/>
            </a:ln>
          </p:spPr>
        </p:cxnSp>
        <p:sp>
          <p:nvSpPr>
            <p:cNvPr id="77" name="Google Shape;1412;p17">
              <a:extLst>
                <a:ext uri="{FF2B5EF4-FFF2-40B4-BE49-F238E27FC236}">
                  <a16:creationId xmlns:a16="http://schemas.microsoft.com/office/drawing/2014/main" id="{D4F32E7D-32BD-401F-9DB5-03A43100E6D0}"/>
                </a:ext>
              </a:extLst>
            </p:cNvPr>
            <p:cNvSpPr txBox="1"/>
            <p:nvPr/>
          </p:nvSpPr>
          <p:spPr>
            <a:xfrm>
              <a:off x="5891896" y="3469930"/>
              <a:ext cx="545814"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0 (n = 56)</a:t>
              </a:r>
              <a:endParaRPr kumimoji="0" sz="8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
          <p:nvSpPr>
            <p:cNvPr id="78" name="Google Shape;1413;p17">
              <a:extLst>
                <a:ext uri="{FF2B5EF4-FFF2-40B4-BE49-F238E27FC236}">
                  <a16:creationId xmlns:a16="http://schemas.microsoft.com/office/drawing/2014/main" id="{AF235DAB-014B-4D2E-8ADE-CF35C4AAD9CD}"/>
                </a:ext>
              </a:extLst>
            </p:cNvPr>
            <p:cNvSpPr txBox="1"/>
            <p:nvPr/>
          </p:nvSpPr>
          <p:spPr>
            <a:xfrm>
              <a:off x="5891896" y="3655989"/>
              <a:ext cx="545814"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1-2 (n = 58)</a:t>
              </a:r>
              <a:endParaRPr kumimoji="0" sz="8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
          <p:nvSpPr>
            <p:cNvPr id="79" name="Google Shape;1414;p17">
              <a:extLst>
                <a:ext uri="{FF2B5EF4-FFF2-40B4-BE49-F238E27FC236}">
                  <a16:creationId xmlns:a16="http://schemas.microsoft.com/office/drawing/2014/main" id="{CA391C25-AE8A-4167-A330-1EA793DA9998}"/>
                </a:ext>
              </a:extLst>
            </p:cNvPr>
            <p:cNvSpPr txBox="1"/>
            <p:nvPr/>
          </p:nvSpPr>
          <p:spPr>
            <a:xfrm>
              <a:off x="5891896" y="3842048"/>
              <a:ext cx="545814"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3-4 (n = 20)</a:t>
              </a:r>
              <a:endParaRPr kumimoji="0" sz="8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
          <p:nvSpPr>
            <p:cNvPr id="80" name="Google Shape;1415;p17">
              <a:extLst>
                <a:ext uri="{FF2B5EF4-FFF2-40B4-BE49-F238E27FC236}">
                  <a16:creationId xmlns:a16="http://schemas.microsoft.com/office/drawing/2014/main" id="{3A9C4F58-FAFC-48E7-802F-2E66340DDD68}"/>
                </a:ext>
              </a:extLst>
            </p:cNvPr>
            <p:cNvSpPr txBox="1"/>
            <p:nvPr/>
          </p:nvSpPr>
          <p:spPr>
            <a:xfrm>
              <a:off x="5891896" y="4028108"/>
              <a:ext cx="545814" cy="123111"/>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5-7 (n = 9)</a:t>
              </a:r>
              <a:endParaRPr kumimoji="0" sz="8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grpSp>
      <p:sp>
        <p:nvSpPr>
          <p:cNvPr id="242" name="Google Shape;1123;p17">
            <a:extLst>
              <a:ext uri="{FF2B5EF4-FFF2-40B4-BE49-F238E27FC236}">
                <a16:creationId xmlns:a16="http://schemas.microsoft.com/office/drawing/2014/main" id="{36501073-F68E-486F-8A92-77CFF3E0E631}"/>
              </a:ext>
            </a:extLst>
          </p:cNvPr>
          <p:cNvSpPr/>
          <p:nvPr/>
        </p:nvSpPr>
        <p:spPr>
          <a:xfrm>
            <a:off x="551913" y="4129600"/>
            <a:ext cx="286699" cy="129734"/>
          </a:xfrm>
          <a:prstGeom prst="rect">
            <a:avLst/>
          </a:prstGeom>
          <a:noFill/>
          <a:ln>
            <a:noFill/>
          </a:ln>
        </p:spPr>
        <p:txBody>
          <a:bodyPr spcFirstLastPara="1" wrap="square" lIns="0" tIns="0" rIns="73152"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0</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243" name="Google Shape;1124;p17">
            <a:extLst>
              <a:ext uri="{FF2B5EF4-FFF2-40B4-BE49-F238E27FC236}">
                <a16:creationId xmlns:a16="http://schemas.microsoft.com/office/drawing/2014/main" id="{2B35CB1D-383A-4582-B71E-9F120599D039}"/>
              </a:ext>
            </a:extLst>
          </p:cNvPr>
          <p:cNvSpPr/>
          <p:nvPr/>
        </p:nvSpPr>
        <p:spPr>
          <a:xfrm>
            <a:off x="551913" y="3919297"/>
            <a:ext cx="286699" cy="129734"/>
          </a:xfrm>
          <a:prstGeom prst="rect">
            <a:avLst/>
          </a:prstGeom>
          <a:noFill/>
          <a:ln>
            <a:noFill/>
          </a:ln>
        </p:spPr>
        <p:txBody>
          <a:bodyPr spcFirstLastPara="1" wrap="square" lIns="0" tIns="0" rIns="73152"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10</a:t>
            </a:r>
            <a:endParaRPr kumimoji="0" sz="9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
        <p:nvSpPr>
          <p:cNvPr id="244" name="Google Shape;1125;p17">
            <a:extLst>
              <a:ext uri="{FF2B5EF4-FFF2-40B4-BE49-F238E27FC236}">
                <a16:creationId xmlns:a16="http://schemas.microsoft.com/office/drawing/2014/main" id="{6EC66932-2854-4E5E-8A81-0F38D1A85D2B}"/>
              </a:ext>
            </a:extLst>
          </p:cNvPr>
          <p:cNvSpPr/>
          <p:nvPr/>
        </p:nvSpPr>
        <p:spPr>
          <a:xfrm>
            <a:off x="551913" y="3708996"/>
            <a:ext cx="286699" cy="129734"/>
          </a:xfrm>
          <a:prstGeom prst="rect">
            <a:avLst/>
          </a:prstGeom>
          <a:noFill/>
          <a:ln>
            <a:noFill/>
          </a:ln>
        </p:spPr>
        <p:txBody>
          <a:bodyPr spcFirstLastPara="1" wrap="square" lIns="0" tIns="0" rIns="73152"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20</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245" name="Google Shape;1126;p17">
            <a:extLst>
              <a:ext uri="{FF2B5EF4-FFF2-40B4-BE49-F238E27FC236}">
                <a16:creationId xmlns:a16="http://schemas.microsoft.com/office/drawing/2014/main" id="{71F2920D-A9A7-48C3-AA89-8D54369484E4}"/>
              </a:ext>
            </a:extLst>
          </p:cNvPr>
          <p:cNvSpPr/>
          <p:nvPr/>
        </p:nvSpPr>
        <p:spPr>
          <a:xfrm>
            <a:off x="551913" y="3498696"/>
            <a:ext cx="286699" cy="129734"/>
          </a:xfrm>
          <a:prstGeom prst="rect">
            <a:avLst/>
          </a:prstGeom>
          <a:noFill/>
          <a:ln>
            <a:noFill/>
          </a:ln>
        </p:spPr>
        <p:txBody>
          <a:bodyPr spcFirstLastPara="1" wrap="square" lIns="0" tIns="0" rIns="73152"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30</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246" name="Google Shape;1127;p17">
            <a:extLst>
              <a:ext uri="{FF2B5EF4-FFF2-40B4-BE49-F238E27FC236}">
                <a16:creationId xmlns:a16="http://schemas.microsoft.com/office/drawing/2014/main" id="{8C417FE8-A858-4F3A-AD4B-F1629B06C824}"/>
              </a:ext>
            </a:extLst>
          </p:cNvPr>
          <p:cNvSpPr/>
          <p:nvPr/>
        </p:nvSpPr>
        <p:spPr>
          <a:xfrm>
            <a:off x="551913" y="3288395"/>
            <a:ext cx="286699" cy="129734"/>
          </a:xfrm>
          <a:prstGeom prst="rect">
            <a:avLst/>
          </a:prstGeom>
          <a:noFill/>
          <a:ln>
            <a:noFill/>
          </a:ln>
        </p:spPr>
        <p:txBody>
          <a:bodyPr spcFirstLastPara="1" wrap="square" lIns="0" tIns="0" rIns="73152"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40</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247" name="Google Shape;1128;p17">
            <a:extLst>
              <a:ext uri="{FF2B5EF4-FFF2-40B4-BE49-F238E27FC236}">
                <a16:creationId xmlns:a16="http://schemas.microsoft.com/office/drawing/2014/main" id="{D75C2E0C-405E-4FCE-8C1C-6A813F199700}"/>
              </a:ext>
            </a:extLst>
          </p:cNvPr>
          <p:cNvSpPr/>
          <p:nvPr/>
        </p:nvSpPr>
        <p:spPr>
          <a:xfrm>
            <a:off x="551913" y="3078094"/>
            <a:ext cx="286699" cy="129734"/>
          </a:xfrm>
          <a:prstGeom prst="rect">
            <a:avLst/>
          </a:prstGeom>
          <a:noFill/>
          <a:ln>
            <a:noFill/>
          </a:ln>
        </p:spPr>
        <p:txBody>
          <a:bodyPr spcFirstLastPara="1" wrap="square" lIns="0" tIns="0" rIns="73152"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50</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248" name="Google Shape;1129;p17">
            <a:extLst>
              <a:ext uri="{FF2B5EF4-FFF2-40B4-BE49-F238E27FC236}">
                <a16:creationId xmlns:a16="http://schemas.microsoft.com/office/drawing/2014/main" id="{F7B512A8-D1B1-468B-9F12-27557115947A}"/>
              </a:ext>
            </a:extLst>
          </p:cNvPr>
          <p:cNvSpPr/>
          <p:nvPr/>
        </p:nvSpPr>
        <p:spPr>
          <a:xfrm>
            <a:off x="551913" y="2867794"/>
            <a:ext cx="286699" cy="129734"/>
          </a:xfrm>
          <a:prstGeom prst="rect">
            <a:avLst/>
          </a:prstGeom>
          <a:noFill/>
          <a:ln>
            <a:noFill/>
          </a:ln>
        </p:spPr>
        <p:txBody>
          <a:bodyPr spcFirstLastPara="1" wrap="square" lIns="0" tIns="0" rIns="73152"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60</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249" name="Google Shape;1130;p17">
            <a:extLst>
              <a:ext uri="{FF2B5EF4-FFF2-40B4-BE49-F238E27FC236}">
                <a16:creationId xmlns:a16="http://schemas.microsoft.com/office/drawing/2014/main" id="{2E9B3E1D-F901-46F9-8A19-53D1A0556645}"/>
              </a:ext>
            </a:extLst>
          </p:cNvPr>
          <p:cNvSpPr/>
          <p:nvPr/>
        </p:nvSpPr>
        <p:spPr>
          <a:xfrm>
            <a:off x="551913" y="2657493"/>
            <a:ext cx="286699" cy="129734"/>
          </a:xfrm>
          <a:prstGeom prst="rect">
            <a:avLst/>
          </a:prstGeom>
          <a:noFill/>
          <a:ln>
            <a:noFill/>
          </a:ln>
        </p:spPr>
        <p:txBody>
          <a:bodyPr spcFirstLastPara="1" wrap="square" lIns="0" tIns="0" rIns="73152"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70</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252" name="Google Shape;1131;p17">
            <a:extLst>
              <a:ext uri="{FF2B5EF4-FFF2-40B4-BE49-F238E27FC236}">
                <a16:creationId xmlns:a16="http://schemas.microsoft.com/office/drawing/2014/main" id="{1772CEC6-4CD4-4150-9D7E-7D7714DE3143}"/>
              </a:ext>
            </a:extLst>
          </p:cNvPr>
          <p:cNvSpPr/>
          <p:nvPr/>
        </p:nvSpPr>
        <p:spPr>
          <a:xfrm>
            <a:off x="551913" y="2447192"/>
            <a:ext cx="286699" cy="129734"/>
          </a:xfrm>
          <a:prstGeom prst="rect">
            <a:avLst/>
          </a:prstGeom>
          <a:noFill/>
          <a:ln>
            <a:noFill/>
          </a:ln>
        </p:spPr>
        <p:txBody>
          <a:bodyPr spcFirstLastPara="1" wrap="square" lIns="0" tIns="0" rIns="73152"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80</a:t>
            </a:r>
            <a:endParaRPr kumimoji="0" sz="9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
        <p:nvSpPr>
          <p:cNvPr id="253" name="Google Shape;1132;p17">
            <a:extLst>
              <a:ext uri="{FF2B5EF4-FFF2-40B4-BE49-F238E27FC236}">
                <a16:creationId xmlns:a16="http://schemas.microsoft.com/office/drawing/2014/main" id="{FA820EA7-A425-4421-A7AD-CB2F05B15652}"/>
              </a:ext>
            </a:extLst>
          </p:cNvPr>
          <p:cNvSpPr/>
          <p:nvPr/>
        </p:nvSpPr>
        <p:spPr>
          <a:xfrm>
            <a:off x="551913" y="2236892"/>
            <a:ext cx="286699" cy="129734"/>
          </a:xfrm>
          <a:prstGeom prst="rect">
            <a:avLst/>
          </a:prstGeom>
          <a:noFill/>
          <a:ln>
            <a:noFill/>
          </a:ln>
        </p:spPr>
        <p:txBody>
          <a:bodyPr spcFirstLastPara="1" wrap="square" lIns="0" tIns="0" rIns="73152"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90</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259" name="Google Shape;1133;p17">
            <a:extLst>
              <a:ext uri="{FF2B5EF4-FFF2-40B4-BE49-F238E27FC236}">
                <a16:creationId xmlns:a16="http://schemas.microsoft.com/office/drawing/2014/main" id="{80F1C126-B362-4C92-86D2-A6FBC14D13C4}"/>
              </a:ext>
            </a:extLst>
          </p:cNvPr>
          <p:cNvSpPr/>
          <p:nvPr/>
        </p:nvSpPr>
        <p:spPr>
          <a:xfrm>
            <a:off x="551913" y="2026591"/>
            <a:ext cx="286699" cy="129734"/>
          </a:xfrm>
          <a:prstGeom prst="rect">
            <a:avLst/>
          </a:prstGeom>
          <a:noFill/>
          <a:ln>
            <a:noFill/>
          </a:ln>
        </p:spPr>
        <p:txBody>
          <a:bodyPr spcFirstLastPara="1" wrap="square" lIns="0" tIns="0" rIns="73152" bIns="0" anchor="ctr" anchorCtr="0">
            <a:spAutoFit/>
          </a:bodyPr>
          <a:lstStyle/>
          <a:p>
            <a:pPr marL="0" marR="0" lvl="0" indent="0" algn="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100</a:t>
            </a:r>
            <a:endParaRPr kumimoji="0" sz="9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
        <p:nvSpPr>
          <p:cNvPr id="260" name="Google Shape;1134;p17">
            <a:extLst>
              <a:ext uri="{FF2B5EF4-FFF2-40B4-BE49-F238E27FC236}">
                <a16:creationId xmlns:a16="http://schemas.microsoft.com/office/drawing/2014/main" id="{CD219BEA-7E17-4967-98B7-4160C383AA86}"/>
              </a:ext>
            </a:extLst>
          </p:cNvPr>
          <p:cNvSpPr/>
          <p:nvPr/>
        </p:nvSpPr>
        <p:spPr>
          <a:xfrm>
            <a:off x="791996" y="4301466"/>
            <a:ext cx="104786" cy="129734"/>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0</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261" name="Google Shape;1135;p17">
            <a:extLst>
              <a:ext uri="{FF2B5EF4-FFF2-40B4-BE49-F238E27FC236}">
                <a16:creationId xmlns:a16="http://schemas.microsoft.com/office/drawing/2014/main" id="{89D03C15-EFFD-467F-8743-3522E138526A}"/>
              </a:ext>
            </a:extLst>
          </p:cNvPr>
          <p:cNvSpPr/>
          <p:nvPr/>
        </p:nvSpPr>
        <p:spPr>
          <a:xfrm>
            <a:off x="1198221" y="4301466"/>
            <a:ext cx="104786" cy="129734"/>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3</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262" name="Google Shape;1136;p17">
            <a:extLst>
              <a:ext uri="{FF2B5EF4-FFF2-40B4-BE49-F238E27FC236}">
                <a16:creationId xmlns:a16="http://schemas.microsoft.com/office/drawing/2014/main" id="{929A4D4A-9F0D-4DD0-808A-56E6019B5D2F}"/>
              </a:ext>
            </a:extLst>
          </p:cNvPr>
          <p:cNvSpPr/>
          <p:nvPr/>
        </p:nvSpPr>
        <p:spPr>
          <a:xfrm>
            <a:off x="1606665" y="4301466"/>
            <a:ext cx="104786" cy="129734"/>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6</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263" name="Google Shape;1137;p17">
            <a:extLst>
              <a:ext uri="{FF2B5EF4-FFF2-40B4-BE49-F238E27FC236}">
                <a16:creationId xmlns:a16="http://schemas.microsoft.com/office/drawing/2014/main" id="{B50DC7C5-53D8-4EE7-B061-32111AA04E81}"/>
              </a:ext>
            </a:extLst>
          </p:cNvPr>
          <p:cNvSpPr/>
          <p:nvPr/>
        </p:nvSpPr>
        <p:spPr>
          <a:xfrm>
            <a:off x="2012890" y="4301466"/>
            <a:ext cx="104786" cy="129734"/>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9</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264" name="Google Shape;1138;p17">
            <a:extLst>
              <a:ext uri="{FF2B5EF4-FFF2-40B4-BE49-F238E27FC236}">
                <a16:creationId xmlns:a16="http://schemas.microsoft.com/office/drawing/2014/main" id="{927EB8AE-DB92-4404-B4A0-2185CDE5CA72}"/>
              </a:ext>
            </a:extLst>
          </p:cNvPr>
          <p:cNvSpPr/>
          <p:nvPr/>
        </p:nvSpPr>
        <p:spPr>
          <a:xfrm>
            <a:off x="2372496" y="4301466"/>
            <a:ext cx="209566" cy="129734"/>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12</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265" name="Google Shape;1139;p17">
            <a:extLst>
              <a:ext uri="{FF2B5EF4-FFF2-40B4-BE49-F238E27FC236}">
                <a16:creationId xmlns:a16="http://schemas.microsoft.com/office/drawing/2014/main" id="{56F1DE01-6A75-496F-B10B-1A3C1E5F651E}"/>
              </a:ext>
            </a:extLst>
          </p:cNvPr>
          <p:cNvSpPr/>
          <p:nvPr/>
        </p:nvSpPr>
        <p:spPr>
          <a:xfrm>
            <a:off x="2779831" y="4301466"/>
            <a:ext cx="209566" cy="129734"/>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15</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266" name="Google Shape;1140;p17">
            <a:extLst>
              <a:ext uri="{FF2B5EF4-FFF2-40B4-BE49-F238E27FC236}">
                <a16:creationId xmlns:a16="http://schemas.microsoft.com/office/drawing/2014/main" id="{91F4434C-D973-4CAB-8E9A-4C11C64770E3}"/>
              </a:ext>
            </a:extLst>
          </p:cNvPr>
          <p:cNvSpPr/>
          <p:nvPr/>
        </p:nvSpPr>
        <p:spPr>
          <a:xfrm>
            <a:off x="3187165" y="4301466"/>
            <a:ext cx="209566" cy="129734"/>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18</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267" name="Google Shape;1141;p17">
            <a:extLst>
              <a:ext uri="{FF2B5EF4-FFF2-40B4-BE49-F238E27FC236}">
                <a16:creationId xmlns:a16="http://schemas.microsoft.com/office/drawing/2014/main" id="{10DC7B20-D485-4487-9538-B2483F01E43D}"/>
              </a:ext>
            </a:extLst>
          </p:cNvPr>
          <p:cNvSpPr/>
          <p:nvPr/>
        </p:nvSpPr>
        <p:spPr>
          <a:xfrm>
            <a:off x="4409168" y="4301466"/>
            <a:ext cx="209566" cy="129734"/>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27</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268" name="Google Shape;1142;p17">
            <a:extLst>
              <a:ext uri="{FF2B5EF4-FFF2-40B4-BE49-F238E27FC236}">
                <a16:creationId xmlns:a16="http://schemas.microsoft.com/office/drawing/2014/main" id="{06CBFD09-538E-443E-A409-943252B3F44D}"/>
              </a:ext>
            </a:extLst>
          </p:cNvPr>
          <p:cNvSpPr/>
          <p:nvPr/>
        </p:nvSpPr>
        <p:spPr>
          <a:xfrm>
            <a:off x="3979403" y="4301466"/>
            <a:ext cx="209566" cy="129734"/>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24</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269" name="Google Shape;1143;p17">
            <a:extLst>
              <a:ext uri="{FF2B5EF4-FFF2-40B4-BE49-F238E27FC236}">
                <a16:creationId xmlns:a16="http://schemas.microsoft.com/office/drawing/2014/main" id="{EC87C091-E555-4C0F-82E0-564FFFC053AC}"/>
              </a:ext>
            </a:extLst>
          </p:cNvPr>
          <p:cNvSpPr/>
          <p:nvPr/>
        </p:nvSpPr>
        <p:spPr>
          <a:xfrm>
            <a:off x="3571087" y="4301466"/>
            <a:ext cx="209566" cy="129734"/>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21</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270" name="Google Shape;1144;p17">
            <a:extLst>
              <a:ext uri="{FF2B5EF4-FFF2-40B4-BE49-F238E27FC236}">
                <a16:creationId xmlns:a16="http://schemas.microsoft.com/office/drawing/2014/main" id="{1211F7CB-190D-472F-BAE5-3B17F3E222F7}"/>
              </a:ext>
            </a:extLst>
          </p:cNvPr>
          <p:cNvSpPr/>
          <p:nvPr/>
        </p:nvSpPr>
        <p:spPr>
          <a:xfrm>
            <a:off x="4815393" y="4301466"/>
            <a:ext cx="209566" cy="129734"/>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545859"/>
              </a:buClr>
              <a:buSzPts val="1200"/>
              <a:buFont typeface="Arial"/>
              <a:buNone/>
              <a:tabLst/>
              <a:defRPr/>
            </a:pPr>
            <a:r>
              <a:rPr kumimoji="0" lang="en-US"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30</a:t>
            </a:r>
            <a:endParaRPr kumimoji="0" sz="9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290" name="Google Shape;1165;p17">
            <a:extLst>
              <a:ext uri="{FF2B5EF4-FFF2-40B4-BE49-F238E27FC236}">
                <a16:creationId xmlns:a16="http://schemas.microsoft.com/office/drawing/2014/main" id="{A870E7D8-D9D4-44D5-8DD8-C00A0A985A92}"/>
              </a:ext>
            </a:extLst>
          </p:cNvPr>
          <p:cNvSpPr/>
          <p:nvPr/>
        </p:nvSpPr>
        <p:spPr>
          <a:xfrm>
            <a:off x="3705493" y="2992562"/>
            <a:ext cx="50179" cy="47918"/>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91" name="Google Shape;1166;p17">
            <a:extLst>
              <a:ext uri="{FF2B5EF4-FFF2-40B4-BE49-F238E27FC236}">
                <a16:creationId xmlns:a16="http://schemas.microsoft.com/office/drawing/2014/main" id="{B62B553D-1C89-4A5F-A44C-05167EC1D9A8}"/>
              </a:ext>
            </a:extLst>
          </p:cNvPr>
          <p:cNvSpPr/>
          <p:nvPr/>
        </p:nvSpPr>
        <p:spPr>
          <a:xfrm>
            <a:off x="1689792" y="2494443"/>
            <a:ext cx="53928" cy="48914"/>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92" name="Google Shape;1167;p17">
            <a:extLst>
              <a:ext uri="{FF2B5EF4-FFF2-40B4-BE49-F238E27FC236}">
                <a16:creationId xmlns:a16="http://schemas.microsoft.com/office/drawing/2014/main" id="{59ABF5A3-FCC4-4D58-B6AC-67D72CDBF1B4}"/>
              </a:ext>
            </a:extLst>
          </p:cNvPr>
          <p:cNvSpPr/>
          <p:nvPr/>
        </p:nvSpPr>
        <p:spPr>
          <a:xfrm>
            <a:off x="838614" y="2036442"/>
            <a:ext cx="3812516" cy="1098757"/>
          </a:xfrm>
          <a:custGeom>
            <a:avLst/>
            <a:gdLst/>
            <a:ahLst/>
            <a:cxnLst/>
            <a:rect l="l" t="t" r="r" b="b"/>
            <a:pathLst>
              <a:path w="3435" h="986" extrusionOk="0">
                <a:moveTo>
                  <a:pt x="0" y="0"/>
                </a:moveTo>
                <a:lnTo>
                  <a:pt x="151" y="0"/>
                </a:lnTo>
                <a:lnTo>
                  <a:pt x="151" y="45"/>
                </a:lnTo>
                <a:lnTo>
                  <a:pt x="269" y="45"/>
                </a:lnTo>
                <a:lnTo>
                  <a:pt x="269" y="86"/>
                </a:lnTo>
                <a:lnTo>
                  <a:pt x="300" y="86"/>
                </a:lnTo>
                <a:lnTo>
                  <a:pt x="300" y="140"/>
                </a:lnTo>
                <a:lnTo>
                  <a:pt x="307" y="140"/>
                </a:lnTo>
                <a:lnTo>
                  <a:pt x="307" y="170"/>
                </a:lnTo>
                <a:lnTo>
                  <a:pt x="322" y="170"/>
                </a:lnTo>
                <a:lnTo>
                  <a:pt x="322" y="215"/>
                </a:lnTo>
                <a:lnTo>
                  <a:pt x="577" y="215"/>
                </a:lnTo>
                <a:lnTo>
                  <a:pt x="577" y="258"/>
                </a:lnTo>
                <a:lnTo>
                  <a:pt x="591" y="258"/>
                </a:lnTo>
                <a:lnTo>
                  <a:pt x="591" y="346"/>
                </a:lnTo>
                <a:lnTo>
                  <a:pt x="621" y="346"/>
                </a:lnTo>
                <a:lnTo>
                  <a:pt x="621" y="389"/>
                </a:lnTo>
                <a:lnTo>
                  <a:pt x="656" y="389"/>
                </a:lnTo>
                <a:lnTo>
                  <a:pt x="656" y="431"/>
                </a:lnTo>
                <a:lnTo>
                  <a:pt x="862" y="431"/>
                </a:lnTo>
                <a:lnTo>
                  <a:pt x="862" y="475"/>
                </a:lnTo>
                <a:lnTo>
                  <a:pt x="885" y="475"/>
                </a:lnTo>
                <a:lnTo>
                  <a:pt x="885" y="520"/>
                </a:lnTo>
                <a:lnTo>
                  <a:pt x="1251" y="520"/>
                </a:lnTo>
                <a:lnTo>
                  <a:pt x="1251" y="562"/>
                </a:lnTo>
                <a:lnTo>
                  <a:pt x="1262" y="562"/>
                </a:lnTo>
                <a:lnTo>
                  <a:pt x="1262" y="619"/>
                </a:lnTo>
                <a:lnTo>
                  <a:pt x="1269" y="619"/>
                </a:lnTo>
                <a:lnTo>
                  <a:pt x="1269" y="655"/>
                </a:lnTo>
                <a:lnTo>
                  <a:pt x="1453" y="655"/>
                </a:lnTo>
                <a:lnTo>
                  <a:pt x="1453" y="698"/>
                </a:lnTo>
                <a:lnTo>
                  <a:pt x="1491" y="698"/>
                </a:lnTo>
                <a:lnTo>
                  <a:pt x="1491" y="740"/>
                </a:lnTo>
                <a:lnTo>
                  <a:pt x="1524" y="740"/>
                </a:lnTo>
                <a:lnTo>
                  <a:pt x="1524" y="790"/>
                </a:lnTo>
                <a:lnTo>
                  <a:pt x="1931" y="790"/>
                </a:lnTo>
                <a:lnTo>
                  <a:pt x="1931" y="831"/>
                </a:lnTo>
                <a:lnTo>
                  <a:pt x="2323" y="831"/>
                </a:lnTo>
                <a:lnTo>
                  <a:pt x="2323" y="876"/>
                </a:lnTo>
                <a:lnTo>
                  <a:pt x="2815" y="876"/>
                </a:lnTo>
                <a:lnTo>
                  <a:pt x="2815" y="923"/>
                </a:lnTo>
                <a:lnTo>
                  <a:pt x="3028" y="923"/>
                </a:lnTo>
                <a:lnTo>
                  <a:pt x="3028" y="986"/>
                </a:lnTo>
                <a:lnTo>
                  <a:pt x="3435" y="986"/>
                </a:lnTo>
              </a:path>
            </a:pathLst>
          </a:custGeom>
          <a:noFill/>
          <a:ln w="19050" cap="flat" cmpd="sng">
            <a:solidFill>
              <a:schemeClr val="accent2"/>
            </a:solidFill>
            <a:prstDash val="solid"/>
            <a:miter lim="800000"/>
            <a:headEnd type="none" w="med" len="med"/>
            <a:tailEnd type="none" w="med" len="med"/>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93" name="Google Shape;1168;p17">
            <a:extLst>
              <a:ext uri="{FF2B5EF4-FFF2-40B4-BE49-F238E27FC236}">
                <a16:creationId xmlns:a16="http://schemas.microsoft.com/office/drawing/2014/main" id="{ADEFF087-CFD5-4CEA-8AC3-B439ADE1CDEF}"/>
              </a:ext>
            </a:extLst>
          </p:cNvPr>
          <p:cNvSpPr/>
          <p:nvPr/>
        </p:nvSpPr>
        <p:spPr>
          <a:xfrm>
            <a:off x="831954" y="2042015"/>
            <a:ext cx="3836934" cy="843569"/>
          </a:xfrm>
          <a:custGeom>
            <a:avLst/>
            <a:gdLst/>
            <a:ahLst/>
            <a:cxnLst/>
            <a:rect l="l" t="t" r="r" b="b"/>
            <a:pathLst>
              <a:path w="3457" h="757" extrusionOk="0">
                <a:moveTo>
                  <a:pt x="0" y="0"/>
                </a:moveTo>
                <a:lnTo>
                  <a:pt x="33" y="0"/>
                </a:lnTo>
                <a:lnTo>
                  <a:pt x="33" y="22"/>
                </a:lnTo>
                <a:lnTo>
                  <a:pt x="45" y="22"/>
                </a:lnTo>
                <a:lnTo>
                  <a:pt x="45" y="38"/>
                </a:lnTo>
                <a:lnTo>
                  <a:pt x="83" y="38"/>
                </a:lnTo>
                <a:lnTo>
                  <a:pt x="83" y="64"/>
                </a:lnTo>
                <a:lnTo>
                  <a:pt x="94" y="64"/>
                </a:lnTo>
                <a:lnTo>
                  <a:pt x="94" y="84"/>
                </a:lnTo>
                <a:lnTo>
                  <a:pt x="145" y="84"/>
                </a:lnTo>
                <a:lnTo>
                  <a:pt x="145" y="105"/>
                </a:lnTo>
                <a:lnTo>
                  <a:pt x="179" y="105"/>
                </a:lnTo>
                <a:lnTo>
                  <a:pt x="179" y="125"/>
                </a:lnTo>
                <a:lnTo>
                  <a:pt x="230" y="125"/>
                </a:lnTo>
                <a:lnTo>
                  <a:pt x="230" y="141"/>
                </a:lnTo>
                <a:lnTo>
                  <a:pt x="277" y="141"/>
                </a:lnTo>
                <a:lnTo>
                  <a:pt x="277" y="166"/>
                </a:lnTo>
                <a:lnTo>
                  <a:pt x="285" y="166"/>
                </a:lnTo>
                <a:lnTo>
                  <a:pt x="285" y="186"/>
                </a:lnTo>
                <a:lnTo>
                  <a:pt x="304" y="186"/>
                </a:lnTo>
                <a:lnTo>
                  <a:pt x="304" y="206"/>
                </a:lnTo>
                <a:lnTo>
                  <a:pt x="317" y="206"/>
                </a:lnTo>
                <a:lnTo>
                  <a:pt x="317" y="228"/>
                </a:lnTo>
                <a:lnTo>
                  <a:pt x="326" y="228"/>
                </a:lnTo>
                <a:lnTo>
                  <a:pt x="326" y="243"/>
                </a:lnTo>
                <a:lnTo>
                  <a:pt x="419" y="243"/>
                </a:lnTo>
                <a:lnTo>
                  <a:pt x="419" y="270"/>
                </a:lnTo>
                <a:lnTo>
                  <a:pt x="458" y="270"/>
                </a:lnTo>
                <a:lnTo>
                  <a:pt x="458" y="288"/>
                </a:lnTo>
                <a:lnTo>
                  <a:pt x="501" y="288"/>
                </a:lnTo>
                <a:lnTo>
                  <a:pt x="501" y="310"/>
                </a:lnTo>
                <a:lnTo>
                  <a:pt x="523" y="310"/>
                </a:lnTo>
                <a:lnTo>
                  <a:pt x="523" y="335"/>
                </a:lnTo>
                <a:lnTo>
                  <a:pt x="530" y="335"/>
                </a:lnTo>
                <a:lnTo>
                  <a:pt x="530" y="350"/>
                </a:lnTo>
                <a:lnTo>
                  <a:pt x="886" y="350"/>
                </a:lnTo>
                <a:lnTo>
                  <a:pt x="886" y="378"/>
                </a:lnTo>
                <a:lnTo>
                  <a:pt x="982" y="378"/>
                </a:lnTo>
                <a:lnTo>
                  <a:pt x="982" y="396"/>
                </a:lnTo>
                <a:lnTo>
                  <a:pt x="1062" y="396"/>
                </a:lnTo>
                <a:lnTo>
                  <a:pt x="1062" y="414"/>
                </a:lnTo>
                <a:lnTo>
                  <a:pt x="1128" y="414"/>
                </a:lnTo>
                <a:lnTo>
                  <a:pt x="1128" y="441"/>
                </a:lnTo>
                <a:lnTo>
                  <a:pt x="1214" y="441"/>
                </a:lnTo>
                <a:lnTo>
                  <a:pt x="1214" y="461"/>
                </a:lnTo>
                <a:lnTo>
                  <a:pt x="1233" y="461"/>
                </a:lnTo>
                <a:lnTo>
                  <a:pt x="1233" y="479"/>
                </a:lnTo>
                <a:lnTo>
                  <a:pt x="1378" y="479"/>
                </a:lnTo>
                <a:lnTo>
                  <a:pt x="1378" y="503"/>
                </a:lnTo>
                <a:lnTo>
                  <a:pt x="1387" y="503"/>
                </a:lnTo>
                <a:lnTo>
                  <a:pt x="1387" y="520"/>
                </a:lnTo>
                <a:lnTo>
                  <a:pt x="1627" y="520"/>
                </a:lnTo>
                <a:lnTo>
                  <a:pt x="1627" y="542"/>
                </a:lnTo>
                <a:lnTo>
                  <a:pt x="1692" y="542"/>
                </a:lnTo>
                <a:lnTo>
                  <a:pt x="1692" y="565"/>
                </a:lnTo>
                <a:lnTo>
                  <a:pt x="1980" y="565"/>
                </a:lnTo>
                <a:lnTo>
                  <a:pt x="1980" y="590"/>
                </a:lnTo>
                <a:lnTo>
                  <a:pt x="2077" y="590"/>
                </a:lnTo>
                <a:lnTo>
                  <a:pt x="2077" y="605"/>
                </a:lnTo>
                <a:lnTo>
                  <a:pt x="2228" y="605"/>
                </a:lnTo>
                <a:lnTo>
                  <a:pt x="2228" y="627"/>
                </a:lnTo>
                <a:lnTo>
                  <a:pt x="2376" y="627"/>
                </a:lnTo>
                <a:lnTo>
                  <a:pt x="2376" y="647"/>
                </a:lnTo>
                <a:lnTo>
                  <a:pt x="2693" y="647"/>
                </a:lnTo>
                <a:lnTo>
                  <a:pt x="2693" y="672"/>
                </a:lnTo>
                <a:lnTo>
                  <a:pt x="2831" y="672"/>
                </a:lnTo>
                <a:lnTo>
                  <a:pt x="2831" y="687"/>
                </a:lnTo>
                <a:lnTo>
                  <a:pt x="2875" y="687"/>
                </a:lnTo>
                <a:lnTo>
                  <a:pt x="2875" y="712"/>
                </a:lnTo>
                <a:lnTo>
                  <a:pt x="3145" y="712"/>
                </a:lnTo>
                <a:lnTo>
                  <a:pt x="3145" y="757"/>
                </a:lnTo>
                <a:lnTo>
                  <a:pt x="3457" y="757"/>
                </a:lnTo>
              </a:path>
            </a:pathLst>
          </a:custGeom>
          <a:noFill/>
          <a:ln w="19050" cap="flat" cmpd="sng">
            <a:solidFill>
              <a:schemeClr val="accent1"/>
            </a:solidFill>
            <a:prstDash val="solid"/>
            <a:miter lim="800000"/>
            <a:headEnd type="none" w="med" len="med"/>
            <a:tailEnd type="none" w="med" len="med"/>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23" name="Google Shape;1198;p17">
            <a:extLst>
              <a:ext uri="{FF2B5EF4-FFF2-40B4-BE49-F238E27FC236}">
                <a16:creationId xmlns:a16="http://schemas.microsoft.com/office/drawing/2014/main" id="{A83B3335-DD4C-47B8-A15F-5974F2DA6AC0}"/>
              </a:ext>
            </a:extLst>
          </p:cNvPr>
          <p:cNvSpPr/>
          <p:nvPr/>
        </p:nvSpPr>
        <p:spPr>
          <a:xfrm>
            <a:off x="826405" y="2042015"/>
            <a:ext cx="3728164" cy="631841"/>
          </a:xfrm>
          <a:custGeom>
            <a:avLst/>
            <a:gdLst/>
            <a:ahLst/>
            <a:cxnLst/>
            <a:rect l="l" t="t" r="r" b="b"/>
            <a:pathLst>
              <a:path w="3359" h="567" extrusionOk="0">
                <a:moveTo>
                  <a:pt x="0" y="0"/>
                </a:moveTo>
                <a:lnTo>
                  <a:pt x="133" y="0"/>
                </a:lnTo>
                <a:lnTo>
                  <a:pt x="133" y="60"/>
                </a:lnTo>
                <a:lnTo>
                  <a:pt x="317" y="60"/>
                </a:lnTo>
                <a:lnTo>
                  <a:pt x="317" y="119"/>
                </a:lnTo>
                <a:lnTo>
                  <a:pt x="510" y="119"/>
                </a:lnTo>
                <a:lnTo>
                  <a:pt x="510" y="182"/>
                </a:lnTo>
                <a:lnTo>
                  <a:pt x="874" y="182"/>
                </a:lnTo>
                <a:lnTo>
                  <a:pt x="874" y="232"/>
                </a:lnTo>
                <a:lnTo>
                  <a:pt x="1060" y="232"/>
                </a:lnTo>
                <a:lnTo>
                  <a:pt x="1060" y="287"/>
                </a:lnTo>
                <a:lnTo>
                  <a:pt x="1223" y="287"/>
                </a:lnTo>
                <a:lnTo>
                  <a:pt x="1223" y="338"/>
                </a:lnTo>
                <a:lnTo>
                  <a:pt x="1629" y="338"/>
                </a:lnTo>
                <a:lnTo>
                  <a:pt x="1629" y="394"/>
                </a:lnTo>
                <a:lnTo>
                  <a:pt x="1694" y="394"/>
                </a:lnTo>
                <a:lnTo>
                  <a:pt x="1694" y="452"/>
                </a:lnTo>
                <a:lnTo>
                  <a:pt x="1979" y="452"/>
                </a:lnTo>
                <a:lnTo>
                  <a:pt x="1979" y="512"/>
                </a:lnTo>
                <a:lnTo>
                  <a:pt x="2841" y="512"/>
                </a:lnTo>
                <a:lnTo>
                  <a:pt x="2841" y="567"/>
                </a:lnTo>
                <a:lnTo>
                  <a:pt x="3359" y="567"/>
                </a:lnTo>
              </a:path>
            </a:pathLst>
          </a:custGeom>
          <a:noFill/>
          <a:ln w="19050" cap="flat" cmpd="sng">
            <a:solidFill>
              <a:schemeClr val="dk2"/>
            </a:solidFill>
            <a:prstDash val="solid"/>
            <a:miter lim="800000"/>
            <a:headEnd type="none" w="med" len="med"/>
            <a:tailEnd type="none" w="med" len="med"/>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38" name="Google Shape;1213;p17">
            <a:extLst>
              <a:ext uri="{FF2B5EF4-FFF2-40B4-BE49-F238E27FC236}">
                <a16:creationId xmlns:a16="http://schemas.microsoft.com/office/drawing/2014/main" id="{25AA790A-6762-492C-A0DA-B1E567028365}"/>
              </a:ext>
            </a:extLst>
          </p:cNvPr>
          <p:cNvSpPr/>
          <p:nvPr/>
        </p:nvSpPr>
        <p:spPr>
          <a:xfrm>
            <a:off x="2469665" y="2295772"/>
            <a:ext cx="294976"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707070"/>
              </a:buClr>
              <a:buSzPts val="1200"/>
              <a:buFont typeface="Arial"/>
              <a:buNone/>
              <a:tabLst/>
              <a:defRPr/>
            </a:pPr>
            <a:r>
              <a:rPr kumimoji="0" lang="en-US" sz="800" b="1" i="0" u="none" strike="noStrike" kern="0" cap="none" spc="0" normalizeH="0" baseline="0" noProof="0" dirty="0">
                <a:ln>
                  <a:noFill/>
                </a:ln>
                <a:solidFill>
                  <a:srgbClr val="707070"/>
                </a:solidFill>
                <a:effectLst/>
                <a:uLnTx/>
                <a:uFillTx/>
                <a:latin typeface="Gene Sans" panose="00000500000000000000" pitchFamily="50" charset="0"/>
                <a:cs typeface="Arial"/>
                <a:sym typeface="Arial"/>
              </a:rPr>
              <a:t>83%</a:t>
            </a:r>
            <a:endParaRPr kumimoji="0" sz="800" b="0" i="0" u="none" strike="noStrike" kern="0" cap="none" spc="0" normalizeH="0" baseline="0" noProof="0" dirty="0">
              <a:ln>
                <a:noFill/>
              </a:ln>
              <a:solidFill>
                <a:srgbClr val="707070"/>
              </a:solidFill>
              <a:effectLst/>
              <a:uLnTx/>
              <a:uFillTx/>
              <a:latin typeface="Gene Sans" panose="00000500000000000000" pitchFamily="50" charset="0"/>
              <a:cs typeface="Arial"/>
              <a:sym typeface="Arial"/>
            </a:endParaRPr>
          </a:p>
        </p:txBody>
      </p:sp>
      <p:sp>
        <p:nvSpPr>
          <p:cNvPr id="339" name="Google Shape;1214;p17">
            <a:extLst>
              <a:ext uri="{FF2B5EF4-FFF2-40B4-BE49-F238E27FC236}">
                <a16:creationId xmlns:a16="http://schemas.microsoft.com/office/drawing/2014/main" id="{E4B86472-4D44-4867-BA63-355767CEADF2}"/>
              </a:ext>
            </a:extLst>
          </p:cNvPr>
          <p:cNvSpPr/>
          <p:nvPr/>
        </p:nvSpPr>
        <p:spPr>
          <a:xfrm>
            <a:off x="4108037" y="2476323"/>
            <a:ext cx="209611"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707070"/>
              </a:buClr>
              <a:buSzPts val="1200"/>
              <a:buFont typeface="Arial"/>
              <a:buNone/>
              <a:tabLst/>
              <a:defRPr/>
            </a:pPr>
            <a:r>
              <a:rPr kumimoji="0" lang="en-US" sz="800" b="1" i="0" u="none" strike="noStrike" kern="0" cap="none" spc="0" normalizeH="0" baseline="0" noProof="0">
                <a:ln>
                  <a:noFill/>
                </a:ln>
                <a:solidFill>
                  <a:srgbClr val="707070"/>
                </a:solidFill>
                <a:effectLst/>
                <a:uLnTx/>
                <a:uFillTx/>
                <a:latin typeface="Gene Sans" panose="00000500000000000000" pitchFamily="50" charset="0"/>
                <a:cs typeface="Arial"/>
                <a:sym typeface="Arial"/>
              </a:rPr>
              <a:t>71%</a:t>
            </a:r>
            <a:endParaRPr kumimoji="0" sz="800" b="0" i="0" u="none" strike="noStrike" kern="0" cap="none" spc="0" normalizeH="0" baseline="0" noProof="0">
              <a:ln>
                <a:noFill/>
              </a:ln>
              <a:solidFill>
                <a:srgbClr val="707070"/>
              </a:solidFill>
              <a:effectLst/>
              <a:uLnTx/>
              <a:uFillTx/>
              <a:latin typeface="Gene Sans" panose="00000500000000000000" pitchFamily="50" charset="0"/>
              <a:cs typeface="Arial"/>
              <a:sym typeface="Arial"/>
            </a:endParaRPr>
          </a:p>
        </p:txBody>
      </p:sp>
      <p:sp>
        <p:nvSpPr>
          <p:cNvPr id="340" name="Google Shape;1215;p17">
            <a:extLst>
              <a:ext uri="{FF2B5EF4-FFF2-40B4-BE49-F238E27FC236}">
                <a16:creationId xmlns:a16="http://schemas.microsoft.com/office/drawing/2014/main" id="{DBBF106C-E564-47E0-AAF4-34FD232FA3E4}"/>
              </a:ext>
            </a:extLst>
          </p:cNvPr>
          <p:cNvSpPr/>
          <p:nvPr/>
        </p:nvSpPr>
        <p:spPr>
          <a:xfrm>
            <a:off x="2474105" y="2725913"/>
            <a:ext cx="294976"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13294B"/>
              </a:buClr>
              <a:buSzPts val="1200"/>
              <a:buFont typeface="Arial"/>
              <a:buNone/>
              <a:tabLst/>
              <a:defRPr/>
            </a:pPr>
            <a:r>
              <a:rPr kumimoji="0" lang="en-US" sz="800" b="1" i="0" u="none" strike="noStrike" kern="0" cap="none" spc="0" normalizeH="0" baseline="0" noProof="0">
                <a:ln>
                  <a:noFill/>
                </a:ln>
                <a:solidFill>
                  <a:srgbClr val="13294B"/>
                </a:solidFill>
                <a:effectLst/>
                <a:uLnTx/>
                <a:uFillTx/>
                <a:latin typeface="Gene Sans" panose="00000500000000000000" pitchFamily="50" charset="0"/>
                <a:cs typeface="Arial"/>
                <a:sym typeface="Arial"/>
              </a:rPr>
              <a:t>73%</a:t>
            </a:r>
            <a:endParaRPr kumimoji="0" sz="800" b="0" i="0" u="none" strike="noStrike" kern="0" cap="none" spc="0" normalizeH="0" baseline="0" noProof="0">
              <a:ln>
                <a:noFill/>
              </a:ln>
              <a:solidFill>
                <a:srgbClr val="13294B"/>
              </a:solidFill>
              <a:effectLst/>
              <a:uLnTx/>
              <a:uFillTx/>
              <a:latin typeface="Gene Sans" panose="00000500000000000000" pitchFamily="50" charset="0"/>
              <a:cs typeface="Arial"/>
              <a:sym typeface="Arial"/>
            </a:endParaRPr>
          </a:p>
        </p:txBody>
      </p:sp>
      <p:sp>
        <p:nvSpPr>
          <p:cNvPr id="310" name="Google Shape;1185;p17">
            <a:extLst>
              <a:ext uri="{FF2B5EF4-FFF2-40B4-BE49-F238E27FC236}">
                <a16:creationId xmlns:a16="http://schemas.microsoft.com/office/drawing/2014/main" id="{316659A9-B57F-4F23-B95F-CD7E24937910}"/>
              </a:ext>
            </a:extLst>
          </p:cNvPr>
          <p:cNvSpPr/>
          <p:nvPr/>
        </p:nvSpPr>
        <p:spPr>
          <a:xfrm>
            <a:off x="4309280" y="2864411"/>
            <a:ext cx="43821"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71" name="Google Shape;1146;p17">
            <a:extLst>
              <a:ext uri="{FF2B5EF4-FFF2-40B4-BE49-F238E27FC236}">
                <a16:creationId xmlns:a16="http://schemas.microsoft.com/office/drawing/2014/main" id="{9536D616-6419-4DCC-B6B4-C968DCBFAC93}"/>
              </a:ext>
            </a:extLst>
          </p:cNvPr>
          <p:cNvSpPr/>
          <p:nvPr/>
        </p:nvSpPr>
        <p:spPr>
          <a:xfrm>
            <a:off x="4660718" y="3114028"/>
            <a:ext cx="50956" cy="50447"/>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72" name="Google Shape;1147;p17">
            <a:extLst>
              <a:ext uri="{FF2B5EF4-FFF2-40B4-BE49-F238E27FC236}">
                <a16:creationId xmlns:a16="http://schemas.microsoft.com/office/drawing/2014/main" id="{82465BCE-95E0-4229-99AD-876A6CDDADDF}"/>
              </a:ext>
            </a:extLst>
          </p:cNvPr>
          <p:cNvSpPr/>
          <p:nvPr/>
        </p:nvSpPr>
        <p:spPr>
          <a:xfrm>
            <a:off x="4548434" y="3114028"/>
            <a:ext cx="50956" cy="50447"/>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73" name="Google Shape;1148;p17">
            <a:extLst>
              <a:ext uri="{FF2B5EF4-FFF2-40B4-BE49-F238E27FC236}">
                <a16:creationId xmlns:a16="http://schemas.microsoft.com/office/drawing/2014/main" id="{8F9C02C6-EC7A-4C64-996B-35A6381CB5E4}"/>
              </a:ext>
            </a:extLst>
          </p:cNvPr>
          <p:cNvSpPr/>
          <p:nvPr/>
        </p:nvSpPr>
        <p:spPr>
          <a:xfrm>
            <a:off x="4513586" y="3114028"/>
            <a:ext cx="50956" cy="50447"/>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74" name="Google Shape;1149;p17">
            <a:extLst>
              <a:ext uri="{FF2B5EF4-FFF2-40B4-BE49-F238E27FC236}">
                <a16:creationId xmlns:a16="http://schemas.microsoft.com/office/drawing/2014/main" id="{4BCC3BFD-24E3-4638-ACC2-5D5DDF7747F9}"/>
              </a:ext>
            </a:extLst>
          </p:cNvPr>
          <p:cNvSpPr/>
          <p:nvPr/>
        </p:nvSpPr>
        <p:spPr>
          <a:xfrm>
            <a:off x="4421952" y="3114028"/>
            <a:ext cx="50956" cy="50447"/>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75" name="Google Shape;1150;p17">
            <a:extLst>
              <a:ext uri="{FF2B5EF4-FFF2-40B4-BE49-F238E27FC236}">
                <a16:creationId xmlns:a16="http://schemas.microsoft.com/office/drawing/2014/main" id="{08A38793-F70F-4024-A317-AE19A852F788}"/>
              </a:ext>
            </a:extLst>
          </p:cNvPr>
          <p:cNvSpPr/>
          <p:nvPr/>
        </p:nvSpPr>
        <p:spPr>
          <a:xfrm>
            <a:off x="4295472" y="3114028"/>
            <a:ext cx="50956" cy="50447"/>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76" name="Google Shape;1151;p17">
            <a:extLst>
              <a:ext uri="{FF2B5EF4-FFF2-40B4-BE49-F238E27FC236}">
                <a16:creationId xmlns:a16="http://schemas.microsoft.com/office/drawing/2014/main" id="{52606B2B-96C0-4855-98B6-636AE9C3B355}"/>
              </a:ext>
            </a:extLst>
          </p:cNvPr>
          <p:cNvSpPr/>
          <p:nvPr/>
        </p:nvSpPr>
        <p:spPr>
          <a:xfrm>
            <a:off x="4232232" y="3114028"/>
            <a:ext cx="50956" cy="50447"/>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77" name="Google Shape;1152;p17">
            <a:extLst>
              <a:ext uri="{FF2B5EF4-FFF2-40B4-BE49-F238E27FC236}">
                <a16:creationId xmlns:a16="http://schemas.microsoft.com/office/drawing/2014/main" id="{14AFD0F8-8626-46DC-8741-42E7B89B167D}"/>
              </a:ext>
            </a:extLst>
          </p:cNvPr>
          <p:cNvSpPr/>
          <p:nvPr/>
        </p:nvSpPr>
        <p:spPr>
          <a:xfrm>
            <a:off x="4218034" y="3114028"/>
            <a:ext cx="50956" cy="50447"/>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78" name="Google Shape;1153;p17">
            <a:extLst>
              <a:ext uri="{FF2B5EF4-FFF2-40B4-BE49-F238E27FC236}">
                <a16:creationId xmlns:a16="http://schemas.microsoft.com/office/drawing/2014/main" id="{77BA9C6D-D3A4-4794-932C-3B25CDEBAB38}"/>
              </a:ext>
            </a:extLst>
          </p:cNvPr>
          <p:cNvSpPr/>
          <p:nvPr/>
        </p:nvSpPr>
        <p:spPr>
          <a:xfrm>
            <a:off x="4197385" y="3114028"/>
            <a:ext cx="50956" cy="50447"/>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79" name="Google Shape;1154;p17">
            <a:extLst>
              <a:ext uri="{FF2B5EF4-FFF2-40B4-BE49-F238E27FC236}">
                <a16:creationId xmlns:a16="http://schemas.microsoft.com/office/drawing/2014/main" id="{02075FAB-5BAC-4A90-A91F-761B206E0A20}"/>
              </a:ext>
            </a:extLst>
          </p:cNvPr>
          <p:cNvSpPr/>
          <p:nvPr/>
        </p:nvSpPr>
        <p:spPr>
          <a:xfrm>
            <a:off x="4183189" y="3114028"/>
            <a:ext cx="50956" cy="50447"/>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80" name="Google Shape;1155;p17">
            <a:extLst>
              <a:ext uri="{FF2B5EF4-FFF2-40B4-BE49-F238E27FC236}">
                <a16:creationId xmlns:a16="http://schemas.microsoft.com/office/drawing/2014/main" id="{1E28E58C-B185-4C04-BCBA-CBA67D8ECF45}"/>
              </a:ext>
            </a:extLst>
          </p:cNvPr>
          <p:cNvSpPr/>
          <p:nvPr/>
        </p:nvSpPr>
        <p:spPr>
          <a:xfrm>
            <a:off x="4162538" y="3114028"/>
            <a:ext cx="50956" cy="50447"/>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81" name="Google Shape;1156;p17">
            <a:extLst>
              <a:ext uri="{FF2B5EF4-FFF2-40B4-BE49-F238E27FC236}">
                <a16:creationId xmlns:a16="http://schemas.microsoft.com/office/drawing/2014/main" id="{C4814A9F-AC07-4F1C-AA9D-8E1F2343616F}"/>
              </a:ext>
            </a:extLst>
          </p:cNvPr>
          <p:cNvSpPr/>
          <p:nvPr/>
        </p:nvSpPr>
        <p:spPr>
          <a:xfrm>
            <a:off x="4148341" y="3114028"/>
            <a:ext cx="50956" cy="50447"/>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82" name="Google Shape;1157;p17">
            <a:extLst>
              <a:ext uri="{FF2B5EF4-FFF2-40B4-BE49-F238E27FC236}">
                <a16:creationId xmlns:a16="http://schemas.microsoft.com/office/drawing/2014/main" id="{B1908DA3-E18B-431B-A9A1-6FF8E4266FEF}"/>
              </a:ext>
            </a:extLst>
          </p:cNvPr>
          <p:cNvSpPr/>
          <p:nvPr/>
        </p:nvSpPr>
        <p:spPr>
          <a:xfrm>
            <a:off x="4113495" y="3040479"/>
            <a:ext cx="50956" cy="50447"/>
          </a:xfrm>
          <a:custGeom>
            <a:avLst/>
            <a:gdLst/>
            <a:ahLst/>
            <a:cxnLst/>
            <a:rect l="l" t="t" r="r" b="b"/>
            <a:pathLst>
              <a:path w="43" h="55" extrusionOk="0">
                <a:moveTo>
                  <a:pt x="0" y="27"/>
                </a:moveTo>
                <a:cubicBezTo>
                  <a:pt x="0" y="12"/>
                  <a:pt x="10" y="0"/>
                  <a:pt x="21" y="0"/>
                </a:cubicBezTo>
                <a:cubicBezTo>
                  <a:pt x="34" y="0"/>
                  <a:pt x="43" y="12"/>
                  <a:pt x="43" y="27"/>
                </a:cubicBezTo>
                <a:cubicBezTo>
                  <a:pt x="43" y="43"/>
                  <a:pt x="34" y="55"/>
                  <a:pt x="21" y="55"/>
                </a:cubicBezTo>
                <a:cubicBezTo>
                  <a:pt x="10" y="55"/>
                  <a:pt x="0" y="43"/>
                  <a:pt x="0" y="27"/>
                </a:cubicBezTo>
              </a:path>
            </a:pathLst>
          </a:cu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83" name="Google Shape;1158;p17">
            <a:extLst>
              <a:ext uri="{FF2B5EF4-FFF2-40B4-BE49-F238E27FC236}">
                <a16:creationId xmlns:a16="http://schemas.microsoft.com/office/drawing/2014/main" id="{2BA60975-25EE-4660-BA66-5F906367D191}"/>
              </a:ext>
            </a:extLst>
          </p:cNvPr>
          <p:cNvSpPr/>
          <p:nvPr/>
        </p:nvSpPr>
        <p:spPr>
          <a:xfrm>
            <a:off x="4091555" y="3040479"/>
            <a:ext cx="50956" cy="50447"/>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84" name="Google Shape;1159;p17">
            <a:extLst>
              <a:ext uri="{FF2B5EF4-FFF2-40B4-BE49-F238E27FC236}">
                <a16:creationId xmlns:a16="http://schemas.microsoft.com/office/drawing/2014/main" id="{A51F9FED-5469-4DCE-A8F0-B853C2C1DA53}"/>
              </a:ext>
            </a:extLst>
          </p:cNvPr>
          <p:cNvSpPr/>
          <p:nvPr/>
        </p:nvSpPr>
        <p:spPr>
          <a:xfrm>
            <a:off x="4077358" y="3040479"/>
            <a:ext cx="50956" cy="50447"/>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85" name="Google Shape;1160;p17">
            <a:extLst>
              <a:ext uri="{FF2B5EF4-FFF2-40B4-BE49-F238E27FC236}">
                <a16:creationId xmlns:a16="http://schemas.microsoft.com/office/drawing/2014/main" id="{D8ED08B1-2AAE-40F2-A74D-55A06F20155A}"/>
              </a:ext>
            </a:extLst>
          </p:cNvPr>
          <p:cNvSpPr/>
          <p:nvPr/>
        </p:nvSpPr>
        <p:spPr>
          <a:xfrm>
            <a:off x="4070904" y="3040479"/>
            <a:ext cx="50956" cy="50447"/>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86" name="Google Shape;1161;p17">
            <a:extLst>
              <a:ext uri="{FF2B5EF4-FFF2-40B4-BE49-F238E27FC236}">
                <a16:creationId xmlns:a16="http://schemas.microsoft.com/office/drawing/2014/main" id="{CD77F5DC-0FF3-419A-A4BE-EE39EC0C3330}"/>
              </a:ext>
            </a:extLst>
          </p:cNvPr>
          <p:cNvSpPr/>
          <p:nvPr/>
        </p:nvSpPr>
        <p:spPr>
          <a:xfrm>
            <a:off x="4056708" y="3040479"/>
            <a:ext cx="50956" cy="50447"/>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87" name="Google Shape;1162;p17">
            <a:extLst>
              <a:ext uri="{FF2B5EF4-FFF2-40B4-BE49-F238E27FC236}">
                <a16:creationId xmlns:a16="http://schemas.microsoft.com/office/drawing/2014/main" id="{EA13187F-427E-42EA-86D8-2D08295E4D04}"/>
              </a:ext>
            </a:extLst>
          </p:cNvPr>
          <p:cNvSpPr/>
          <p:nvPr/>
        </p:nvSpPr>
        <p:spPr>
          <a:xfrm>
            <a:off x="4007664" y="3040479"/>
            <a:ext cx="50956" cy="50447"/>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88" name="Google Shape;1163;p17">
            <a:extLst>
              <a:ext uri="{FF2B5EF4-FFF2-40B4-BE49-F238E27FC236}">
                <a16:creationId xmlns:a16="http://schemas.microsoft.com/office/drawing/2014/main" id="{C8945803-B880-43D5-9C26-0212B2F525D4}"/>
              </a:ext>
            </a:extLst>
          </p:cNvPr>
          <p:cNvSpPr/>
          <p:nvPr/>
        </p:nvSpPr>
        <p:spPr>
          <a:xfrm>
            <a:off x="4401303" y="3114028"/>
            <a:ext cx="50956" cy="50447"/>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89" name="Google Shape;1164;p17">
            <a:extLst>
              <a:ext uri="{FF2B5EF4-FFF2-40B4-BE49-F238E27FC236}">
                <a16:creationId xmlns:a16="http://schemas.microsoft.com/office/drawing/2014/main" id="{34B8E463-F8FE-4782-8BED-3F9FB016FF6E}"/>
              </a:ext>
            </a:extLst>
          </p:cNvPr>
          <p:cNvSpPr/>
          <p:nvPr/>
        </p:nvSpPr>
        <p:spPr>
          <a:xfrm>
            <a:off x="4330319" y="3114028"/>
            <a:ext cx="50956" cy="50447"/>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94" name="Google Shape;1169;p17">
            <a:extLst>
              <a:ext uri="{FF2B5EF4-FFF2-40B4-BE49-F238E27FC236}">
                <a16:creationId xmlns:a16="http://schemas.microsoft.com/office/drawing/2014/main" id="{91CC1DD2-E059-4FDA-A63C-C205BF509DC1}"/>
              </a:ext>
            </a:extLst>
          </p:cNvPr>
          <p:cNvSpPr/>
          <p:nvPr/>
        </p:nvSpPr>
        <p:spPr>
          <a:xfrm>
            <a:off x="3987015" y="2809807"/>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95" name="Google Shape;1170;p17">
            <a:extLst>
              <a:ext uri="{FF2B5EF4-FFF2-40B4-BE49-F238E27FC236}">
                <a16:creationId xmlns:a16="http://schemas.microsoft.com/office/drawing/2014/main" id="{1EE03648-E1DC-4B90-9124-B7125F821903}"/>
              </a:ext>
            </a:extLst>
          </p:cNvPr>
          <p:cNvSpPr/>
          <p:nvPr/>
        </p:nvSpPr>
        <p:spPr>
          <a:xfrm>
            <a:off x="3993466" y="2809807"/>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96" name="Google Shape;1171;p17">
            <a:extLst>
              <a:ext uri="{FF2B5EF4-FFF2-40B4-BE49-F238E27FC236}">
                <a16:creationId xmlns:a16="http://schemas.microsoft.com/office/drawing/2014/main" id="{29ADA0BB-3F27-4CBC-9932-F67CD6A5E3F6}"/>
              </a:ext>
            </a:extLst>
          </p:cNvPr>
          <p:cNvSpPr/>
          <p:nvPr/>
        </p:nvSpPr>
        <p:spPr>
          <a:xfrm>
            <a:off x="4036058" y="2809807"/>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97" name="Google Shape;1172;p17">
            <a:extLst>
              <a:ext uri="{FF2B5EF4-FFF2-40B4-BE49-F238E27FC236}">
                <a16:creationId xmlns:a16="http://schemas.microsoft.com/office/drawing/2014/main" id="{83B4C9DE-A399-48C1-8A49-EE92C3373AC7}"/>
              </a:ext>
            </a:extLst>
          </p:cNvPr>
          <p:cNvSpPr/>
          <p:nvPr/>
        </p:nvSpPr>
        <p:spPr>
          <a:xfrm>
            <a:off x="4050254" y="2809807"/>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98" name="Google Shape;1173;p17">
            <a:extLst>
              <a:ext uri="{FF2B5EF4-FFF2-40B4-BE49-F238E27FC236}">
                <a16:creationId xmlns:a16="http://schemas.microsoft.com/office/drawing/2014/main" id="{6CD63E2B-8E4D-49C8-A3DF-0846CC4DCDDC}"/>
              </a:ext>
            </a:extLst>
          </p:cNvPr>
          <p:cNvSpPr/>
          <p:nvPr/>
        </p:nvSpPr>
        <p:spPr>
          <a:xfrm>
            <a:off x="4064452" y="2809807"/>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299" name="Google Shape;1174;p17">
            <a:extLst>
              <a:ext uri="{FF2B5EF4-FFF2-40B4-BE49-F238E27FC236}">
                <a16:creationId xmlns:a16="http://schemas.microsoft.com/office/drawing/2014/main" id="{15636E29-FBA1-498C-9240-C9343F534095}"/>
              </a:ext>
            </a:extLst>
          </p:cNvPr>
          <p:cNvSpPr/>
          <p:nvPr/>
        </p:nvSpPr>
        <p:spPr>
          <a:xfrm>
            <a:off x="4085101" y="2809807"/>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00" name="Google Shape;1175;p17">
            <a:extLst>
              <a:ext uri="{FF2B5EF4-FFF2-40B4-BE49-F238E27FC236}">
                <a16:creationId xmlns:a16="http://schemas.microsoft.com/office/drawing/2014/main" id="{07B4991A-E4FB-4133-B955-B910A3BAE9F9}"/>
              </a:ext>
            </a:extLst>
          </p:cNvPr>
          <p:cNvSpPr/>
          <p:nvPr/>
        </p:nvSpPr>
        <p:spPr>
          <a:xfrm>
            <a:off x="4099298" y="2809807"/>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01" name="Google Shape;1176;p17">
            <a:extLst>
              <a:ext uri="{FF2B5EF4-FFF2-40B4-BE49-F238E27FC236}">
                <a16:creationId xmlns:a16="http://schemas.microsoft.com/office/drawing/2014/main" id="{7472DE31-3B58-4EB0-AF18-7413A11A59A5}"/>
              </a:ext>
            </a:extLst>
          </p:cNvPr>
          <p:cNvSpPr/>
          <p:nvPr/>
        </p:nvSpPr>
        <p:spPr>
          <a:xfrm>
            <a:off x="4113495" y="2809807"/>
            <a:ext cx="50956" cy="50447"/>
          </a:xfrm>
          <a:custGeom>
            <a:avLst/>
            <a:gdLst/>
            <a:ahLst/>
            <a:cxnLst/>
            <a:rect l="l" t="t" r="r" b="b"/>
            <a:pathLst>
              <a:path w="43" h="49" extrusionOk="0">
                <a:moveTo>
                  <a:pt x="0" y="25"/>
                </a:moveTo>
                <a:cubicBezTo>
                  <a:pt x="0" y="11"/>
                  <a:pt x="10" y="0"/>
                  <a:pt x="21" y="0"/>
                </a:cubicBezTo>
                <a:cubicBezTo>
                  <a:pt x="34" y="0"/>
                  <a:pt x="43" y="11"/>
                  <a:pt x="43" y="25"/>
                </a:cubicBezTo>
                <a:cubicBezTo>
                  <a:pt x="43" y="38"/>
                  <a:pt x="34" y="49"/>
                  <a:pt x="21" y="49"/>
                </a:cubicBezTo>
                <a:cubicBezTo>
                  <a:pt x="10" y="49"/>
                  <a:pt x="0" y="38"/>
                  <a:pt x="0" y="25"/>
                </a:cubicBezTo>
              </a:path>
            </a:pathLst>
          </a:cu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02" name="Google Shape;1177;p17">
            <a:extLst>
              <a:ext uri="{FF2B5EF4-FFF2-40B4-BE49-F238E27FC236}">
                <a16:creationId xmlns:a16="http://schemas.microsoft.com/office/drawing/2014/main" id="{3226DEA1-E9D1-4AFF-87B1-38DCD32233A3}"/>
              </a:ext>
            </a:extLst>
          </p:cNvPr>
          <p:cNvSpPr/>
          <p:nvPr/>
        </p:nvSpPr>
        <p:spPr>
          <a:xfrm>
            <a:off x="4134145" y="2809807"/>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03" name="Google Shape;1178;p17">
            <a:extLst>
              <a:ext uri="{FF2B5EF4-FFF2-40B4-BE49-F238E27FC236}">
                <a16:creationId xmlns:a16="http://schemas.microsoft.com/office/drawing/2014/main" id="{6191B84F-8380-4935-93C1-6768267567BA}"/>
              </a:ext>
            </a:extLst>
          </p:cNvPr>
          <p:cNvSpPr/>
          <p:nvPr/>
        </p:nvSpPr>
        <p:spPr>
          <a:xfrm>
            <a:off x="4148341" y="2809807"/>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04" name="Google Shape;1179;p17">
            <a:extLst>
              <a:ext uri="{FF2B5EF4-FFF2-40B4-BE49-F238E27FC236}">
                <a16:creationId xmlns:a16="http://schemas.microsoft.com/office/drawing/2014/main" id="{00FA70BE-0CB6-47BB-AC86-B21BE6A66430}"/>
              </a:ext>
            </a:extLst>
          </p:cNvPr>
          <p:cNvSpPr/>
          <p:nvPr/>
        </p:nvSpPr>
        <p:spPr>
          <a:xfrm>
            <a:off x="4168991" y="2809807"/>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05" name="Google Shape;1180;p17">
            <a:extLst>
              <a:ext uri="{FF2B5EF4-FFF2-40B4-BE49-F238E27FC236}">
                <a16:creationId xmlns:a16="http://schemas.microsoft.com/office/drawing/2014/main" id="{348A164F-87AB-4725-AEBB-EBF709B5FB97}"/>
              </a:ext>
            </a:extLst>
          </p:cNvPr>
          <p:cNvSpPr/>
          <p:nvPr/>
        </p:nvSpPr>
        <p:spPr>
          <a:xfrm>
            <a:off x="4183189" y="2809807"/>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06" name="Google Shape;1181;p17">
            <a:extLst>
              <a:ext uri="{FF2B5EF4-FFF2-40B4-BE49-F238E27FC236}">
                <a16:creationId xmlns:a16="http://schemas.microsoft.com/office/drawing/2014/main" id="{7483C3F4-38DC-4F54-AB5D-74EB113A5CDA}"/>
              </a:ext>
            </a:extLst>
          </p:cNvPr>
          <p:cNvSpPr/>
          <p:nvPr/>
        </p:nvSpPr>
        <p:spPr>
          <a:xfrm>
            <a:off x="4197385" y="2809807"/>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07" name="Google Shape;1182;p17">
            <a:extLst>
              <a:ext uri="{FF2B5EF4-FFF2-40B4-BE49-F238E27FC236}">
                <a16:creationId xmlns:a16="http://schemas.microsoft.com/office/drawing/2014/main" id="{0E2C33D8-58AA-4DEA-8D42-824288A7CD1F}"/>
              </a:ext>
            </a:extLst>
          </p:cNvPr>
          <p:cNvSpPr/>
          <p:nvPr/>
        </p:nvSpPr>
        <p:spPr>
          <a:xfrm>
            <a:off x="4218034" y="2809807"/>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08" name="Google Shape;1183;p17">
            <a:extLst>
              <a:ext uri="{FF2B5EF4-FFF2-40B4-BE49-F238E27FC236}">
                <a16:creationId xmlns:a16="http://schemas.microsoft.com/office/drawing/2014/main" id="{39960F4E-762D-45D4-9443-13AFD1D6E988}"/>
              </a:ext>
            </a:extLst>
          </p:cNvPr>
          <p:cNvSpPr/>
          <p:nvPr/>
        </p:nvSpPr>
        <p:spPr>
          <a:xfrm>
            <a:off x="4260626" y="2809807"/>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09" name="Google Shape;1184;p17">
            <a:extLst>
              <a:ext uri="{FF2B5EF4-FFF2-40B4-BE49-F238E27FC236}">
                <a16:creationId xmlns:a16="http://schemas.microsoft.com/office/drawing/2014/main" id="{E4FDF8C7-6C38-4D98-8020-03F2FA63F9B4}"/>
              </a:ext>
            </a:extLst>
          </p:cNvPr>
          <p:cNvSpPr/>
          <p:nvPr/>
        </p:nvSpPr>
        <p:spPr>
          <a:xfrm>
            <a:off x="4281275" y="2809807"/>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11" name="Google Shape;1186;p17">
            <a:extLst>
              <a:ext uri="{FF2B5EF4-FFF2-40B4-BE49-F238E27FC236}">
                <a16:creationId xmlns:a16="http://schemas.microsoft.com/office/drawing/2014/main" id="{8C1D5843-9C09-4F05-A4B5-51B4F19C7753}"/>
              </a:ext>
            </a:extLst>
          </p:cNvPr>
          <p:cNvSpPr/>
          <p:nvPr/>
        </p:nvSpPr>
        <p:spPr>
          <a:xfrm>
            <a:off x="4317412" y="2864411"/>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12" name="Google Shape;1187;p17">
            <a:extLst>
              <a:ext uri="{FF2B5EF4-FFF2-40B4-BE49-F238E27FC236}">
                <a16:creationId xmlns:a16="http://schemas.microsoft.com/office/drawing/2014/main" id="{022FE498-7CA3-4C3B-9133-AE6A62B75B96}"/>
              </a:ext>
            </a:extLst>
          </p:cNvPr>
          <p:cNvSpPr/>
          <p:nvPr/>
        </p:nvSpPr>
        <p:spPr>
          <a:xfrm>
            <a:off x="4338063" y="2864411"/>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13" name="Google Shape;1188;p17">
            <a:extLst>
              <a:ext uri="{FF2B5EF4-FFF2-40B4-BE49-F238E27FC236}">
                <a16:creationId xmlns:a16="http://schemas.microsoft.com/office/drawing/2014/main" id="{9A9617CB-C8D9-46BC-AC99-C3A3BF9450E9}"/>
              </a:ext>
            </a:extLst>
          </p:cNvPr>
          <p:cNvSpPr/>
          <p:nvPr/>
        </p:nvSpPr>
        <p:spPr>
          <a:xfrm>
            <a:off x="4358712" y="2864411"/>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14" name="Google Shape;1189;p17">
            <a:extLst>
              <a:ext uri="{FF2B5EF4-FFF2-40B4-BE49-F238E27FC236}">
                <a16:creationId xmlns:a16="http://schemas.microsoft.com/office/drawing/2014/main" id="{97E86225-44D5-4233-B096-8CB4BBFE53DA}"/>
              </a:ext>
            </a:extLst>
          </p:cNvPr>
          <p:cNvSpPr/>
          <p:nvPr/>
        </p:nvSpPr>
        <p:spPr>
          <a:xfrm>
            <a:off x="4393559" y="2864411"/>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15" name="Google Shape;1190;p17">
            <a:extLst>
              <a:ext uri="{FF2B5EF4-FFF2-40B4-BE49-F238E27FC236}">
                <a16:creationId xmlns:a16="http://schemas.microsoft.com/office/drawing/2014/main" id="{53FDE272-3225-42E7-988F-83F443952791}"/>
              </a:ext>
            </a:extLst>
          </p:cNvPr>
          <p:cNvSpPr/>
          <p:nvPr/>
        </p:nvSpPr>
        <p:spPr>
          <a:xfrm>
            <a:off x="4415500" y="2864411"/>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16" name="Google Shape;1191;p17">
            <a:extLst>
              <a:ext uri="{FF2B5EF4-FFF2-40B4-BE49-F238E27FC236}">
                <a16:creationId xmlns:a16="http://schemas.microsoft.com/office/drawing/2014/main" id="{98008A53-0225-496E-8649-C22439604C6E}"/>
              </a:ext>
            </a:extLst>
          </p:cNvPr>
          <p:cNvSpPr/>
          <p:nvPr/>
        </p:nvSpPr>
        <p:spPr>
          <a:xfrm>
            <a:off x="4450347" y="2864411"/>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17" name="Google Shape;1192;p17">
            <a:extLst>
              <a:ext uri="{FF2B5EF4-FFF2-40B4-BE49-F238E27FC236}">
                <a16:creationId xmlns:a16="http://schemas.microsoft.com/office/drawing/2014/main" id="{D41F977B-DCD4-4256-92AA-7A670B6C2FE3}"/>
              </a:ext>
            </a:extLst>
          </p:cNvPr>
          <p:cNvSpPr/>
          <p:nvPr/>
        </p:nvSpPr>
        <p:spPr>
          <a:xfrm>
            <a:off x="4478740" y="2864411"/>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18" name="Google Shape;1193;p17">
            <a:extLst>
              <a:ext uri="{FF2B5EF4-FFF2-40B4-BE49-F238E27FC236}">
                <a16:creationId xmlns:a16="http://schemas.microsoft.com/office/drawing/2014/main" id="{2AB17812-4FF9-4712-822A-7C75F23D385A}"/>
              </a:ext>
            </a:extLst>
          </p:cNvPr>
          <p:cNvSpPr/>
          <p:nvPr/>
        </p:nvSpPr>
        <p:spPr>
          <a:xfrm>
            <a:off x="4499391" y="2864411"/>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19" name="Google Shape;1194;p17">
            <a:extLst>
              <a:ext uri="{FF2B5EF4-FFF2-40B4-BE49-F238E27FC236}">
                <a16:creationId xmlns:a16="http://schemas.microsoft.com/office/drawing/2014/main" id="{76175DC0-AB74-4B89-AE24-47E9F3AF1438}"/>
              </a:ext>
            </a:extLst>
          </p:cNvPr>
          <p:cNvSpPr/>
          <p:nvPr/>
        </p:nvSpPr>
        <p:spPr>
          <a:xfrm>
            <a:off x="4534237" y="2864411"/>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20" name="Google Shape;1195;p17">
            <a:extLst>
              <a:ext uri="{FF2B5EF4-FFF2-40B4-BE49-F238E27FC236}">
                <a16:creationId xmlns:a16="http://schemas.microsoft.com/office/drawing/2014/main" id="{BF455060-049C-4353-AD6C-C025C8A4B3DC}"/>
              </a:ext>
            </a:extLst>
          </p:cNvPr>
          <p:cNvSpPr/>
          <p:nvPr/>
        </p:nvSpPr>
        <p:spPr>
          <a:xfrm>
            <a:off x="4583281" y="2864411"/>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21" name="Google Shape;1196;p17">
            <a:extLst>
              <a:ext uri="{FF2B5EF4-FFF2-40B4-BE49-F238E27FC236}">
                <a16:creationId xmlns:a16="http://schemas.microsoft.com/office/drawing/2014/main" id="{A900C2F7-AF21-483E-818F-7C8B1A22D3AA}"/>
              </a:ext>
            </a:extLst>
          </p:cNvPr>
          <p:cNvSpPr/>
          <p:nvPr/>
        </p:nvSpPr>
        <p:spPr>
          <a:xfrm>
            <a:off x="4605221" y="2864411"/>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22" name="Google Shape;1197;p17">
            <a:extLst>
              <a:ext uri="{FF2B5EF4-FFF2-40B4-BE49-F238E27FC236}">
                <a16:creationId xmlns:a16="http://schemas.microsoft.com/office/drawing/2014/main" id="{F99B6D8D-9B8F-42A4-8545-4F4C3D04E7D6}"/>
              </a:ext>
            </a:extLst>
          </p:cNvPr>
          <p:cNvSpPr/>
          <p:nvPr/>
        </p:nvSpPr>
        <p:spPr>
          <a:xfrm>
            <a:off x="4674914" y="2864411"/>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24" name="Google Shape;1199;p17">
            <a:extLst>
              <a:ext uri="{FF2B5EF4-FFF2-40B4-BE49-F238E27FC236}">
                <a16:creationId xmlns:a16="http://schemas.microsoft.com/office/drawing/2014/main" id="{F0C836BC-929C-4264-8EC4-68917A9E3A3E}"/>
              </a:ext>
            </a:extLst>
          </p:cNvPr>
          <p:cNvSpPr/>
          <p:nvPr/>
        </p:nvSpPr>
        <p:spPr>
          <a:xfrm>
            <a:off x="3993466" y="2658688"/>
            <a:ext cx="50956" cy="50447"/>
          </a:xfrm>
          <a:prstGeom prst="ellipse">
            <a:avLst/>
          </a:prstGeom>
          <a:noFill/>
          <a:ln w="127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25" name="Google Shape;1200;p17">
            <a:extLst>
              <a:ext uri="{FF2B5EF4-FFF2-40B4-BE49-F238E27FC236}">
                <a16:creationId xmlns:a16="http://schemas.microsoft.com/office/drawing/2014/main" id="{BA9BD486-08A6-4660-863A-2F7811C743BF}"/>
              </a:ext>
            </a:extLst>
          </p:cNvPr>
          <p:cNvSpPr/>
          <p:nvPr/>
        </p:nvSpPr>
        <p:spPr>
          <a:xfrm>
            <a:off x="4077358" y="2658688"/>
            <a:ext cx="50956" cy="50447"/>
          </a:xfrm>
          <a:prstGeom prst="ellipse">
            <a:avLst/>
          </a:prstGeom>
          <a:noFill/>
          <a:ln w="127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26" name="Google Shape;1201;p17">
            <a:extLst>
              <a:ext uri="{FF2B5EF4-FFF2-40B4-BE49-F238E27FC236}">
                <a16:creationId xmlns:a16="http://schemas.microsoft.com/office/drawing/2014/main" id="{45BA9E98-B735-480F-ADF4-4D47AFC91479}"/>
              </a:ext>
            </a:extLst>
          </p:cNvPr>
          <p:cNvSpPr/>
          <p:nvPr/>
        </p:nvSpPr>
        <p:spPr>
          <a:xfrm>
            <a:off x="4091555" y="2658688"/>
            <a:ext cx="50956" cy="50447"/>
          </a:xfrm>
          <a:prstGeom prst="ellipse">
            <a:avLst/>
          </a:prstGeom>
          <a:noFill/>
          <a:ln w="127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27" name="Google Shape;1202;p17">
            <a:extLst>
              <a:ext uri="{FF2B5EF4-FFF2-40B4-BE49-F238E27FC236}">
                <a16:creationId xmlns:a16="http://schemas.microsoft.com/office/drawing/2014/main" id="{FB32EC1C-73A0-4102-927C-821D5ED0F8C9}"/>
              </a:ext>
            </a:extLst>
          </p:cNvPr>
          <p:cNvSpPr/>
          <p:nvPr/>
        </p:nvSpPr>
        <p:spPr>
          <a:xfrm>
            <a:off x="4113495" y="2658688"/>
            <a:ext cx="50956" cy="50447"/>
          </a:xfrm>
          <a:prstGeom prst="ellipse">
            <a:avLst/>
          </a:prstGeom>
          <a:noFill/>
          <a:ln w="127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28" name="Google Shape;1203;p17">
            <a:extLst>
              <a:ext uri="{FF2B5EF4-FFF2-40B4-BE49-F238E27FC236}">
                <a16:creationId xmlns:a16="http://schemas.microsoft.com/office/drawing/2014/main" id="{AC6BD607-A69A-4530-B34E-4DF9906EAA16}"/>
              </a:ext>
            </a:extLst>
          </p:cNvPr>
          <p:cNvSpPr/>
          <p:nvPr/>
        </p:nvSpPr>
        <p:spPr>
          <a:xfrm>
            <a:off x="4148341" y="2658688"/>
            <a:ext cx="50956" cy="50447"/>
          </a:xfrm>
          <a:prstGeom prst="ellipse">
            <a:avLst/>
          </a:prstGeom>
          <a:noFill/>
          <a:ln w="127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29" name="Google Shape;1204;p17">
            <a:extLst>
              <a:ext uri="{FF2B5EF4-FFF2-40B4-BE49-F238E27FC236}">
                <a16:creationId xmlns:a16="http://schemas.microsoft.com/office/drawing/2014/main" id="{A175B35D-A07A-4A9E-8704-B08B77D4FEC9}"/>
              </a:ext>
            </a:extLst>
          </p:cNvPr>
          <p:cNvSpPr/>
          <p:nvPr/>
        </p:nvSpPr>
        <p:spPr>
          <a:xfrm>
            <a:off x="4168991" y="2658688"/>
            <a:ext cx="50956" cy="50447"/>
          </a:xfrm>
          <a:prstGeom prst="ellipse">
            <a:avLst/>
          </a:prstGeom>
          <a:noFill/>
          <a:ln w="127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30" name="Google Shape;1205;p17">
            <a:extLst>
              <a:ext uri="{FF2B5EF4-FFF2-40B4-BE49-F238E27FC236}">
                <a16:creationId xmlns:a16="http://schemas.microsoft.com/office/drawing/2014/main" id="{73A55A98-8E8A-481D-9E9A-7481AA5CCFA8}"/>
              </a:ext>
            </a:extLst>
          </p:cNvPr>
          <p:cNvSpPr/>
          <p:nvPr/>
        </p:nvSpPr>
        <p:spPr>
          <a:xfrm>
            <a:off x="4211583" y="2658688"/>
            <a:ext cx="50956" cy="50447"/>
          </a:xfrm>
          <a:prstGeom prst="ellipse">
            <a:avLst/>
          </a:prstGeom>
          <a:noFill/>
          <a:ln w="127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31" name="Google Shape;1206;p17">
            <a:extLst>
              <a:ext uri="{FF2B5EF4-FFF2-40B4-BE49-F238E27FC236}">
                <a16:creationId xmlns:a16="http://schemas.microsoft.com/office/drawing/2014/main" id="{80B9241E-5878-425F-A876-7231DCCE6661}"/>
              </a:ext>
            </a:extLst>
          </p:cNvPr>
          <p:cNvSpPr/>
          <p:nvPr/>
        </p:nvSpPr>
        <p:spPr>
          <a:xfrm>
            <a:off x="4254172" y="2658688"/>
            <a:ext cx="50956" cy="50447"/>
          </a:xfrm>
          <a:prstGeom prst="ellipse">
            <a:avLst/>
          </a:prstGeom>
          <a:noFill/>
          <a:ln w="127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32" name="Google Shape;1207;p17">
            <a:extLst>
              <a:ext uri="{FF2B5EF4-FFF2-40B4-BE49-F238E27FC236}">
                <a16:creationId xmlns:a16="http://schemas.microsoft.com/office/drawing/2014/main" id="{ACA77942-5F74-4DDF-9319-5DBFD2D718F9}"/>
              </a:ext>
            </a:extLst>
          </p:cNvPr>
          <p:cNvSpPr/>
          <p:nvPr/>
        </p:nvSpPr>
        <p:spPr>
          <a:xfrm>
            <a:off x="4289020" y="2658688"/>
            <a:ext cx="50956" cy="50447"/>
          </a:xfrm>
          <a:prstGeom prst="ellipse">
            <a:avLst/>
          </a:prstGeom>
          <a:noFill/>
          <a:ln w="127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33" name="Google Shape;1208;p17">
            <a:extLst>
              <a:ext uri="{FF2B5EF4-FFF2-40B4-BE49-F238E27FC236}">
                <a16:creationId xmlns:a16="http://schemas.microsoft.com/office/drawing/2014/main" id="{01E95270-0D99-4A5D-BAE1-6DA4015E6C43}"/>
              </a:ext>
            </a:extLst>
          </p:cNvPr>
          <p:cNvSpPr/>
          <p:nvPr/>
        </p:nvSpPr>
        <p:spPr>
          <a:xfrm>
            <a:off x="4317412" y="2658688"/>
            <a:ext cx="50956" cy="50447"/>
          </a:xfrm>
          <a:prstGeom prst="ellipse">
            <a:avLst/>
          </a:prstGeom>
          <a:noFill/>
          <a:ln w="127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34" name="Google Shape;1209;p17">
            <a:extLst>
              <a:ext uri="{FF2B5EF4-FFF2-40B4-BE49-F238E27FC236}">
                <a16:creationId xmlns:a16="http://schemas.microsoft.com/office/drawing/2014/main" id="{6130C444-354C-47D1-9867-7AE3CAB85EFC}"/>
              </a:ext>
            </a:extLst>
          </p:cNvPr>
          <p:cNvSpPr/>
          <p:nvPr/>
        </p:nvSpPr>
        <p:spPr>
          <a:xfrm>
            <a:off x="4387107" y="2658688"/>
            <a:ext cx="50956" cy="50447"/>
          </a:xfrm>
          <a:prstGeom prst="ellipse">
            <a:avLst/>
          </a:prstGeom>
          <a:noFill/>
          <a:ln w="127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35" name="Google Shape;1210;p17">
            <a:extLst>
              <a:ext uri="{FF2B5EF4-FFF2-40B4-BE49-F238E27FC236}">
                <a16:creationId xmlns:a16="http://schemas.microsoft.com/office/drawing/2014/main" id="{9899E6D9-9931-42E1-8709-7BEF60F69EEE}"/>
              </a:ext>
            </a:extLst>
          </p:cNvPr>
          <p:cNvSpPr/>
          <p:nvPr/>
        </p:nvSpPr>
        <p:spPr>
          <a:xfrm>
            <a:off x="4407757" y="2658688"/>
            <a:ext cx="50956" cy="50447"/>
          </a:xfrm>
          <a:prstGeom prst="ellipse">
            <a:avLst/>
          </a:prstGeom>
          <a:noFill/>
          <a:ln w="127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36" name="Google Shape;1211;p17">
            <a:extLst>
              <a:ext uri="{FF2B5EF4-FFF2-40B4-BE49-F238E27FC236}">
                <a16:creationId xmlns:a16="http://schemas.microsoft.com/office/drawing/2014/main" id="{6065E26B-6A31-4453-BE51-C7D1AA21909C}"/>
              </a:ext>
            </a:extLst>
          </p:cNvPr>
          <p:cNvSpPr/>
          <p:nvPr/>
        </p:nvSpPr>
        <p:spPr>
          <a:xfrm>
            <a:off x="4470997" y="2658688"/>
            <a:ext cx="50956" cy="50447"/>
          </a:xfrm>
          <a:prstGeom prst="ellipse">
            <a:avLst/>
          </a:prstGeom>
          <a:noFill/>
          <a:ln w="127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37" name="Google Shape;1212;p17">
            <a:extLst>
              <a:ext uri="{FF2B5EF4-FFF2-40B4-BE49-F238E27FC236}">
                <a16:creationId xmlns:a16="http://schemas.microsoft.com/office/drawing/2014/main" id="{ED76F17A-E3F8-4676-963B-0281B38F4FF0}"/>
              </a:ext>
            </a:extLst>
          </p:cNvPr>
          <p:cNvSpPr/>
          <p:nvPr/>
        </p:nvSpPr>
        <p:spPr>
          <a:xfrm>
            <a:off x="4534237" y="2658688"/>
            <a:ext cx="50956" cy="50447"/>
          </a:xfrm>
          <a:prstGeom prst="ellipse">
            <a:avLst/>
          </a:prstGeom>
          <a:noFill/>
          <a:ln w="127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41" name="Google Shape;1216;p17">
            <a:extLst>
              <a:ext uri="{FF2B5EF4-FFF2-40B4-BE49-F238E27FC236}">
                <a16:creationId xmlns:a16="http://schemas.microsoft.com/office/drawing/2014/main" id="{7E6F39D0-B87E-44FF-AED4-A3E5A6A0F7F8}"/>
              </a:ext>
            </a:extLst>
          </p:cNvPr>
          <p:cNvSpPr/>
          <p:nvPr/>
        </p:nvSpPr>
        <p:spPr>
          <a:xfrm>
            <a:off x="4090972" y="2929843"/>
            <a:ext cx="243740"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13294B"/>
              </a:buClr>
              <a:buSzPts val="1200"/>
              <a:buFont typeface="Arial"/>
              <a:buNone/>
              <a:tabLst/>
              <a:defRPr/>
            </a:pPr>
            <a:r>
              <a:rPr kumimoji="0" lang="en-US" sz="800" b="1" i="0" u="none" strike="noStrike" kern="0" cap="none" spc="0" normalizeH="0" baseline="0" noProof="0" dirty="0">
                <a:ln>
                  <a:noFill/>
                </a:ln>
                <a:solidFill>
                  <a:srgbClr val="13294B"/>
                </a:solidFill>
                <a:effectLst/>
                <a:uLnTx/>
                <a:uFillTx/>
                <a:latin typeface="Gene Sans" panose="00000500000000000000" pitchFamily="50" charset="0"/>
                <a:cs typeface="Arial"/>
                <a:sym typeface="Arial"/>
              </a:rPr>
              <a:t>64%</a:t>
            </a:r>
            <a:endParaRPr kumimoji="0" sz="800" b="0" i="0" u="none" strike="noStrike" kern="0" cap="none" spc="0" normalizeH="0" baseline="0" noProof="0" dirty="0">
              <a:ln>
                <a:noFill/>
              </a:ln>
              <a:solidFill>
                <a:srgbClr val="13294B"/>
              </a:solidFill>
              <a:effectLst/>
              <a:uLnTx/>
              <a:uFillTx/>
              <a:latin typeface="Gene Sans" panose="00000500000000000000" pitchFamily="50" charset="0"/>
              <a:cs typeface="Arial"/>
              <a:sym typeface="Arial"/>
            </a:endParaRPr>
          </a:p>
        </p:txBody>
      </p:sp>
      <p:sp>
        <p:nvSpPr>
          <p:cNvPr id="342" name="Google Shape;1217;p17">
            <a:extLst>
              <a:ext uri="{FF2B5EF4-FFF2-40B4-BE49-F238E27FC236}">
                <a16:creationId xmlns:a16="http://schemas.microsoft.com/office/drawing/2014/main" id="{AA6FC267-CD04-4EB6-B671-C0B2A5DAAF47}"/>
              </a:ext>
            </a:extLst>
          </p:cNvPr>
          <p:cNvSpPr/>
          <p:nvPr/>
        </p:nvSpPr>
        <p:spPr>
          <a:xfrm>
            <a:off x="2466336" y="3010075"/>
            <a:ext cx="294976"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4677"/>
              </a:buClr>
              <a:buSzPts val="1200"/>
              <a:buFont typeface="Arial"/>
              <a:buNone/>
              <a:tabLst/>
              <a:defRPr/>
            </a:pPr>
            <a:r>
              <a:rPr kumimoji="0" lang="en-US" sz="800" b="1" i="0" u="none" strike="noStrike" kern="0" cap="none" spc="0" normalizeH="0" baseline="0" noProof="0" dirty="0">
                <a:ln>
                  <a:noFill/>
                </a:ln>
                <a:solidFill>
                  <a:srgbClr val="004677"/>
                </a:solidFill>
                <a:effectLst/>
                <a:uLnTx/>
                <a:uFillTx/>
                <a:latin typeface="Gene Sans" panose="00000500000000000000" pitchFamily="50" charset="0"/>
                <a:cs typeface="Arial"/>
                <a:sym typeface="Arial"/>
              </a:rPr>
              <a:t>65%</a:t>
            </a:r>
            <a:endParaRPr kumimoji="0" sz="800" b="0" i="0" u="none" strike="noStrike" kern="0" cap="none" spc="0" normalizeH="0" baseline="0" noProof="0" dirty="0">
              <a:ln>
                <a:noFill/>
              </a:ln>
              <a:solidFill>
                <a:srgbClr val="004677"/>
              </a:solidFill>
              <a:effectLst/>
              <a:uLnTx/>
              <a:uFillTx/>
              <a:latin typeface="Gene Sans" panose="00000500000000000000" pitchFamily="50" charset="0"/>
              <a:cs typeface="Arial"/>
              <a:sym typeface="Arial"/>
            </a:endParaRPr>
          </a:p>
        </p:txBody>
      </p:sp>
      <p:sp>
        <p:nvSpPr>
          <p:cNvPr id="343" name="Google Shape;1218;p17">
            <a:extLst>
              <a:ext uri="{FF2B5EF4-FFF2-40B4-BE49-F238E27FC236}">
                <a16:creationId xmlns:a16="http://schemas.microsoft.com/office/drawing/2014/main" id="{0F5B1E89-5C56-4538-B47B-A4A6CDFC437A}"/>
              </a:ext>
            </a:extLst>
          </p:cNvPr>
          <p:cNvSpPr/>
          <p:nvPr/>
        </p:nvSpPr>
        <p:spPr>
          <a:xfrm>
            <a:off x="4108037" y="3155302"/>
            <a:ext cx="209611" cy="123111"/>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4677"/>
              </a:buClr>
              <a:buSzPts val="1200"/>
              <a:buFont typeface="Arial"/>
              <a:buNone/>
              <a:tabLst/>
              <a:defRPr/>
            </a:pPr>
            <a:r>
              <a:rPr kumimoji="0" lang="en-US" sz="800" b="1" i="0" u="none" strike="noStrike" kern="0" cap="none" spc="0" normalizeH="0" baseline="0" noProof="0" dirty="0">
                <a:ln>
                  <a:noFill/>
                </a:ln>
                <a:solidFill>
                  <a:srgbClr val="004677"/>
                </a:solidFill>
                <a:effectLst/>
                <a:uLnTx/>
                <a:uFillTx/>
                <a:latin typeface="Gene Sans" panose="00000500000000000000" pitchFamily="50" charset="0"/>
                <a:cs typeface="Arial"/>
                <a:sym typeface="Arial"/>
              </a:rPr>
              <a:t>54%</a:t>
            </a:r>
            <a:endParaRPr kumimoji="0" sz="800" b="0" i="0" u="none" strike="noStrike" kern="0" cap="none" spc="0" normalizeH="0" baseline="0" noProof="0" dirty="0">
              <a:ln>
                <a:noFill/>
              </a:ln>
              <a:solidFill>
                <a:srgbClr val="004677"/>
              </a:solidFill>
              <a:effectLst/>
              <a:uLnTx/>
              <a:uFillTx/>
              <a:latin typeface="Gene Sans" panose="00000500000000000000" pitchFamily="50" charset="0"/>
              <a:cs typeface="Arial"/>
              <a:sym typeface="Arial"/>
            </a:endParaRPr>
          </a:p>
        </p:txBody>
      </p:sp>
      <p:sp>
        <p:nvSpPr>
          <p:cNvPr id="344" name="Google Shape;1219;p17">
            <a:extLst>
              <a:ext uri="{FF2B5EF4-FFF2-40B4-BE49-F238E27FC236}">
                <a16:creationId xmlns:a16="http://schemas.microsoft.com/office/drawing/2014/main" id="{8318069D-25A2-4B1B-9492-95FBBBB5B50C}"/>
              </a:ext>
            </a:extLst>
          </p:cNvPr>
          <p:cNvSpPr/>
          <p:nvPr/>
        </p:nvSpPr>
        <p:spPr>
          <a:xfrm>
            <a:off x="2465723" y="2422507"/>
            <a:ext cx="0" cy="1827223"/>
          </a:xfrm>
          <a:custGeom>
            <a:avLst/>
            <a:gdLst/>
            <a:ahLst/>
            <a:cxnLst/>
            <a:rect l="l" t="t" r="r" b="b"/>
            <a:pathLst>
              <a:path w="120000" h="2603037" extrusionOk="0">
                <a:moveTo>
                  <a:pt x="0" y="2603037"/>
                </a:moveTo>
                <a:lnTo>
                  <a:pt x="0" y="0"/>
                </a:lnTo>
              </a:path>
            </a:pathLst>
          </a:custGeom>
          <a:noFill/>
          <a:ln w="12700" cap="flat" cmpd="sng">
            <a:solidFill>
              <a:schemeClr val="lt2"/>
            </a:solidFill>
            <a:prstDash val="dash"/>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45" name="Google Shape;1220;p17">
            <a:extLst>
              <a:ext uri="{FF2B5EF4-FFF2-40B4-BE49-F238E27FC236}">
                <a16:creationId xmlns:a16="http://schemas.microsoft.com/office/drawing/2014/main" id="{7EA2CAFA-DC95-462E-98BD-462AF0684381}"/>
              </a:ext>
            </a:extLst>
          </p:cNvPr>
          <p:cNvSpPr/>
          <p:nvPr/>
        </p:nvSpPr>
        <p:spPr>
          <a:xfrm>
            <a:off x="4087772" y="2675507"/>
            <a:ext cx="31965" cy="1574222"/>
          </a:xfrm>
          <a:custGeom>
            <a:avLst/>
            <a:gdLst/>
            <a:ahLst/>
            <a:cxnLst/>
            <a:rect l="l" t="t" r="r" b="b"/>
            <a:pathLst>
              <a:path w="120000" h="2603037" extrusionOk="0">
                <a:moveTo>
                  <a:pt x="0" y="2603037"/>
                </a:moveTo>
                <a:lnTo>
                  <a:pt x="0" y="0"/>
                </a:lnTo>
              </a:path>
            </a:pathLst>
          </a:custGeom>
          <a:noFill/>
          <a:ln w="12700" cap="flat" cmpd="sng">
            <a:solidFill>
              <a:schemeClr val="lt2"/>
            </a:solidFill>
            <a:prstDash val="dash"/>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47" name="Google Shape;1237;p17">
            <a:extLst>
              <a:ext uri="{FF2B5EF4-FFF2-40B4-BE49-F238E27FC236}">
                <a16:creationId xmlns:a16="http://schemas.microsoft.com/office/drawing/2014/main" id="{C915E6DF-ED2A-4FAC-AF84-267D4E2E5E8D}"/>
              </a:ext>
            </a:extLst>
          </p:cNvPr>
          <p:cNvSpPr/>
          <p:nvPr/>
        </p:nvSpPr>
        <p:spPr>
          <a:xfrm>
            <a:off x="835284" y="2038672"/>
            <a:ext cx="4072234" cy="2209772"/>
          </a:xfrm>
          <a:custGeom>
            <a:avLst/>
            <a:gdLst/>
            <a:ahLst/>
            <a:cxnLst/>
            <a:rect l="l" t="t" r="r" b="b"/>
            <a:pathLst>
              <a:path w="3669" h="1983" extrusionOk="0">
                <a:moveTo>
                  <a:pt x="0" y="0"/>
                </a:moveTo>
                <a:lnTo>
                  <a:pt x="0" y="1983"/>
                </a:lnTo>
                <a:lnTo>
                  <a:pt x="3669" y="1983"/>
                </a:lnTo>
              </a:path>
            </a:pathLst>
          </a:custGeom>
          <a:noFill/>
          <a:ln w="12700" cap="flat" cmpd="sng">
            <a:solidFill>
              <a:schemeClr val="bg1">
                <a:lumMod val="75000"/>
              </a:schemeClr>
            </a:solidFill>
            <a:prstDash val="solid"/>
            <a:round/>
            <a:headEnd type="none" w="med" len="med"/>
            <a:tailEnd type="none" w="med" len="med"/>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cxnSp>
        <p:nvCxnSpPr>
          <p:cNvPr id="349" name="Google Shape;1406;p17">
            <a:extLst>
              <a:ext uri="{FF2B5EF4-FFF2-40B4-BE49-F238E27FC236}">
                <a16:creationId xmlns:a16="http://schemas.microsoft.com/office/drawing/2014/main" id="{B1526116-4FB0-4BAE-B138-717222154A4B}"/>
              </a:ext>
            </a:extLst>
          </p:cNvPr>
          <p:cNvCxnSpPr>
            <a:cxnSpLocks/>
          </p:cNvCxnSpPr>
          <p:nvPr/>
        </p:nvCxnSpPr>
        <p:spPr>
          <a:xfrm>
            <a:off x="906395" y="3588421"/>
            <a:ext cx="157675" cy="0"/>
          </a:xfrm>
          <a:prstGeom prst="straightConnector1">
            <a:avLst/>
          </a:prstGeom>
          <a:noFill/>
          <a:ln w="25400" cap="rnd" cmpd="sng">
            <a:solidFill>
              <a:schemeClr val="accent1"/>
            </a:solidFill>
            <a:prstDash val="solid"/>
            <a:round/>
            <a:headEnd type="none" w="sm" len="sm"/>
            <a:tailEnd type="none" w="sm" len="sm"/>
          </a:ln>
        </p:spPr>
      </p:cxnSp>
      <p:cxnSp>
        <p:nvCxnSpPr>
          <p:cNvPr id="350" name="Google Shape;1407;p17">
            <a:extLst>
              <a:ext uri="{FF2B5EF4-FFF2-40B4-BE49-F238E27FC236}">
                <a16:creationId xmlns:a16="http://schemas.microsoft.com/office/drawing/2014/main" id="{8A9AB14E-36FC-4EDC-B75E-D70ED7488F6A}"/>
              </a:ext>
            </a:extLst>
          </p:cNvPr>
          <p:cNvCxnSpPr/>
          <p:nvPr/>
        </p:nvCxnSpPr>
        <p:spPr>
          <a:xfrm>
            <a:off x="906395" y="3762707"/>
            <a:ext cx="157675" cy="0"/>
          </a:xfrm>
          <a:prstGeom prst="straightConnector1">
            <a:avLst/>
          </a:prstGeom>
          <a:noFill/>
          <a:ln w="25400" cap="rnd" cmpd="sng">
            <a:solidFill>
              <a:schemeClr val="dk2"/>
            </a:solidFill>
            <a:prstDash val="solid"/>
            <a:round/>
            <a:headEnd type="none" w="sm" len="sm"/>
            <a:tailEnd type="none" w="sm" len="sm"/>
          </a:ln>
        </p:spPr>
      </p:cxnSp>
      <p:cxnSp>
        <p:nvCxnSpPr>
          <p:cNvPr id="351" name="Google Shape;1408;p17">
            <a:extLst>
              <a:ext uri="{FF2B5EF4-FFF2-40B4-BE49-F238E27FC236}">
                <a16:creationId xmlns:a16="http://schemas.microsoft.com/office/drawing/2014/main" id="{0E6F7EA6-94A6-4329-A092-16BD334FE86F}"/>
              </a:ext>
            </a:extLst>
          </p:cNvPr>
          <p:cNvCxnSpPr>
            <a:cxnSpLocks/>
          </p:cNvCxnSpPr>
          <p:nvPr/>
        </p:nvCxnSpPr>
        <p:spPr>
          <a:xfrm>
            <a:off x="906395" y="3936990"/>
            <a:ext cx="157675" cy="0"/>
          </a:xfrm>
          <a:prstGeom prst="straightConnector1">
            <a:avLst/>
          </a:prstGeom>
          <a:noFill/>
          <a:ln w="25400" cap="rnd" cmpd="sng">
            <a:solidFill>
              <a:schemeClr val="accent2"/>
            </a:solidFill>
            <a:prstDash val="solid"/>
            <a:round/>
            <a:headEnd type="none" w="sm" len="sm"/>
            <a:tailEnd type="none" w="sm" len="sm"/>
          </a:ln>
        </p:spPr>
      </p:cxnSp>
      <p:sp>
        <p:nvSpPr>
          <p:cNvPr id="352" name="Google Shape;1412;p17">
            <a:extLst>
              <a:ext uri="{FF2B5EF4-FFF2-40B4-BE49-F238E27FC236}">
                <a16:creationId xmlns:a16="http://schemas.microsoft.com/office/drawing/2014/main" id="{2224892C-8C95-47E4-B2DA-0F5461DBF9DE}"/>
              </a:ext>
            </a:extLst>
          </p:cNvPr>
          <p:cNvSpPr txBox="1"/>
          <p:nvPr/>
        </p:nvSpPr>
        <p:spPr>
          <a:xfrm>
            <a:off x="1130780" y="3530761"/>
            <a:ext cx="2088768" cy="11532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All Randomized anti–PD-1 + anti–CTLA-4</a:t>
            </a:r>
          </a:p>
        </p:txBody>
      </p:sp>
      <p:sp>
        <p:nvSpPr>
          <p:cNvPr id="353" name="Google Shape;1413;p17">
            <a:extLst>
              <a:ext uri="{FF2B5EF4-FFF2-40B4-BE49-F238E27FC236}">
                <a16:creationId xmlns:a16="http://schemas.microsoft.com/office/drawing/2014/main" id="{5026FC34-FBDE-4ACF-918E-34DD496C52F1}"/>
              </a:ext>
            </a:extLst>
          </p:cNvPr>
          <p:cNvSpPr txBox="1"/>
          <p:nvPr/>
        </p:nvSpPr>
        <p:spPr>
          <a:xfrm>
            <a:off x="1130780" y="3705046"/>
            <a:ext cx="2278188" cy="11532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Discontinued due to AEs anti–PD-1 + anti–CTLA-4</a:t>
            </a:r>
          </a:p>
        </p:txBody>
      </p:sp>
      <p:sp>
        <p:nvSpPr>
          <p:cNvPr id="354" name="Google Shape;1414;p17">
            <a:extLst>
              <a:ext uri="{FF2B5EF4-FFF2-40B4-BE49-F238E27FC236}">
                <a16:creationId xmlns:a16="http://schemas.microsoft.com/office/drawing/2014/main" id="{94BE30BD-F3F8-4525-BD0B-994B11FBD948}"/>
              </a:ext>
            </a:extLst>
          </p:cNvPr>
          <p:cNvSpPr txBox="1"/>
          <p:nvPr/>
        </p:nvSpPr>
        <p:spPr>
          <a:xfrm>
            <a:off x="1130779" y="3879331"/>
            <a:ext cx="1325845" cy="115320"/>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All Randomized anti–CTLA-4</a:t>
            </a:r>
          </a:p>
        </p:txBody>
      </p:sp>
      <p:sp>
        <p:nvSpPr>
          <p:cNvPr id="355" name="Google Shape;1146;p17">
            <a:extLst>
              <a:ext uri="{FF2B5EF4-FFF2-40B4-BE49-F238E27FC236}">
                <a16:creationId xmlns:a16="http://schemas.microsoft.com/office/drawing/2014/main" id="{92234A35-EBAC-4A45-8E26-6E05D966AFD2}"/>
              </a:ext>
            </a:extLst>
          </p:cNvPr>
          <p:cNvSpPr/>
          <p:nvPr/>
        </p:nvSpPr>
        <p:spPr>
          <a:xfrm>
            <a:off x="959754" y="3911767"/>
            <a:ext cx="50956" cy="50447"/>
          </a:xfrm>
          <a:prstGeom prst="ellipse">
            <a:avLst/>
          </a:prstGeom>
          <a:noFill/>
          <a:ln w="12700" cap="flat"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56" name="Google Shape;1146;p17">
            <a:extLst>
              <a:ext uri="{FF2B5EF4-FFF2-40B4-BE49-F238E27FC236}">
                <a16:creationId xmlns:a16="http://schemas.microsoft.com/office/drawing/2014/main" id="{584334EE-B36C-4058-9460-45CBF20363BF}"/>
              </a:ext>
            </a:extLst>
          </p:cNvPr>
          <p:cNvSpPr/>
          <p:nvPr/>
        </p:nvSpPr>
        <p:spPr>
          <a:xfrm>
            <a:off x="959754" y="3737483"/>
            <a:ext cx="50956" cy="50447"/>
          </a:xfrm>
          <a:prstGeom prst="ellipse">
            <a:avLst/>
          </a:prstGeom>
          <a:noFill/>
          <a:ln w="12700" cap="flat" cmpd="sng">
            <a:solidFill>
              <a:srgbClr val="D0D3D4"/>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59" name="Google Shape;1146;p17">
            <a:extLst>
              <a:ext uri="{FF2B5EF4-FFF2-40B4-BE49-F238E27FC236}">
                <a16:creationId xmlns:a16="http://schemas.microsoft.com/office/drawing/2014/main" id="{C2E3AA9E-9A44-4B0A-B4AC-F8781421BEA6}"/>
              </a:ext>
            </a:extLst>
          </p:cNvPr>
          <p:cNvSpPr/>
          <p:nvPr/>
        </p:nvSpPr>
        <p:spPr>
          <a:xfrm>
            <a:off x="959754" y="3563198"/>
            <a:ext cx="50956" cy="50447"/>
          </a:xfrm>
          <a:prstGeom prst="ellipse">
            <a:avLst/>
          </a:prstGeom>
          <a:noFill/>
          <a:ln w="12700"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361" name="Rectangle 360">
            <a:extLst>
              <a:ext uri="{FF2B5EF4-FFF2-40B4-BE49-F238E27FC236}">
                <a16:creationId xmlns:a16="http://schemas.microsoft.com/office/drawing/2014/main" id="{A6E7B79E-BD93-4EAE-BCBB-2D44A79C6E0C}"/>
              </a:ext>
            </a:extLst>
          </p:cNvPr>
          <p:cNvSpPr/>
          <p:nvPr/>
        </p:nvSpPr>
        <p:spPr>
          <a:xfrm>
            <a:off x="381001" y="1302526"/>
            <a:ext cx="4526518" cy="2858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1000" b="1" i="0" u="none" strike="noStrike" kern="0" cap="none" spc="0" normalizeH="0" baseline="0" noProof="0" dirty="0">
                <a:ln>
                  <a:noFill/>
                </a:ln>
                <a:solidFill>
                  <a:srgbClr val="FFFFFF"/>
                </a:solidFill>
                <a:effectLst/>
                <a:uLnTx/>
                <a:uFillTx/>
                <a:latin typeface="Gene Sans" panose="00000500000000000000" pitchFamily="50" charset="0"/>
                <a:ea typeface="Arial"/>
                <a:cs typeface="Arial"/>
                <a:sym typeface="Arial"/>
              </a:rPr>
              <a:t>Anti–PD-1 + anti–CTLA-4 in melanoma</a:t>
            </a:r>
            <a:r>
              <a:rPr kumimoji="0" lang="it-IT" sz="1000" b="1" i="0" u="none" strike="noStrike" kern="0" cap="none" spc="0" normalizeH="0" baseline="30000" noProof="0" dirty="0">
                <a:ln>
                  <a:noFill/>
                </a:ln>
                <a:solidFill>
                  <a:srgbClr val="FFFFFF"/>
                </a:solidFill>
                <a:effectLst/>
                <a:uLnTx/>
                <a:uFillTx/>
                <a:latin typeface="Gene Sans" panose="00000500000000000000" pitchFamily="50" charset="0"/>
                <a:ea typeface="Arial"/>
                <a:cs typeface="Arial"/>
                <a:sym typeface="Arial"/>
              </a:rPr>
              <a:t>1</a:t>
            </a:r>
            <a:endParaRPr kumimoji="0" lang="en-US" sz="1000" b="0" i="0" u="none" strike="noStrike" kern="0" cap="none" spc="0" normalizeH="0" baseline="0" noProof="0" dirty="0">
              <a:ln>
                <a:noFill/>
              </a:ln>
              <a:solidFill>
                <a:srgbClr val="FFFFFF"/>
              </a:solidFill>
              <a:effectLst/>
              <a:uLnTx/>
              <a:uFillTx/>
              <a:latin typeface="Gene Sans" panose="00000500000000000000" pitchFamily="50" charset="0"/>
              <a:ea typeface="+mn-ea"/>
              <a:cs typeface="+mn-cs"/>
              <a:sym typeface="Arial"/>
            </a:endParaRPr>
          </a:p>
        </p:txBody>
      </p:sp>
      <p:sp>
        <p:nvSpPr>
          <p:cNvPr id="362" name="Rectangle 361">
            <a:extLst>
              <a:ext uri="{FF2B5EF4-FFF2-40B4-BE49-F238E27FC236}">
                <a16:creationId xmlns:a16="http://schemas.microsoft.com/office/drawing/2014/main" id="{D7F5D35B-EC2A-40DD-BA08-A96B3F4D03FE}"/>
              </a:ext>
            </a:extLst>
          </p:cNvPr>
          <p:cNvSpPr/>
          <p:nvPr/>
        </p:nvSpPr>
        <p:spPr>
          <a:xfrm>
            <a:off x="5067110" y="1302526"/>
            <a:ext cx="3695237" cy="2858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a:ln>
                  <a:noFill/>
                </a:ln>
                <a:solidFill>
                  <a:srgbClr val="FFFFFF"/>
                </a:solidFill>
                <a:effectLst/>
                <a:uLnTx/>
                <a:uFillTx/>
                <a:latin typeface="Gene Sans" panose="00000500000000000000" pitchFamily="50" charset="0"/>
                <a:ea typeface="Arial"/>
                <a:cs typeface="Arial"/>
                <a:sym typeface="Arial"/>
              </a:rPr>
              <a:t>Anti–PD-1 in melanoma</a:t>
            </a:r>
            <a:r>
              <a:rPr kumimoji="0" lang="en-US" sz="1000" b="1" i="0" u="none" strike="noStrike" kern="0" cap="none" spc="0" normalizeH="0" baseline="30000" noProof="0" dirty="0">
                <a:ln>
                  <a:noFill/>
                </a:ln>
                <a:solidFill>
                  <a:srgbClr val="FFFFFF"/>
                </a:solidFill>
                <a:effectLst/>
                <a:uLnTx/>
                <a:uFillTx/>
                <a:latin typeface="Gene Sans" panose="00000500000000000000" pitchFamily="50" charset="0"/>
                <a:ea typeface="Arial"/>
                <a:cs typeface="Arial"/>
                <a:sym typeface="Arial"/>
              </a:rPr>
              <a:t>2</a:t>
            </a:r>
            <a:endParaRPr kumimoji="0" lang="en-US" sz="1000" b="0" i="0" u="none" strike="noStrike" kern="0" cap="none" spc="0" normalizeH="0" baseline="0" noProof="0" dirty="0">
              <a:ln>
                <a:noFill/>
              </a:ln>
              <a:solidFill>
                <a:srgbClr val="FFFFFF"/>
              </a:solidFill>
              <a:effectLst/>
              <a:uLnTx/>
              <a:uFillTx/>
              <a:latin typeface="Gene Sans" panose="00000500000000000000" pitchFamily="50" charset="0"/>
              <a:ea typeface="+mn-ea"/>
              <a:cs typeface="+mn-cs"/>
              <a:sym typeface="Arial"/>
            </a:endParaRPr>
          </a:p>
        </p:txBody>
      </p:sp>
      <p:sp>
        <p:nvSpPr>
          <p:cNvPr id="363" name="TextBox 362">
            <a:extLst>
              <a:ext uri="{FF2B5EF4-FFF2-40B4-BE49-F238E27FC236}">
                <a16:creationId xmlns:a16="http://schemas.microsoft.com/office/drawing/2014/main" id="{277C7271-29EB-4191-AA56-257A9907595A}"/>
              </a:ext>
            </a:extLst>
          </p:cNvPr>
          <p:cNvSpPr txBox="1"/>
          <p:nvPr/>
        </p:nvSpPr>
        <p:spPr>
          <a:xfrm>
            <a:off x="5067109" y="1624310"/>
            <a:ext cx="3695238" cy="30777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
                <a:srgbClr val="545859"/>
              </a:buClr>
              <a:buSzPts val="1400"/>
              <a:buFont typeface="Arial"/>
              <a:buNone/>
              <a:tabLst/>
              <a:defRPr/>
            </a:pPr>
            <a:r>
              <a:rPr kumimoji="0" lang="sv-SE"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OS: # of irAEs</a:t>
            </a:r>
            <a:br>
              <a:rPr kumimoji="0" lang="sv-SE"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br>
            <a:r>
              <a:rPr kumimoji="0" lang="sv-SE"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Log rank </a:t>
            </a:r>
            <a:r>
              <a:rPr kumimoji="0" lang="sv-SE" sz="1000" b="0" i="1"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P</a:t>
            </a:r>
            <a:r>
              <a:rPr kumimoji="0" lang="sv-SE"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 &lt; 0.001)</a:t>
            </a:r>
          </a:p>
        </p:txBody>
      </p:sp>
      <p:sp>
        <p:nvSpPr>
          <p:cNvPr id="365" name="Google Shape;1412;p17">
            <a:extLst>
              <a:ext uri="{FF2B5EF4-FFF2-40B4-BE49-F238E27FC236}">
                <a16:creationId xmlns:a16="http://schemas.microsoft.com/office/drawing/2014/main" id="{C9BE4637-E161-4E15-BA60-8A36C5DF5A65}"/>
              </a:ext>
            </a:extLst>
          </p:cNvPr>
          <p:cNvSpPr txBox="1"/>
          <p:nvPr/>
        </p:nvSpPr>
        <p:spPr>
          <a:xfrm>
            <a:off x="3742907" y="3526866"/>
            <a:ext cx="133050" cy="123111"/>
          </a:xfrm>
          <a:prstGeom prst="rect">
            <a:avLst/>
          </a:prstGeom>
          <a:noFill/>
          <a:ln>
            <a:noFill/>
          </a:ln>
        </p:spPr>
        <p:txBody>
          <a:bodyPr spcFirstLastPara="1"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NR</a:t>
            </a:r>
          </a:p>
        </p:txBody>
      </p:sp>
      <p:sp>
        <p:nvSpPr>
          <p:cNvPr id="366" name="Google Shape;1413;p17">
            <a:extLst>
              <a:ext uri="{FF2B5EF4-FFF2-40B4-BE49-F238E27FC236}">
                <a16:creationId xmlns:a16="http://schemas.microsoft.com/office/drawing/2014/main" id="{79B87C3E-A809-4E1B-920B-37569EDD26B4}"/>
              </a:ext>
            </a:extLst>
          </p:cNvPr>
          <p:cNvSpPr txBox="1"/>
          <p:nvPr/>
        </p:nvSpPr>
        <p:spPr>
          <a:xfrm>
            <a:off x="3742907" y="3701151"/>
            <a:ext cx="133050" cy="123111"/>
          </a:xfrm>
          <a:prstGeom prst="rect">
            <a:avLst/>
          </a:prstGeom>
          <a:noFill/>
          <a:ln>
            <a:noFill/>
          </a:ln>
        </p:spPr>
        <p:txBody>
          <a:bodyPr spcFirstLastPara="1"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NR</a:t>
            </a:r>
          </a:p>
        </p:txBody>
      </p:sp>
      <p:sp>
        <p:nvSpPr>
          <p:cNvPr id="367" name="Google Shape;1414;p17">
            <a:extLst>
              <a:ext uri="{FF2B5EF4-FFF2-40B4-BE49-F238E27FC236}">
                <a16:creationId xmlns:a16="http://schemas.microsoft.com/office/drawing/2014/main" id="{DAFEEDF8-C0F4-45DF-B274-BB170BD11F63}"/>
              </a:ext>
            </a:extLst>
          </p:cNvPr>
          <p:cNvSpPr txBox="1"/>
          <p:nvPr/>
        </p:nvSpPr>
        <p:spPr>
          <a:xfrm>
            <a:off x="3507266" y="3875436"/>
            <a:ext cx="604333" cy="123111"/>
          </a:xfrm>
          <a:prstGeom prst="rect">
            <a:avLst/>
          </a:prstGeom>
          <a:noFill/>
          <a:ln>
            <a:noFill/>
          </a:ln>
        </p:spPr>
        <p:txBody>
          <a:bodyPr spcFirstLastPara="1"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NR (11.9-NR)</a:t>
            </a:r>
          </a:p>
        </p:txBody>
      </p:sp>
      <p:sp>
        <p:nvSpPr>
          <p:cNvPr id="368" name="Google Shape;1412;p17">
            <a:extLst>
              <a:ext uri="{FF2B5EF4-FFF2-40B4-BE49-F238E27FC236}">
                <a16:creationId xmlns:a16="http://schemas.microsoft.com/office/drawing/2014/main" id="{F76BADFE-8D90-495A-9EE1-7D578D7BCD4A}"/>
              </a:ext>
            </a:extLst>
          </p:cNvPr>
          <p:cNvSpPr txBox="1"/>
          <p:nvPr/>
        </p:nvSpPr>
        <p:spPr>
          <a:xfrm>
            <a:off x="3355782" y="3347343"/>
            <a:ext cx="907301" cy="123111"/>
          </a:xfrm>
          <a:prstGeom prst="rect">
            <a:avLst/>
          </a:prstGeom>
          <a:noFill/>
          <a:ln>
            <a:noFill/>
          </a:ln>
        </p:spPr>
        <p:txBody>
          <a:bodyPr spcFirstLastPara="1" wrap="non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1"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Median and 95% CI </a:t>
            </a:r>
          </a:p>
        </p:txBody>
      </p:sp>
    </p:spTree>
    <p:extLst>
      <p:ext uri="{BB962C8B-B14F-4D97-AF65-F5344CB8AC3E}">
        <p14:creationId xmlns:p14="http://schemas.microsoft.com/office/powerpoint/2010/main" val="791248315"/>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rgeting the Immune System in Cancer</a:t>
            </a:r>
            <a:endParaRPr lang="en-US" noProof="0" dirty="0"/>
          </a:p>
        </p:txBody>
      </p:sp>
      <p:sp>
        <p:nvSpPr>
          <p:cNvPr id="3" name="Text Placeholder 2">
            <a:extLst>
              <a:ext uri="{FF2B5EF4-FFF2-40B4-BE49-F238E27FC236}">
                <a16:creationId xmlns:a16="http://schemas.microsoft.com/office/drawing/2014/main" id="{21FE5B27-2808-4DEF-94EC-1E2BA77CD62C}"/>
              </a:ext>
            </a:extLst>
          </p:cNvPr>
          <p:cNvSpPr>
            <a:spLocks noGrp="1"/>
          </p:cNvSpPr>
          <p:nvPr>
            <p:ph type="body" idx="1"/>
          </p:nvPr>
        </p:nvSpPr>
        <p:spPr/>
        <p:txBody>
          <a:bodyPr/>
          <a:lstStyle/>
          <a:p>
            <a:endParaRPr lang="en-IN"/>
          </a:p>
        </p:txBody>
      </p:sp>
      <p:grpSp>
        <p:nvGrpSpPr>
          <p:cNvPr id="4" name="Google Shape;342;p4">
            <a:extLst>
              <a:ext uri="{FF2B5EF4-FFF2-40B4-BE49-F238E27FC236}">
                <a16:creationId xmlns:a16="http://schemas.microsoft.com/office/drawing/2014/main" id="{612209DA-32FA-4C0C-B9F5-A2CAEB94DA73}"/>
              </a:ext>
            </a:extLst>
          </p:cNvPr>
          <p:cNvGrpSpPr/>
          <p:nvPr/>
        </p:nvGrpSpPr>
        <p:grpSpPr>
          <a:xfrm>
            <a:off x="8849668" y="55416"/>
            <a:ext cx="238916" cy="228628"/>
            <a:chOff x="11619274" y="118751"/>
            <a:chExt cx="432689" cy="414056"/>
          </a:xfrm>
        </p:grpSpPr>
        <p:sp>
          <p:nvSpPr>
            <p:cNvPr id="5" name="Google Shape;343;p4">
              <a:hlinkClick r:id="rId3" action="ppaction://hlinksldjump"/>
              <a:extLst>
                <a:ext uri="{FF2B5EF4-FFF2-40B4-BE49-F238E27FC236}">
                  <a16:creationId xmlns:a16="http://schemas.microsoft.com/office/drawing/2014/main" id="{7F6710A4-5D1A-4651-B4BE-56B648A3F644}"/>
                </a:ext>
              </a:extLst>
            </p:cNvPr>
            <p:cNvSpPr/>
            <p:nvPr/>
          </p:nvSpPr>
          <p:spPr>
            <a:xfrm>
              <a:off x="11619274" y="118751"/>
              <a:ext cx="432689" cy="414056"/>
            </a:xfrm>
            <a:prstGeom prst="roundRect">
              <a:avLst>
                <a:gd name="adj" fmla="val 16667"/>
              </a:avLst>
            </a:prstGeom>
            <a:solidFill>
              <a:schemeClr val="accent2"/>
            </a:solidFill>
            <a:ln>
              <a:noFill/>
            </a:ln>
          </p:spPr>
          <p:txBody>
            <a:bodyPr spcFirstLastPara="1" wrap="square" lIns="68550" tIns="34275" rIns="68550" bIns="34275" anchor="ctr" anchorCtr="0">
              <a:noAutofit/>
            </a:bodyPr>
            <a:lstStyle/>
            <a:p>
              <a:pPr algn="ctr" defTabSz="914378">
                <a:buClr>
                  <a:srgbClr val="000000"/>
                </a:buClr>
              </a:pPr>
              <a:endParaRPr lang="en-US" sz="825" kern="0" dirty="0">
                <a:solidFill>
                  <a:srgbClr val="FFFFFF"/>
                </a:solidFill>
                <a:latin typeface="Arial"/>
                <a:ea typeface="Arial"/>
                <a:cs typeface="Arial"/>
                <a:sym typeface="Arial"/>
              </a:endParaRPr>
            </a:p>
          </p:txBody>
        </p:sp>
        <p:pic>
          <p:nvPicPr>
            <p:cNvPr id="6" name="Google Shape;344;p4">
              <a:hlinkClick r:id="rId3" action="ppaction://hlinksldjump"/>
              <a:extLst>
                <a:ext uri="{FF2B5EF4-FFF2-40B4-BE49-F238E27FC236}">
                  <a16:creationId xmlns:a16="http://schemas.microsoft.com/office/drawing/2014/main" id="{B8893D08-08C8-413E-8F53-7D0EC9902136}"/>
                </a:ext>
              </a:extLst>
            </p:cNvPr>
            <p:cNvPicPr preferRelativeResize="0"/>
            <p:nvPr/>
          </p:nvPicPr>
          <p:blipFill rotWithShape="1">
            <a:blip r:embed="rId4">
              <a:alphaModFix/>
            </a:blip>
            <a:srcRect/>
            <a:stretch/>
          </p:blipFill>
          <p:spPr>
            <a:xfrm>
              <a:off x="11681971" y="162551"/>
              <a:ext cx="307293" cy="307293"/>
            </a:xfrm>
            <a:prstGeom prst="rect">
              <a:avLst/>
            </a:prstGeom>
            <a:noFill/>
            <a:ln>
              <a:noFill/>
            </a:ln>
          </p:spPr>
        </p:pic>
      </p:grpSp>
    </p:spTree>
    <p:extLst>
      <p:ext uri="{BB962C8B-B14F-4D97-AF65-F5344CB8AC3E}">
        <p14:creationId xmlns:p14="http://schemas.microsoft.com/office/powerpoint/2010/main" val="2403046888"/>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C95D54E-9E33-44AB-9D5D-7A4703CE0CDE}"/>
              </a:ext>
            </a:extLst>
          </p:cNvPr>
          <p:cNvSpPr>
            <a:spLocks noGrp="1"/>
          </p:cNvSpPr>
          <p:nvPr>
            <p:ph type="body" idx="1"/>
          </p:nvPr>
        </p:nvSpPr>
        <p:spPr/>
        <p:txBody>
          <a:bodyPr/>
          <a:lstStyle/>
          <a:p>
            <a:endParaRPr lang="en-US"/>
          </a:p>
        </p:txBody>
      </p:sp>
      <p:sp>
        <p:nvSpPr>
          <p:cNvPr id="3" name="Text Placeholder 2">
            <a:extLst>
              <a:ext uri="{FF2B5EF4-FFF2-40B4-BE49-F238E27FC236}">
                <a16:creationId xmlns:a16="http://schemas.microsoft.com/office/drawing/2014/main" id="{04F67E10-3325-41B5-B0E4-369B28ADE24E}"/>
              </a:ext>
            </a:extLst>
          </p:cNvPr>
          <p:cNvSpPr>
            <a:spLocks noGrp="1"/>
          </p:cNvSpPr>
          <p:nvPr>
            <p:ph type="body" idx="2"/>
          </p:nvPr>
        </p:nvSpPr>
        <p:spPr>
          <a:xfrm>
            <a:off x="381648" y="4745251"/>
            <a:ext cx="8385048" cy="124298"/>
          </a:xfrm>
        </p:spPr>
        <p:txBody>
          <a:bodyPr anchor="ctr"/>
          <a:lstStyle/>
          <a:p>
            <a:pPr marL="0" lvl="0" algn="l" rtl="0">
              <a:spcAft>
                <a:spcPts val="0"/>
              </a:spcAft>
              <a:buClr>
                <a:schemeClr val="dk1"/>
              </a:buClr>
              <a:buSzPts val="800"/>
              <a:buNone/>
            </a:pPr>
            <a:r>
              <a:rPr lang="en-US" dirty="0"/>
              <a:t>1. Maher VE, et al. </a:t>
            </a:r>
            <a:r>
              <a:rPr lang="en-US" i="1" dirty="0"/>
              <a:t>J Clin Oncol. </a:t>
            </a:r>
            <a:r>
              <a:rPr lang="en-US" dirty="0"/>
              <a:t>2019. doi: 10.1200/JCO.19.00318. [</a:t>
            </a:r>
            <a:r>
              <a:rPr lang="en-US" dirty="0" err="1"/>
              <a:t>Epub</a:t>
            </a:r>
            <a:r>
              <a:rPr lang="en-US" dirty="0"/>
              <a:t> ahead of print].</a:t>
            </a:r>
          </a:p>
        </p:txBody>
      </p:sp>
      <p:sp>
        <p:nvSpPr>
          <p:cNvPr id="5" name="Title 4">
            <a:extLst>
              <a:ext uri="{FF2B5EF4-FFF2-40B4-BE49-F238E27FC236}">
                <a16:creationId xmlns:a16="http://schemas.microsoft.com/office/drawing/2014/main" id="{F01D18BE-0443-4628-94BF-FCFDC3C196C3}"/>
              </a:ext>
            </a:extLst>
          </p:cNvPr>
          <p:cNvSpPr>
            <a:spLocks noGrp="1"/>
          </p:cNvSpPr>
          <p:nvPr>
            <p:ph type="title"/>
          </p:nvPr>
        </p:nvSpPr>
        <p:spPr/>
        <p:txBody>
          <a:bodyPr/>
          <a:lstStyle/>
          <a:p>
            <a:r>
              <a:rPr lang="en-US" dirty="0"/>
              <a:t>Association Between </a:t>
            </a:r>
            <a:r>
              <a:rPr lang="en-US" dirty="0" err="1"/>
              <a:t>irAEs</a:t>
            </a:r>
            <a:r>
              <a:rPr lang="en-US" dirty="0"/>
              <a:t> and Outcomes</a:t>
            </a:r>
          </a:p>
        </p:txBody>
      </p:sp>
      <p:sp>
        <p:nvSpPr>
          <p:cNvPr id="6" name="Google Shape;122;p3">
            <a:extLst>
              <a:ext uri="{FF2B5EF4-FFF2-40B4-BE49-F238E27FC236}">
                <a16:creationId xmlns:a16="http://schemas.microsoft.com/office/drawing/2014/main" id="{E471B720-21C1-4494-8635-9FEBD8B63980}"/>
              </a:ext>
            </a:extLst>
          </p:cNvPr>
          <p:cNvSpPr txBox="1">
            <a:spLocks/>
          </p:cNvSpPr>
          <p:nvPr/>
        </p:nvSpPr>
        <p:spPr>
          <a:xfrm>
            <a:off x="381000" y="94526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
        <p:nvSpPr>
          <p:cNvPr id="348" name="TextBox 347">
            <a:extLst>
              <a:ext uri="{FF2B5EF4-FFF2-40B4-BE49-F238E27FC236}">
                <a16:creationId xmlns:a16="http://schemas.microsoft.com/office/drawing/2014/main" id="{D0803DFC-51F5-4113-8DCB-3A70796E6F95}"/>
              </a:ext>
            </a:extLst>
          </p:cNvPr>
          <p:cNvSpPr txBox="1"/>
          <p:nvPr/>
        </p:nvSpPr>
        <p:spPr>
          <a:xfrm>
            <a:off x="380998" y="1302525"/>
            <a:ext cx="8381351" cy="276999"/>
          </a:xfrm>
          <a:prstGeom prst="rect">
            <a:avLst/>
          </a:prstGeom>
          <a:solidFill>
            <a:schemeClr val="accent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Gene Sans" panose="00000500000000000000" pitchFamily="50" charset="0"/>
                <a:cs typeface="Arial"/>
                <a:sym typeface="Arial"/>
              </a:rPr>
              <a:t>Anti–PD-1/PD-L1 therapy in urothelial cancer (7 trials, n = 1747)</a:t>
            </a:r>
            <a:r>
              <a:rPr kumimoji="0" lang="en-US" sz="1200" b="1" i="0" u="none" strike="noStrike" kern="0" cap="none" spc="0" normalizeH="0" baseline="30000" noProof="0" dirty="0">
                <a:ln>
                  <a:noFill/>
                </a:ln>
                <a:solidFill>
                  <a:srgbClr val="FFFFFF"/>
                </a:solidFill>
                <a:effectLst/>
                <a:uLnTx/>
                <a:uFillTx/>
                <a:latin typeface="Gene Sans" panose="00000500000000000000" pitchFamily="50" charset="0"/>
                <a:cs typeface="Arial"/>
                <a:sym typeface="Arial"/>
              </a:rPr>
              <a:t>1</a:t>
            </a:r>
            <a:r>
              <a:rPr kumimoji="0" lang="en-US" sz="1200" b="0" i="0" u="none" strike="noStrike" kern="0" cap="none" spc="0" normalizeH="0" baseline="0" noProof="0" dirty="0">
                <a:ln>
                  <a:noFill/>
                </a:ln>
                <a:solidFill>
                  <a:srgbClr val="FFFFFF"/>
                </a:solidFill>
                <a:effectLst/>
                <a:uLnTx/>
                <a:uFillTx/>
                <a:latin typeface="Gene Sans" panose="00000500000000000000" pitchFamily="50" charset="0"/>
                <a:cs typeface="Arial"/>
                <a:sym typeface="Arial"/>
              </a:rPr>
              <a:t> </a:t>
            </a:r>
          </a:p>
        </p:txBody>
      </p:sp>
      <p:sp>
        <p:nvSpPr>
          <p:cNvPr id="373" name="Google Shape;1434;p18">
            <a:extLst>
              <a:ext uri="{FF2B5EF4-FFF2-40B4-BE49-F238E27FC236}">
                <a16:creationId xmlns:a16="http://schemas.microsoft.com/office/drawing/2014/main" id="{B1357B00-E179-43D1-ABBD-BE4AFDF8990E}"/>
              </a:ext>
            </a:extLst>
          </p:cNvPr>
          <p:cNvSpPr txBox="1"/>
          <p:nvPr/>
        </p:nvSpPr>
        <p:spPr>
          <a:xfrm rot="16200000">
            <a:off x="-422214" y="2558027"/>
            <a:ext cx="1791092" cy="153888"/>
          </a:xfrm>
          <a:prstGeom prst="rect">
            <a:avLst/>
          </a:prstGeom>
          <a:noFill/>
          <a:ln>
            <a:noFill/>
          </a:ln>
        </p:spPr>
        <p:txBody>
          <a:bodyPr spcFirstLastPara="1" wrap="squar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a:ln>
                  <a:noFill/>
                </a:ln>
                <a:solidFill>
                  <a:srgbClr val="004677"/>
                </a:solidFill>
                <a:effectLst/>
                <a:uLnTx/>
                <a:uFillTx/>
                <a:latin typeface="Gene Sans" panose="00000500000000000000" pitchFamily="50" charset="0"/>
                <a:cs typeface="Arial"/>
                <a:sym typeface="Arial"/>
              </a:rPr>
              <a:t>Overall Survival (probability)</a:t>
            </a:r>
            <a:endParaRPr kumimoji="0" sz="1000" b="0" i="0" u="none" strike="noStrike" kern="0" cap="none" spc="0" normalizeH="0" baseline="0" noProof="0" dirty="0">
              <a:ln>
                <a:noFill/>
              </a:ln>
              <a:solidFill>
                <a:srgbClr val="004677"/>
              </a:solidFill>
              <a:effectLst/>
              <a:uLnTx/>
              <a:uFillTx/>
              <a:latin typeface="Gene Sans" panose="00000500000000000000" pitchFamily="50" charset="0"/>
              <a:cs typeface="Arial"/>
              <a:sym typeface="Arial"/>
            </a:endParaRPr>
          </a:p>
        </p:txBody>
      </p:sp>
      <p:grpSp>
        <p:nvGrpSpPr>
          <p:cNvPr id="10" name="Group 9">
            <a:extLst>
              <a:ext uri="{FF2B5EF4-FFF2-40B4-BE49-F238E27FC236}">
                <a16:creationId xmlns:a16="http://schemas.microsoft.com/office/drawing/2014/main" id="{157AF418-B7B9-4860-83C8-31298612841F}"/>
              </a:ext>
            </a:extLst>
          </p:cNvPr>
          <p:cNvGrpSpPr/>
          <p:nvPr/>
        </p:nvGrpSpPr>
        <p:grpSpPr>
          <a:xfrm>
            <a:off x="593981" y="1658747"/>
            <a:ext cx="8168370" cy="2110043"/>
            <a:chOff x="863600" y="1658747"/>
            <a:chExt cx="7898751" cy="2110043"/>
          </a:xfrm>
        </p:grpSpPr>
        <p:sp>
          <p:nvSpPr>
            <p:cNvPr id="358" name="Google Shape;1427;p18">
              <a:extLst>
                <a:ext uri="{FF2B5EF4-FFF2-40B4-BE49-F238E27FC236}">
                  <a16:creationId xmlns:a16="http://schemas.microsoft.com/office/drawing/2014/main" id="{E4C01206-2CE8-47B7-AAA3-AD7932AEAEC4}"/>
                </a:ext>
              </a:extLst>
            </p:cNvPr>
            <p:cNvSpPr txBox="1"/>
            <p:nvPr/>
          </p:nvSpPr>
          <p:spPr>
            <a:xfrm>
              <a:off x="2490798" y="3609229"/>
              <a:ext cx="272924" cy="153888"/>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5</a:t>
              </a:r>
              <a:endParaRPr kumimoji="0" sz="10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360" name="Google Shape;1428;p18">
              <a:extLst>
                <a:ext uri="{FF2B5EF4-FFF2-40B4-BE49-F238E27FC236}">
                  <a16:creationId xmlns:a16="http://schemas.microsoft.com/office/drawing/2014/main" id="{4258ACB9-5DAF-4C06-B12C-F2BBC6F0C06F}"/>
                </a:ext>
              </a:extLst>
            </p:cNvPr>
            <p:cNvSpPr txBox="1"/>
            <p:nvPr/>
          </p:nvSpPr>
          <p:spPr>
            <a:xfrm>
              <a:off x="1130241" y="3614902"/>
              <a:ext cx="272924" cy="153888"/>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0</a:t>
              </a:r>
              <a:endParaRPr kumimoji="0" sz="10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364" name="Google Shape;1429;p18">
              <a:extLst>
                <a:ext uri="{FF2B5EF4-FFF2-40B4-BE49-F238E27FC236}">
                  <a16:creationId xmlns:a16="http://schemas.microsoft.com/office/drawing/2014/main" id="{252D044B-4C2A-402E-B691-905D1FB838A7}"/>
                </a:ext>
              </a:extLst>
            </p:cNvPr>
            <p:cNvSpPr txBox="1"/>
            <p:nvPr/>
          </p:nvSpPr>
          <p:spPr>
            <a:xfrm>
              <a:off x="863600" y="1658747"/>
              <a:ext cx="317928" cy="153888"/>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1.00</a:t>
              </a:r>
              <a:endParaRPr kumimoji="0" sz="10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
          <p:nvSpPr>
            <p:cNvPr id="369" name="Google Shape;1430;p18">
              <a:extLst>
                <a:ext uri="{FF2B5EF4-FFF2-40B4-BE49-F238E27FC236}">
                  <a16:creationId xmlns:a16="http://schemas.microsoft.com/office/drawing/2014/main" id="{3891E712-518E-41EF-ABAF-D94D28BDDAC5}"/>
                </a:ext>
              </a:extLst>
            </p:cNvPr>
            <p:cNvSpPr txBox="1"/>
            <p:nvPr/>
          </p:nvSpPr>
          <p:spPr>
            <a:xfrm>
              <a:off x="863600" y="2112843"/>
              <a:ext cx="317928" cy="153888"/>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0.75</a:t>
              </a:r>
              <a:endParaRPr kumimoji="0" sz="10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
          <p:nvSpPr>
            <p:cNvPr id="370" name="Google Shape;1431;p18">
              <a:extLst>
                <a:ext uri="{FF2B5EF4-FFF2-40B4-BE49-F238E27FC236}">
                  <a16:creationId xmlns:a16="http://schemas.microsoft.com/office/drawing/2014/main" id="{E8214687-6B36-4B01-8FDA-04119C355835}"/>
                </a:ext>
              </a:extLst>
            </p:cNvPr>
            <p:cNvSpPr txBox="1"/>
            <p:nvPr/>
          </p:nvSpPr>
          <p:spPr>
            <a:xfrm>
              <a:off x="863600" y="2569505"/>
              <a:ext cx="317928" cy="153888"/>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0.50</a:t>
              </a:r>
              <a:endParaRPr kumimoji="0" sz="10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
          <p:nvSpPr>
            <p:cNvPr id="371" name="Google Shape;1432;p18">
              <a:extLst>
                <a:ext uri="{FF2B5EF4-FFF2-40B4-BE49-F238E27FC236}">
                  <a16:creationId xmlns:a16="http://schemas.microsoft.com/office/drawing/2014/main" id="{2BFE2887-3618-4FF1-9A3D-9217C25F2C85}"/>
                </a:ext>
              </a:extLst>
            </p:cNvPr>
            <p:cNvSpPr txBox="1"/>
            <p:nvPr/>
          </p:nvSpPr>
          <p:spPr>
            <a:xfrm>
              <a:off x="863600" y="3010507"/>
              <a:ext cx="317928" cy="153888"/>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0.25</a:t>
              </a:r>
              <a:endParaRPr kumimoji="0" sz="10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
          <p:nvSpPr>
            <p:cNvPr id="372" name="Google Shape;1433;p18">
              <a:extLst>
                <a:ext uri="{FF2B5EF4-FFF2-40B4-BE49-F238E27FC236}">
                  <a16:creationId xmlns:a16="http://schemas.microsoft.com/office/drawing/2014/main" id="{FA6DF4E3-1890-411E-90DE-052536E42231}"/>
                </a:ext>
              </a:extLst>
            </p:cNvPr>
            <p:cNvSpPr txBox="1"/>
            <p:nvPr/>
          </p:nvSpPr>
          <p:spPr>
            <a:xfrm>
              <a:off x="908605" y="3482147"/>
              <a:ext cx="272923" cy="153888"/>
            </a:xfrm>
            <a:prstGeom prst="rect">
              <a:avLst/>
            </a:prstGeom>
            <a:noFill/>
            <a:ln>
              <a:noFill/>
            </a:ln>
          </p:spPr>
          <p:txBody>
            <a:bodyPr spcFirstLastPara="1" wrap="square" lIns="0" tIns="0" rIns="0" bIns="0" anchor="t" anchorCtr="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0</a:t>
              </a:r>
              <a:endParaRPr kumimoji="0" sz="10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374" name="Google Shape;1435;p18">
              <a:extLst>
                <a:ext uri="{FF2B5EF4-FFF2-40B4-BE49-F238E27FC236}">
                  <a16:creationId xmlns:a16="http://schemas.microsoft.com/office/drawing/2014/main" id="{80D6EF26-511C-496E-8BC0-0BC2126EA5F6}"/>
                </a:ext>
              </a:extLst>
            </p:cNvPr>
            <p:cNvSpPr txBox="1"/>
            <p:nvPr/>
          </p:nvSpPr>
          <p:spPr>
            <a:xfrm>
              <a:off x="3788010" y="3609229"/>
              <a:ext cx="376992" cy="153888"/>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10</a:t>
              </a:r>
              <a:endParaRPr kumimoji="0" sz="10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375" name="Google Shape;1436;p18">
              <a:extLst>
                <a:ext uri="{FF2B5EF4-FFF2-40B4-BE49-F238E27FC236}">
                  <a16:creationId xmlns:a16="http://schemas.microsoft.com/office/drawing/2014/main" id="{3CE858C6-8792-48F4-A8A7-C8263422E9E8}"/>
                </a:ext>
              </a:extLst>
            </p:cNvPr>
            <p:cNvSpPr txBox="1"/>
            <p:nvPr/>
          </p:nvSpPr>
          <p:spPr>
            <a:xfrm>
              <a:off x="5150407" y="3609229"/>
              <a:ext cx="376992" cy="153888"/>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15</a:t>
              </a:r>
              <a:endParaRPr kumimoji="0" sz="10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sp>
          <p:nvSpPr>
            <p:cNvPr id="376" name="Google Shape;1437;p18">
              <a:extLst>
                <a:ext uri="{FF2B5EF4-FFF2-40B4-BE49-F238E27FC236}">
                  <a16:creationId xmlns:a16="http://schemas.microsoft.com/office/drawing/2014/main" id="{68E7CF7D-D7C5-4852-88CB-ABD8689023FE}"/>
                </a:ext>
              </a:extLst>
            </p:cNvPr>
            <p:cNvSpPr txBox="1"/>
            <p:nvPr/>
          </p:nvSpPr>
          <p:spPr>
            <a:xfrm>
              <a:off x="6503605" y="3609229"/>
              <a:ext cx="376992" cy="153888"/>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20</a:t>
              </a:r>
              <a:endParaRPr kumimoji="0" sz="10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
          <p:nvSpPr>
            <p:cNvPr id="377" name="Google Shape;1438;p18">
              <a:extLst>
                <a:ext uri="{FF2B5EF4-FFF2-40B4-BE49-F238E27FC236}">
                  <a16:creationId xmlns:a16="http://schemas.microsoft.com/office/drawing/2014/main" id="{5CE54816-947F-49ED-BE83-BC711DE95BCF}"/>
                </a:ext>
              </a:extLst>
            </p:cNvPr>
            <p:cNvSpPr txBox="1"/>
            <p:nvPr/>
          </p:nvSpPr>
          <p:spPr>
            <a:xfrm>
              <a:off x="7897377" y="3609229"/>
              <a:ext cx="376992" cy="153888"/>
            </a:xfrm>
            <a:prstGeom prst="rect">
              <a:avLst/>
            </a:prstGeom>
            <a:noFill/>
            <a:ln>
              <a:noFill/>
            </a:ln>
          </p:spPr>
          <p:txBody>
            <a:bodyPr spcFirstLastPara="1" wrap="square" lIns="0" tIns="0" rIns="0" bIns="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25</a:t>
              </a:r>
              <a:endParaRPr kumimoji="0" sz="10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sp>
          <p:nvSpPr>
            <p:cNvPr id="378" name="Google Shape;1439;p18">
              <a:extLst>
                <a:ext uri="{FF2B5EF4-FFF2-40B4-BE49-F238E27FC236}">
                  <a16:creationId xmlns:a16="http://schemas.microsoft.com/office/drawing/2014/main" id="{B6567735-4102-4F18-A9E8-339CB093B36C}"/>
                </a:ext>
              </a:extLst>
            </p:cNvPr>
            <p:cNvSpPr txBox="1"/>
            <p:nvPr/>
          </p:nvSpPr>
          <p:spPr>
            <a:xfrm>
              <a:off x="8114488" y="1839673"/>
              <a:ext cx="647863" cy="153888"/>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rPr>
                <a:t>No irAEs</a:t>
              </a:r>
              <a:endParaRPr kumimoji="0" sz="1000" b="0" i="0" u="none" strike="noStrike" kern="0" cap="none" spc="0" normalizeH="0" baseline="0" noProof="0">
                <a:ln>
                  <a:noFill/>
                </a:ln>
                <a:solidFill>
                  <a:srgbClr val="000000"/>
                </a:solidFill>
                <a:effectLst/>
                <a:uLnTx/>
                <a:uFillTx/>
                <a:latin typeface="Gene Sans" panose="00000500000000000000" pitchFamily="50" charset="0"/>
                <a:cs typeface="Arial"/>
                <a:sym typeface="Arial"/>
              </a:endParaRPr>
            </a:p>
          </p:txBody>
        </p:sp>
        <p:cxnSp>
          <p:nvCxnSpPr>
            <p:cNvPr id="379" name="Google Shape;1440;p18">
              <a:extLst>
                <a:ext uri="{FF2B5EF4-FFF2-40B4-BE49-F238E27FC236}">
                  <a16:creationId xmlns:a16="http://schemas.microsoft.com/office/drawing/2014/main" id="{43ECD4E4-45D2-4928-8374-3015F42A2F41}"/>
                </a:ext>
              </a:extLst>
            </p:cNvPr>
            <p:cNvCxnSpPr/>
            <p:nvPr/>
          </p:nvCxnSpPr>
          <p:spPr>
            <a:xfrm>
              <a:off x="7705191" y="1930861"/>
              <a:ext cx="250832" cy="0"/>
            </a:xfrm>
            <a:prstGeom prst="straightConnector1">
              <a:avLst/>
            </a:prstGeom>
            <a:noFill/>
            <a:ln w="31750" cap="flat" cmpd="sng">
              <a:solidFill>
                <a:schemeClr val="accent5"/>
              </a:solidFill>
              <a:prstDash val="solid"/>
              <a:round/>
              <a:headEnd type="none" w="med" len="med"/>
              <a:tailEnd type="none" w="med" len="med"/>
            </a:ln>
          </p:spPr>
        </p:cxnSp>
        <p:grpSp>
          <p:nvGrpSpPr>
            <p:cNvPr id="380" name="Google Shape;1441;p18">
              <a:extLst>
                <a:ext uri="{FF2B5EF4-FFF2-40B4-BE49-F238E27FC236}">
                  <a16:creationId xmlns:a16="http://schemas.microsoft.com/office/drawing/2014/main" id="{EC6863BD-FFE5-47FD-90B1-EE37CD1C7252}"/>
                </a:ext>
              </a:extLst>
            </p:cNvPr>
            <p:cNvGrpSpPr/>
            <p:nvPr/>
          </p:nvGrpSpPr>
          <p:grpSpPr>
            <a:xfrm>
              <a:off x="7765487" y="1890662"/>
              <a:ext cx="130244" cy="81904"/>
              <a:chOff x="8380015" y="2362200"/>
              <a:chExt cx="113900" cy="113900"/>
            </a:xfrm>
          </p:grpSpPr>
          <p:cxnSp>
            <p:nvCxnSpPr>
              <p:cNvPr id="381" name="Google Shape;1442;p18">
                <a:extLst>
                  <a:ext uri="{FF2B5EF4-FFF2-40B4-BE49-F238E27FC236}">
                    <a16:creationId xmlns:a16="http://schemas.microsoft.com/office/drawing/2014/main" id="{BB96F490-CB17-443D-A9A8-D73418FD1B9C}"/>
                  </a:ext>
                </a:extLst>
              </p:cNvPr>
              <p:cNvCxnSpPr/>
              <p:nvPr/>
            </p:nvCxnSpPr>
            <p:spPr>
              <a:xfrm>
                <a:off x="8436965" y="2362200"/>
                <a:ext cx="0" cy="113900"/>
              </a:xfrm>
              <a:prstGeom prst="straightConnector1">
                <a:avLst/>
              </a:prstGeom>
              <a:noFill/>
              <a:ln w="19050" cap="flat" cmpd="sng">
                <a:solidFill>
                  <a:schemeClr val="accent5"/>
                </a:solidFill>
                <a:prstDash val="solid"/>
                <a:miter lim="800000"/>
                <a:headEnd type="none" w="med" len="med"/>
                <a:tailEnd type="none" w="med" len="med"/>
              </a:ln>
            </p:spPr>
          </p:cxnSp>
          <p:cxnSp>
            <p:nvCxnSpPr>
              <p:cNvPr id="382" name="Google Shape;1443;p18">
                <a:extLst>
                  <a:ext uri="{FF2B5EF4-FFF2-40B4-BE49-F238E27FC236}">
                    <a16:creationId xmlns:a16="http://schemas.microsoft.com/office/drawing/2014/main" id="{FB0D7B55-87C1-421D-9648-8726FEF0303D}"/>
                  </a:ext>
                </a:extLst>
              </p:cNvPr>
              <p:cNvCxnSpPr/>
              <p:nvPr/>
            </p:nvCxnSpPr>
            <p:spPr>
              <a:xfrm rot="10800000">
                <a:off x="8436965" y="2362200"/>
                <a:ext cx="0" cy="113900"/>
              </a:xfrm>
              <a:prstGeom prst="straightConnector1">
                <a:avLst/>
              </a:prstGeom>
              <a:noFill/>
              <a:ln w="19050" cap="flat" cmpd="sng">
                <a:solidFill>
                  <a:schemeClr val="accent5"/>
                </a:solidFill>
                <a:prstDash val="solid"/>
                <a:miter lim="800000"/>
                <a:headEnd type="none" w="med" len="med"/>
                <a:tailEnd type="none" w="med" len="med"/>
              </a:ln>
            </p:spPr>
          </p:cxnSp>
        </p:grpSp>
        <p:cxnSp>
          <p:nvCxnSpPr>
            <p:cNvPr id="383" name="Google Shape;1444;p18">
              <a:extLst>
                <a:ext uri="{FF2B5EF4-FFF2-40B4-BE49-F238E27FC236}">
                  <a16:creationId xmlns:a16="http://schemas.microsoft.com/office/drawing/2014/main" id="{65CCC017-8CD4-4084-9179-8E5DB4CEF17B}"/>
                </a:ext>
              </a:extLst>
            </p:cNvPr>
            <p:cNvCxnSpPr/>
            <p:nvPr/>
          </p:nvCxnSpPr>
          <p:spPr>
            <a:xfrm>
              <a:off x="7705191" y="2155650"/>
              <a:ext cx="250832" cy="0"/>
            </a:xfrm>
            <a:prstGeom prst="straightConnector1">
              <a:avLst/>
            </a:prstGeom>
            <a:noFill/>
            <a:ln w="31750" cap="flat" cmpd="sng">
              <a:solidFill>
                <a:schemeClr val="dk2"/>
              </a:solidFill>
              <a:prstDash val="solid"/>
              <a:round/>
              <a:headEnd type="none" w="med" len="med"/>
              <a:tailEnd type="none" w="med" len="med"/>
            </a:ln>
          </p:spPr>
        </p:cxnSp>
        <p:grpSp>
          <p:nvGrpSpPr>
            <p:cNvPr id="384" name="Google Shape;1445;p18">
              <a:extLst>
                <a:ext uri="{FF2B5EF4-FFF2-40B4-BE49-F238E27FC236}">
                  <a16:creationId xmlns:a16="http://schemas.microsoft.com/office/drawing/2014/main" id="{804F162B-9E3F-4551-AB7F-A04AEE261E8F}"/>
                </a:ext>
              </a:extLst>
            </p:cNvPr>
            <p:cNvGrpSpPr/>
            <p:nvPr/>
          </p:nvGrpSpPr>
          <p:grpSpPr>
            <a:xfrm>
              <a:off x="7765487" y="2114457"/>
              <a:ext cx="130244" cy="81904"/>
              <a:chOff x="8380015" y="2362200"/>
              <a:chExt cx="113900" cy="113900"/>
            </a:xfrm>
          </p:grpSpPr>
          <p:cxnSp>
            <p:nvCxnSpPr>
              <p:cNvPr id="385" name="Google Shape;1446;p18">
                <a:extLst>
                  <a:ext uri="{FF2B5EF4-FFF2-40B4-BE49-F238E27FC236}">
                    <a16:creationId xmlns:a16="http://schemas.microsoft.com/office/drawing/2014/main" id="{1E17F953-8C22-434F-BA88-2E91523932B2}"/>
                  </a:ext>
                </a:extLst>
              </p:cNvPr>
              <p:cNvCxnSpPr/>
              <p:nvPr/>
            </p:nvCxnSpPr>
            <p:spPr>
              <a:xfrm>
                <a:off x="8436965" y="2362200"/>
                <a:ext cx="0" cy="113900"/>
              </a:xfrm>
              <a:prstGeom prst="straightConnector1">
                <a:avLst/>
              </a:prstGeom>
              <a:noFill/>
              <a:ln w="19050" cap="flat" cmpd="sng">
                <a:solidFill>
                  <a:schemeClr val="dk2"/>
                </a:solidFill>
                <a:prstDash val="solid"/>
                <a:miter lim="800000"/>
                <a:headEnd type="none" w="med" len="med"/>
                <a:tailEnd type="none" w="med" len="med"/>
              </a:ln>
            </p:spPr>
          </p:cxnSp>
          <p:cxnSp>
            <p:nvCxnSpPr>
              <p:cNvPr id="386" name="Google Shape;1447;p18">
                <a:extLst>
                  <a:ext uri="{FF2B5EF4-FFF2-40B4-BE49-F238E27FC236}">
                    <a16:creationId xmlns:a16="http://schemas.microsoft.com/office/drawing/2014/main" id="{BB0DAC8C-6AA0-4DC8-9FC1-31D64D217711}"/>
                  </a:ext>
                </a:extLst>
              </p:cNvPr>
              <p:cNvCxnSpPr/>
              <p:nvPr/>
            </p:nvCxnSpPr>
            <p:spPr>
              <a:xfrm rot="10800000">
                <a:off x="8436965" y="2362200"/>
                <a:ext cx="0" cy="113900"/>
              </a:xfrm>
              <a:prstGeom prst="straightConnector1">
                <a:avLst/>
              </a:prstGeom>
              <a:noFill/>
              <a:ln w="19050" cap="flat" cmpd="sng">
                <a:solidFill>
                  <a:schemeClr val="dk2"/>
                </a:solidFill>
                <a:prstDash val="solid"/>
                <a:miter lim="800000"/>
                <a:headEnd type="none" w="med" len="med"/>
                <a:tailEnd type="none" w="med" len="med"/>
              </a:ln>
            </p:spPr>
          </p:cxnSp>
        </p:grpSp>
        <p:sp>
          <p:nvSpPr>
            <p:cNvPr id="387" name="Google Shape;1448;p18">
              <a:extLst>
                <a:ext uri="{FF2B5EF4-FFF2-40B4-BE49-F238E27FC236}">
                  <a16:creationId xmlns:a16="http://schemas.microsoft.com/office/drawing/2014/main" id="{F7E25944-C740-44A8-8533-40596392DC19}"/>
                </a:ext>
              </a:extLst>
            </p:cNvPr>
            <p:cNvSpPr txBox="1"/>
            <p:nvPr/>
          </p:nvSpPr>
          <p:spPr>
            <a:xfrm>
              <a:off x="8114488" y="2075314"/>
              <a:ext cx="392822" cy="153888"/>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0" cap="none" spc="0" normalizeH="0" baseline="0" noProof="0" dirty="0" err="1">
                  <a:ln>
                    <a:noFill/>
                  </a:ln>
                  <a:solidFill>
                    <a:srgbClr val="545859"/>
                  </a:solidFill>
                  <a:effectLst/>
                  <a:uLnTx/>
                  <a:uFillTx/>
                  <a:latin typeface="Gene Sans" panose="00000500000000000000" pitchFamily="50" charset="0"/>
                  <a:cs typeface="Arial"/>
                  <a:sym typeface="Arial"/>
                </a:rPr>
                <a:t>irAEs</a:t>
              </a:r>
              <a:endParaRPr kumimoji="0" sz="1000" b="0" i="0" u="none" strike="noStrike" kern="0" cap="none" spc="0" normalizeH="0" baseline="0" noProof="0" dirty="0">
                <a:ln>
                  <a:noFill/>
                </a:ln>
                <a:solidFill>
                  <a:srgbClr val="000000"/>
                </a:solidFill>
                <a:effectLst/>
                <a:uLnTx/>
                <a:uFillTx/>
                <a:latin typeface="Gene Sans" panose="00000500000000000000" pitchFamily="50" charset="0"/>
                <a:cs typeface="Arial"/>
                <a:sym typeface="Arial"/>
              </a:endParaRPr>
            </a:p>
          </p:txBody>
        </p:sp>
        <p:grpSp>
          <p:nvGrpSpPr>
            <p:cNvPr id="388" name="Google Shape;1449;p18">
              <a:extLst>
                <a:ext uri="{FF2B5EF4-FFF2-40B4-BE49-F238E27FC236}">
                  <a16:creationId xmlns:a16="http://schemas.microsoft.com/office/drawing/2014/main" id="{6511B4BD-5D52-4477-A7FB-7C034CDF4882}"/>
                </a:ext>
              </a:extLst>
            </p:cNvPr>
            <p:cNvGrpSpPr/>
            <p:nvPr/>
          </p:nvGrpSpPr>
          <p:grpSpPr>
            <a:xfrm>
              <a:off x="1276380" y="1756487"/>
              <a:ext cx="5685241" cy="1015055"/>
              <a:chOff x="3246054" y="1665378"/>
              <a:chExt cx="6217589" cy="1765245"/>
            </a:xfrm>
          </p:grpSpPr>
          <p:sp>
            <p:nvSpPr>
              <p:cNvPr id="389" name="Google Shape;1450;p18">
                <a:extLst>
                  <a:ext uri="{FF2B5EF4-FFF2-40B4-BE49-F238E27FC236}">
                    <a16:creationId xmlns:a16="http://schemas.microsoft.com/office/drawing/2014/main" id="{4C795DB4-133D-4611-896B-A241C4EC84B8}"/>
                  </a:ext>
                </a:extLst>
              </p:cNvPr>
              <p:cNvSpPr/>
              <p:nvPr/>
            </p:nvSpPr>
            <p:spPr>
              <a:xfrm>
                <a:off x="3246054" y="1665378"/>
                <a:ext cx="6157516" cy="1697532"/>
              </a:xfrm>
              <a:custGeom>
                <a:avLst/>
                <a:gdLst/>
                <a:ahLst/>
                <a:cxnLst/>
                <a:rect l="l" t="t" r="r" b="b"/>
                <a:pathLst>
                  <a:path w="3895" h="1078" extrusionOk="0">
                    <a:moveTo>
                      <a:pt x="0" y="0"/>
                    </a:moveTo>
                    <a:lnTo>
                      <a:pt x="75" y="0"/>
                    </a:lnTo>
                    <a:lnTo>
                      <a:pt x="75" y="14"/>
                    </a:lnTo>
                    <a:lnTo>
                      <a:pt x="144" y="14"/>
                    </a:lnTo>
                    <a:lnTo>
                      <a:pt x="144" y="26"/>
                    </a:lnTo>
                    <a:lnTo>
                      <a:pt x="166" y="26"/>
                    </a:lnTo>
                    <a:lnTo>
                      <a:pt x="166" y="36"/>
                    </a:lnTo>
                    <a:lnTo>
                      <a:pt x="193" y="36"/>
                    </a:lnTo>
                    <a:lnTo>
                      <a:pt x="193" y="41"/>
                    </a:lnTo>
                    <a:lnTo>
                      <a:pt x="221" y="41"/>
                    </a:lnTo>
                    <a:lnTo>
                      <a:pt x="221" y="55"/>
                    </a:lnTo>
                    <a:lnTo>
                      <a:pt x="232" y="55"/>
                    </a:lnTo>
                    <a:lnTo>
                      <a:pt x="232" y="61"/>
                    </a:lnTo>
                    <a:lnTo>
                      <a:pt x="251" y="61"/>
                    </a:lnTo>
                    <a:lnTo>
                      <a:pt x="251" y="73"/>
                    </a:lnTo>
                    <a:lnTo>
                      <a:pt x="259" y="73"/>
                    </a:lnTo>
                    <a:lnTo>
                      <a:pt x="259" y="76"/>
                    </a:lnTo>
                    <a:lnTo>
                      <a:pt x="291" y="76"/>
                    </a:lnTo>
                    <a:lnTo>
                      <a:pt x="291" y="90"/>
                    </a:lnTo>
                    <a:lnTo>
                      <a:pt x="318" y="90"/>
                    </a:lnTo>
                    <a:lnTo>
                      <a:pt x="318" y="98"/>
                    </a:lnTo>
                    <a:lnTo>
                      <a:pt x="324" y="98"/>
                    </a:lnTo>
                    <a:lnTo>
                      <a:pt x="324" y="108"/>
                    </a:lnTo>
                    <a:lnTo>
                      <a:pt x="333" y="108"/>
                    </a:lnTo>
                    <a:lnTo>
                      <a:pt x="333" y="114"/>
                    </a:lnTo>
                    <a:lnTo>
                      <a:pt x="342" y="114"/>
                    </a:lnTo>
                    <a:lnTo>
                      <a:pt x="342" y="127"/>
                    </a:lnTo>
                    <a:lnTo>
                      <a:pt x="349" y="127"/>
                    </a:lnTo>
                    <a:lnTo>
                      <a:pt x="349" y="144"/>
                    </a:lnTo>
                    <a:lnTo>
                      <a:pt x="359" y="144"/>
                    </a:lnTo>
                    <a:lnTo>
                      <a:pt x="359" y="162"/>
                    </a:lnTo>
                    <a:lnTo>
                      <a:pt x="378" y="162"/>
                    </a:lnTo>
                    <a:lnTo>
                      <a:pt x="378" y="185"/>
                    </a:lnTo>
                    <a:lnTo>
                      <a:pt x="417" y="185"/>
                    </a:lnTo>
                    <a:lnTo>
                      <a:pt x="417" y="191"/>
                    </a:lnTo>
                    <a:lnTo>
                      <a:pt x="452" y="191"/>
                    </a:lnTo>
                    <a:lnTo>
                      <a:pt x="452" y="200"/>
                    </a:lnTo>
                    <a:lnTo>
                      <a:pt x="464" y="200"/>
                    </a:lnTo>
                    <a:lnTo>
                      <a:pt x="464" y="205"/>
                    </a:lnTo>
                    <a:lnTo>
                      <a:pt x="491" y="205"/>
                    </a:lnTo>
                    <a:lnTo>
                      <a:pt x="491" y="214"/>
                    </a:lnTo>
                    <a:lnTo>
                      <a:pt x="525" y="214"/>
                    </a:lnTo>
                    <a:lnTo>
                      <a:pt x="525" y="220"/>
                    </a:lnTo>
                    <a:lnTo>
                      <a:pt x="548" y="220"/>
                    </a:lnTo>
                    <a:lnTo>
                      <a:pt x="548" y="226"/>
                    </a:lnTo>
                    <a:lnTo>
                      <a:pt x="564" y="226"/>
                    </a:lnTo>
                    <a:lnTo>
                      <a:pt x="564" y="232"/>
                    </a:lnTo>
                    <a:lnTo>
                      <a:pt x="578" y="232"/>
                    </a:lnTo>
                    <a:lnTo>
                      <a:pt x="578" y="235"/>
                    </a:lnTo>
                    <a:lnTo>
                      <a:pt x="612" y="235"/>
                    </a:lnTo>
                    <a:lnTo>
                      <a:pt x="612" y="246"/>
                    </a:lnTo>
                    <a:lnTo>
                      <a:pt x="647" y="246"/>
                    </a:lnTo>
                    <a:lnTo>
                      <a:pt x="647" y="255"/>
                    </a:lnTo>
                    <a:lnTo>
                      <a:pt x="664" y="255"/>
                    </a:lnTo>
                    <a:lnTo>
                      <a:pt x="664" y="265"/>
                    </a:lnTo>
                    <a:lnTo>
                      <a:pt x="673" y="265"/>
                    </a:lnTo>
                    <a:lnTo>
                      <a:pt x="673" y="281"/>
                    </a:lnTo>
                    <a:lnTo>
                      <a:pt x="686" y="281"/>
                    </a:lnTo>
                    <a:lnTo>
                      <a:pt x="686" y="290"/>
                    </a:lnTo>
                    <a:lnTo>
                      <a:pt x="698" y="290"/>
                    </a:lnTo>
                    <a:lnTo>
                      <a:pt x="698" y="302"/>
                    </a:lnTo>
                    <a:lnTo>
                      <a:pt x="728" y="302"/>
                    </a:lnTo>
                    <a:lnTo>
                      <a:pt x="728" y="309"/>
                    </a:lnTo>
                    <a:lnTo>
                      <a:pt x="781" y="309"/>
                    </a:lnTo>
                    <a:lnTo>
                      <a:pt x="781" y="318"/>
                    </a:lnTo>
                    <a:lnTo>
                      <a:pt x="808" y="318"/>
                    </a:lnTo>
                    <a:lnTo>
                      <a:pt x="808" y="335"/>
                    </a:lnTo>
                    <a:lnTo>
                      <a:pt x="874" y="335"/>
                    </a:lnTo>
                    <a:lnTo>
                      <a:pt x="874" y="379"/>
                    </a:lnTo>
                    <a:lnTo>
                      <a:pt x="1002" y="379"/>
                    </a:lnTo>
                    <a:lnTo>
                      <a:pt x="1002" y="394"/>
                    </a:lnTo>
                    <a:lnTo>
                      <a:pt x="1058" y="394"/>
                    </a:lnTo>
                    <a:lnTo>
                      <a:pt x="1058" y="404"/>
                    </a:lnTo>
                    <a:lnTo>
                      <a:pt x="1068" y="404"/>
                    </a:lnTo>
                    <a:lnTo>
                      <a:pt x="1068" y="414"/>
                    </a:lnTo>
                    <a:lnTo>
                      <a:pt x="1074" y="414"/>
                    </a:lnTo>
                    <a:lnTo>
                      <a:pt x="1074" y="432"/>
                    </a:lnTo>
                    <a:lnTo>
                      <a:pt x="1100" y="432"/>
                    </a:lnTo>
                    <a:lnTo>
                      <a:pt x="1100" y="446"/>
                    </a:lnTo>
                    <a:lnTo>
                      <a:pt x="1134" y="446"/>
                    </a:lnTo>
                    <a:lnTo>
                      <a:pt x="1134" y="461"/>
                    </a:lnTo>
                    <a:lnTo>
                      <a:pt x="1159" y="461"/>
                    </a:lnTo>
                    <a:lnTo>
                      <a:pt x="1159" y="478"/>
                    </a:lnTo>
                    <a:lnTo>
                      <a:pt x="1179" y="478"/>
                    </a:lnTo>
                    <a:lnTo>
                      <a:pt x="1179" y="491"/>
                    </a:lnTo>
                    <a:lnTo>
                      <a:pt x="1186" y="491"/>
                    </a:lnTo>
                    <a:lnTo>
                      <a:pt x="1186" y="507"/>
                    </a:lnTo>
                    <a:lnTo>
                      <a:pt x="1220" y="507"/>
                    </a:lnTo>
                    <a:lnTo>
                      <a:pt x="1220" y="535"/>
                    </a:lnTo>
                    <a:lnTo>
                      <a:pt x="1301" y="535"/>
                    </a:lnTo>
                    <a:lnTo>
                      <a:pt x="1301" y="542"/>
                    </a:lnTo>
                    <a:lnTo>
                      <a:pt x="1336" y="542"/>
                    </a:lnTo>
                    <a:lnTo>
                      <a:pt x="1336" y="563"/>
                    </a:lnTo>
                    <a:lnTo>
                      <a:pt x="1346" y="563"/>
                    </a:lnTo>
                    <a:lnTo>
                      <a:pt x="1346" y="580"/>
                    </a:lnTo>
                    <a:lnTo>
                      <a:pt x="1410" y="580"/>
                    </a:lnTo>
                    <a:lnTo>
                      <a:pt x="1410" y="591"/>
                    </a:lnTo>
                    <a:lnTo>
                      <a:pt x="1442" y="591"/>
                    </a:lnTo>
                    <a:lnTo>
                      <a:pt x="1442" y="599"/>
                    </a:lnTo>
                    <a:lnTo>
                      <a:pt x="1622" y="599"/>
                    </a:lnTo>
                    <a:lnTo>
                      <a:pt x="1622" y="611"/>
                    </a:lnTo>
                    <a:lnTo>
                      <a:pt x="1695" y="611"/>
                    </a:lnTo>
                    <a:lnTo>
                      <a:pt x="1695" y="617"/>
                    </a:lnTo>
                    <a:lnTo>
                      <a:pt x="1787" y="617"/>
                    </a:lnTo>
                    <a:lnTo>
                      <a:pt x="1787" y="628"/>
                    </a:lnTo>
                    <a:lnTo>
                      <a:pt x="1803" y="628"/>
                    </a:lnTo>
                    <a:lnTo>
                      <a:pt x="1803" y="640"/>
                    </a:lnTo>
                    <a:lnTo>
                      <a:pt x="1838" y="640"/>
                    </a:lnTo>
                    <a:lnTo>
                      <a:pt x="1838" y="649"/>
                    </a:lnTo>
                    <a:lnTo>
                      <a:pt x="1868" y="649"/>
                    </a:lnTo>
                    <a:lnTo>
                      <a:pt x="1868" y="661"/>
                    </a:lnTo>
                    <a:lnTo>
                      <a:pt x="1961" y="661"/>
                    </a:lnTo>
                    <a:lnTo>
                      <a:pt x="1961" y="675"/>
                    </a:lnTo>
                    <a:lnTo>
                      <a:pt x="1984" y="675"/>
                    </a:lnTo>
                    <a:lnTo>
                      <a:pt x="1984" y="685"/>
                    </a:lnTo>
                    <a:lnTo>
                      <a:pt x="2048" y="685"/>
                    </a:lnTo>
                    <a:lnTo>
                      <a:pt x="2048" y="694"/>
                    </a:lnTo>
                    <a:lnTo>
                      <a:pt x="2064" y="694"/>
                    </a:lnTo>
                    <a:lnTo>
                      <a:pt x="2064" y="704"/>
                    </a:lnTo>
                    <a:lnTo>
                      <a:pt x="2080" y="704"/>
                    </a:lnTo>
                    <a:lnTo>
                      <a:pt x="2080" y="716"/>
                    </a:lnTo>
                    <a:lnTo>
                      <a:pt x="2109" y="716"/>
                    </a:lnTo>
                    <a:lnTo>
                      <a:pt x="2109" y="747"/>
                    </a:lnTo>
                    <a:lnTo>
                      <a:pt x="2152" y="747"/>
                    </a:lnTo>
                    <a:lnTo>
                      <a:pt x="2152" y="755"/>
                    </a:lnTo>
                    <a:lnTo>
                      <a:pt x="2169" y="755"/>
                    </a:lnTo>
                    <a:lnTo>
                      <a:pt x="2169" y="761"/>
                    </a:lnTo>
                    <a:lnTo>
                      <a:pt x="2274" y="761"/>
                    </a:lnTo>
                    <a:lnTo>
                      <a:pt x="2274" y="774"/>
                    </a:lnTo>
                    <a:lnTo>
                      <a:pt x="2330" y="774"/>
                    </a:lnTo>
                    <a:lnTo>
                      <a:pt x="2330" y="793"/>
                    </a:lnTo>
                    <a:lnTo>
                      <a:pt x="2415" y="793"/>
                    </a:lnTo>
                    <a:lnTo>
                      <a:pt x="2415" y="830"/>
                    </a:lnTo>
                    <a:lnTo>
                      <a:pt x="2514" y="830"/>
                    </a:lnTo>
                    <a:lnTo>
                      <a:pt x="2514" y="850"/>
                    </a:lnTo>
                    <a:lnTo>
                      <a:pt x="2608" y="850"/>
                    </a:lnTo>
                    <a:lnTo>
                      <a:pt x="2608" y="882"/>
                    </a:lnTo>
                    <a:lnTo>
                      <a:pt x="2627" y="882"/>
                    </a:lnTo>
                    <a:lnTo>
                      <a:pt x="2627" y="935"/>
                    </a:lnTo>
                    <a:lnTo>
                      <a:pt x="2678" y="935"/>
                    </a:lnTo>
                    <a:lnTo>
                      <a:pt x="2678" y="965"/>
                    </a:lnTo>
                    <a:lnTo>
                      <a:pt x="3265" y="965"/>
                    </a:lnTo>
                    <a:lnTo>
                      <a:pt x="3265" y="1078"/>
                    </a:lnTo>
                    <a:lnTo>
                      <a:pt x="3895" y="1078"/>
                    </a:lnTo>
                  </a:path>
                </a:pathLst>
              </a:custGeom>
              <a:noFill/>
              <a:ln w="19050" cap="flat" cmpd="sng">
                <a:solidFill>
                  <a:schemeClr val="dk2"/>
                </a:solidFill>
                <a:prstDash val="solid"/>
                <a:miter lim="800000"/>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cxnSp>
            <p:nvCxnSpPr>
              <p:cNvPr id="390" name="Google Shape;1451;p18">
                <a:extLst>
                  <a:ext uri="{FF2B5EF4-FFF2-40B4-BE49-F238E27FC236}">
                    <a16:creationId xmlns:a16="http://schemas.microsoft.com/office/drawing/2014/main" id="{078E9E34-88E0-4C70-8368-63D2E3F76DDA}"/>
                  </a:ext>
                </a:extLst>
              </p:cNvPr>
              <p:cNvCxnSpPr/>
              <p:nvPr/>
            </p:nvCxnSpPr>
            <p:spPr>
              <a:xfrm>
                <a:off x="9398827" y="3298348"/>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391" name="Google Shape;1452;p18">
                <a:extLst>
                  <a:ext uri="{FF2B5EF4-FFF2-40B4-BE49-F238E27FC236}">
                    <a16:creationId xmlns:a16="http://schemas.microsoft.com/office/drawing/2014/main" id="{5457E96F-0DEE-48B8-86E2-EB0FCB2E0469}"/>
                  </a:ext>
                </a:extLst>
              </p:cNvPr>
              <p:cNvCxnSpPr/>
              <p:nvPr/>
            </p:nvCxnSpPr>
            <p:spPr>
              <a:xfrm rot="10800000">
                <a:off x="9332430" y="3364485"/>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392" name="Google Shape;1453;p18">
                <a:extLst>
                  <a:ext uri="{FF2B5EF4-FFF2-40B4-BE49-F238E27FC236}">
                    <a16:creationId xmlns:a16="http://schemas.microsoft.com/office/drawing/2014/main" id="{75BBC6C1-CF01-4099-8305-645002C287DB}"/>
                  </a:ext>
                </a:extLst>
              </p:cNvPr>
              <p:cNvCxnSpPr/>
              <p:nvPr/>
            </p:nvCxnSpPr>
            <p:spPr>
              <a:xfrm>
                <a:off x="9338754" y="3298348"/>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393" name="Google Shape;1454;p18">
                <a:extLst>
                  <a:ext uri="{FF2B5EF4-FFF2-40B4-BE49-F238E27FC236}">
                    <a16:creationId xmlns:a16="http://schemas.microsoft.com/office/drawing/2014/main" id="{BE455157-A7CD-4215-AB58-0EA3F3226F66}"/>
                  </a:ext>
                </a:extLst>
              </p:cNvPr>
              <p:cNvCxnSpPr/>
              <p:nvPr/>
            </p:nvCxnSpPr>
            <p:spPr>
              <a:xfrm rot="10800000">
                <a:off x="9273938" y="3364485"/>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394" name="Google Shape;1455;p18">
                <a:extLst>
                  <a:ext uri="{FF2B5EF4-FFF2-40B4-BE49-F238E27FC236}">
                    <a16:creationId xmlns:a16="http://schemas.microsoft.com/office/drawing/2014/main" id="{B9724163-39B1-4230-BE39-A5CC9826E60A}"/>
                  </a:ext>
                </a:extLst>
              </p:cNvPr>
              <p:cNvCxnSpPr/>
              <p:nvPr/>
            </p:nvCxnSpPr>
            <p:spPr>
              <a:xfrm>
                <a:off x="9020997" y="3298348"/>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395" name="Google Shape;1456;p18">
                <a:extLst>
                  <a:ext uri="{FF2B5EF4-FFF2-40B4-BE49-F238E27FC236}">
                    <a16:creationId xmlns:a16="http://schemas.microsoft.com/office/drawing/2014/main" id="{E831798A-ED6C-4C7F-A42F-D79567F67CFC}"/>
                  </a:ext>
                </a:extLst>
              </p:cNvPr>
              <p:cNvCxnSpPr/>
              <p:nvPr/>
            </p:nvCxnSpPr>
            <p:spPr>
              <a:xfrm rot="10800000">
                <a:off x="8954601" y="3364485"/>
                <a:ext cx="134375" cy="0"/>
              </a:xfrm>
              <a:prstGeom prst="straightConnector1">
                <a:avLst/>
              </a:prstGeom>
              <a:noFill/>
              <a:ln w="19050" cap="flat" cmpd="sng">
                <a:solidFill>
                  <a:schemeClr val="dk2"/>
                </a:solidFill>
                <a:prstDash val="solid"/>
                <a:miter lim="800000"/>
                <a:headEnd type="none" w="med" len="med"/>
                <a:tailEnd type="none" w="med" len="med"/>
              </a:ln>
            </p:spPr>
          </p:cxnSp>
          <p:cxnSp>
            <p:nvCxnSpPr>
              <p:cNvPr id="396" name="Google Shape;1457;p18">
                <a:extLst>
                  <a:ext uri="{FF2B5EF4-FFF2-40B4-BE49-F238E27FC236}">
                    <a16:creationId xmlns:a16="http://schemas.microsoft.com/office/drawing/2014/main" id="{A04D9F26-252E-4BE7-985A-B5DA2EF7DC59}"/>
                  </a:ext>
                </a:extLst>
              </p:cNvPr>
              <p:cNvCxnSpPr/>
              <p:nvPr/>
            </p:nvCxnSpPr>
            <p:spPr>
              <a:xfrm>
                <a:off x="8644749" y="3298348"/>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397" name="Google Shape;1458;p18">
                <a:extLst>
                  <a:ext uri="{FF2B5EF4-FFF2-40B4-BE49-F238E27FC236}">
                    <a16:creationId xmlns:a16="http://schemas.microsoft.com/office/drawing/2014/main" id="{5F588115-6761-4034-B38D-BCAA431A7BC4}"/>
                  </a:ext>
                </a:extLst>
              </p:cNvPr>
              <p:cNvCxnSpPr/>
              <p:nvPr/>
            </p:nvCxnSpPr>
            <p:spPr>
              <a:xfrm rot="10800000">
                <a:off x="8578352" y="3364485"/>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398" name="Google Shape;1459;p18">
                <a:extLst>
                  <a:ext uri="{FF2B5EF4-FFF2-40B4-BE49-F238E27FC236}">
                    <a16:creationId xmlns:a16="http://schemas.microsoft.com/office/drawing/2014/main" id="{E29E8A0B-9A5B-489F-88B7-5371D55FCCA4}"/>
                  </a:ext>
                </a:extLst>
              </p:cNvPr>
              <p:cNvCxnSpPr/>
              <p:nvPr/>
            </p:nvCxnSpPr>
            <p:spPr>
              <a:xfrm>
                <a:off x="8584675" y="3298348"/>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399" name="Google Shape;1460;p18">
                <a:extLst>
                  <a:ext uri="{FF2B5EF4-FFF2-40B4-BE49-F238E27FC236}">
                    <a16:creationId xmlns:a16="http://schemas.microsoft.com/office/drawing/2014/main" id="{C3A87926-030E-4A8A-A33A-16459FDCF6D5}"/>
                  </a:ext>
                </a:extLst>
              </p:cNvPr>
              <p:cNvCxnSpPr/>
              <p:nvPr/>
            </p:nvCxnSpPr>
            <p:spPr>
              <a:xfrm rot="10800000">
                <a:off x="8519859" y="3364485"/>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00" name="Google Shape;1461;p18">
                <a:extLst>
                  <a:ext uri="{FF2B5EF4-FFF2-40B4-BE49-F238E27FC236}">
                    <a16:creationId xmlns:a16="http://schemas.microsoft.com/office/drawing/2014/main" id="{AE578F2E-AD78-4185-A476-2E9951849F6F}"/>
                  </a:ext>
                </a:extLst>
              </p:cNvPr>
              <p:cNvCxnSpPr/>
              <p:nvPr/>
            </p:nvCxnSpPr>
            <p:spPr>
              <a:xfrm>
                <a:off x="8553058" y="3298348"/>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01" name="Google Shape;1462;p18">
                <a:extLst>
                  <a:ext uri="{FF2B5EF4-FFF2-40B4-BE49-F238E27FC236}">
                    <a16:creationId xmlns:a16="http://schemas.microsoft.com/office/drawing/2014/main" id="{A03D6993-11D2-41A2-BF5F-ADE112CD6DE5}"/>
                  </a:ext>
                </a:extLst>
              </p:cNvPr>
              <p:cNvCxnSpPr/>
              <p:nvPr/>
            </p:nvCxnSpPr>
            <p:spPr>
              <a:xfrm rot="10800000">
                <a:off x="8486661" y="3364485"/>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02" name="Google Shape;1463;p18">
                <a:extLst>
                  <a:ext uri="{FF2B5EF4-FFF2-40B4-BE49-F238E27FC236}">
                    <a16:creationId xmlns:a16="http://schemas.microsoft.com/office/drawing/2014/main" id="{8A5C3188-9C19-48EC-B851-4E309735A24B}"/>
                  </a:ext>
                </a:extLst>
              </p:cNvPr>
              <p:cNvCxnSpPr/>
              <p:nvPr/>
            </p:nvCxnSpPr>
            <p:spPr>
              <a:xfrm>
                <a:off x="8529345" y="3298348"/>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03" name="Google Shape;1464;p18">
                <a:extLst>
                  <a:ext uri="{FF2B5EF4-FFF2-40B4-BE49-F238E27FC236}">
                    <a16:creationId xmlns:a16="http://schemas.microsoft.com/office/drawing/2014/main" id="{5D33DD8F-E82A-4886-94F4-C2C74495A8B0}"/>
                  </a:ext>
                </a:extLst>
              </p:cNvPr>
              <p:cNvCxnSpPr/>
              <p:nvPr/>
            </p:nvCxnSpPr>
            <p:spPr>
              <a:xfrm rot="10800000">
                <a:off x="8462948" y="3364485"/>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04" name="Google Shape;1465;p18">
                <a:extLst>
                  <a:ext uri="{FF2B5EF4-FFF2-40B4-BE49-F238E27FC236}">
                    <a16:creationId xmlns:a16="http://schemas.microsoft.com/office/drawing/2014/main" id="{3AAC45F4-D1E0-4228-A8FF-330326EDEC66}"/>
                  </a:ext>
                </a:extLst>
              </p:cNvPr>
              <p:cNvCxnSpPr/>
              <p:nvPr/>
            </p:nvCxnSpPr>
            <p:spPr>
              <a:xfrm>
                <a:off x="8492985" y="3298348"/>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05" name="Google Shape;1466;p18">
                <a:extLst>
                  <a:ext uri="{FF2B5EF4-FFF2-40B4-BE49-F238E27FC236}">
                    <a16:creationId xmlns:a16="http://schemas.microsoft.com/office/drawing/2014/main" id="{67EF5D26-A37F-41E7-A0CA-CF960132C87E}"/>
                  </a:ext>
                </a:extLst>
              </p:cNvPr>
              <p:cNvCxnSpPr/>
              <p:nvPr/>
            </p:nvCxnSpPr>
            <p:spPr>
              <a:xfrm rot="10800000">
                <a:off x="8428169" y="3364485"/>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06" name="Google Shape;1467;p18">
                <a:extLst>
                  <a:ext uri="{FF2B5EF4-FFF2-40B4-BE49-F238E27FC236}">
                    <a16:creationId xmlns:a16="http://schemas.microsoft.com/office/drawing/2014/main" id="{77938D45-880B-4CA4-BCCC-26A9EF25D8ED}"/>
                  </a:ext>
                </a:extLst>
              </p:cNvPr>
              <p:cNvCxnSpPr/>
              <p:nvPr/>
            </p:nvCxnSpPr>
            <p:spPr>
              <a:xfrm>
                <a:off x="8445558" y="3298348"/>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07" name="Google Shape;1468;p18">
                <a:extLst>
                  <a:ext uri="{FF2B5EF4-FFF2-40B4-BE49-F238E27FC236}">
                    <a16:creationId xmlns:a16="http://schemas.microsoft.com/office/drawing/2014/main" id="{B408DB3D-C873-4ACB-B381-DA4BE34CD315}"/>
                  </a:ext>
                </a:extLst>
              </p:cNvPr>
              <p:cNvCxnSpPr/>
              <p:nvPr/>
            </p:nvCxnSpPr>
            <p:spPr>
              <a:xfrm rot="10800000">
                <a:off x="8377581" y="3364484"/>
                <a:ext cx="134375" cy="0"/>
              </a:xfrm>
              <a:prstGeom prst="straightConnector1">
                <a:avLst/>
              </a:prstGeom>
              <a:noFill/>
              <a:ln w="19050" cap="flat" cmpd="sng">
                <a:solidFill>
                  <a:schemeClr val="dk2"/>
                </a:solidFill>
                <a:prstDash val="solid"/>
                <a:miter lim="800000"/>
                <a:headEnd type="none" w="med" len="med"/>
                <a:tailEnd type="none" w="med" len="med"/>
              </a:ln>
            </p:spPr>
          </p:cxnSp>
          <p:cxnSp>
            <p:nvCxnSpPr>
              <p:cNvPr id="408" name="Google Shape;1469;p18">
                <a:extLst>
                  <a:ext uri="{FF2B5EF4-FFF2-40B4-BE49-F238E27FC236}">
                    <a16:creationId xmlns:a16="http://schemas.microsoft.com/office/drawing/2014/main" id="{E31FADC7-07F9-4B3E-A9A4-561904288F82}"/>
                  </a:ext>
                </a:extLst>
              </p:cNvPr>
              <p:cNvCxnSpPr/>
              <p:nvPr/>
            </p:nvCxnSpPr>
            <p:spPr>
              <a:xfrm>
                <a:off x="8372838"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09" name="Google Shape;1470;p18">
                <a:extLst>
                  <a:ext uri="{FF2B5EF4-FFF2-40B4-BE49-F238E27FC236}">
                    <a16:creationId xmlns:a16="http://schemas.microsoft.com/office/drawing/2014/main" id="{0FEF01B8-237A-48D1-8BF5-2E53C1C3972E}"/>
                  </a:ext>
                </a:extLst>
              </p:cNvPr>
              <p:cNvCxnSpPr/>
              <p:nvPr/>
            </p:nvCxnSpPr>
            <p:spPr>
              <a:xfrm rot="10800000">
                <a:off x="8306441" y="3184968"/>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10" name="Google Shape;1471;p18">
                <a:extLst>
                  <a:ext uri="{FF2B5EF4-FFF2-40B4-BE49-F238E27FC236}">
                    <a16:creationId xmlns:a16="http://schemas.microsoft.com/office/drawing/2014/main" id="{E04A971D-D19C-4C1C-83C9-413AB7FB5361}"/>
                  </a:ext>
                </a:extLst>
              </p:cNvPr>
              <p:cNvCxnSpPr/>
              <p:nvPr/>
            </p:nvCxnSpPr>
            <p:spPr>
              <a:xfrm>
                <a:off x="8254272"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11" name="Google Shape;1472;p18">
                <a:extLst>
                  <a:ext uri="{FF2B5EF4-FFF2-40B4-BE49-F238E27FC236}">
                    <a16:creationId xmlns:a16="http://schemas.microsoft.com/office/drawing/2014/main" id="{822CF27D-C855-46B2-9463-0BF1D84AE3A1}"/>
                  </a:ext>
                </a:extLst>
              </p:cNvPr>
              <p:cNvCxnSpPr/>
              <p:nvPr/>
            </p:nvCxnSpPr>
            <p:spPr>
              <a:xfrm rot="10800000">
                <a:off x="8187875" y="3184968"/>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12" name="Google Shape;1473;p18">
                <a:extLst>
                  <a:ext uri="{FF2B5EF4-FFF2-40B4-BE49-F238E27FC236}">
                    <a16:creationId xmlns:a16="http://schemas.microsoft.com/office/drawing/2014/main" id="{FC920B49-A9A0-41C5-928B-8A499E05A3AF}"/>
                  </a:ext>
                </a:extLst>
              </p:cNvPr>
              <p:cNvCxnSpPr/>
              <p:nvPr/>
            </p:nvCxnSpPr>
            <p:spPr>
              <a:xfrm>
                <a:off x="8230559"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13" name="Google Shape;1474;p18">
                <a:extLst>
                  <a:ext uri="{FF2B5EF4-FFF2-40B4-BE49-F238E27FC236}">
                    <a16:creationId xmlns:a16="http://schemas.microsoft.com/office/drawing/2014/main" id="{F176671B-825F-4E7D-99D7-A82F54EA9216}"/>
                  </a:ext>
                </a:extLst>
              </p:cNvPr>
              <p:cNvCxnSpPr/>
              <p:nvPr/>
            </p:nvCxnSpPr>
            <p:spPr>
              <a:xfrm rot="10800000">
                <a:off x="8164162" y="3184968"/>
                <a:ext cx="132794" cy="0"/>
              </a:xfrm>
              <a:prstGeom prst="straightConnector1">
                <a:avLst/>
              </a:prstGeom>
              <a:noFill/>
              <a:ln w="19050" cap="flat" cmpd="sng">
                <a:solidFill>
                  <a:schemeClr val="dk2"/>
                </a:solidFill>
                <a:prstDash val="solid"/>
                <a:miter lim="800000"/>
                <a:headEnd type="none" w="med" len="med"/>
                <a:tailEnd type="none" w="med" len="med"/>
              </a:ln>
            </p:spPr>
          </p:cxnSp>
          <p:cxnSp>
            <p:nvCxnSpPr>
              <p:cNvPr id="414" name="Google Shape;1475;p18">
                <a:extLst>
                  <a:ext uri="{FF2B5EF4-FFF2-40B4-BE49-F238E27FC236}">
                    <a16:creationId xmlns:a16="http://schemas.microsoft.com/office/drawing/2014/main" id="{CF5D4889-8720-49C1-B928-03FDBC1D93A3}"/>
                  </a:ext>
                </a:extLst>
              </p:cNvPr>
              <p:cNvCxnSpPr/>
              <p:nvPr/>
            </p:nvCxnSpPr>
            <p:spPr>
              <a:xfrm>
                <a:off x="8221074"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15" name="Google Shape;1476;p18">
                <a:extLst>
                  <a:ext uri="{FF2B5EF4-FFF2-40B4-BE49-F238E27FC236}">
                    <a16:creationId xmlns:a16="http://schemas.microsoft.com/office/drawing/2014/main" id="{DCB990A2-4329-4EA0-BB4A-778944A35EA5}"/>
                  </a:ext>
                </a:extLst>
              </p:cNvPr>
              <p:cNvCxnSpPr/>
              <p:nvPr/>
            </p:nvCxnSpPr>
            <p:spPr>
              <a:xfrm rot="10800000">
                <a:off x="8154677" y="3184968"/>
                <a:ext cx="134375" cy="0"/>
              </a:xfrm>
              <a:prstGeom prst="straightConnector1">
                <a:avLst/>
              </a:prstGeom>
              <a:noFill/>
              <a:ln w="19050" cap="flat" cmpd="sng">
                <a:solidFill>
                  <a:schemeClr val="dk2"/>
                </a:solidFill>
                <a:prstDash val="solid"/>
                <a:miter lim="800000"/>
                <a:headEnd type="none" w="med" len="med"/>
                <a:tailEnd type="none" w="med" len="med"/>
              </a:ln>
            </p:spPr>
          </p:cxnSp>
          <p:cxnSp>
            <p:nvCxnSpPr>
              <p:cNvPr id="416" name="Google Shape;1477;p18">
                <a:extLst>
                  <a:ext uri="{FF2B5EF4-FFF2-40B4-BE49-F238E27FC236}">
                    <a16:creationId xmlns:a16="http://schemas.microsoft.com/office/drawing/2014/main" id="{9AA9C20B-37DC-4A68-8C43-999D4EDD7C34}"/>
                  </a:ext>
                </a:extLst>
              </p:cNvPr>
              <p:cNvCxnSpPr/>
              <p:nvPr/>
            </p:nvCxnSpPr>
            <p:spPr>
              <a:xfrm>
                <a:off x="8099346"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17" name="Google Shape;1478;p18">
                <a:extLst>
                  <a:ext uri="{FF2B5EF4-FFF2-40B4-BE49-F238E27FC236}">
                    <a16:creationId xmlns:a16="http://schemas.microsoft.com/office/drawing/2014/main" id="{EAADC80C-C16F-4346-BC46-7EE92B7E4C2F}"/>
                  </a:ext>
                </a:extLst>
              </p:cNvPr>
              <p:cNvCxnSpPr/>
              <p:nvPr/>
            </p:nvCxnSpPr>
            <p:spPr>
              <a:xfrm rot="10800000">
                <a:off x="8032949" y="3184968"/>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18" name="Google Shape;1479;p18">
                <a:extLst>
                  <a:ext uri="{FF2B5EF4-FFF2-40B4-BE49-F238E27FC236}">
                    <a16:creationId xmlns:a16="http://schemas.microsoft.com/office/drawing/2014/main" id="{572663B7-B902-4511-9C16-13D2A3BB70D1}"/>
                  </a:ext>
                </a:extLst>
              </p:cNvPr>
              <p:cNvCxnSpPr/>
              <p:nvPr/>
            </p:nvCxnSpPr>
            <p:spPr>
              <a:xfrm>
                <a:off x="8091442"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19" name="Google Shape;1480;p18">
                <a:extLst>
                  <a:ext uri="{FF2B5EF4-FFF2-40B4-BE49-F238E27FC236}">
                    <a16:creationId xmlns:a16="http://schemas.microsoft.com/office/drawing/2014/main" id="{6732F601-F553-4F8D-85FD-EE647C1CC864}"/>
                  </a:ext>
                </a:extLst>
              </p:cNvPr>
              <p:cNvCxnSpPr/>
              <p:nvPr/>
            </p:nvCxnSpPr>
            <p:spPr>
              <a:xfrm rot="10800000">
                <a:off x="8023464" y="3184968"/>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20" name="Google Shape;1481;p18">
                <a:extLst>
                  <a:ext uri="{FF2B5EF4-FFF2-40B4-BE49-F238E27FC236}">
                    <a16:creationId xmlns:a16="http://schemas.microsoft.com/office/drawing/2014/main" id="{B6C2A7E9-6175-432E-B6D2-F224D22EB0AF}"/>
                  </a:ext>
                </a:extLst>
              </p:cNvPr>
              <p:cNvCxnSpPr/>
              <p:nvPr/>
            </p:nvCxnSpPr>
            <p:spPr>
              <a:xfrm>
                <a:off x="8010817"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21" name="Google Shape;1482;p18">
                <a:extLst>
                  <a:ext uri="{FF2B5EF4-FFF2-40B4-BE49-F238E27FC236}">
                    <a16:creationId xmlns:a16="http://schemas.microsoft.com/office/drawing/2014/main" id="{C467680E-4689-4EDE-889F-6BB24A07E1A7}"/>
                  </a:ext>
                </a:extLst>
              </p:cNvPr>
              <p:cNvCxnSpPr/>
              <p:nvPr/>
            </p:nvCxnSpPr>
            <p:spPr>
              <a:xfrm rot="10800000">
                <a:off x="7944420" y="3184968"/>
                <a:ext cx="132794" cy="0"/>
              </a:xfrm>
              <a:prstGeom prst="straightConnector1">
                <a:avLst/>
              </a:prstGeom>
              <a:noFill/>
              <a:ln w="19050" cap="flat" cmpd="sng">
                <a:solidFill>
                  <a:schemeClr val="dk2"/>
                </a:solidFill>
                <a:prstDash val="solid"/>
                <a:miter lim="800000"/>
                <a:headEnd type="none" w="med" len="med"/>
                <a:tailEnd type="none" w="med" len="med"/>
              </a:ln>
            </p:spPr>
          </p:cxnSp>
          <p:cxnSp>
            <p:nvCxnSpPr>
              <p:cNvPr id="422" name="Google Shape;1483;p18">
                <a:extLst>
                  <a:ext uri="{FF2B5EF4-FFF2-40B4-BE49-F238E27FC236}">
                    <a16:creationId xmlns:a16="http://schemas.microsoft.com/office/drawing/2014/main" id="{466D8D3A-C998-46E5-8FF7-8AD7FB84C089}"/>
                  </a:ext>
                </a:extLst>
              </p:cNvPr>
              <p:cNvCxnSpPr/>
              <p:nvPr/>
            </p:nvCxnSpPr>
            <p:spPr>
              <a:xfrm>
                <a:off x="8001332"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23" name="Google Shape;1484;p18">
                <a:extLst>
                  <a:ext uri="{FF2B5EF4-FFF2-40B4-BE49-F238E27FC236}">
                    <a16:creationId xmlns:a16="http://schemas.microsoft.com/office/drawing/2014/main" id="{789AF56C-0953-4A24-833C-BF87B7789446}"/>
                  </a:ext>
                </a:extLst>
              </p:cNvPr>
              <p:cNvCxnSpPr/>
              <p:nvPr/>
            </p:nvCxnSpPr>
            <p:spPr>
              <a:xfrm rot="10800000">
                <a:off x="7934935" y="3184968"/>
                <a:ext cx="132794" cy="0"/>
              </a:xfrm>
              <a:prstGeom prst="straightConnector1">
                <a:avLst/>
              </a:prstGeom>
              <a:noFill/>
              <a:ln w="19050" cap="flat" cmpd="sng">
                <a:solidFill>
                  <a:schemeClr val="dk2"/>
                </a:solidFill>
                <a:prstDash val="solid"/>
                <a:miter lim="800000"/>
                <a:headEnd type="none" w="med" len="med"/>
                <a:tailEnd type="none" w="med" len="med"/>
              </a:ln>
            </p:spPr>
          </p:cxnSp>
          <p:cxnSp>
            <p:nvCxnSpPr>
              <p:cNvPr id="424" name="Google Shape;1485;p18">
                <a:extLst>
                  <a:ext uri="{FF2B5EF4-FFF2-40B4-BE49-F238E27FC236}">
                    <a16:creationId xmlns:a16="http://schemas.microsoft.com/office/drawing/2014/main" id="{0B8A8171-6FC7-4118-A9FF-0595059E4DBA}"/>
                  </a:ext>
                </a:extLst>
              </p:cNvPr>
              <p:cNvCxnSpPr/>
              <p:nvPr/>
            </p:nvCxnSpPr>
            <p:spPr>
              <a:xfrm>
                <a:off x="7972876"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25" name="Google Shape;1486;p18">
                <a:extLst>
                  <a:ext uri="{FF2B5EF4-FFF2-40B4-BE49-F238E27FC236}">
                    <a16:creationId xmlns:a16="http://schemas.microsoft.com/office/drawing/2014/main" id="{D6B2A554-4E2A-4BDB-8511-32F030C7E0A1}"/>
                  </a:ext>
                </a:extLst>
              </p:cNvPr>
              <p:cNvCxnSpPr/>
              <p:nvPr/>
            </p:nvCxnSpPr>
            <p:spPr>
              <a:xfrm rot="10800000">
                <a:off x="7909641" y="3184968"/>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26" name="Google Shape;1487;p18">
                <a:extLst>
                  <a:ext uri="{FF2B5EF4-FFF2-40B4-BE49-F238E27FC236}">
                    <a16:creationId xmlns:a16="http://schemas.microsoft.com/office/drawing/2014/main" id="{534F781A-6A9F-4C45-AD09-E4C39780AE72}"/>
                  </a:ext>
                </a:extLst>
              </p:cNvPr>
              <p:cNvCxnSpPr/>
              <p:nvPr/>
            </p:nvCxnSpPr>
            <p:spPr>
              <a:xfrm>
                <a:off x="7964972"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27" name="Google Shape;1488;p18">
                <a:extLst>
                  <a:ext uri="{FF2B5EF4-FFF2-40B4-BE49-F238E27FC236}">
                    <a16:creationId xmlns:a16="http://schemas.microsoft.com/office/drawing/2014/main" id="{0B05C845-925B-409E-8B68-B776488F0121}"/>
                  </a:ext>
                </a:extLst>
              </p:cNvPr>
              <p:cNvCxnSpPr/>
              <p:nvPr/>
            </p:nvCxnSpPr>
            <p:spPr>
              <a:xfrm rot="10800000">
                <a:off x="7900156" y="3184968"/>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28" name="Google Shape;1489;p18">
                <a:extLst>
                  <a:ext uri="{FF2B5EF4-FFF2-40B4-BE49-F238E27FC236}">
                    <a16:creationId xmlns:a16="http://schemas.microsoft.com/office/drawing/2014/main" id="{BBFA5BC7-9E8A-4887-B61A-E1C8BF32570D}"/>
                  </a:ext>
                </a:extLst>
              </p:cNvPr>
              <p:cNvCxnSpPr/>
              <p:nvPr/>
            </p:nvCxnSpPr>
            <p:spPr>
              <a:xfrm>
                <a:off x="7955486"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29" name="Google Shape;1490;p18">
                <a:extLst>
                  <a:ext uri="{FF2B5EF4-FFF2-40B4-BE49-F238E27FC236}">
                    <a16:creationId xmlns:a16="http://schemas.microsoft.com/office/drawing/2014/main" id="{4C543D6D-57C4-4F91-9727-C600BE01DD25}"/>
                  </a:ext>
                </a:extLst>
              </p:cNvPr>
              <p:cNvCxnSpPr/>
              <p:nvPr/>
            </p:nvCxnSpPr>
            <p:spPr>
              <a:xfrm rot="10800000">
                <a:off x="7890670" y="3184968"/>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30" name="Google Shape;1491;p18">
                <a:extLst>
                  <a:ext uri="{FF2B5EF4-FFF2-40B4-BE49-F238E27FC236}">
                    <a16:creationId xmlns:a16="http://schemas.microsoft.com/office/drawing/2014/main" id="{C4FE7F29-7C4B-4C8A-9B89-14D2F7A70901}"/>
                  </a:ext>
                </a:extLst>
              </p:cNvPr>
              <p:cNvCxnSpPr/>
              <p:nvPr/>
            </p:nvCxnSpPr>
            <p:spPr>
              <a:xfrm>
                <a:off x="7946001"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31" name="Google Shape;1492;p18">
                <a:extLst>
                  <a:ext uri="{FF2B5EF4-FFF2-40B4-BE49-F238E27FC236}">
                    <a16:creationId xmlns:a16="http://schemas.microsoft.com/office/drawing/2014/main" id="{D0D2BE51-D699-416B-A025-A27CB8067C46}"/>
                  </a:ext>
                </a:extLst>
              </p:cNvPr>
              <p:cNvCxnSpPr/>
              <p:nvPr/>
            </p:nvCxnSpPr>
            <p:spPr>
              <a:xfrm rot="10800000">
                <a:off x="7881185" y="3184968"/>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32" name="Google Shape;1493;p18">
                <a:extLst>
                  <a:ext uri="{FF2B5EF4-FFF2-40B4-BE49-F238E27FC236}">
                    <a16:creationId xmlns:a16="http://schemas.microsoft.com/office/drawing/2014/main" id="{B267CCEE-6F76-4ECA-9F02-EFD80E531B59}"/>
                  </a:ext>
                </a:extLst>
              </p:cNvPr>
              <p:cNvCxnSpPr/>
              <p:nvPr/>
            </p:nvCxnSpPr>
            <p:spPr>
              <a:xfrm>
                <a:off x="7851149"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33" name="Google Shape;1494;p18">
                <a:extLst>
                  <a:ext uri="{FF2B5EF4-FFF2-40B4-BE49-F238E27FC236}">
                    <a16:creationId xmlns:a16="http://schemas.microsoft.com/office/drawing/2014/main" id="{CB818230-ACB1-4569-95C1-926A44B88245}"/>
                  </a:ext>
                </a:extLst>
              </p:cNvPr>
              <p:cNvCxnSpPr/>
              <p:nvPr/>
            </p:nvCxnSpPr>
            <p:spPr>
              <a:xfrm rot="10800000">
                <a:off x="7784752" y="3184968"/>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34" name="Google Shape;1495;p18">
                <a:extLst>
                  <a:ext uri="{FF2B5EF4-FFF2-40B4-BE49-F238E27FC236}">
                    <a16:creationId xmlns:a16="http://schemas.microsoft.com/office/drawing/2014/main" id="{62502434-46E2-46F3-9502-883603E28D9F}"/>
                  </a:ext>
                </a:extLst>
              </p:cNvPr>
              <p:cNvCxnSpPr/>
              <p:nvPr/>
            </p:nvCxnSpPr>
            <p:spPr>
              <a:xfrm>
                <a:off x="7824274"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35" name="Google Shape;1496;p18">
                <a:extLst>
                  <a:ext uri="{FF2B5EF4-FFF2-40B4-BE49-F238E27FC236}">
                    <a16:creationId xmlns:a16="http://schemas.microsoft.com/office/drawing/2014/main" id="{CA7CFD38-9F29-41C1-8AE7-714F187E6FB8}"/>
                  </a:ext>
                </a:extLst>
              </p:cNvPr>
              <p:cNvCxnSpPr/>
              <p:nvPr/>
            </p:nvCxnSpPr>
            <p:spPr>
              <a:xfrm rot="10800000">
                <a:off x="7757877" y="3184968"/>
                <a:ext cx="132794" cy="0"/>
              </a:xfrm>
              <a:prstGeom prst="straightConnector1">
                <a:avLst/>
              </a:prstGeom>
              <a:noFill/>
              <a:ln w="19050" cap="flat" cmpd="sng">
                <a:solidFill>
                  <a:schemeClr val="dk2"/>
                </a:solidFill>
                <a:prstDash val="solid"/>
                <a:miter lim="800000"/>
                <a:headEnd type="none" w="med" len="med"/>
                <a:tailEnd type="none" w="med" len="med"/>
              </a:ln>
            </p:spPr>
          </p:cxnSp>
          <p:cxnSp>
            <p:nvCxnSpPr>
              <p:cNvPr id="436" name="Google Shape;1497;p18">
                <a:extLst>
                  <a:ext uri="{FF2B5EF4-FFF2-40B4-BE49-F238E27FC236}">
                    <a16:creationId xmlns:a16="http://schemas.microsoft.com/office/drawing/2014/main" id="{9A4DA4A0-1713-4C17-8E61-B3D0DDA31C04}"/>
                  </a:ext>
                </a:extLst>
              </p:cNvPr>
              <p:cNvCxnSpPr/>
              <p:nvPr/>
            </p:nvCxnSpPr>
            <p:spPr>
              <a:xfrm>
                <a:off x="7768943"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37" name="Google Shape;1498;p18">
                <a:extLst>
                  <a:ext uri="{FF2B5EF4-FFF2-40B4-BE49-F238E27FC236}">
                    <a16:creationId xmlns:a16="http://schemas.microsoft.com/office/drawing/2014/main" id="{F31A7B3B-77EB-4A04-AFCD-035F19062929}"/>
                  </a:ext>
                </a:extLst>
              </p:cNvPr>
              <p:cNvCxnSpPr/>
              <p:nvPr/>
            </p:nvCxnSpPr>
            <p:spPr>
              <a:xfrm rot="10800000">
                <a:off x="7702546" y="3184968"/>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38" name="Google Shape;1499;p18">
                <a:extLst>
                  <a:ext uri="{FF2B5EF4-FFF2-40B4-BE49-F238E27FC236}">
                    <a16:creationId xmlns:a16="http://schemas.microsoft.com/office/drawing/2014/main" id="{138349AF-5F93-49B8-AC0F-5C0302CCAFF1}"/>
                  </a:ext>
                </a:extLst>
              </p:cNvPr>
              <p:cNvCxnSpPr/>
              <p:nvPr/>
            </p:nvCxnSpPr>
            <p:spPr>
              <a:xfrm>
                <a:off x="7759458"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39" name="Google Shape;1500;p18">
                <a:extLst>
                  <a:ext uri="{FF2B5EF4-FFF2-40B4-BE49-F238E27FC236}">
                    <a16:creationId xmlns:a16="http://schemas.microsoft.com/office/drawing/2014/main" id="{0D367C07-DC94-443B-856B-CA938F560664}"/>
                  </a:ext>
                </a:extLst>
              </p:cNvPr>
              <p:cNvCxnSpPr/>
              <p:nvPr/>
            </p:nvCxnSpPr>
            <p:spPr>
              <a:xfrm rot="10800000">
                <a:off x="7693061" y="3184968"/>
                <a:ext cx="132794" cy="0"/>
              </a:xfrm>
              <a:prstGeom prst="straightConnector1">
                <a:avLst/>
              </a:prstGeom>
              <a:noFill/>
              <a:ln w="19050" cap="flat" cmpd="sng">
                <a:solidFill>
                  <a:schemeClr val="dk2"/>
                </a:solidFill>
                <a:prstDash val="solid"/>
                <a:miter lim="800000"/>
                <a:headEnd type="none" w="med" len="med"/>
                <a:tailEnd type="none" w="med" len="med"/>
              </a:ln>
            </p:spPr>
          </p:cxnSp>
          <p:cxnSp>
            <p:nvCxnSpPr>
              <p:cNvPr id="440" name="Google Shape;1501;p18">
                <a:extLst>
                  <a:ext uri="{FF2B5EF4-FFF2-40B4-BE49-F238E27FC236}">
                    <a16:creationId xmlns:a16="http://schemas.microsoft.com/office/drawing/2014/main" id="{6E45E67D-9CBD-4EB6-9BBD-655186E8B3E3}"/>
                  </a:ext>
                </a:extLst>
              </p:cNvPr>
              <p:cNvCxnSpPr/>
              <p:nvPr/>
            </p:nvCxnSpPr>
            <p:spPr>
              <a:xfrm>
                <a:off x="7702546"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41" name="Google Shape;1502;p18">
                <a:extLst>
                  <a:ext uri="{FF2B5EF4-FFF2-40B4-BE49-F238E27FC236}">
                    <a16:creationId xmlns:a16="http://schemas.microsoft.com/office/drawing/2014/main" id="{C7928456-5DA9-4315-BE45-CAF4CF062B63}"/>
                  </a:ext>
                </a:extLst>
              </p:cNvPr>
              <p:cNvCxnSpPr/>
              <p:nvPr/>
            </p:nvCxnSpPr>
            <p:spPr>
              <a:xfrm rot="10800000">
                <a:off x="7636149" y="3184968"/>
                <a:ext cx="132794" cy="0"/>
              </a:xfrm>
              <a:prstGeom prst="straightConnector1">
                <a:avLst/>
              </a:prstGeom>
              <a:noFill/>
              <a:ln w="19050" cap="flat" cmpd="sng">
                <a:solidFill>
                  <a:schemeClr val="dk2"/>
                </a:solidFill>
                <a:prstDash val="solid"/>
                <a:miter lim="800000"/>
                <a:headEnd type="none" w="med" len="med"/>
                <a:tailEnd type="none" w="med" len="med"/>
              </a:ln>
            </p:spPr>
          </p:cxnSp>
          <p:cxnSp>
            <p:nvCxnSpPr>
              <p:cNvPr id="442" name="Google Shape;1503;p18">
                <a:extLst>
                  <a:ext uri="{FF2B5EF4-FFF2-40B4-BE49-F238E27FC236}">
                    <a16:creationId xmlns:a16="http://schemas.microsoft.com/office/drawing/2014/main" id="{3CD9F78B-2BE4-4244-B35D-334E3C7C8F20}"/>
                  </a:ext>
                </a:extLst>
              </p:cNvPr>
              <p:cNvCxnSpPr/>
              <p:nvPr/>
            </p:nvCxnSpPr>
            <p:spPr>
              <a:xfrm>
                <a:off x="7667767"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43" name="Google Shape;1504;p18">
                <a:extLst>
                  <a:ext uri="{FF2B5EF4-FFF2-40B4-BE49-F238E27FC236}">
                    <a16:creationId xmlns:a16="http://schemas.microsoft.com/office/drawing/2014/main" id="{D04F99C4-D119-44C5-ABEF-6FD79DFED034}"/>
                  </a:ext>
                </a:extLst>
              </p:cNvPr>
              <p:cNvCxnSpPr/>
              <p:nvPr/>
            </p:nvCxnSpPr>
            <p:spPr>
              <a:xfrm rot="10800000">
                <a:off x="7601370" y="3184968"/>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44" name="Google Shape;1505;p18">
                <a:extLst>
                  <a:ext uri="{FF2B5EF4-FFF2-40B4-BE49-F238E27FC236}">
                    <a16:creationId xmlns:a16="http://schemas.microsoft.com/office/drawing/2014/main" id="{155F8534-DD58-4678-8B40-61D947F04DD5}"/>
                  </a:ext>
                </a:extLst>
              </p:cNvPr>
              <p:cNvCxnSpPr/>
              <p:nvPr/>
            </p:nvCxnSpPr>
            <p:spPr>
              <a:xfrm>
                <a:off x="7636149"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45" name="Google Shape;1506;p18">
                <a:extLst>
                  <a:ext uri="{FF2B5EF4-FFF2-40B4-BE49-F238E27FC236}">
                    <a16:creationId xmlns:a16="http://schemas.microsoft.com/office/drawing/2014/main" id="{82F37792-3522-4C12-8C74-42D75CAB9F13}"/>
                  </a:ext>
                </a:extLst>
              </p:cNvPr>
              <p:cNvCxnSpPr/>
              <p:nvPr/>
            </p:nvCxnSpPr>
            <p:spPr>
              <a:xfrm rot="10800000">
                <a:off x="7571333" y="3184968"/>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46" name="Google Shape;1507;p18">
                <a:extLst>
                  <a:ext uri="{FF2B5EF4-FFF2-40B4-BE49-F238E27FC236}">
                    <a16:creationId xmlns:a16="http://schemas.microsoft.com/office/drawing/2014/main" id="{DB55192A-BC5B-4663-9A06-C4E31EF8A934}"/>
                  </a:ext>
                </a:extLst>
              </p:cNvPr>
              <p:cNvCxnSpPr/>
              <p:nvPr/>
            </p:nvCxnSpPr>
            <p:spPr>
              <a:xfrm>
                <a:off x="7550782"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47" name="Google Shape;1508;p18">
                <a:extLst>
                  <a:ext uri="{FF2B5EF4-FFF2-40B4-BE49-F238E27FC236}">
                    <a16:creationId xmlns:a16="http://schemas.microsoft.com/office/drawing/2014/main" id="{838E2701-8427-4E6F-8D1A-51B8A7A7D769}"/>
                  </a:ext>
                </a:extLst>
              </p:cNvPr>
              <p:cNvCxnSpPr/>
              <p:nvPr/>
            </p:nvCxnSpPr>
            <p:spPr>
              <a:xfrm rot="10800000">
                <a:off x="7484385" y="3184968"/>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48" name="Google Shape;1509;p18">
                <a:extLst>
                  <a:ext uri="{FF2B5EF4-FFF2-40B4-BE49-F238E27FC236}">
                    <a16:creationId xmlns:a16="http://schemas.microsoft.com/office/drawing/2014/main" id="{4523D225-DAC6-4F0B-BC47-F840542C18C3}"/>
                  </a:ext>
                </a:extLst>
              </p:cNvPr>
              <p:cNvCxnSpPr/>
              <p:nvPr/>
            </p:nvCxnSpPr>
            <p:spPr>
              <a:xfrm>
                <a:off x="7544458"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49" name="Google Shape;1510;p18">
                <a:extLst>
                  <a:ext uri="{FF2B5EF4-FFF2-40B4-BE49-F238E27FC236}">
                    <a16:creationId xmlns:a16="http://schemas.microsoft.com/office/drawing/2014/main" id="{1BA66601-453C-4F71-A359-80351DB8FDE1}"/>
                  </a:ext>
                </a:extLst>
              </p:cNvPr>
              <p:cNvCxnSpPr/>
              <p:nvPr/>
            </p:nvCxnSpPr>
            <p:spPr>
              <a:xfrm rot="10800000">
                <a:off x="7476481" y="3184968"/>
                <a:ext cx="134375" cy="0"/>
              </a:xfrm>
              <a:prstGeom prst="straightConnector1">
                <a:avLst/>
              </a:prstGeom>
              <a:noFill/>
              <a:ln w="19050" cap="flat" cmpd="sng">
                <a:solidFill>
                  <a:schemeClr val="dk2"/>
                </a:solidFill>
                <a:prstDash val="solid"/>
                <a:miter lim="800000"/>
                <a:headEnd type="none" w="med" len="med"/>
                <a:tailEnd type="none" w="med" len="med"/>
              </a:ln>
            </p:spPr>
          </p:cxnSp>
          <p:cxnSp>
            <p:nvCxnSpPr>
              <p:cNvPr id="450" name="Google Shape;1511;p18">
                <a:extLst>
                  <a:ext uri="{FF2B5EF4-FFF2-40B4-BE49-F238E27FC236}">
                    <a16:creationId xmlns:a16="http://schemas.microsoft.com/office/drawing/2014/main" id="{ADD6E570-3953-4296-AAE4-DD703C4157D5}"/>
                  </a:ext>
                </a:extLst>
              </p:cNvPr>
              <p:cNvCxnSpPr/>
              <p:nvPr/>
            </p:nvCxnSpPr>
            <p:spPr>
              <a:xfrm>
                <a:off x="7536554" y="3118830"/>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51" name="Google Shape;1512;p18">
                <a:extLst>
                  <a:ext uri="{FF2B5EF4-FFF2-40B4-BE49-F238E27FC236}">
                    <a16:creationId xmlns:a16="http://schemas.microsoft.com/office/drawing/2014/main" id="{29C8F364-4575-4C99-91AE-80CB436E6737}"/>
                  </a:ext>
                </a:extLst>
              </p:cNvPr>
              <p:cNvCxnSpPr/>
              <p:nvPr/>
            </p:nvCxnSpPr>
            <p:spPr>
              <a:xfrm rot="10800000">
                <a:off x="7473319" y="3184968"/>
                <a:ext cx="129632" cy="0"/>
              </a:xfrm>
              <a:prstGeom prst="straightConnector1">
                <a:avLst/>
              </a:prstGeom>
              <a:noFill/>
              <a:ln w="19050" cap="flat" cmpd="sng">
                <a:solidFill>
                  <a:schemeClr val="dk2"/>
                </a:solidFill>
                <a:prstDash val="solid"/>
                <a:miter lim="800000"/>
                <a:headEnd type="none" w="med" len="med"/>
                <a:tailEnd type="none" w="med" len="med"/>
              </a:ln>
            </p:spPr>
          </p:cxnSp>
          <p:cxnSp>
            <p:nvCxnSpPr>
              <p:cNvPr id="452" name="Google Shape;1513;p18">
                <a:extLst>
                  <a:ext uri="{FF2B5EF4-FFF2-40B4-BE49-F238E27FC236}">
                    <a16:creationId xmlns:a16="http://schemas.microsoft.com/office/drawing/2014/main" id="{6B8DD91D-6C2F-4BE5-854C-0C9658E562FD}"/>
                  </a:ext>
                </a:extLst>
              </p:cNvPr>
              <p:cNvCxnSpPr/>
              <p:nvPr/>
            </p:nvCxnSpPr>
            <p:spPr>
              <a:xfrm>
                <a:off x="7531811" y="3118828"/>
                <a:ext cx="0" cy="133850"/>
              </a:xfrm>
              <a:prstGeom prst="straightConnector1">
                <a:avLst/>
              </a:prstGeom>
              <a:noFill/>
              <a:ln w="19050" cap="flat" cmpd="sng">
                <a:solidFill>
                  <a:schemeClr val="dk2"/>
                </a:solidFill>
                <a:prstDash val="solid"/>
                <a:miter lim="800000"/>
                <a:headEnd type="none" w="med" len="med"/>
                <a:tailEnd type="none" w="med" len="med"/>
              </a:ln>
            </p:spPr>
          </p:cxnSp>
          <p:cxnSp>
            <p:nvCxnSpPr>
              <p:cNvPr id="453" name="Google Shape;1514;p18">
                <a:extLst>
                  <a:ext uri="{FF2B5EF4-FFF2-40B4-BE49-F238E27FC236}">
                    <a16:creationId xmlns:a16="http://schemas.microsoft.com/office/drawing/2014/main" id="{68291635-1840-4DDC-B152-D3B153EF65D5}"/>
                  </a:ext>
                </a:extLst>
              </p:cNvPr>
              <p:cNvCxnSpPr/>
              <p:nvPr/>
            </p:nvCxnSpPr>
            <p:spPr>
              <a:xfrm rot="10800000">
                <a:off x="7465415" y="3184966"/>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54" name="Google Shape;1515;p18">
                <a:extLst>
                  <a:ext uri="{FF2B5EF4-FFF2-40B4-BE49-F238E27FC236}">
                    <a16:creationId xmlns:a16="http://schemas.microsoft.com/office/drawing/2014/main" id="{51C673BF-773C-41BC-844F-4C7D1527946A}"/>
                  </a:ext>
                </a:extLst>
              </p:cNvPr>
              <p:cNvCxnSpPr/>
              <p:nvPr/>
            </p:nvCxnSpPr>
            <p:spPr>
              <a:xfrm>
                <a:off x="7417988" y="3070012"/>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55" name="Google Shape;1516;p18">
                <a:extLst>
                  <a:ext uri="{FF2B5EF4-FFF2-40B4-BE49-F238E27FC236}">
                    <a16:creationId xmlns:a16="http://schemas.microsoft.com/office/drawing/2014/main" id="{1EDCA898-EBDC-4AEE-A986-D7953F704741}"/>
                  </a:ext>
                </a:extLst>
              </p:cNvPr>
              <p:cNvCxnSpPr/>
              <p:nvPr/>
            </p:nvCxnSpPr>
            <p:spPr>
              <a:xfrm rot="10800000">
                <a:off x="7353172" y="3137724"/>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56" name="Google Shape;1517;p18">
                <a:extLst>
                  <a:ext uri="{FF2B5EF4-FFF2-40B4-BE49-F238E27FC236}">
                    <a16:creationId xmlns:a16="http://schemas.microsoft.com/office/drawing/2014/main" id="{93F5A507-3039-4D54-A899-E1D405109E01}"/>
                  </a:ext>
                </a:extLst>
              </p:cNvPr>
              <p:cNvCxnSpPr/>
              <p:nvPr/>
            </p:nvCxnSpPr>
            <p:spPr>
              <a:xfrm>
                <a:off x="7357915" y="2934587"/>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57" name="Google Shape;1518;p18">
                <a:extLst>
                  <a:ext uri="{FF2B5EF4-FFF2-40B4-BE49-F238E27FC236}">
                    <a16:creationId xmlns:a16="http://schemas.microsoft.com/office/drawing/2014/main" id="{254C50D4-331F-4168-AF76-F1DAE0E68D68}"/>
                  </a:ext>
                </a:extLst>
              </p:cNvPr>
              <p:cNvCxnSpPr/>
              <p:nvPr/>
            </p:nvCxnSpPr>
            <p:spPr>
              <a:xfrm rot="10800000">
                <a:off x="7291518" y="3002299"/>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58" name="Google Shape;1519;p18">
                <a:extLst>
                  <a:ext uri="{FF2B5EF4-FFF2-40B4-BE49-F238E27FC236}">
                    <a16:creationId xmlns:a16="http://schemas.microsoft.com/office/drawing/2014/main" id="{9ADF4ECE-D6E8-4197-9738-769053833652}"/>
                  </a:ext>
                </a:extLst>
              </p:cNvPr>
              <p:cNvCxnSpPr/>
              <p:nvPr/>
            </p:nvCxnSpPr>
            <p:spPr>
              <a:xfrm>
                <a:off x="7348430" y="2934587"/>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59" name="Google Shape;1520;p18">
                <a:extLst>
                  <a:ext uri="{FF2B5EF4-FFF2-40B4-BE49-F238E27FC236}">
                    <a16:creationId xmlns:a16="http://schemas.microsoft.com/office/drawing/2014/main" id="{BEAE673A-B100-433A-9E88-73520E670419}"/>
                  </a:ext>
                </a:extLst>
              </p:cNvPr>
              <p:cNvCxnSpPr/>
              <p:nvPr/>
            </p:nvCxnSpPr>
            <p:spPr>
              <a:xfrm rot="10800000">
                <a:off x="7282033" y="3002299"/>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60" name="Google Shape;1521;p18">
                <a:extLst>
                  <a:ext uri="{FF2B5EF4-FFF2-40B4-BE49-F238E27FC236}">
                    <a16:creationId xmlns:a16="http://schemas.microsoft.com/office/drawing/2014/main" id="{64BED53B-45AA-4E41-86CB-FE8D3A57B567}"/>
                  </a:ext>
                </a:extLst>
              </p:cNvPr>
              <p:cNvCxnSpPr/>
              <p:nvPr/>
            </p:nvCxnSpPr>
            <p:spPr>
              <a:xfrm>
                <a:off x="7342106" y="2934587"/>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61" name="Google Shape;1522;p18">
                <a:extLst>
                  <a:ext uri="{FF2B5EF4-FFF2-40B4-BE49-F238E27FC236}">
                    <a16:creationId xmlns:a16="http://schemas.microsoft.com/office/drawing/2014/main" id="{361DC960-7045-4671-97F7-01FB7FCF92D4}"/>
                  </a:ext>
                </a:extLst>
              </p:cNvPr>
              <p:cNvCxnSpPr/>
              <p:nvPr/>
            </p:nvCxnSpPr>
            <p:spPr>
              <a:xfrm rot="10800000">
                <a:off x="7274128" y="3002299"/>
                <a:ext cx="134375" cy="0"/>
              </a:xfrm>
              <a:prstGeom prst="straightConnector1">
                <a:avLst/>
              </a:prstGeom>
              <a:noFill/>
              <a:ln w="19050" cap="flat" cmpd="sng">
                <a:solidFill>
                  <a:schemeClr val="dk2"/>
                </a:solidFill>
                <a:prstDash val="solid"/>
                <a:miter lim="800000"/>
                <a:headEnd type="none" w="med" len="med"/>
                <a:tailEnd type="none" w="med" len="med"/>
              </a:ln>
            </p:spPr>
          </p:cxnSp>
          <p:cxnSp>
            <p:nvCxnSpPr>
              <p:cNvPr id="462" name="Google Shape;1523;p18">
                <a:extLst>
                  <a:ext uri="{FF2B5EF4-FFF2-40B4-BE49-F238E27FC236}">
                    <a16:creationId xmlns:a16="http://schemas.microsoft.com/office/drawing/2014/main" id="{4FE1F4E1-D22A-4D38-A252-C3B740935456}"/>
                  </a:ext>
                </a:extLst>
              </p:cNvPr>
              <p:cNvCxnSpPr/>
              <p:nvPr/>
            </p:nvCxnSpPr>
            <p:spPr>
              <a:xfrm>
                <a:off x="7337364" y="2934587"/>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63" name="Google Shape;1524;p18">
                <a:extLst>
                  <a:ext uri="{FF2B5EF4-FFF2-40B4-BE49-F238E27FC236}">
                    <a16:creationId xmlns:a16="http://schemas.microsoft.com/office/drawing/2014/main" id="{6F16FB30-98FB-4B4E-8C2C-4EBE85850E6F}"/>
                  </a:ext>
                </a:extLst>
              </p:cNvPr>
              <p:cNvCxnSpPr/>
              <p:nvPr/>
            </p:nvCxnSpPr>
            <p:spPr>
              <a:xfrm rot="10800000">
                <a:off x="7270967" y="3002299"/>
                <a:ext cx="129632" cy="0"/>
              </a:xfrm>
              <a:prstGeom prst="straightConnector1">
                <a:avLst/>
              </a:prstGeom>
              <a:noFill/>
              <a:ln w="19050" cap="flat" cmpd="sng">
                <a:solidFill>
                  <a:schemeClr val="dk2"/>
                </a:solidFill>
                <a:prstDash val="solid"/>
                <a:miter lim="800000"/>
                <a:headEnd type="none" w="med" len="med"/>
                <a:tailEnd type="none" w="med" len="med"/>
              </a:ln>
            </p:spPr>
          </p:cxnSp>
          <p:cxnSp>
            <p:nvCxnSpPr>
              <p:cNvPr id="464" name="Google Shape;1525;p18">
                <a:extLst>
                  <a:ext uri="{FF2B5EF4-FFF2-40B4-BE49-F238E27FC236}">
                    <a16:creationId xmlns:a16="http://schemas.microsoft.com/office/drawing/2014/main" id="{37166565-B9B3-4270-91D9-702C6B2E5CD2}"/>
                  </a:ext>
                </a:extLst>
              </p:cNvPr>
              <p:cNvCxnSpPr/>
              <p:nvPr/>
            </p:nvCxnSpPr>
            <p:spPr>
              <a:xfrm>
                <a:off x="7299422" y="2934587"/>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65" name="Google Shape;1526;p18">
                <a:extLst>
                  <a:ext uri="{FF2B5EF4-FFF2-40B4-BE49-F238E27FC236}">
                    <a16:creationId xmlns:a16="http://schemas.microsoft.com/office/drawing/2014/main" id="{FC93F7D5-1D4A-462C-A179-4AAB611423D0}"/>
                  </a:ext>
                </a:extLst>
              </p:cNvPr>
              <p:cNvCxnSpPr/>
              <p:nvPr/>
            </p:nvCxnSpPr>
            <p:spPr>
              <a:xfrm rot="10800000">
                <a:off x="7233026" y="3002299"/>
                <a:ext cx="134375" cy="0"/>
              </a:xfrm>
              <a:prstGeom prst="straightConnector1">
                <a:avLst/>
              </a:prstGeom>
              <a:noFill/>
              <a:ln w="19050" cap="flat" cmpd="sng">
                <a:solidFill>
                  <a:schemeClr val="dk2"/>
                </a:solidFill>
                <a:prstDash val="solid"/>
                <a:miter lim="800000"/>
                <a:headEnd type="none" w="med" len="med"/>
                <a:tailEnd type="none" w="med" len="med"/>
              </a:ln>
            </p:spPr>
          </p:cxnSp>
          <p:cxnSp>
            <p:nvCxnSpPr>
              <p:cNvPr id="466" name="Google Shape;1527;p18">
                <a:extLst>
                  <a:ext uri="{FF2B5EF4-FFF2-40B4-BE49-F238E27FC236}">
                    <a16:creationId xmlns:a16="http://schemas.microsoft.com/office/drawing/2014/main" id="{C9315389-53A4-45CC-9195-B19E5B940D96}"/>
                  </a:ext>
                </a:extLst>
              </p:cNvPr>
              <p:cNvCxnSpPr/>
              <p:nvPr/>
            </p:nvCxnSpPr>
            <p:spPr>
              <a:xfrm>
                <a:off x="7274128" y="2934587"/>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67" name="Google Shape;1528;p18">
                <a:extLst>
                  <a:ext uri="{FF2B5EF4-FFF2-40B4-BE49-F238E27FC236}">
                    <a16:creationId xmlns:a16="http://schemas.microsoft.com/office/drawing/2014/main" id="{FBA1A9D0-3E7F-4DEE-9DEC-CD71EB0E51E7}"/>
                  </a:ext>
                </a:extLst>
              </p:cNvPr>
              <p:cNvCxnSpPr/>
              <p:nvPr/>
            </p:nvCxnSpPr>
            <p:spPr>
              <a:xfrm rot="10800000">
                <a:off x="7210893" y="3002299"/>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68" name="Google Shape;1529;p18">
                <a:extLst>
                  <a:ext uri="{FF2B5EF4-FFF2-40B4-BE49-F238E27FC236}">
                    <a16:creationId xmlns:a16="http://schemas.microsoft.com/office/drawing/2014/main" id="{60B1CBB9-F89D-4615-88B1-8E46C549BE2B}"/>
                  </a:ext>
                </a:extLst>
              </p:cNvPr>
              <p:cNvCxnSpPr/>
              <p:nvPr/>
            </p:nvCxnSpPr>
            <p:spPr>
              <a:xfrm>
                <a:off x="7256739" y="2934587"/>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69" name="Google Shape;1530;p18">
                <a:extLst>
                  <a:ext uri="{FF2B5EF4-FFF2-40B4-BE49-F238E27FC236}">
                    <a16:creationId xmlns:a16="http://schemas.microsoft.com/office/drawing/2014/main" id="{C2FA2666-1777-4F97-8529-EA2DA0EBF05A}"/>
                  </a:ext>
                </a:extLst>
              </p:cNvPr>
              <p:cNvCxnSpPr/>
              <p:nvPr/>
            </p:nvCxnSpPr>
            <p:spPr>
              <a:xfrm rot="10800000">
                <a:off x="7190342" y="3002299"/>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70" name="Google Shape;1531;p18">
                <a:extLst>
                  <a:ext uri="{FF2B5EF4-FFF2-40B4-BE49-F238E27FC236}">
                    <a16:creationId xmlns:a16="http://schemas.microsoft.com/office/drawing/2014/main" id="{8121DF87-A738-4863-AA8A-DFB3064164EC}"/>
                  </a:ext>
                </a:extLst>
              </p:cNvPr>
              <p:cNvCxnSpPr/>
              <p:nvPr/>
            </p:nvCxnSpPr>
            <p:spPr>
              <a:xfrm>
                <a:off x="7231445" y="2934588"/>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71" name="Google Shape;1532;p18">
                <a:extLst>
                  <a:ext uri="{FF2B5EF4-FFF2-40B4-BE49-F238E27FC236}">
                    <a16:creationId xmlns:a16="http://schemas.microsoft.com/office/drawing/2014/main" id="{0DA40F7C-AE0D-4828-A477-BFAD60DD0B51}"/>
                  </a:ext>
                </a:extLst>
              </p:cNvPr>
              <p:cNvCxnSpPr/>
              <p:nvPr/>
            </p:nvCxnSpPr>
            <p:spPr>
              <a:xfrm rot="10800000">
                <a:off x="7166629" y="3002301"/>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72" name="Google Shape;1533;p18">
                <a:extLst>
                  <a:ext uri="{FF2B5EF4-FFF2-40B4-BE49-F238E27FC236}">
                    <a16:creationId xmlns:a16="http://schemas.microsoft.com/office/drawing/2014/main" id="{51FE8D01-979C-488F-B2CE-450A3E26A099}"/>
                  </a:ext>
                </a:extLst>
              </p:cNvPr>
              <p:cNvCxnSpPr/>
              <p:nvPr/>
            </p:nvCxnSpPr>
            <p:spPr>
              <a:xfrm>
                <a:off x="7187180" y="2904669"/>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73" name="Google Shape;1534;p18">
                <a:extLst>
                  <a:ext uri="{FF2B5EF4-FFF2-40B4-BE49-F238E27FC236}">
                    <a16:creationId xmlns:a16="http://schemas.microsoft.com/office/drawing/2014/main" id="{6C3E2D44-06D4-47A4-8DC6-690F879D6273}"/>
                  </a:ext>
                </a:extLst>
              </p:cNvPr>
              <p:cNvCxnSpPr/>
              <p:nvPr/>
            </p:nvCxnSpPr>
            <p:spPr>
              <a:xfrm rot="10800000">
                <a:off x="7120783" y="2969232"/>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74" name="Google Shape;1535;p18">
                <a:extLst>
                  <a:ext uri="{FF2B5EF4-FFF2-40B4-BE49-F238E27FC236}">
                    <a16:creationId xmlns:a16="http://schemas.microsoft.com/office/drawing/2014/main" id="{DDB3D83E-BDFC-42D3-992F-358978F79AFC}"/>
                  </a:ext>
                </a:extLst>
              </p:cNvPr>
              <p:cNvCxnSpPr/>
              <p:nvPr/>
            </p:nvCxnSpPr>
            <p:spPr>
              <a:xfrm>
                <a:off x="7139754" y="2904669"/>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75" name="Google Shape;1536;p18">
                <a:extLst>
                  <a:ext uri="{FF2B5EF4-FFF2-40B4-BE49-F238E27FC236}">
                    <a16:creationId xmlns:a16="http://schemas.microsoft.com/office/drawing/2014/main" id="{EB815910-DFDE-4F57-9DF0-6929CAE86270}"/>
                  </a:ext>
                </a:extLst>
              </p:cNvPr>
              <p:cNvCxnSpPr/>
              <p:nvPr/>
            </p:nvCxnSpPr>
            <p:spPr>
              <a:xfrm rot="10800000">
                <a:off x="7073357" y="2969232"/>
                <a:ext cx="132794" cy="0"/>
              </a:xfrm>
              <a:prstGeom prst="straightConnector1">
                <a:avLst/>
              </a:prstGeom>
              <a:noFill/>
              <a:ln w="19050" cap="flat" cmpd="sng">
                <a:solidFill>
                  <a:schemeClr val="dk2"/>
                </a:solidFill>
                <a:prstDash val="solid"/>
                <a:miter lim="800000"/>
                <a:headEnd type="none" w="med" len="med"/>
                <a:tailEnd type="none" w="med" len="med"/>
              </a:ln>
            </p:spPr>
          </p:cxnSp>
          <p:cxnSp>
            <p:nvCxnSpPr>
              <p:cNvPr id="476" name="Google Shape;1537;p18">
                <a:extLst>
                  <a:ext uri="{FF2B5EF4-FFF2-40B4-BE49-F238E27FC236}">
                    <a16:creationId xmlns:a16="http://schemas.microsoft.com/office/drawing/2014/main" id="{CAEC32FF-7CC5-4F30-A2BE-68FA7CD373DB}"/>
                  </a:ext>
                </a:extLst>
              </p:cNvPr>
              <p:cNvCxnSpPr/>
              <p:nvPr/>
            </p:nvCxnSpPr>
            <p:spPr>
              <a:xfrm>
                <a:off x="7131850" y="2904669"/>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77" name="Google Shape;1538;p18">
                <a:extLst>
                  <a:ext uri="{FF2B5EF4-FFF2-40B4-BE49-F238E27FC236}">
                    <a16:creationId xmlns:a16="http://schemas.microsoft.com/office/drawing/2014/main" id="{A6F20D17-F5FA-4594-BE88-3B735FA4B8EF}"/>
                  </a:ext>
                </a:extLst>
              </p:cNvPr>
              <p:cNvCxnSpPr/>
              <p:nvPr/>
            </p:nvCxnSpPr>
            <p:spPr>
              <a:xfrm rot="10800000">
                <a:off x="7065453" y="2969232"/>
                <a:ext cx="134375" cy="0"/>
              </a:xfrm>
              <a:prstGeom prst="straightConnector1">
                <a:avLst/>
              </a:prstGeom>
              <a:noFill/>
              <a:ln w="19050" cap="flat" cmpd="sng">
                <a:solidFill>
                  <a:schemeClr val="dk2"/>
                </a:solidFill>
                <a:prstDash val="solid"/>
                <a:miter lim="800000"/>
                <a:headEnd type="none" w="med" len="med"/>
                <a:tailEnd type="none" w="med" len="med"/>
              </a:ln>
            </p:spPr>
          </p:cxnSp>
          <p:cxnSp>
            <p:nvCxnSpPr>
              <p:cNvPr id="478" name="Google Shape;1539;p18">
                <a:extLst>
                  <a:ext uri="{FF2B5EF4-FFF2-40B4-BE49-F238E27FC236}">
                    <a16:creationId xmlns:a16="http://schemas.microsoft.com/office/drawing/2014/main" id="{067F1B80-214A-44D3-9EF6-37FDB59940FF}"/>
                  </a:ext>
                </a:extLst>
              </p:cNvPr>
              <p:cNvCxnSpPr/>
              <p:nvPr/>
            </p:nvCxnSpPr>
            <p:spPr>
              <a:xfrm>
                <a:off x="7125526" y="2904669"/>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79" name="Google Shape;1540;p18">
                <a:extLst>
                  <a:ext uri="{FF2B5EF4-FFF2-40B4-BE49-F238E27FC236}">
                    <a16:creationId xmlns:a16="http://schemas.microsoft.com/office/drawing/2014/main" id="{CDB0D5B0-1545-449B-820A-D2C2D617ADB7}"/>
                  </a:ext>
                </a:extLst>
              </p:cNvPr>
              <p:cNvCxnSpPr/>
              <p:nvPr/>
            </p:nvCxnSpPr>
            <p:spPr>
              <a:xfrm rot="10800000">
                <a:off x="7059129" y="2969232"/>
                <a:ext cx="132794" cy="0"/>
              </a:xfrm>
              <a:prstGeom prst="straightConnector1">
                <a:avLst/>
              </a:prstGeom>
              <a:noFill/>
              <a:ln w="19050" cap="flat" cmpd="sng">
                <a:solidFill>
                  <a:schemeClr val="dk2"/>
                </a:solidFill>
                <a:prstDash val="solid"/>
                <a:miter lim="800000"/>
                <a:headEnd type="none" w="med" len="med"/>
                <a:tailEnd type="none" w="med" len="med"/>
              </a:ln>
            </p:spPr>
          </p:cxnSp>
          <p:cxnSp>
            <p:nvCxnSpPr>
              <p:cNvPr id="480" name="Google Shape;1541;p18">
                <a:extLst>
                  <a:ext uri="{FF2B5EF4-FFF2-40B4-BE49-F238E27FC236}">
                    <a16:creationId xmlns:a16="http://schemas.microsoft.com/office/drawing/2014/main" id="{8CDCC217-F6F2-4333-9DD7-65405CE96FA0}"/>
                  </a:ext>
                </a:extLst>
              </p:cNvPr>
              <p:cNvCxnSpPr/>
              <p:nvPr/>
            </p:nvCxnSpPr>
            <p:spPr>
              <a:xfrm>
                <a:off x="7119202" y="2904669"/>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81" name="Google Shape;1542;p18">
                <a:extLst>
                  <a:ext uri="{FF2B5EF4-FFF2-40B4-BE49-F238E27FC236}">
                    <a16:creationId xmlns:a16="http://schemas.microsoft.com/office/drawing/2014/main" id="{A9DCA3F3-25AB-41E0-B23F-7FC3D8099389}"/>
                  </a:ext>
                </a:extLst>
              </p:cNvPr>
              <p:cNvCxnSpPr/>
              <p:nvPr/>
            </p:nvCxnSpPr>
            <p:spPr>
              <a:xfrm rot="10800000">
                <a:off x="7054387" y="2969232"/>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82" name="Google Shape;1543;p18">
                <a:extLst>
                  <a:ext uri="{FF2B5EF4-FFF2-40B4-BE49-F238E27FC236}">
                    <a16:creationId xmlns:a16="http://schemas.microsoft.com/office/drawing/2014/main" id="{86BCE67F-C28E-47EF-971D-B2DAA2E71FE6}"/>
                  </a:ext>
                </a:extLst>
              </p:cNvPr>
              <p:cNvCxnSpPr/>
              <p:nvPr/>
            </p:nvCxnSpPr>
            <p:spPr>
              <a:xfrm>
                <a:off x="7111298" y="2904669"/>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83" name="Google Shape;1544;p18">
                <a:extLst>
                  <a:ext uri="{FF2B5EF4-FFF2-40B4-BE49-F238E27FC236}">
                    <a16:creationId xmlns:a16="http://schemas.microsoft.com/office/drawing/2014/main" id="{3474A587-C487-42BC-8696-5D0AB774D4E1}"/>
                  </a:ext>
                </a:extLst>
              </p:cNvPr>
              <p:cNvCxnSpPr/>
              <p:nvPr/>
            </p:nvCxnSpPr>
            <p:spPr>
              <a:xfrm rot="10800000">
                <a:off x="7048063" y="2969232"/>
                <a:ext cx="129632" cy="0"/>
              </a:xfrm>
              <a:prstGeom prst="straightConnector1">
                <a:avLst/>
              </a:prstGeom>
              <a:noFill/>
              <a:ln w="19050" cap="flat" cmpd="sng">
                <a:solidFill>
                  <a:schemeClr val="dk2"/>
                </a:solidFill>
                <a:prstDash val="solid"/>
                <a:miter lim="800000"/>
                <a:headEnd type="none" w="med" len="med"/>
                <a:tailEnd type="none" w="med" len="med"/>
              </a:ln>
            </p:spPr>
          </p:cxnSp>
          <p:cxnSp>
            <p:nvCxnSpPr>
              <p:cNvPr id="484" name="Google Shape;1545;p18">
                <a:extLst>
                  <a:ext uri="{FF2B5EF4-FFF2-40B4-BE49-F238E27FC236}">
                    <a16:creationId xmlns:a16="http://schemas.microsoft.com/office/drawing/2014/main" id="{775C8AEB-D587-47F4-BDA7-676B95792612}"/>
                  </a:ext>
                </a:extLst>
              </p:cNvPr>
              <p:cNvCxnSpPr/>
              <p:nvPr/>
            </p:nvCxnSpPr>
            <p:spPr>
              <a:xfrm>
                <a:off x="7104975" y="2904669"/>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85" name="Google Shape;1546;p18">
                <a:extLst>
                  <a:ext uri="{FF2B5EF4-FFF2-40B4-BE49-F238E27FC236}">
                    <a16:creationId xmlns:a16="http://schemas.microsoft.com/office/drawing/2014/main" id="{1A07E2E2-1FE1-4E50-BC23-5FC7E1510490}"/>
                  </a:ext>
                </a:extLst>
              </p:cNvPr>
              <p:cNvCxnSpPr/>
              <p:nvPr/>
            </p:nvCxnSpPr>
            <p:spPr>
              <a:xfrm rot="10800000">
                <a:off x="7040159" y="2969232"/>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86" name="Google Shape;1547;p18">
                <a:extLst>
                  <a:ext uri="{FF2B5EF4-FFF2-40B4-BE49-F238E27FC236}">
                    <a16:creationId xmlns:a16="http://schemas.microsoft.com/office/drawing/2014/main" id="{D3461085-14D3-42D7-B217-049B76BF0937}"/>
                  </a:ext>
                </a:extLst>
              </p:cNvPr>
              <p:cNvCxnSpPr/>
              <p:nvPr/>
            </p:nvCxnSpPr>
            <p:spPr>
              <a:xfrm>
                <a:off x="7100232" y="2904669"/>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87" name="Google Shape;1548;p18">
                <a:extLst>
                  <a:ext uri="{FF2B5EF4-FFF2-40B4-BE49-F238E27FC236}">
                    <a16:creationId xmlns:a16="http://schemas.microsoft.com/office/drawing/2014/main" id="{65AA0D1D-8A4F-4653-8C64-1EC26C027DC8}"/>
                  </a:ext>
                </a:extLst>
              </p:cNvPr>
              <p:cNvCxnSpPr/>
              <p:nvPr/>
            </p:nvCxnSpPr>
            <p:spPr>
              <a:xfrm rot="10800000">
                <a:off x="7033835" y="2969232"/>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88" name="Google Shape;1549;p18">
                <a:extLst>
                  <a:ext uri="{FF2B5EF4-FFF2-40B4-BE49-F238E27FC236}">
                    <a16:creationId xmlns:a16="http://schemas.microsoft.com/office/drawing/2014/main" id="{C072AED1-0912-4567-8122-44BDFF40A67E}"/>
                  </a:ext>
                </a:extLst>
              </p:cNvPr>
              <p:cNvCxnSpPr/>
              <p:nvPr/>
            </p:nvCxnSpPr>
            <p:spPr>
              <a:xfrm>
                <a:off x="7093908" y="2904669"/>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89" name="Google Shape;1550;p18">
                <a:extLst>
                  <a:ext uri="{FF2B5EF4-FFF2-40B4-BE49-F238E27FC236}">
                    <a16:creationId xmlns:a16="http://schemas.microsoft.com/office/drawing/2014/main" id="{96831C00-3647-4C0E-964A-3FD45BB6A7EC}"/>
                  </a:ext>
                </a:extLst>
              </p:cNvPr>
              <p:cNvCxnSpPr/>
              <p:nvPr/>
            </p:nvCxnSpPr>
            <p:spPr>
              <a:xfrm rot="10800000">
                <a:off x="7025931" y="2969232"/>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90" name="Google Shape;1551;p18">
                <a:extLst>
                  <a:ext uri="{FF2B5EF4-FFF2-40B4-BE49-F238E27FC236}">
                    <a16:creationId xmlns:a16="http://schemas.microsoft.com/office/drawing/2014/main" id="{6E465BC4-C637-4522-A26D-37A5296F7088}"/>
                  </a:ext>
                </a:extLst>
              </p:cNvPr>
              <p:cNvCxnSpPr/>
              <p:nvPr/>
            </p:nvCxnSpPr>
            <p:spPr>
              <a:xfrm>
                <a:off x="7070195" y="2904669"/>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91" name="Google Shape;1552;p18">
                <a:extLst>
                  <a:ext uri="{FF2B5EF4-FFF2-40B4-BE49-F238E27FC236}">
                    <a16:creationId xmlns:a16="http://schemas.microsoft.com/office/drawing/2014/main" id="{BBEB788E-FB70-44BD-A1A6-E6D8F00D7F3D}"/>
                  </a:ext>
                </a:extLst>
              </p:cNvPr>
              <p:cNvCxnSpPr/>
              <p:nvPr/>
            </p:nvCxnSpPr>
            <p:spPr>
              <a:xfrm rot="10800000">
                <a:off x="7005379" y="2969232"/>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92" name="Google Shape;1553;p18">
                <a:extLst>
                  <a:ext uri="{FF2B5EF4-FFF2-40B4-BE49-F238E27FC236}">
                    <a16:creationId xmlns:a16="http://schemas.microsoft.com/office/drawing/2014/main" id="{22E3BD32-14FF-4A0C-9136-5FB96CBD196F}"/>
                  </a:ext>
                </a:extLst>
              </p:cNvPr>
              <p:cNvCxnSpPr/>
              <p:nvPr/>
            </p:nvCxnSpPr>
            <p:spPr>
              <a:xfrm>
                <a:off x="7073357" y="2904669"/>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93" name="Google Shape;1554;p18">
                <a:extLst>
                  <a:ext uri="{FF2B5EF4-FFF2-40B4-BE49-F238E27FC236}">
                    <a16:creationId xmlns:a16="http://schemas.microsoft.com/office/drawing/2014/main" id="{E77D75C2-8F8A-410B-979E-C0C3408992C8}"/>
                  </a:ext>
                </a:extLst>
              </p:cNvPr>
              <p:cNvCxnSpPr/>
              <p:nvPr/>
            </p:nvCxnSpPr>
            <p:spPr>
              <a:xfrm rot="10800000">
                <a:off x="6999056" y="2969232"/>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94" name="Google Shape;1555;p18">
                <a:extLst>
                  <a:ext uri="{FF2B5EF4-FFF2-40B4-BE49-F238E27FC236}">
                    <a16:creationId xmlns:a16="http://schemas.microsoft.com/office/drawing/2014/main" id="{469CDED2-EDCE-4A1F-B8F4-957891166F48}"/>
                  </a:ext>
                </a:extLst>
              </p:cNvPr>
              <p:cNvCxnSpPr/>
              <p:nvPr/>
            </p:nvCxnSpPr>
            <p:spPr>
              <a:xfrm>
                <a:off x="7059129" y="2904670"/>
                <a:ext cx="0" cy="132275"/>
              </a:xfrm>
              <a:prstGeom prst="straightConnector1">
                <a:avLst/>
              </a:prstGeom>
              <a:noFill/>
              <a:ln w="19050" cap="flat" cmpd="sng">
                <a:solidFill>
                  <a:schemeClr val="dk2"/>
                </a:solidFill>
                <a:prstDash val="solid"/>
                <a:miter lim="800000"/>
                <a:headEnd type="none" w="med" len="med"/>
                <a:tailEnd type="none" w="med" len="med"/>
              </a:ln>
            </p:spPr>
          </p:cxnSp>
          <p:cxnSp>
            <p:nvCxnSpPr>
              <p:cNvPr id="495" name="Google Shape;1556;p18">
                <a:extLst>
                  <a:ext uri="{FF2B5EF4-FFF2-40B4-BE49-F238E27FC236}">
                    <a16:creationId xmlns:a16="http://schemas.microsoft.com/office/drawing/2014/main" id="{0D235B0C-6530-406D-86A7-3BA67E6A4BE9}"/>
                  </a:ext>
                </a:extLst>
              </p:cNvPr>
              <p:cNvCxnSpPr/>
              <p:nvPr/>
            </p:nvCxnSpPr>
            <p:spPr>
              <a:xfrm rot="10800000">
                <a:off x="6994313" y="2969233"/>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496" name="Google Shape;1557;p18">
                <a:extLst>
                  <a:ext uri="{FF2B5EF4-FFF2-40B4-BE49-F238E27FC236}">
                    <a16:creationId xmlns:a16="http://schemas.microsoft.com/office/drawing/2014/main" id="{566A1C9E-F33D-43EB-BAA0-BBCB2BF72F43}"/>
                  </a:ext>
                </a:extLst>
              </p:cNvPr>
              <p:cNvCxnSpPr/>
              <p:nvPr/>
            </p:nvCxnSpPr>
            <p:spPr>
              <a:xfrm>
                <a:off x="7025931" y="2847981"/>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497" name="Google Shape;1558;p18">
                <a:extLst>
                  <a:ext uri="{FF2B5EF4-FFF2-40B4-BE49-F238E27FC236}">
                    <a16:creationId xmlns:a16="http://schemas.microsoft.com/office/drawing/2014/main" id="{6A7D0543-3E52-42C9-895B-AFCF1CB6A96C}"/>
                  </a:ext>
                </a:extLst>
              </p:cNvPr>
              <p:cNvCxnSpPr/>
              <p:nvPr/>
            </p:nvCxnSpPr>
            <p:spPr>
              <a:xfrm rot="10800000">
                <a:off x="6959534" y="2912544"/>
                <a:ext cx="134375" cy="0"/>
              </a:xfrm>
              <a:prstGeom prst="straightConnector1">
                <a:avLst/>
              </a:prstGeom>
              <a:noFill/>
              <a:ln w="19050" cap="flat" cmpd="sng">
                <a:solidFill>
                  <a:schemeClr val="dk2"/>
                </a:solidFill>
                <a:prstDash val="solid"/>
                <a:miter lim="800000"/>
                <a:headEnd type="none" w="med" len="med"/>
                <a:tailEnd type="none" w="med" len="med"/>
              </a:ln>
            </p:spPr>
          </p:cxnSp>
          <p:cxnSp>
            <p:nvCxnSpPr>
              <p:cNvPr id="498" name="Google Shape;1559;p18">
                <a:extLst>
                  <a:ext uri="{FF2B5EF4-FFF2-40B4-BE49-F238E27FC236}">
                    <a16:creationId xmlns:a16="http://schemas.microsoft.com/office/drawing/2014/main" id="{8BDF1F35-F95F-4AC4-81B1-2554876B84E1}"/>
                  </a:ext>
                </a:extLst>
              </p:cNvPr>
              <p:cNvCxnSpPr/>
              <p:nvPr/>
            </p:nvCxnSpPr>
            <p:spPr>
              <a:xfrm>
                <a:off x="7005379" y="2847981"/>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499" name="Google Shape;1560;p18">
                <a:extLst>
                  <a:ext uri="{FF2B5EF4-FFF2-40B4-BE49-F238E27FC236}">
                    <a16:creationId xmlns:a16="http://schemas.microsoft.com/office/drawing/2014/main" id="{5CFB4095-ED1E-4165-B4F1-7F89FA21FC98}"/>
                  </a:ext>
                </a:extLst>
              </p:cNvPr>
              <p:cNvCxnSpPr/>
              <p:nvPr/>
            </p:nvCxnSpPr>
            <p:spPr>
              <a:xfrm rot="10800000">
                <a:off x="6938983" y="2912544"/>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00" name="Google Shape;1561;p18">
                <a:extLst>
                  <a:ext uri="{FF2B5EF4-FFF2-40B4-BE49-F238E27FC236}">
                    <a16:creationId xmlns:a16="http://schemas.microsoft.com/office/drawing/2014/main" id="{07A22A84-448D-4040-8E62-DA709C730FE6}"/>
                  </a:ext>
                </a:extLst>
              </p:cNvPr>
              <p:cNvCxnSpPr/>
              <p:nvPr/>
            </p:nvCxnSpPr>
            <p:spPr>
              <a:xfrm>
                <a:off x="6999056" y="2847981"/>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501" name="Google Shape;1562;p18">
                <a:extLst>
                  <a:ext uri="{FF2B5EF4-FFF2-40B4-BE49-F238E27FC236}">
                    <a16:creationId xmlns:a16="http://schemas.microsoft.com/office/drawing/2014/main" id="{90114C50-81B7-44B1-B649-E960048E6314}"/>
                  </a:ext>
                </a:extLst>
              </p:cNvPr>
              <p:cNvCxnSpPr/>
              <p:nvPr/>
            </p:nvCxnSpPr>
            <p:spPr>
              <a:xfrm rot="10800000">
                <a:off x="6932659" y="2912544"/>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02" name="Google Shape;1563;p18">
                <a:extLst>
                  <a:ext uri="{FF2B5EF4-FFF2-40B4-BE49-F238E27FC236}">
                    <a16:creationId xmlns:a16="http://schemas.microsoft.com/office/drawing/2014/main" id="{04F78263-DCA4-4F87-9FE9-8E215CAC3B98}"/>
                  </a:ext>
                </a:extLst>
              </p:cNvPr>
              <p:cNvCxnSpPr/>
              <p:nvPr/>
            </p:nvCxnSpPr>
            <p:spPr>
              <a:xfrm>
                <a:off x="6989571" y="2847981"/>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503" name="Google Shape;1564;p18">
                <a:extLst>
                  <a:ext uri="{FF2B5EF4-FFF2-40B4-BE49-F238E27FC236}">
                    <a16:creationId xmlns:a16="http://schemas.microsoft.com/office/drawing/2014/main" id="{05B681A2-F27E-4385-A7CD-7C2FB4550E9C}"/>
                  </a:ext>
                </a:extLst>
              </p:cNvPr>
              <p:cNvCxnSpPr/>
              <p:nvPr/>
            </p:nvCxnSpPr>
            <p:spPr>
              <a:xfrm rot="10800000">
                <a:off x="6924755" y="2912544"/>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04" name="Google Shape;1565;p18">
                <a:extLst>
                  <a:ext uri="{FF2B5EF4-FFF2-40B4-BE49-F238E27FC236}">
                    <a16:creationId xmlns:a16="http://schemas.microsoft.com/office/drawing/2014/main" id="{F46EE21B-2A2F-4FF2-B90D-7DB27EE0053C}"/>
                  </a:ext>
                </a:extLst>
              </p:cNvPr>
              <p:cNvCxnSpPr/>
              <p:nvPr/>
            </p:nvCxnSpPr>
            <p:spPr>
              <a:xfrm>
                <a:off x="6954791" y="2847984"/>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505" name="Google Shape;1566;p18">
                <a:extLst>
                  <a:ext uri="{FF2B5EF4-FFF2-40B4-BE49-F238E27FC236}">
                    <a16:creationId xmlns:a16="http://schemas.microsoft.com/office/drawing/2014/main" id="{0A4930EB-09F2-48F8-A300-94DC8CE67075}"/>
                  </a:ext>
                </a:extLst>
              </p:cNvPr>
              <p:cNvCxnSpPr/>
              <p:nvPr/>
            </p:nvCxnSpPr>
            <p:spPr>
              <a:xfrm rot="10800000">
                <a:off x="6888394" y="2912546"/>
                <a:ext cx="134375" cy="0"/>
              </a:xfrm>
              <a:prstGeom prst="straightConnector1">
                <a:avLst/>
              </a:prstGeom>
              <a:noFill/>
              <a:ln w="19050" cap="flat" cmpd="sng">
                <a:solidFill>
                  <a:schemeClr val="dk2"/>
                </a:solidFill>
                <a:prstDash val="solid"/>
                <a:miter lim="800000"/>
                <a:headEnd type="none" w="med" len="med"/>
                <a:tailEnd type="none" w="med" len="med"/>
              </a:ln>
            </p:spPr>
          </p:cxnSp>
          <p:cxnSp>
            <p:nvCxnSpPr>
              <p:cNvPr id="506" name="Google Shape;1567;p18">
                <a:extLst>
                  <a:ext uri="{FF2B5EF4-FFF2-40B4-BE49-F238E27FC236}">
                    <a16:creationId xmlns:a16="http://schemas.microsoft.com/office/drawing/2014/main" id="{BFDE430E-4A3A-4873-AFC3-A6A5760DCA28}"/>
                  </a:ext>
                </a:extLst>
              </p:cNvPr>
              <p:cNvCxnSpPr/>
              <p:nvPr/>
            </p:nvCxnSpPr>
            <p:spPr>
              <a:xfrm>
                <a:off x="6923174" y="2822787"/>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507" name="Google Shape;1568;p18">
                <a:extLst>
                  <a:ext uri="{FF2B5EF4-FFF2-40B4-BE49-F238E27FC236}">
                    <a16:creationId xmlns:a16="http://schemas.microsoft.com/office/drawing/2014/main" id="{DB97131A-52F0-4C54-89B1-2FB9726CC13E}"/>
                  </a:ext>
                </a:extLst>
              </p:cNvPr>
              <p:cNvCxnSpPr/>
              <p:nvPr/>
            </p:nvCxnSpPr>
            <p:spPr>
              <a:xfrm rot="10800000">
                <a:off x="6856777" y="2888925"/>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08" name="Google Shape;1569;p18">
                <a:extLst>
                  <a:ext uri="{FF2B5EF4-FFF2-40B4-BE49-F238E27FC236}">
                    <a16:creationId xmlns:a16="http://schemas.microsoft.com/office/drawing/2014/main" id="{30A71674-A2C6-4F3A-AC26-5CA1D688B77D}"/>
                  </a:ext>
                </a:extLst>
              </p:cNvPr>
              <p:cNvCxnSpPr/>
              <p:nvPr/>
            </p:nvCxnSpPr>
            <p:spPr>
              <a:xfrm>
                <a:off x="6913688" y="2822787"/>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509" name="Google Shape;1570;p18">
                <a:extLst>
                  <a:ext uri="{FF2B5EF4-FFF2-40B4-BE49-F238E27FC236}">
                    <a16:creationId xmlns:a16="http://schemas.microsoft.com/office/drawing/2014/main" id="{FC9EC5DB-2598-4AF2-8BF1-D4A76B4798C8}"/>
                  </a:ext>
                </a:extLst>
              </p:cNvPr>
              <p:cNvCxnSpPr/>
              <p:nvPr/>
            </p:nvCxnSpPr>
            <p:spPr>
              <a:xfrm rot="10800000">
                <a:off x="6850453" y="2888925"/>
                <a:ext cx="129632" cy="0"/>
              </a:xfrm>
              <a:prstGeom prst="straightConnector1">
                <a:avLst/>
              </a:prstGeom>
              <a:noFill/>
              <a:ln w="19050" cap="flat" cmpd="sng">
                <a:solidFill>
                  <a:schemeClr val="dk2"/>
                </a:solidFill>
                <a:prstDash val="solid"/>
                <a:miter lim="800000"/>
                <a:headEnd type="none" w="med" len="med"/>
                <a:tailEnd type="none" w="med" len="med"/>
              </a:ln>
            </p:spPr>
          </p:cxnSp>
          <p:cxnSp>
            <p:nvCxnSpPr>
              <p:cNvPr id="510" name="Google Shape;1571;p18">
                <a:extLst>
                  <a:ext uri="{FF2B5EF4-FFF2-40B4-BE49-F238E27FC236}">
                    <a16:creationId xmlns:a16="http://schemas.microsoft.com/office/drawing/2014/main" id="{CA238D5B-B0B5-4B69-808E-4BEF78E20995}"/>
                  </a:ext>
                </a:extLst>
              </p:cNvPr>
              <p:cNvCxnSpPr/>
              <p:nvPr/>
            </p:nvCxnSpPr>
            <p:spPr>
              <a:xfrm>
                <a:off x="6901041" y="2822787"/>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511" name="Google Shape;1572;p18">
                <a:extLst>
                  <a:ext uri="{FF2B5EF4-FFF2-40B4-BE49-F238E27FC236}">
                    <a16:creationId xmlns:a16="http://schemas.microsoft.com/office/drawing/2014/main" id="{ABE7442D-0586-4DB1-B001-18DDA9BE1912}"/>
                  </a:ext>
                </a:extLst>
              </p:cNvPr>
              <p:cNvCxnSpPr/>
              <p:nvPr/>
            </p:nvCxnSpPr>
            <p:spPr>
              <a:xfrm rot="10800000">
                <a:off x="6833064" y="2888925"/>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12" name="Google Shape;1573;p18">
                <a:extLst>
                  <a:ext uri="{FF2B5EF4-FFF2-40B4-BE49-F238E27FC236}">
                    <a16:creationId xmlns:a16="http://schemas.microsoft.com/office/drawing/2014/main" id="{46FAEFB5-31A9-444B-AAEC-6BA806E12D54}"/>
                  </a:ext>
                </a:extLst>
              </p:cNvPr>
              <p:cNvCxnSpPr/>
              <p:nvPr/>
            </p:nvCxnSpPr>
            <p:spPr>
              <a:xfrm>
                <a:off x="6891556" y="2822787"/>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513" name="Google Shape;1574;p18">
                <a:extLst>
                  <a:ext uri="{FF2B5EF4-FFF2-40B4-BE49-F238E27FC236}">
                    <a16:creationId xmlns:a16="http://schemas.microsoft.com/office/drawing/2014/main" id="{09684C5E-C9ED-48B6-BA5A-B0D3BE97BAFD}"/>
                  </a:ext>
                </a:extLst>
              </p:cNvPr>
              <p:cNvCxnSpPr/>
              <p:nvPr/>
            </p:nvCxnSpPr>
            <p:spPr>
              <a:xfrm rot="10800000">
                <a:off x="6826740" y="2888925"/>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14" name="Google Shape;1575;p18">
                <a:extLst>
                  <a:ext uri="{FF2B5EF4-FFF2-40B4-BE49-F238E27FC236}">
                    <a16:creationId xmlns:a16="http://schemas.microsoft.com/office/drawing/2014/main" id="{C633E3A2-1F26-4287-BF45-105EAD1AEF03}"/>
                  </a:ext>
                </a:extLst>
              </p:cNvPr>
              <p:cNvCxnSpPr/>
              <p:nvPr/>
            </p:nvCxnSpPr>
            <p:spPr>
              <a:xfrm>
                <a:off x="6883652" y="2822789"/>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515" name="Google Shape;1576;p18">
                <a:extLst>
                  <a:ext uri="{FF2B5EF4-FFF2-40B4-BE49-F238E27FC236}">
                    <a16:creationId xmlns:a16="http://schemas.microsoft.com/office/drawing/2014/main" id="{BC3E164A-588B-4B79-A26F-0DC88B69BDC0}"/>
                  </a:ext>
                </a:extLst>
              </p:cNvPr>
              <p:cNvCxnSpPr/>
              <p:nvPr/>
            </p:nvCxnSpPr>
            <p:spPr>
              <a:xfrm rot="10800000">
                <a:off x="6817255" y="2888928"/>
                <a:ext cx="132794" cy="0"/>
              </a:xfrm>
              <a:prstGeom prst="straightConnector1">
                <a:avLst/>
              </a:prstGeom>
              <a:noFill/>
              <a:ln w="19050" cap="flat" cmpd="sng">
                <a:solidFill>
                  <a:schemeClr val="dk2"/>
                </a:solidFill>
                <a:prstDash val="solid"/>
                <a:miter lim="800000"/>
                <a:headEnd type="none" w="med" len="med"/>
                <a:tailEnd type="none" w="med" len="med"/>
              </a:ln>
            </p:spPr>
          </p:cxnSp>
          <p:cxnSp>
            <p:nvCxnSpPr>
              <p:cNvPr id="516" name="Google Shape;1577;p18">
                <a:extLst>
                  <a:ext uri="{FF2B5EF4-FFF2-40B4-BE49-F238E27FC236}">
                    <a16:creationId xmlns:a16="http://schemas.microsoft.com/office/drawing/2014/main" id="{835343CA-A0FD-43A7-9E1F-FE8B2CEC4616}"/>
                  </a:ext>
                </a:extLst>
              </p:cNvPr>
              <p:cNvCxnSpPr/>
              <p:nvPr/>
            </p:nvCxnSpPr>
            <p:spPr>
              <a:xfrm>
                <a:off x="6833064" y="2797595"/>
                <a:ext cx="0" cy="133851"/>
              </a:xfrm>
              <a:prstGeom prst="straightConnector1">
                <a:avLst/>
              </a:prstGeom>
              <a:noFill/>
              <a:ln w="19050" cap="flat" cmpd="sng">
                <a:solidFill>
                  <a:schemeClr val="dk2"/>
                </a:solidFill>
                <a:prstDash val="solid"/>
                <a:miter lim="800000"/>
                <a:headEnd type="none" w="med" len="med"/>
                <a:tailEnd type="none" w="med" len="med"/>
              </a:ln>
            </p:spPr>
          </p:cxnSp>
          <p:cxnSp>
            <p:nvCxnSpPr>
              <p:cNvPr id="517" name="Google Shape;1578;p18">
                <a:extLst>
                  <a:ext uri="{FF2B5EF4-FFF2-40B4-BE49-F238E27FC236}">
                    <a16:creationId xmlns:a16="http://schemas.microsoft.com/office/drawing/2014/main" id="{3305D448-8508-4C93-8F4B-73290D80D939}"/>
                  </a:ext>
                </a:extLst>
              </p:cNvPr>
              <p:cNvCxnSpPr/>
              <p:nvPr/>
            </p:nvCxnSpPr>
            <p:spPr>
              <a:xfrm rot="10800000">
                <a:off x="6766667" y="2863732"/>
                <a:ext cx="134375" cy="0"/>
              </a:xfrm>
              <a:prstGeom prst="straightConnector1">
                <a:avLst/>
              </a:prstGeom>
              <a:noFill/>
              <a:ln w="19050" cap="flat" cmpd="sng">
                <a:solidFill>
                  <a:schemeClr val="dk2"/>
                </a:solidFill>
                <a:prstDash val="solid"/>
                <a:miter lim="800000"/>
                <a:headEnd type="none" w="med" len="med"/>
                <a:tailEnd type="none" w="med" len="med"/>
              </a:ln>
            </p:spPr>
          </p:cxnSp>
          <p:cxnSp>
            <p:nvCxnSpPr>
              <p:cNvPr id="518" name="Google Shape;1579;p18">
                <a:extLst>
                  <a:ext uri="{FF2B5EF4-FFF2-40B4-BE49-F238E27FC236}">
                    <a16:creationId xmlns:a16="http://schemas.microsoft.com/office/drawing/2014/main" id="{F04ED073-32DC-47C9-87D2-EE4938993922}"/>
                  </a:ext>
                </a:extLst>
              </p:cNvPr>
              <p:cNvCxnSpPr/>
              <p:nvPr/>
            </p:nvCxnSpPr>
            <p:spPr>
              <a:xfrm>
                <a:off x="6806189" y="2797595"/>
                <a:ext cx="0" cy="133851"/>
              </a:xfrm>
              <a:prstGeom prst="straightConnector1">
                <a:avLst/>
              </a:prstGeom>
              <a:noFill/>
              <a:ln w="19050" cap="flat" cmpd="sng">
                <a:solidFill>
                  <a:schemeClr val="dk2"/>
                </a:solidFill>
                <a:prstDash val="solid"/>
                <a:miter lim="800000"/>
                <a:headEnd type="none" w="med" len="med"/>
                <a:tailEnd type="none" w="med" len="med"/>
              </a:ln>
            </p:spPr>
          </p:cxnSp>
          <p:cxnSp>
            <p:nvCxnSpPr>
              <p:cNvPr id="519" name="Google Shape;1580;p18">
                <a:extLst>
                  <a:ext uri="{FF2B5EF4-FFF2-40B4-BE49-F238E27FC236}">
                    <a16:creationId xmlns:a16="http://schemas.microsoft.com/office/drawing/2014/main" id="{F31CC01B-B853-48EA-8741-B4CA76B0CB55}"/>
                  </a:ext>
                </a:extLst>
              </p:cNvPr>
              <p:cNvCxnSpPr/>
              <p:nvPr/>
            </p:nvCxnSpPr>
            <p:spPr>
              <a:xfrm rot="10800000">
                <a:off x="6741373" y="2863732"/>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20" name="Google Shape;1581;p18">
                <a:extLst>
                  <a:ext uri="{FF2B5EF4-FFF2-40B4-BE49-F238E27FC236}">
                    <a16:creationId xmlns:a16="http://schemas.microsoft.com/office/drawing/2014/main" id="{5FFEBB62-F1E2-487B-91FA-02E1D2B43783}"/>
                  </a:ext>
                </a:extLst>
              </p:cNvPr>
              <p:cNvCxnSpPr/>
              <p:nvPr/>
            </p:nvCxnSpPr>
            <p:spPr>
              <a:xfrm>
                <a:off x="6796704" y="2797595"/>
                <a:ext cx="0" cy="133851"/>
              </a:xfrm>
              <a:prstGeom prst="straightConnector1">
                <a:avLst/>
              </a:prstGeom>
              <a:noFill/>
              <a:ln w="19050" cap="flat" cmpd="sng">
                <a:solidFill>
                  <a:schemeClr val="dk2"/>
                </a:solidFill>
                <a:prstDash val="solid"/>
                <a:miter lim="800000"/>
                <a:headEnd type="none" w="med" len="med"/>
                <a:tailEnd type="none" w="med" len="med"/>
              </a:ln>
            </p:spPr>
          </p:cxnSp>
          <p:cxnSp>
            <p:nvCxnSpPr>
              <p:cNvPr id="521" name="Google Shape;1582;p18">
                <a:extLst>
                  <a:ext uri="{FF2B5EF4-FFF2-40B4-BE49-F238E27FC236}">
                    <a16:creationId xmlns:a16="http://schemas.microsoft.com/office/drawing/2014/main" id="{40AABE90-49D6-40B2-96AD-A1C1277D976B}"/>
                  </a:ext>
                </a:extLst>
              </p:cNvPr>
              <p:cNvCxnSpPr/>
              <p:nvPr/>
            </p:nvCxnSpPr>
            <p:spPr>
              <a:xfrm rot="10800000">
                <a:off x="6731888" y="2863732"/>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22" name="Google Shape;1583;p18">
                <a:extLst>
                  <a:ext uri="{FF2B5EF4-FFF2-40B4-BE49-F238E27FC236}">
                    <a16:creationId xmlns:a16="http://schemas.microsoft.com/office/drawing/2014/main" id="{0FBB7E0A-F65E-4A73-A61E-58AFF07253AC}"/>
                  </a:ext>
                </a:extLst>
              </p:cNvPr>
              <p:cNvCxnSpPr/>
              <p:nvPr/>
            </p:nvCxnSpPr>
            <p:spPr>
              <a:xfrm>
                <a:off x="6771410" y="2797595"/>
                <a:ext cx="0" cy="133851"/>
              </a:xfrm>
              <a:prstGeom prst="straightConnector1">
                <a:avLst/>
              </a:prstGeom>
              <a:noFill/>
              <a:ln w="19050" cap="flat" cmpd="sng">
                <a:solidFill>
                  <a:schemeClr val="dk2"/>
                </a:solidFill>
                <a:prstDash val="solid"/>
                <a:miter lim="800000"/>
                <a:headEnd type="none" w="med" len="med"/>
                <a:tailEnd type="none" w="med" len="med"/>
              </a:ln>
            </p:spPr>
          </p:cxnSp>
          <p:cxnSp>
            <p:nvCxnSpPr>
              <p:cNvPr id="523" name="Google Shape;1584;p18">
                <a:extLst>
                  <a:ext uri="{FF2B5EF4-FFF2-40B4-BE49-F238E27FC236}">
                    <a16:creationId xmlns:a16="http://schemas.microsoft.com/office/drawing/2014/main" id="{B9C27D04-C9E7-4E70-9CD0-0D113F7D22EB}"/>
                  </a:ext>
                </a:extLst>
              </p:cNvPr>
              <p:cNvCxnSpPr/>
              <p:nvPr/>
            </p:nvCxnSpPr>
            <p:spPr>
              <a:xfrm rot="10800000">
                <a:off x="6706594" y="2863732"/>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24" name="Google Shape;1585;p18">
                <a:extLst>
                  <a:ext uri="{FF2B5EF4-FFF2-40B4-BE49-F238E27FC236}">
                    <a16:creationId xmlns:a16="http://schemas.microsoft.com/office/drawing/2014/main" id="{EF16CB44-2506-4864-8123-3E53D994A8D0}"/>
                  </a:ext>
                </a:extLst>
              </p:cNvPr>
              <p:cNvCxnSpPr/>
              <p:nvPr/>
            </p:nvCxnSpPr>
            <p:spPr>
              <a:xfrm>
                <a:off x="6761924" y="2797595"/>
                <a:ext cx="0" cy="133851"/>
              </a:xfrm>
              <a:prstGeom prst="straightConnector1">
                <a:avLst/>
              </a:prstGeom>
              <a:noFill/>
              <a:ln w="19050" cap="flat" cmpd="sng">
                <a:solidFill>
                  <a:schemeClr val="dk2"/>
                </a:solidFill>
                <a:prstDash val="solid"/>
                <a:miter lim="800000"/>
                <a:headEnd type="none" w="med" len="med"/>
                <a:tailEnd type="none" w="med" len="med"/>
              </a:ln>
            </p:spPr>
          </p:cxnSp>
          <p:cxnSp>
            <p:nvCxnSpPr>
              <p:cNvPr id="525" name="Google Shape;1586;p18">
                <a:extLst>
                  <a:ext uri="{FF2B5EF4-FFF2-40B4-BE49-F238E27FC236}">
                    <a16:creationId xmlns:a16="http://schemas.microsoft.com/office/drawing/2014/main" id="{DA5917B2-CA2A-4E8F-9A4C-7E8544D46C74}"/>
                  </a:ext>
                </a:extLst>
              </p:cNvPr>
              <p:cNvCxnSpPr/>
              <p:nvPr/>
            </p:nvCxnSpPr>
            <p:spPr>
              <a:xfrm rot="10800000">
                <a:off x="6698689" y="2863732"/>
                <a:ext cx="129632" cy="0"/>
              </a:xfrm>
              <a:prstGeom prst="straightConnector1">
                <a:avLst/>
              </a:prstGeom>
              <a:noFill/>
              <a:ln w="19050" cap="flat" cmpd="sng">
                <a:solidFill>
                  <a:schemeClr val="dk2"/>
                </a:solidFill>
                <a:prstDash val="solid"/>
                <a:miter lim="800000"/>
                <a:headEnd type="none" w="med" len="med"/>
                <a:tailEnd type="none" w="med" len="med"/>
              </a:ln>
            </p:spPr>
          </p:cxnSp>
          <p:cxnSp>
            <p:nvCxnSpPr>
              <p:cNvPr id="526" name="Google Shape;1587;p18">
                <a:extLst>
                  <a:ext uri="{FF2B5EF4-FFF2-40B4-BE49-F238E27FC236}">
                    <a16:creationId xmlns:a16="http://schemas.microsoft.com/office/drawing/2014/main" id="{7E860B03-D14F-476E-8A63-7864C802DC6A}"/>
                  </a:ext>
                </a:extLst>
              </p:cNvPr>
              <p:cNvCxnSpPr/>
              <p:nvPr/>
            </p:nvCxnSpPr>
            <p:spPr>
              <a:xfrm>
                <a:off x="6725564" y="2797595"/>
                <a:ext cx="0" cy="133851"/>
              </a:xfrm>
              <a:prstGeom prst="straightConnector1">
                <a:avLst/>
              </a:prstGeom>
              <a:noFill/>
              <a:ln w="19050" cap="flat" cmpd="sng">
                <a:solidFill>
                  <a:schemeClr val="dk2"/>
                </a:solidFill>
                <a:prstDash val="solid"/>
                <a:miter lim="800000"/>
                <a:headEnd type="none" w="med" len="med"/>
                <a:tailEnd type="none" w="med" len="med"/>
              </a:ln>
            </p:spPr>
          </p:cxnSp>
          <p:cxnSp>
            <p:nvCxnSpPr>
              <p:cNvPr id="527" name="Google Shape;1588;p18">
                <a:extLst>
                  <a:ext uri="{FF2B5EF4-FFF2-40B4-BE49-F238E27FC236}">
                    <a16:creationId xmlns:a16="http://schemas.microsoft.com/office/drawing/2014/main" id="{BBDACD09-B1CC-4B78-A77D-37A72E456966}"/>
                  </a:ext>
                </a:extLst>
              </p:cNvPr>
              <p:cNvCxnSpPr/>
              <p:nvPr/>
            </p:nvCxnSpPr>
            <p:spPr>
              <a:xfrm rot="10800000">
                <a:off x="6660748" y="2863732"/>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28" name="Google Shape;1589;p18">
                <a:extLst>
                  <a:ext uri="{FF2B5EF4-FFF2-40B4-BE49-F238E27FC236}">
                    <a16:creationId xmlns:a16="http://schemas.microsoft.com/office/drawing/2014/main" id="{E4F9C550-5DC7-4427-A3B1-B2328FC7E6B3}"/>
                  </a:ext>
                </a:extLst>
              </p:cNvPr>
              <p:cNvCxnSpPr/>
              <p:nvPr/>
            </p:nvCxnSpPr>
            <p:spPr>
              <a:xfrm>
                <a:off x="6670233" y="2797599"/>
                <a:ext cx="0" cy="133851"/>
              </a:xfrm>
              <a:prstGeom prst="straightConnector1">
                <a:avLst/>
              </a:prstGeom>
              <a:noFill/>
              <a:ln w="19050" cap="flat" cmpd="sng">
                <a:solidFill>
                  <a:schemeClr val="dk2"/>
                </a:solidFill>
                <a:prstDash val="solid"/>
                <a:miter lim="800000"/>
                <a:headEnd type="none" w="med" len="med"/>
                <a:tailEnd type="none" w="med" len="med"/>
              </a:ln>
            </p:spPr>
          </p:cxnSp>
          <p:cxnSp>
            <p:nvCxnSpPr>
              <p:cNvPr id="529" name="Google Shape;1590;p18">
                <a:extLst>
                  <a:ext uri="{FF2B5EF4-FFF2-40B4-BE49-F238E27FC236}">
                    <a16:creationId xmlns:a16="http://schemas.microsoft.com/office/drawing/2014/main" id="{94DCEC1E-B5F3-4056-ABD5-6CC8BF270B49}"/>
                  </a:ext>
                </a:extLst>
              </p:cNvPr>
              <p:cNvCxnSpPr/>
              <p:nvPr/>
            </p:nvCxnSpPr>
            <p:spPr>
              <a:xfrm rot="10800000">
                <a:off x="6603837" y="2863736"/>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30" name="Google Shape;1591;p18">
                <a:extLst>
                  <a:ext uri="{FF2B5EF4-FFF2-40B4-BE49-F238E27FC236}">
                    <a16:creationId xmlns:a16="http://schemas.microsoft.com/office/drawing/2014/main" id="{D6140C78-23C9-498A-9DC5-291E01613969}"/>
                  </a:ext>
                </a:extLst>
              </p:cNvPr>
              <p:cNvCxnSpPr/>
              <p:nvPr/>
            </p:nvCxnSpPr>
            <p:spPr>
              <a:xfrm>
                <a:off x="6660748" y="2786580"/>
                <a:ext cx="0" cy="132276"/>
              </a:xfrm>
              <a:prstGeom prst="straightConnector1">
                <a:avLst/>
              </a:prstGeom>
              <a:noFill/>
              <a:ln w="19050" cap="flat" cmpd="sng">
                <a:solidFill>
                  <a:schemeClr val="dk2"/>
                </a:solidFill>
                <a:prstDash val="solid"/>
                <a:miter lim="800000"/>
                <a:headEnd type="none" w="med" len="med"/>
                <a:tailEnd type="none" w="med" len="med"/>
              </a:ln>
            </p:spPr>
          </p:cxnSp>
          <p:cxnSp>
            <p:nvCxnSpPr>
              <p:cNvPr id="531" name="Google Shape;1592;p18">
                <a:extLst>
                  <a:ext uri="{FF2B5EF4-FFF2-40B4-BE49-F238E27FC236}">
                    <a16:creationId xmlns:a16="http://schemas.microsoft.com/office/drawing/2014/main" id="{667EC570-9C27-4B1A-A494-684078B6E71A}"/>
                  </a:ext>
                </a:extLst>
              </p:cNvPr>
              <p:cNvCxnSpPr/>
              <p:nvPr/>
            </p:nvCxnSpPr>
            <p:spPr>
              <a:xfrm rot="10800000">
                <a:off x="6594351" y="2852717"/>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32" name="Google Shape;1593;p18">
                <a:extLst>
                  <a:ext uri="{FF2B5EF4-FFF2-40B4-BE49-F238E27FC236}">
                    <a16:creationId xmlns:a16="http://schemas.microsoft.com/office/drawing/2014/main" id="{BA258654-817F-49A5-8FB1-BA4479E753D8}"/>
                  </a:ext>
                </a:extLst>
              </p:cNvPr>
              <p:cNvCxnSpPr/>
              <p:nvPr/>
            </p:nvCxnSpPr>
            <p:spPr>
              <a:xfrm>
                <a:off x="6651263" y="2781857"/>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533" name="Google Shape;1594;p18">
                <a:extLst>
                  <a:ext uri="{FF2B5EF4-FFF2-40B4-BE49-F238E27FC236}">
                    <a16:creationId xmlns:a16="http://schemas.microsoft.com/office/drawing/2014/main" id="{F2350FC9-4117-429A-8CB1-311D80225241}"/>
                  </a:ext>
                </a:extLst>
              </p:cNvPr>
              <p:cNvCxnSpPr/>
              <p:nvPr/>
            </p:nvCxnSpPr>
            <p:spPr>
              <a:xfrm rot="10800000">
                <a:off x="6588028" y="2847995"/>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34" name="Google Shape;1595;p18">
                <a:extLst>
                  <a:ext uri="{FF2B5EF4-FFF2-40B4-BE49-F238E27FC236}">
                    <a16:creationId xmlns:a16="http://schemas.microsoft.com/office/drawing/2014/main" id="{B71B8096-5E62-427B-86C6-23036FDCD0F7}"/>
                  </a:ext>
                </a:extLst>
              </p:cNvPr>
              <p:cNvCxnSpPr/>
              <p:nvPr/>
            </p:nvCxnSpPr>
            <p:spPr>
              <a:xfrm>
                <a:off x="6648101" y="2781853"/>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535" name="Google Shape;1596;p18">
                <a:extLst>
                  <a:ext uri="{FF2B5EF4-FFF2-40B4-BE49-F238E27FC236}">
                    <a16:creationId xmlns:a16="http://schemas.microsoft.com/office/drawing/2014/main" id="{91838729-5F75-435F-963D-1734D211B733}"/>
                  </a:ext>
                </a:extLst>
              </p:cNvPr>
              <p:cNvCxnSpPr/>
              <p:nvPr/>
            </p:nvCxnSpPr>
            <p:spPr>
              <a:xfrm rot="10800000">
                <a:off x="6580123" y="2847992"/>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36" name="Google Shape;1597;p18">
                <a:extLst>
                  <a:ext uri="{FF2B5EF4-FFF2-40B4-BE49-F238E27FC236}">
                    <a16:creationId xmlns:a16="http://schemas.microsoft.com/office/drawing/2014/main" id="{22B8BA5C-9325-44CE-8D77-871940E5B7D6}"/>
                  </a:ext>
                </a:extLst>
              </p:cNvPr>
              <p:cNvCxnSpPr/>
              <p:nvPr/>
            </p:nvCxnSpPr>
            <p:spPr>
              <a:xfrm>
                <a:off x="6589609" y="2772405"/>
                <a:ext cx="0" cy="132276"/>
              </a:xfrm>
              <a:prstGeom prst="straightConnector1">
                <a:avLst/>
              </a:prstGeom>
              <a:noFill/>
              <a:ln w="19050" cap="flat" cmpd="sng">
                <a:solidFill>
                  <a:schemeClr val="dk2"/>
                </a:solidFill>
                <a:prstDash val="solid"/>
                <a:miter lim="800000"/>
                <a:headEnd type="none" w="med" len="med"/>
                <a:tailEnd type="none" w="med" len="med"/>
              </a:ln>
            </p:spPr>
          </p:cxnSp>
          <p:cxnSp>
            <p:nvCxnSpPr>
              <p:cNvPr id="537" name="Google Shape;1598;p18">
                <a:extLst>
                  <a:ext uri="{FF2B5EF4-FFF2-40B4-BE49-F238E27FC236}">
                    <a16:creationId xmlns:a16="http://schemas.microsoft.com/office/drawing/2014/main" id="{5960CB57-19A2-4961-97C9-E077A9265581}"/>
                  </a:ext>
                </a:extLst>
              </p:cNvPr>
              <p:cNvCxnSpPr/>
              <p:nvPr/>
            </p:nvCxnSpPr>
            <p:spPr>
              <a:xfrm rot="10800000">
                <a:off x="6523212" y="2838544"/>
                <a:ext cx="132794" cy="0"/>
              </a:xfrm>
              <a:prstGeom prst="straightConnector1">
                <a:avLst/>
              </a:prstGeom>
              <a:noFill/>
              <a:ln w="19050" cap="flat" cmpd="sng">
                <a:solidFill>
                  <a:schemeClr val="dk2"/>
                </a:solidFill>
                <a:prstDash val="solid"/>
                <a:miter lim="800000"/>
                <a:headEnd type="none" w="med" len="med"/>
                <a:tailEnd type="none" w="med" len="med"/>
              </a:ln>
            </p:spPr>
          </p:cxnSp>
          <p:cxnSp>
            <p:nvCxnSpPr>
              <p:cNvPr id="538" name="Google Shape;1599;p18">
                <a:extLst>
                  <a:ext uri="{FF2B5EF4-FFF2-40B4-BE49-F238E27FC236}">
                    <a16:creationId xmlns:a16="http://schemas.microsoft.com/office/drawing/2014/main" id="{B8FD2672-7EFF-4675-A3EC-E0A138A5556B}"/>
                  </a:ext>
                </a:extLst>
              </p:cNvPr>
              <p:cNvCxnSpPr/>
              <p:nvPr/>
            </p:nvCxnSpPr>
            <p:spPr>
              <a:xfrm>
                <a:off x="6554829" y="2728314"/>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539" name="Google Shape;1600;p18">
                <a:extLst>
                  <a:ext uri="{FF2B5EF4-FFF2-40B4-BE49-F238E27FC236}">
                    <a16:creationId xmlns:a16="http://schemas.microsoft.com/office/drawing/2014/main" id="{D1CB593F-F892-47F9-B9C9-AF34D74DE666}"/>
                  </a:ext>
                </a:extLst>
              </p:cNvPr>
              <p:cNvCxnSpPr/>
              <p:nvPr/>
            </p:nvCxnSpPr>
            <p:spPr>
              <a:xfrm rot="10800000">
                <a:off x="6491594" y="2794451"/>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40" name="Google Shape;1601;p18">
                <a:extLst>
                  <a:ext uri="{FF2B5EF4-FFF2-40B4-BE49-F238E27FC236}">
                    <a16:creationId xmlns:a16="http://schemas.microsoft.com/office/drawing/2014/main" id="{CBFD3D20-583A-42E9-AF2D-F93DE8E2517A}"/>
                  </a:ext>
                </a:extLst>
              </p:cNvPr>
              <p:cNvCxnSpPr/>
              <p:nvPr/>
            </p:nvCxnSpPr>
            <p:spPr>
              <a:xfrm>
                <a:off x="6554829" y="2737760"/>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541" name="Google Shape;1602;p18">
                <a:extLst>
                  <a:ext uri="{FF2B5EF4-FFF2-40B4-BE49-F238E27FC236}">
                    <a16:creationId xmlns:a16="http://schemas.microsoft.com/office/drawing/2014/main" id="{BF55CD9A-0419-49C3-B499-7BDE881CE2F9}"/>
                  </a:ext>
                </a:extLst>
              </p:cNvPr>
              <p:cNvCxnSpPr/>
              <p:nvPr/>
            </p:nvCxnSpPr>
            <p:spPr>
              <a:xfrm rot="10800000">
                <a:off x="6491594" y="2803898"/>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42" name="Google Shape;1603;p18">
                <a:extLst>
                  <a:ext uri="{FF2B5EF4-FFF2-40B4-BE49-F238E27FC236}">
                    <a16:creationId xmlns:a16="http://schemas.microsoft.com/office/drawing/2014/main" id="{D1045266-A2A6-4D03-B0D4-3F26A7C64D48}"/>
                  </a:ext>
                </a:extLst>
              </p:cNvPr>
              <p:cNvCxnSpPr/>
              <p:nvPr/>
            </p:nvCxnSpPr>
            <p:spPr>
              <a:xfrm>
                <a:off x="6534278" y="2728316"/>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543" name="Google Shape;1604;p18">
                <a:extLst>
                  <a:ext uri="{FF2B5EF4-FFF2-40B4-BE49-F238E27FC236}">
                    <a16:creationId xmlns:a16="http://schemas.microsoft.com/office/drawing/2014/main" id="{E42B6AD6-C3FE-443B-825D-90EAB94F24D3}"/>
                  </a:ext>
                </a:extLst>
              </p:cNvPr>
              <p:cNvCxnSpPr/>
              <p:nvPr/>
            </p:nvCxnSpPr>
            <p:spPr>
              <a:xfrm rot="10800000">
                <a:off x="6467881" y="2794454"/>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44" name="Google Shape;1605;p18">
                <a:extLst>
                  <a:ext uri="{FF2B5EF4-FFF2-40B4-BE49-F238E27FC236}">
                    <a16:creationId xmlns:a16="http://schemas.microsoft.com/office/drawing/2014/main" id="{0E9872FC-B1A2-475F-B8E5-26413B0288DF}"/>
                  </a:ext>
                </a:extLst>
              </p:cNvPr>
              <p:cNvCxnSpPr/>
              <p:nvPr/>
            </p:nvCxnSpPr>
            <p:spPr>
              <a:xfrm>
                <a:off x="6512146" y="2692097"/>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545" name="Google Shape;1606;p18">
                <a:extLst>
                  <a:ext uri="{FF2B5EF4-FFF2-40B4-BE49-F238E27FC236}">
                    <a16:creationId xmlns:a16="http://schemas.microsoft.com/office/drawing/2014/main" id="{82A176E3-A895-43A9-95EE-D016BEE76805}"/>
                  </a:ext>
                </a:extLst>
              </p:cNvPr>
              <p:cNvCxnSpPr/>
              <p:nvPr/>
            </p:nvCxnSpPr>
            <p:spPr>
              <a:xfrm rot="10800000">
                <a:off x="6445749" y="2756660"/>
                <a:ext cx="132794" cy="0"/>
              </a:xfrm>
              <a:prstGeom prst="straightConnector1">
                <a:avLst/>
              </a:prstGeom>
              <a:noFill/>
              <a:ln w="19050" cap="flat" cmpd="sng">
                <a:solidFill>
                  <a:schemeClr val="dk2"/>
                </a:solidFill>
                <a:prstDash val="solid"/>
                <a:miter lim="800000"/>
                <a:headEnd type="none" w="med" len="med"/>
                <a:tailEnd type="none" w="med" len="med"/>
              </a:ln>
            </p:spPr>
          </p:cxnSp>
          <p:cxnSp>
            <p:nvCxnSpPr>
              <p:cNvPr id="546" name="Google Shape;1607;p18">
                <a:extLst>
                  <a:ext uri="{FF2B5EF4-FFF2-40B4-BE49-F238E27FC236}">
                    <a16:creationId xmlns:a16="http://schemas.microsoft.com/office/drawing/2014/main" id="{A5E26ECE-3031-468B-97A8-67C7F4BCB30A}"/>
                  </a:ext>
                </a:extLst>
              </p:cNvPr>
              <p:cNvCxnSpPr/>
              <p:nvPr/>
            </p:nvCxnSpPr>
            <p:spPr>
              <a:xfrm>
                <a:off x="6521631" y="2707844"/>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547" name="Google Shape;1608;p18">
                <a:extLst>
                  <a:ext uri="{FF2B5EF4-FFF2-40B4-BE49-F238E27FC236}">
                    <a16:creationId xmlns:a16="http://schemas.microsoft.com/office/drawing/2014/main" id="{9CCA998E-CD78-4A7F-BA22-6EE318CD389D}"/>
                  </a:ext>
                </a:extLst>
              </p:cNvPr>
              <p:cNvCxnSpPr/>
              <p:nvPr/>
            </p:nvCxnSpPr>
            <p:spPr>
              <a:xfrm rot="10800000">
                <a:off x="6453653" y="2772408"/>
                <a:ext cx="134375" cy="0"/>
              </a:xfrm>
              <a:prstGeom prst="straightConnector1">
                <a:avLst/>
              </a:prstGeom>
              <a:noFill/>
              <a:ln w="19050" cap="flat" cmpd="sng">
                <a:solidFill>
                  <a:schemeClr val="dk2"/>
                </a:solidFill>
                <a:prstDash val="solid"/>
                <a:miter lim="800000"/>
                <a:headEnd type="none" w="med" len="med"/>
                <a:tailEnd type="none" w="med" len="med"/>
              </a:ln>
            </p:spPr>
          </p:cxnSp>
          <p:cxnSp>
            <p:nvCxnSpPr>
              <p:cNvPr id="548" name="Google Shape;1609;p18">
                <a:extLst>
                  <a:ext uri="{FF2B5EF4-FFF2-40B4-BE49-F238E27FC236}">
                    <a16:creationId xmlns:a16="http://schemas.microsoft.com/office/drawing/2014/main" id="{26EB91B8-A7DF-4E14-BC57-EA219F25B7DD}"/>
                  </a:ext>
                </a:extLst>
              </p:cNvPr>
              <p:cNvCxnSpPr/>
              <p:nvPr/>
            </p:nvCxnSpPr>
            <p:spPr>
              <a:xfrm>
                <a:off x="6526374" y="2722015"/>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549" name="Google Shape;1610;p18">
                <a:extLst>
                  <a:ext uri="{FF2B5EF4-FFF2-40B4-BE49-F238E27FC236}">
                    <a16:creationId xmlns:a16="http://schemas.microsoft.com/office/drawing/2014/main" id="{06A82699-FED9-48A0-B245-E3DA3A393B90}"/>
                  </a:ext>
                </a:extLst>
              </p:cNvPr>
              <p:cNvCxnSpPr/>
              <p:nvPr/>
            </p:nvCxnSpPr>
            <p:spPr>
              <a:xfrm rot="10800000">
                <a:off x="6461558" y="2786579"/>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50" name="Google Shape;1611;p18">
                <a:extLst>
                  <a:ext uri="{FF2B5EF4-FFF2-40B4-BE49-F238E27FC236}">
                    <a16:creationId xmlns:a16="http://schemas.microsoft.com/office/drawing/2014/main" id="{BDA6F9F2-2577-41AD-98A5-1E93BCB69AB0}"/>
                  </a:ext>
                </a:extLst>
              </p:cNvPr>
              <p:cNvCxnSpPr/>
              <p:nvPr/>
            </p:nvCxnSpPr>
            <p:spPr>
              <a:xfrm>
                <a:off x="6526374" y="2714144"/>
                <a:ext cx="0" cy="133851"/>
              </a:xfrm>
              <a:prstGeom prst="straightConnector1">
                <a:avLst/>
              </a:prstGeom>
              <a:noFill/>
              <a:ln w="19050" cap="flat" cmpd="sng">
                <a:solidFill>
                  <a:schemeClr val="dk2"/>
                </a:solidFill>
                <a:prstDash val="solid"/>
                <a:miter lim="800000"/>
                <a:headEnd type="none" w="med" len="med"/>
                <a:tailEnd type="none" w="med" len="med"/>
              </a:ln>
            </p:spPr>
          </p:cxnSp>
          <p:cxnSp>
            <p:nvCxnSpPr>
              <p:cNvPr id="551" name="Google Shape;1612;p18">
                <a:extLst>
                  <a:ext uri="{FF2B5EF4-FFF2-40B4-BE49-F238E27FC236}">
                    <a16:creationId xmlns:a16="http://schemas.microsoft.com/office/drawing/2014/main" id="{DCDD1E3C-7344-46F5-AEC5-D1F1C9E5C0D6}"/>
                  </a:ext>
                </a:extLst>
              </p:cNvPr>
              <p:cNvCxnSpPr/>
              <p:nvPr/>
            </p:nvCxnSpPr>
            <p:spPr>
              <a:xfrm rot="10800000">
                <a:off x="6461558" y="2781857"/>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52" name="Google Shape;1613;p18">
                <a:extLst>
                  <a:ext uri="{FF2B5EF4-FFF2-40B4-BE49-F238E27FC236}">
                    <a16:creationId xmlns:a16="http://schemas.microsoft.com/office/drawing/2014/main" id="{B0F080A9-6071-4AE5-8AA2-3EB71175E81E}"/>
                  </a:ext>
                </a:extLst>
              </p:cNvPr>
              <p:cNvCxnSpPr/>
              <p:nvPr/>
            </p:nvCxnSpPr>
            <p:spPr>
              <a:xfrm>
                <a:off x="6504241" y="2692102"/>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553" name="Google Shape;1614;p18">
                <a:extLst>
                  <a:ext uri="{FF2B5EF4-FFF2-40B4-BE49-F238E27FC236}">
                    <a16:creationId xmlns:a16="http://schemas.microsoft.com/office/drawing/2014/main" id="{C348F6C6-885B-4805-93B6-E8D29C9C3E09}"/>
                  </a:ext>
                </a:extLst>
              </p:cNvPr>
              <p:cNvCxnSpPr/>
              <p:nvPr/>
            </p:nvCxnSpPr>
            <p:spPr>
              <a:xfrm rot="10800000">
                <a:off x="6437845" y="2756665"/>
                <a:ext cx="134375" cy="0"/>
              </a:xfrm>
              <a:prstGeom prst="straightConnector1">
                <a:avLst/>
              </a:prstGeom>
              <a:noFill/>
              <a:ln w="19050" cap="flat" cmpd="sng">
                <a:solidFill>
                  <a:schemeClr val="dk2"/>
                </a:solidFill>
                <a:prstDash val="solid"/>
                <a:miter lim="800000"/>
                <a:headEnd type="none" w="med" len="med"/>
                <a:tailEnd type="none" w="med" len="med"/>
              </a:ln>
            </p:spPr>
          </p:cxnSp>
          <p:cxnSp>
            <p:nvCxnSpPr>
              <p:cNvPr id="554" name="Google Shape;1615;p18">
                <a:extLst>
                  <a:ext uri="{FF2B5EF4-FFF2-40B4-BE49-F238E27FC236}">
                    <a16:creationId xmlns:a16="http://schemas.microsoft.com/office/drawing/2014/main" id="{6F3DE2C6-1958-41CB-82DC-ACDF82336AEA}"/>
                  </a:ext>
                </a:extLst>
              </p:cNvPr>
              <p:cNvCxnSpPr/>
              <p:nvPr/>
            </p:nvCxnSpPr>
            <p:spPr>
              <a:xfrm>
                <a:off x="6497918" y="2688953"/>
                <a:ext cx="0" cy="130700"/>
              </a:xfrm>
              <a:prstGeom prst="straightConnector1">
                <a:avLst/>
              </a:prstGeom>
              <a:noFill/>
              <a:ln w="19050" cap="flat" cmpd="sng">
                <a:solidFill>
                  <a:schemeClr val="dk2"/>
                </a:solidFill>
                <a:prstDash val="solid"/>
                <a:miter lim="800000"/>
                <a:headEnd type="none" w="med" len="med"/>
                <a:tailEnd type="none" w="med" len="med"/>
              </a:ln>
            </p:spPr>
          </p:cxnSp>
          <p:cxnSp>
            <p:nvCxnSpPr>
              <p:cNvPr id="555" name="Google Shape;1616;p18">
                <a:extLst>
                  <a:ext uri="{FF2B5EF4-FFF2-40B4-BE49-F238E27FC236}">
                    <a16:creationId xmlns:a16="http://schemas.microsoft.com/office/drawing/2014/main" id="{AC60133D-ABE3-49C1-AF2C-2DBA976F0B52}"/>
                  </a:ext>
                </a:extLst>
              </p:cNvPr>
              <p:cNvCxnSpPr/>
              <p:nvPr/>
            </p:nvCxnSpPr>
            <p:spPr>
              <a:xfrm rot="10800000">
                <a:off x="6433102" y="2756665"/>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56" name="Google Shape;1617;p18">
                <a:extLst>
                  <a:ext uri="{FF2B5EF4-FFF2-40B4-BE49-F238E27FC236}">
                    <a16:creationId xmlns:a16="http://schemas.microsoft.com/office/drawing/2014/main" id="{DDFA0762-F881-4039-8DC8-43A685C0E61C}"/>
                  </a:ext>
                </a:extLst>
              </p:cNvPr>
              <p:cNvCxnSpPr/>
              <p:nvPr/>
            </p:nvCxnSpPr>
            <p:spPr>
              <a:xfrm>
                <a:off x="6491594" y="2688958"/>
                <a:ext cx="0" cy="130701"/>
              </a:xfrm>
              <a:prstGeom prst="straightConnector1">
                <a:avLst/>
              </a:prstGeom>
              <a:noFill/>
              <a:ln w="19050" cap="flat" cmpd="sng">
                <a:solidFill>
                  <a:schemeClr val="dk2"/>
                </a:solidFill>
                <a:prstDash val="solid"/>
                <a:miter lim="800000"/>
                <a:headEnd type="none" w="med" len="med"/>
                <a:tailEnd type="none" w="med" len="med"/>
              </a:ln>
            </p:spPr>
          </p:cxnSp>
          <p:cxnSp>
            <p:nvCxnSpPr>
              <p:cNvPr id="557" name="Google Shape;1618;p18">
                <a:extLst>
                  <a:ext uri="{FF2B5EF4-FFF2-40B4-BE49-F238E27FC236}">
                    <a16:creationId xmlns:a16="http://schemas.microsoft.com/office/drawing/2014/main" id="{3FFA746D-48A4-4D07-A4A3-FCB03C0309F2}"/>
                  </a:ext>
                </a:extLst>
              </p:cNvPr>
              <p:cNvCxnSpPr/>
              <p:nvPr/>
            </p:nvCxnSpPr>
            <p:spPr>
              <a:xfrm rot="10800000">
                <a:off x="6425198" y="2756669"/>
                <a:ext cx="129632" cy="0"/>
              </a:xfrm>
              <a:prstGeom prst="straightConnector1">
                <a:avLst/>
              </a:prstGeom>
              <a:noFill/>
              <a:ln w="19050" cap="flat" cmpd="sng">
                <a:solidFill>
                  <a:schemeClr val="dk2"/>
                </a:solidFill>
                <a:prstDash val="solid"/>
                <a:miter lim="800000"/>
                <a:headEnd type="none" w="med" len="med"/>
                <a:tailEnd type="none" w="med" len="med"/>
              </a:ln>
            </p:spPr>
          </p:cxnSp>
          <p:cxnSp>
            <p:nvCxnSpPr>
              <p:cNvPr id="558" name="Google Shape;1619;p18">
                <a:extLst>
                  <a:ext uri="{FF2B5EF4-FFF2-40B4-BE49-F238E27FC236}">
                    <a16:creationId xmlns:a16="http://schemas.microsoft.com/office/drawing/2014/main" id="{CFD2CB9D-EBA9-4ADB-8D10-6647D00AD50A}"/>
                  </a:ext>
                </a:extLst>
              </p:cNvPr>
              <p:cNvCxnSpPr/>
              <p:nvPr/>
            </p:nvCxnSpPr>
            <p:spPr>
              <a:xfrm>
                <a:off x="6452072" y="2673209"/>
                <a:ext cx="0" cy="130701"/>
              </a:xfrm>
              <a:prstGeom prst="straightConnector1">
                <a:avLst/>
              </a:prstGeom>
              <a:noFill/>
              <a:ln w="19050" cap="flat" cmpd="sng">
                <a:solidFill>
                  <a:schemeClr val="dk2"/>
                </a:solidFill>
                <a:prstDash val="solid"/>
                <a:miter lim="800000"/>
                <a:headEnd type="none" w="med" len="med"/>
                <a:tailEnd type="none" w="med" len="med"/>
              </a:ln>
            </p:spPr>
          </p:cxnSp>
          <p:cxnSp>
            <p:nvCxnSpPr>
              <p:cNvPr id="559" name="Google Shape;1620;p18">
                <a:extLst>
                  <a:ext uri="{FF2B5EF4-FFF2-40B4-BE49-F238E27FC236}">
                    <a16:creationId xmlns:a16="http://schemas.microsoft.com/office/drawing/2014/main" id="{1D922C70-A9AA-4D9C-BE70-6E1A2FC93D87}"/>
                  </a:ext>
                </a:extLst>
              </p:cNvPr>
              <p:cNvCxnSpPr/>
              <p:nvPr/>
            </p:nvCxnSpPr>
            <p:spPr>
              <a:xfrm rot="10800000">
                <a:off x="6385676" y="2739348"/>
                <a:ext cx="132794" cy="0"/>
              </a:xfrm>
              <a:prstGeom prst="straightConnector1">
                <a:avLst/>
              </a:prstGeom>
              <a:noFill/>
              <a:ln w="19050" cap="flat" cmpd="sng">
                <a:solidFill>
                  <a:schemeClr val="dk2"/>
                </a:solidFill>
                <a:prstDash val="solid"/>
                <a:miter lim="800000"/>
                <a:headEnd type="none" w="med" len="med"/>
                <a:tailEnd type="none" w="med" len="med"/>
              </a:ln>
            </p:spPr>
          </p:cxnSp>
          <p:cxnSp>
            <p:nvCxnSpPr>
              <p:cNvPr id="560" name="Google Shape;1621;p18">
                <a:extLst>
                  <a:ext uri="{FF2B5EF4-FFF2-40B4-BE49-F238E27FC236}">
                    <a16:creationId xmlns:a16="http://schemas.microsoft.com/office/drawing/2014/main" id="{6CA312A2-2764-4B4C-B2A5-D21C1A198885}"/>
                  </a:ext>
                </a:extLst>
              </p:cNvPr>
              <p:cNvCxnSpPr/>
              <p:nvPr/>
            </p:nvCxnSpPr>
            <p:spPr>
              <a:xfrm>
                <a:off x="6442587" y="2673212"/>
                <a:ext cx="0" cy="130701"/>
              </a:xfrm>
              <a:prstGeom prst="straightConnector1">
                <a:avLst/>
              </a:prstGeom>
              <a:noFill/>
              <a:ln w="19050" cap="flat" cmpd="sng">
                <a:solidFill>
                  <a:schemeClr val="dk2"/>
                </a:solidFill>
                <a:prstDash val="solid"/>
                <a:miter lim="800000"/>
                <a:headEnd type="none" w="med" len="med"/>
                <a:tailEnd type="none" w="med" len="med"/>
              </a:ln>
            </p:spPr>
          </p:cxnSp>
          <p:cxnSp>
            <p:nvCxnSpPr>
              <p:cNvPr id="561" name="Google Shape;1622;p18">
                <a:extLst>
                  <a:ext uri="{FF2B5EF4-FFF2-40B4-BE49-F238E27FC236}">
                    <a16:creationId xmlns:a16="http://schemas.microsoft.com/office/drawing/2014/main" id="{14AAECE0-C8C2-4480-8B38-D048040DE1C7}"/>
                  </a:ext>
                </a:extLst>
              </p:cNvPr>
              <p:cNvCxnSpPr/>
              <p:nvPr/>
            </p:nvCxnSpPr>
            <p:spPr>
              <a:xfrm rot="10800000">
                <a:off x="6377771" y="2739351"/>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62" name="Google Shape;1623;p18">
                <a:extLst>
                  <a:ext uri="{FF2B5EF4-FFF2-40B4-BE49-F238E27FC236}">
                    <a16:creationId xmlns:a16="http://schemas.microsoft.com/office/drawing/2014/main" id="{2E3C21E9-B5CC-4668-A10F-4D77108BAD7F}"/>
                  </a:ext>
                </a:extLst>
              </p:cNvPr>
              <p:cNvCxnSpPr/>
              <p:nvPr/>
            </p:nvCxnSpPr>
            <p:spPr>
              <a:xfrm>
                <a:off x="6380933" y="2673207"/>
                <a:ext cx="0" cy="130701"/>
              </a:xfrm>
              <a:prstGeom prst="straightConnector1">
                <a:avLst/>
              </a:prstGeom>
              <a:noFill/>
              <a:ln w="19050" cap="flat" cmpd="sng">
                <a:solidFill>
                  <a:schemeClr val="dk2"/>
                </a:solidFill>
                <a:prstDash val="solid"/>
                <a:miter lim="800000"/>
                <a:headEnd type="none" w="med" len="med"/>
                <a:tailEnd type="none" w="med" len="med"/>
              </a:ln>
            </p:spPr>
          </p:cxnSp>
          <p:cxnSp>
            <p:nvCxnSpPr>
              <p:cNvPr id="563" name="Google Shape;1624;p18">
                <a:extLst>
                  <a:ext uri="{FF2B5EF4-FFF2-40B4-BE49-F238E27FC236}">
                    <a16:creationId xmlns:a16="http://schemas.microsoft.com/office/drawing/2014/main" id="{386F6C9F-2EAD-4372-8851-528734F5A4F7}"/>
                  </a:ext>
                </a:extLst>
              </p:cNvPr>
              <p:cNvCxnSpPr/>
              <p:nvPr/>
            </p:nvCxnSpPr>
            <p:spPr>
              <a:xfrm rot="10800000">
                <a:off x="6314536" y="2739345"/>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64" name="Google Shape;1625;p18">
                <a:extLst>
                  <a:ext uri="{FF2B5EF4-FFF2-40B4-BE49-F238E27FC236}">
                    <a16:creationId xmlns:a16="http://schemas.microsoft.com/office/drawing/2014/main" id="{2173B25A-EF51-410A-A156-9DEF492D7680}"/>
                  </a:ext>
                </a:extLst>
              </p:cNvPr>
              <p:cNvCxnSpPr/>
              <p:nvPr/>
            </p:nvCxnSpPr>
            <p:spPr>
              <a:xfrm>
                <a:off x="6314536" y="2643287"/>
                <a:ext cx="0" cy="130701"/>
              </a:xfrm>
              <a:prstGeom prst="straightConnector1">
                <a:avLst/>
              </a:prstGeom>
              <a:noFill/>
              <a:ln w="19050" cap="flat" cmpd="sng">
                <a:solidFill>
                  <a:schemeClr val="dk2"/>
                </a:solidFill>
                <a:prstDash val="solid"/>
                <a:miter lim="800000"/>
                <a:headEnd type="none" w="med" len="med"/>
                <a:tailEnd type="none" w="med" len="med"/>
              </a:ln>
            </p:spPr>
          </p:cxnSp>
          <p:cxnSp>
            <p:nvCxnSpPr>
              <p:cNvPr id="565" name="Google Shape;1626;p18">
                <a:extLst>
                  <a:ext uri="{FF2B5EF4-FFF2-40B4-BE49-F238E27FC236}">
                    <a16:creationId xmlns:a16="http://schemas.microsoft.com/office/drawing/2014/main" id="{2218C9D5-DBBF-4A2B-815F-E3BDA8EA997C}"/>
                  </a:ext>
                </a:extLst>
              </p:cNvPr>
              <p:cNvCxnSpPr/>
              <p:nvPr/>
            </p:nvCxnSpPr>
            <p:spPr>
              <a:xfrm rot="10800000">
                <a:off x="6248139" y="2709426"/>
                <a:ext cx="132794" cy="0"/>
              </a:xfrm>
              <a:prstGeom prst="straightConnector1">
                <a:avLst/>
              </a:prstGeom>
              <a:noFill/>
              <a:ln w="19050" cap="flat" cmpd="sng">
                <a:solidFill>
                  <a:schemeClr val="dk2"/>
                </a:solidFill>
                <a:prstDash val="solid"/>
                <a:miter lim="800000"/>
                <a:headEnd type="none" w="med" len="med"/>
                <a:tailEnd type="none" w="med" len="med"/>
              </a:ln>
            </p:spPr>
          </p:cxnSp>
          <p:cxnSp>
            <p:nvCxnSpPr>
              <p:cNvPr id="566" name="Google Shape;1627;p18">
                <a:extLst>
                  <a:ext uri="{FF2B5EF4-FFF2-40B4-BE49-F238E27FC236}">
                    <a16:creationId xmlns:a16="http://schemas.microsoft.com/office/drawing/2014/main" id="{396EF421-1EA6-4732-9FE7-29DCE2BD99B9}"/>
                  </a:ext>
                </a:extLst>
              </p:cNvPr>
              <p:cNvCxnSpPr/>
              <p:nvPr/>
            </p:nvCxnSpPr>
            <p:spPr>
              <a:xfrm>
                <a:off x="6293985" y="2643287"/>
                <a:ext cx="0" cy="130701"/>
              </a:xfrm>
              <a:prstGeom prst="straightConnector1">
                <a:avLst/>
              </a:prstGeom>
              <a:noFill/>
              <a:ln w="19050" cap="flat" cmpd="sng">
                <a:solidFill>
                  <a:schemeClr val="dk2"/>
                </a:solidFill>
                <a:prstDash val="solid"/>
                <a:miter lim="800000"/>
                <a:headEnd type="none" w="med" len="med"/>
                <a:tailEnd type="none" w="med" len="med"/>
              </a:ln>
            </p:spPr>
          </p:cxnSp>
          <p:cxnSp>
            <p:nvCxnSpPr>
              <p:cNvPr id="567" name="Google Shape;1628;p18">
                <a:extLst>
                  <a:ext uri="{FF2B5EF4-FFF2-40B4-BE49-F238E27FC236}">
                    <a16:creationId xmlns:a16="http://schemas.microsoft.com/office/drawing/2014/main" id="{AA95FB1A-57E0-46F7-89F9-DC5CB9D0896F}"/>
                  </a:ext>
                </a:extLst>
              </p:cNvPr>
              <p:cNvCxnSpPr/>
              <p:nvPr/>
            </p:nvCxnSpPr>
            <p:spPr>
              <a:xfrm rot="10800000">
                <a:off x="6227588" y="2709426"/>
                <a:ext cx="132794" cy="0"/>
              </a:xfrm>
              <a:prstGeom prst="straightConnector1">
                <a:avLst/>
              </a:prstGeom>
              <a:noFill/>
              <a:ln w="19050" cap="flat" cmpd="sng">
                <a:solidFill>
                  <a:schemeClr val="dk2"/>
                </a:solidFill>
                <a:prstDash val="solid"/>
                <a:miter lim="800000"/>
                <a:headEnd type="none" w="med" len="med"/>
                <a:tailEnd type="none" w="med" len="med"/>
              </a:ln>
            </p:spPr>
          </p:cxnSp>
          <p:cxnSp>
            <p:nvCxnSpPr>
              <p:cNvPr id="568" name="Google Shape;1629;p18">
                <a:extLst>
                  <a:ext uri="{FF2B5EF4-FFF2-40B4-BE49-F238E27FC236}">
                    <a16:creationId xmlns:a16="http://schemas.microsoft.com/office/drawing/2014/main" id="{2A6C9BD0-34F0-43B7-A1C0-32DDEE881007}"/>
                  </a:ext>
                </a:extLst>
              </p:cNvPr>
              <p:cNvCxnSpPr/>
              <p:nvPr/>
            </p:nvCxnSpPr>
            <p:spPr>
              <a:xfrm>
                <a:off x="6268691" y="2643287"/>
                <a:ext cx="0" cy="130701"/>
              </a:xfrm>
              <a:prstGeom prst="straightConnector1">
                <a:avLst/>
              </a:prstGeom>
              <a:noFill/>
              <a:ln w="19050" cap="flat" cmpd="sng">
                <a:solidFill>
                  <a:schemeClr val="dk2"/>
                </a:solidFill>
                <a:prstDash val="solid"/>
                <a:miter lim="800000"/>
                <a:headEnd type="none" w="med" len="med"/>
                <a:tailEnd type="none" w="med" len="med"/>
              </a:ln>
            </p:spPr>
          </p:cxnSp>
          <p:cxnSp>
            <p:nvCxnSpPr>
              <p:cNvPr id="569" name="Google Shape;1630;p18">
                <a:extLst>
                  <a:ext uri="{FF2B5EF4-FFF2-40B4-BE49-F238E27FC236}">
                    <a16:creationId xmlns:a16="http://schemas.microsoft.com/office/drawing/2014/main" id="{E2EC4394-0D15-4E09-81F1-41BE458FA1F1}"/>
                  </a:ext>
                </a:extLst>
              </p:cNvPr>
              <p:cNvCxnSpPr/>
              <p:nvPr/>
            </p:nvCxnSpPr>
            <p:spPr>
              <a:xfrm rot="10800000">
                <a:off x="6203875" y="2709426"/>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70" name="Google Shape;1631;p18">
                <a:extLst>
                  <a:ext uri="{FF2B5EF4-FFF2-40B4-BE49-F238E27FC236}">
                    <a16:creationId xmlns:a16="http://schemas.microsoft.com/office/drawing/2014/main" id="{41B25541-4BB7-4182-A3DE-6A7AA36A0C6E}"/>
                  </a:ext>
                </a:extLst>
              </p:cNvPr>
              <p:cNvCxnSpPr/>
              <p:nvPr/>
            </p:nvCxnSpPr>
            <p:spPr>
              <a:xfrm>
                <a:off x="6263948" y="2643287"/>
                <a:ext cx="0" cy="130701"/>
              </a:xfrm>
              <a:prstGeom prst="straightConnector1">
                <a:avLst/>
              </a:prstGeom>
              <a:noFill/>
              <a:ln w="19050" cap="flat" cmpd="sng">
                <a:solidFill>
                  <a:schemeClr val="dk2"/>
                </a:solidFill>
                <a:prstDash val="solid"/>
                <a:miter lim="800000"/>
                <a:headEnd type="none" w="med" len="med"/>
                <a:tailEnd type="none" w="med" len="med"/>
              </a:ln>
            </p:spPr>
          </p:cxnSp>
          <p:cxnSp>
            <p:nvCxnSpPr>
              <p:cNvPr id="571" name="Google Shape;1632;p18">
                <a:extLst>
                  <a:ext uri="{FF2B5EF4-FFF2-40B4-BE49-F238E27FC236}">
                    <a16:creationId xmlns:a16="http://schemas.microsoft.com/office/drawing/2014/main" id="{CEC8B17B-F852-40FA-9107-1A6433F60DEE}"/>
                  </a:ext>
                </a:extLst>
              </p:cNvPr>
              <p:cNvCxnSpPr/>
              <p:nvPr/>
            </p:nvCxnSpPr>
            <p:spPr>
              <a:xfrm rot="10800000">
                <a:off x="6197551" y="2709426"/>
                <a:ext cx="129632" cy="0"/>
              </a:xfrm>
              <a:prstGeom prst="straightConnector1">
                <a:avLst/>
              </a:prstGeom>
              <a:noFill/>
              <a:ln w="19050" cap="flat" cmpd="sng">
                <a:solidFill>
                  <a:schemeClr val="dk2"/>
                </a:solidFill>
                <a:prstDash val="solid"/>
                <a:miter lim="800000"/>
                <a:headEnd type="none" w="med" len="med"/>
                <a:tailEnd type="none" w="med" len="med"/>
              </a:ln>
            </p:spPr>
          </p:cxnSp>
          <p:cxnSp>
            <p:nvCxnSpPr>
              <p:cNvPr id="572" name="Google Shape;1633;p18">
                <a:extLst>
                  <a:ext uri="{FF2B5EF4-FFF2-40B4-BE49-F238E27FC236}">
                    <a16:creationId xmlns:a16="http://schemas.microsoft.com/office/drawing/2014/main" id="{BB870ABD-6A99-4A5C-986A-10B930C85587}"/>
                  </a:ext>
                </a:extLst>
              </p:cNvPr>
              <p:cNvCxnSpPr/>
              <p:nvPr/>
            </p:nvCxnSpPr>
            <p:spPr>
              <a:xfrm>
                <a:off x="6256044" y="2643287"/>
                <a:ext cx="0" cy="130701"/>
              </a:xfrm>
              <a:prstGeom prst="straightConnector1">
                <a:avLst/>
              </a:prstGeom>
              <a:noFill/>
              <a:ln w="19050" cap="flat" cmpd="sng">
                <a:solidFill>
                  <a:schemeClr val="dk2"/>
                </a:solidFill>
                <a:prstDash val="solid"/>
                <a:miter lim="800000"/>
                <a:headEnd type="none" w="med" len="med"/>
                <a:tailEnd type="none" w="med" len="med"/>
              </a:ln>
            </p:spPr>
          </p:cxnSp>
          <p:cxnSp>
            <p:nvCxnSpPr>
              <p:cNvPr id="573" name="Google Shape;1634;p18">
                <a:extLst>
                  <a:ext uri="{FF2B5EF4-FFF2-40B4-BE49-F238E27FC236}">
                    <a16:creationId xmlns:a16="http://schemas.microsoft.com/office/drawing/2014/main" id="{0CBD8392-749F-4A90-9931-161306CEB983}"/>
                  </a:ext>
                </a:extLst>
              </p:cNvPr>
              <p:cNvCxnSpPr/>
              <p:nvPr/>
            </p:nvCxnSpPr>
            <p:spPr>
              <a:xfrm rot="10800000">
                <a:off x="6189647" y="2709426"/>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74" name="Google Shape;1635;p18">
                <a:extLst>
                  <a:ext uri="{FF2B5EF4-FFF2-40B4-BE49-F238E27FC236}">
                    <a16:creationId xmlns:a16="http://schemas.microsoft.com/office/drawing/2014/main" id="{86A289A3-B74F-404C-99AC-F1F80BDDAD19}"/>
                  </a:ext>
                </a:extLst>
              </p:cNvPr>
              <p:cNvCxnSpPr/>
              <p:nvPr/>
            </p:nvCxnSpPr>
            <p:spPr>
              <a:xfrm>
                <a:off x="6249720" y="2643288"/>
                <a:ext cx="0" cy="130701"/>
              </a:xfrm>
              <a:prstGeom prst="straightConnector1">
                <a:avLst/>
              </a:prstGeom>
              <a:noFill/>
              <a:ln w="19050" cap="flat" cmpd="sng">
                <a:solidFill>
                  <a:schemeClr val="dk2"/>
                </a:solidFill>
                <a:prstDash val="solid"/>
                <a:miter lim="800000"/>
                <a:headEnd type="none" w="med" len="med"/>
                <a:tailEnd type="none" w="med" len="med"/>
              </a:ln>
            </p:spPr>
          </p:cxnSp>
          <p:cxnSp>
            <p:nvCxnSpPr>
              <p:cNvPr id="575" name="Google Shape;1636;p18">
                <a:extLst>
                  <a:ext uri="{FF2B5EF4-FFF2-40B4-BE49-F238E27FC236}">
                    <a16:creationId xmlns:a16="http://schemas.microsoft.com/office/drawing/2014/main" id="{330F08F6-A276-42CB-B962-54E12E8A718E}"/>
                  </a:ext>
                </a:extLst>
              </p:cNvPr>
              <p:cNvCxnSpPr/>
              <p:nvPr/>
            </p:nvCxnSpPr>
            <p:spPr>
              <a:xfrm rot="10800000">
                <a:off x="6183323" y="2709427"/>
                <a:ext cx="132794" cy="0"/>
              </a:xfrm>
              <a:prstGeom prst="straightConnector1">
                <a:avLst/>
              </a:prstGeom>
              <a:noFill/>
              <a:ln w="19050" cap="flat" cmpd="sng">
                <a:solidFill>
                  <a:schemeClr val="dk2"/>
                </a:solidFill>
                <a:prstDash val="solid"/>
                <a:miter lim="800000"/>
                <a:headEnd type="none" w="med" len="med"/>
                <a:tailEnd type="none" w="med" len="med"/>
              </a:ln>
            </p:spPr>
          </p:cxnSp>
          <p:cxnSp>
            <p:nvCxnSpPr>
              <p:cNvPr id="576" name="Google Shape;1637;p18">
                <a:extLst>
                  <a:ext uri="{FF2B5EF4-FFF2-40B4-BE49-F238E27FC236}">
                    <a16:creationId xmlns:a16="http://schemas.microsoft.com/office/drawing/2014/main" id="{2862A537-C0CD-4100-87E9-4B2FFDF5419F}"/>
                  </a:ext>
                </a:extLst>
              </p:cNvPr>
              <p:cNvCxnSpPr/>
              <p:nvPr/>
            </p:nvCxnSpPr>
            <p:spPr>
              <a:xfrm>
                <a:off x="6243397" y="2643287"/>
                <a:ext cx="0" cy="130701"/>
              </a:xfrm>
              <a:prstGeom prst="straightConnector1">
                <a:avLst/>
              </a:prstGeom>
              <a:noFill/>
              <a:ln w="19050" cap="flat" cmpd="sng">
                <a:solidFill>
                  <a:schemeClr val="dk2"/>
                </a:solidFill>
                <a:prstDash val="solid"/>
                <a:miter lim="800000"/>
                <a:headEnd type="none" w="med" len="med"/>
                <a:tailEnd type="none" w="med" len="med"/>
              </a:ln>
            </p:spPr>
          </p:cxnSp>
          <p:cxnSp>
            <p:nvCxnSpPr>
              <p:cNvPr id="577" name="Google Shape;1638;p18">
                <a:extLst>
                  <a:ext uri="{FF2B5EF4-FFF2-40B4-BE49-F238E27FC236}">
                    <a16:creationId xmlns:a16="http://schemas.microsoft.com/office/drawing/2014/main" id="{278B6F43-4518-4D42-B05C-DAFA26146D63}"/>
                  </a:ext>
                </a:extLst>
              </p:cNvPr>
              <p:cNvCxnSpPr/>
              <p:nvPr/>
            </p:nvCxnSpPr>
            <p:spPr>
              <a:xfrm rot="10800000">
                <a:off x="6178581" y="2709426"/>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78" name="Google Shape;1639;p18">
                <a:extLst>
                  <a:ext uri="{FF2B5EF4-FFF2-40B4-BE49-F238E27FC236}">
                    <a16:creationId xmlns:a16="http://schemas.microsoft.com/office/drawing/2014/main" id="{B37DFE0C-8069-4D79-BB0B-0215B8474778}"/>
                  </a:ext>
                </a:extLst>
              </p:cNvPr>
              <p:cNvCxnSpPr/>
              <p:nvPr/>
            </p:nvCxnSpPr>
            <p:spPr>
              <a:xfrm>
                <a:off x="6167515" y="2613377"/>
                <a:ext cx="0" cy="130701"/>
              </a:xfrm>
              <a:prstGeom prst="straightConnector1">
                <a:avLst/>
              </a:prstGeom>
              <a:noFill/>
              <a:ln w="19050" cap="flat" cmpd="sng">
                <a:solidFill>
                  <a:schemeClr val="dk2"/>
                </a:solidFill>
                <a:prstDash val="solid"/>
                <a:miter lim="800000"/>
                <a:headEnd type="none" w="med" len="med"/>
                <a:tailEnd type="none" w="med" len="med"/>
              </a:ln>
            </p:spPr>
          </p:cxnSp>
          <p:cxnSp>
            <p:nvCxnSpPr>
              <p:cNvPr id="579" name="Google Shape;1640;p18">
                <a:extLst>
                  <a:ext uri="{FF2B5EF4-FFF2-40B4-BE49-F238E27FC236}">
                    <a16:creationId xmlns:a16="http://schemas.microsoft.com/office/drawing/2014/main" id="{0E737331-FB65-4E22-A6B2-83DFA6C2F580}"/>
                  </a:ext>
                </a:extLst>
              </p:cNvPr>
              <p:cNvCxnSpPr/>
              <p:nvPr/>
            </p:nvCxnSpPr>
            <p:spPr>
              <a:xfrm rot="10800000">
                <a:off x="6101118" y="2677939"/>
                <a:ext cx="132794" cy="0"/>
              </a:xfrm>
              <a:prstGeom prst="straightConnector1">
                <a:avLst/>
              </a:prstGeom>
              <a:noFill/>
              <a:ln w="19050" cap="flat" cmpd="sng">
                <a:solidFill>
                  <a:schemeClr val="dk2"/>
                </a:solidFill>
                <a:prstDash val="solid"/>
                <a:miter lim="800000"/>
                <a:headEnd type="none" w="med" len="med"/>
                <a:tailEnd type="none" w="med" len="med"/>
              </a:ln>
            </p:spPr>
          </p:cxnSp>
          <p:cxnSp>
            <p:nvCxnSpPr>
              <p:cNvPr id="580" name="Google Shape;1641;p18">
                <a:extLst>
                  <a:ext uri="{FF2B5EF4-FFF2-40B4-BE49-F238E27FC236}">
                    <a16:creationId xmlns:a16="http://schemas.microsoft.com/office/drawing/2014/main" id="{9DCD22B1-37FC-462A-87F5-F6A1EA24CB9B}"/>
                  </a:ext>
                </a:extLst>
              </p:cNvPr>
              <p:cNvCxnSpPr/>
              <p:nvPr/>
            </p:nvCxnSpPr>
            <p:spPr>
              <a:xfrm>
                <a:off x="6113765" y="2607077"/>
                <a:ext cx="0" cy="130701"/>
              </a:xfrm>
              <a:prstGeom prst="straightConnector1">
                <a:avLst/>
              </a:prstGeom>
              <a:noFill/>
              <a:ln w="19050" cap="flat" cmpd="sng">
                <a:solidFill>
                  <a:schemeClr val="dk2"/>
                </a:solidFill>
                <a:prstDash val="solid"/>
                <a:miter lim="800000"/>
                <a:headEnd type="none" w="med" len="med"/>
                <a:tailEnd type="none" w="med" len="med"/>
              </a:ln>
            </p:spPr>
          </p:cxnSp>
          <p:cxnSp>
            <p:nvCxnSpPr>
              <p:cNvPr id="581" name="Google Shape;1642;p18">
                <a:extLst>
                  <a:ext uri="{FF2B5EF4-FFF2-40B4-BE49-F238E27FC236}">
                    <a16:creationId xmlns:a16="http://schemas.microsoft.com/office/drawing/2014/main" id="{6058C8A8-8620-41A1-A3DD-A8AF01D29BD6}"/>
                  </a:ext>
                </a:extLst>
              </p:cNvPr>
              <p:cNvCxnSpPr/>
              <p:nvPr/>
            </p:nvCxnSpPr>
            <p:spPr>
              <a:xfrm rot="10800000">
                <a:off x="6050530" y="2671641"/>
                <a:ext cx="129632" cy="0"/>
              </a:xfrm>
              <a:prstGeom prst="straightConnector1">
                <a:avLst/>
              </a:prstGeom>
              <a:noFill/>
              <a:ln w="19050" cap="flat" cmpd="sng">
                <a:solidFill>
                  <a:schemeClr val="dk2"/>
                </a:solidFill>
                <a:prstDash val="solid"/>
                <a:miter lim="800000"/>
                <a:headEnd type="none" w="med" len="med"/>
                <a:tailEnd type="none" w="med" len="med"/>
              </a:ln>
            </p:spPr>
          </p:cxnSp>
          <p:cxnSp>
            <p:nvCxnSpPr>
              <p:cNvPr id="582" name="Google Shape;1643;p18">
                <a:extLst>
                  <a:ext uri="{FF2B5EF4-FFF2-40B4-BE49-F238E27FC236}">
                    <a16:creationId xmlns:a16="http://schemas.microsoft.com/office/drawing/2014/main" id="{970C8574-C974-4A04-8D36-952A3187262E}"/>
                  </a:ext>
                </a:extLst>
              </p:cNvPr>
              <p:cNvCxnSpPr/>
              <p:nvPr/>
            </p:nvCxnSpPr>
            <p:spPr>
              <a:xfrm>
                <a:off x="5971486" y="2570868"/>
                <a:ext cx="0" cy="132277"/>
              </a:xfrm>
              <a:prstGeom prst="straightConnector1">
                <a:avLst/>
              </a:prstGeom>
              <a:noFill/>
              <a:ln w="19050" cap="flat" cmpd="sng">
                <a:solidFill>
                  <a:schemeClr val="dk2"/>
                </a:solidFill>
                <a:prstDash val="solid"/>
                <a:miter lim="800000"/>
                <a:headEnd type="none" w="med" len="med"/>
                <a:tailEnd type="none" w="med" len="med"/>
              </a:ln>
            </p:spPr>
          </p:cxnSp>
          <p:cxnSp>
            <p:nvCxnSpPr>
              <p:cNvPr id="583" name="Google Shape;1644;p18">
                <a:extLst>
                  <a:ext uri="{FF2B5EF4-FFF2-40B4-BE49-F238E27FC236}">
                    <a16:creationId xmlns:a16="http://schemas.microsoft.com/office/drawing/2014/main" id="{3CD75D33-3249-49B1-8DBA-C5C816611CDA}"/>
                  </a:ext>
                </a:extLst>
              </p:cNvPr>
              <p:cNvCxnSpPr/>
              <p:nvPr/>
            </p:nvCxnSpPr>
            <p:spPr>
              <a:xfrm rot="10800000">
                <a:off x="5906670" y="2637007"/>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84" name="Google Shape;1645;p18">
                <a:extLst>
                  <a:ext uri="{FF2B5EF4-FFF2-40B4-BE49-F238E27FC236}">
                    <a16:creationId xmlns:a16="http://schemas.microsoft.com/office/drawing/2014/main" id="{A99D9EC0-7E2F-4DC6-AB4A-D12E0B3C7615}"/>
                  </a:ext>
                </a:extLst>
              </p:cNvPr>
              <p:cNvCxnSpPr/>
              <p:nvPr/>
            </p:nvCxnSpPr>
            <p:spPr>
              <a:xfrm>
                <a:off x="5914574" y="2561420"/>
                <a:ext cx="0" cy="130701"/>
              </a:xfrm>
              <a:prstGeom prst="straightConnector1">
                <a:avLst/>
              </a:prstGeom>
              <a:noFill/>
              <a:ln w="19050" cap="flat" cmpd="sng">
                <a:solidFill>
                  <a:schemeClr val="dk2"/>
                </a:solidFill>
                <a:prstDash val="solid"/>
                <a:miter lim="800000"/>
                <a:headEnd type="none" w="med" len="med"/>
                <a:tailEnd type="none" w="med" len="med"/>
              </a:ln>
            </p:spPr>
          </p:cxnSp>
          <p:cxnSp>
            <p:nvCxnSpPr>
              <p:cNvPr id="585" name="Google Shape;1646;p18">
                <a:extLst>
                  <a:ext uri="{FF2B5EF4-FFF2-40B4-BE49-F238E27FC236}">
                    <a16:creationId xmlns:a16="http://schemas.microsoft.com/office/drawing/2014/main" id="{37190155-AD05-472F-9049-ECA0144819FA}"/>
                  </a:ext>
                </a:extLst>
              </p:cNvPr>
              <p:cNvCxnSpPr/>
              <p:nvPr/>
            </p:nvCxnSpPr>
            <p:spPr>
              <a:xfrm rot="10800000">
                <a:off x="5848177" y="2625983"/>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86" name="Google Shape;1647;p18">
                <a:extLst>
                  <a:ext uri="{FF2B5EF4-FFF2-40B4-BE49-F238E27FC236}">
                    <a16:creationId xmlns:a16="http://schemas.microsoft.com/office/drawing/2014/main" id="{C93C6CB3-72C5-4291-B107-1E731A0919CB}"/>
                  </a:ext>
                </a:extLst>
              </p:cNvPr>
              <p:cNvCxnSpPr/>
              <p:nvPr/>
            </p:nvCxnSpPr>
            <p:spPr>
              <a:xfrm>
                <a:off x="5905089" y="2561411"/>
                <a:ext cx="0" cy="130701"/>
              </a:xfrm>
              <a:prstGeom prst="straightConnector1">
                <a:avLst/>
              </a:prstGeom>
              <a:noFill/>
              <a:ln w="19050" cap="flat" cmpd="sng">
                <a:solidFill>
                  <a:schemeClr val="dk2"/>
                </a:solidFill>
                <a:prstDash val="solid"/>
                <a:miter lim="800000"/>
                <a:headEnd type="none" w="med" len="med"/>
                <a:tailEnd type="none" w="med" len="med"/>
              </a:ln>
            </p:spPr>
          </p:cxnSp>
          <p:cxnSp>
            <p:nvCxnSpPr>
              <p:cNvPr id="587" name="Google Shape;1648;p18">
                <a:extLst>
                  <a:ext uri="{FF2B5EF4-FFF2-40B4-BE49-F238E27FC236}">
                    <a16:creationId xmlns:a16="http://schemas.microsoft.com/office/drawing/2014/main" id="{F20F8F35-4A8E-4BC3-9D8F-912EF40A200F}"/>
                  </a:ext>
                </a:extLst>
              </p:cNvPr>
              <p:cNvCxnSpPr/>
              <p:nvPr/>
            </p:nvCxnSpPr>
            <p:spPr>
              <a:xfrm rot="10800000">
                <a:off x="5838692" y="2625975"/>
                <a:ext cx="131213" cy="0"/>
              </a:xfrm>
              <a:prstGeom prst="straightConnector1">
                <a:avLst/>
              </a:prstGeom>
              <a:noFill/>
              <a:ln w="19050" cap="flat" cmpd="sng">
                <a:solidFill>
                  <a:schemeClr val="dk2"/>
                </a:solidFill>
                <a:prstDash val="solid"/>
                <a:miter lim="800000"/>
                <a:headEnd type="none" w="med" len="med"/>
                <a:tailEnd type="none" w="med" len="med"/>
              </a:ln>
            </p:spPr>
          </p:cxnSp>
          <p:cxnSp>
            <p:nvCxnSpPr>
              <p:cNvPr id="588" name="Google Shape;1649;p18">
                <a:extLst>
                  <a:ext uri="{FF2B5EF4-FFF2-40B4-BE49-F238E27FC236}">
                    <a16:creationId xmlns:a16="http://schemas.microsoft.com/office/drawing/2014/main" id="{39DEDD8B-600E-4F35-8413-378DD97C0EAE}"/>
                  </a:ext>
                </a:extLst>
              </p:cNvPr>
              <p:cNvCxnSpPr/>
              <p:nvPr/>
            </p:nvCxnSpPr>
            <p:spPr>
              <a:xfrm>
                <a:off x="5879795" y="2561421"/>
                <a:ext cx="0" cy="130701"/>
              </a:xfrm>
              <a:prstGeom prst="straightConnector1">
                <a:avLst/>
              </a:prstGeom>
              <a:noFill/>
              <a:ln w="19050" cap="flat" cmpd="sng">
                <a:solidFill>
                  <a:schemeClr val="dk2"/>
                </a:solidFill>
                <a:prstDash val="solid"/>
                <a:miter lim="800000"/>
                <a:headEnd type="none" w="med" len="med"/>
                <a:tailEnd type="none" w="med" len="med"/>
              </a:ln>
            </p:spPr>
          </p:cxnSp>
        </p:grpSp>
        <p:cxnSp>
          <p:nvCxnSpPr>
            <p:cNvPr id="589" name="Google Shape;1650;p18">
              <a:extLst>
                <a:ext uri="{FF2B5EF4-FFF2-40B4-BE49-F238E27FC236}">
                  <a16:creationId xmlns:a16="http://schemas.microsoft.com/office/drawing/2014/main" id="{92E9BB90-91F2-4DD2-9475-8978ED345681}"/>
                </a:ext>
              </a:extLst>
            </p:cNvPr>
            <p:cNvCxnSpPr/>
            <p:nvPr/>
          </p:nvCxnSpPr>
          <p:spPr>
            <a:xfrm rot="10800000">
              <a:off x="3623908" y="2308836"/>
              <a:ext cx="119979" cy="0"/>
            </a:xfrm>
            <a:prstGeom prst="straightConnector1">
              <a:avLst/>
            </a:prstGeom>
            <a:noFill/>
            <a:ln w="19050" cap="flat" cmpd="sng">
              <a:solidFill>
                <a:schemeClr val="dk2"/>
              </a:solidFill>
              <a:prstDash val="solid"/>
              <a:miter lim="800000"/>
              <a:headEnd type="none" w="med" len="med"/>
              <a:tailEnd type="none" w="med" len="med"/>
            </a:ln>
          </p:spPr>
        </p:cxnSp>
        <p:cxnSp>
          <p:nvCxnSpPr>
            <p:cNvPr id="590" name="Google Shape;1651;p18">
              <a:extLst>
                <a:ext uri="{FF2B5EF4-FFF2-40B4-BE49-F238E27FC236}">
                  <a16:creationId xmlns:a16="http://schemas.microsoft.com/office/drawing/2014/main" id="{1BEC5BC2-3803-4648-8D8F-566681D9B6E6}"/>
                </a:ext>
              </a:extLst>
            </p:cNvPr>
            <p:cNvCxnSpPr/>
            <p:nvPr/>
          </p:nvCxnSpPr>
          <p:spPr>
            <a:xfrm>
              <a:off x="3621018" y="2271710"/>
              <a:ext cx="0" cy="75155"/>
            </a:xfrm>
            <a:prstGeom prst="straightConnector1">
              <a:avLst/>
            </a:prstGeom>
            <a:noFill/>
            <a:ln w="19050" cap="flat" cmpd="sng">
              <a:solidFill>
                <a:schemeClr val="dk2"/>
              </a:solidFill>
              <a:prstDash val="solid"/>
              <a:miter lim="800000"/>
              <a:headEnd type="none" w="med" len="med"/>
              <a:tailEnd type="none" w="med" len="med"/>
            </a:ln>
          </p:spPr>
        </p:cxnSp>
        <p:cxnSp>
          <p:nvCxnSpPr>
            <p:cNvPr id="591" name="Google Shape;1652;p18">
              <a:extLst>
                <a:ext uri="{FF2B5EF4-FFF2-40B4-BE49-F238E27FC236}">
                  <a16:creationId xmlns:a16="http://schemas.microsoft.com/office/drawing/2014/main" id="{6C2FB64F-B434-46CC-BF9C-CC8129CBEB3D}"/>
                </a:ext>
              </a:extLst>
            </p:cNvPr>
            <p:cNvCxnSpPr/>
            <p:nvPr/>
          </p:nvCxnSpPr>
          <p:spPr>
            <a:xfrm rot="10800000">
              <a:off x="3560306" y="2308836"/>
              <a:ext cx="122869" cy="0"/>
            </a:xfrm>
            <a:prstGeom prst="straightConnector1">
              <a:avLst/>
            </a:prstGeom>
            <a:noFill/>
            <a:ln w="19050" cap="flat" cmpd="sng">
              <a:solidFill>
                <a:schemeClr val="dk2"/>
              </a:solidFill>
              <a:prstDash val="solid"/>
              <a:miter lim="800000"/>
              <a:headEnd type="none" w="med" len="med"/>
              <a:tailEnd type="none" w="med" len="med"/>
            </a:ln>
          </p:spPr>
        </p:cxnSp>
        <p:cxnSp>
          <p:nvCxnSpPr>
            <p:cNvPr id="592" name="Google Shape;1653;p18">
              <a:extLst>
                <a:ext uri="{FF2B5EF4-FFF2-40B4-BE49-F238E27FC236}">
                  <a16:creationId xmlns:a16="http://schemas.microsoft.com/office/drawing/2014/main" id="{BF90CC1B-C95D-4D0E-AF85-83D3FC3A52DF}"/>
                </a:ext>
              </a:extLst>
            </p:cNvPr>
            <p:cNvCxnSpPr/>
            <p:nvPr/>
          </p:nvCxnSpPr>
          <p:spPr>
            <a:xfrm>
              <a:off x="3495257" y="2259939"/>
              <a:ext cx="0" cy="75155"/>
            </a:xfrm>
            <a:prstGeom prst="straightConnector1">
              <a:avLst/>
            </a:prstGeom>
            <a:noFill/>
            <a:ln w="19050" cap="flat" cmpd="sng">
              <a:solidFill>
                <a:schemeClr val="dk2"/>
              </a:solidFill>
              <a:prstDash val="solid"/>
              <a:miter lim="800000"/>
              <a:headEnd type="none" w="med" len="med"/>
              <a:tailEnd type="none" w="med" len="med"/>
            </a:ln>
          </p:spPr>
        </p:cxnSp>
        <p:cxnSp>
          <p:nvCxnSpPr>
            <p:cNvPr id="593" name="Google Shape;1654;p18">
              <a:extLst>
                <a:ext uri="{FF2B5EF4-FFF2-40B4-BE49-F238E27FC236}">
                  <a16:creationId xmlns:a16="http://schemas.microsoft.com/office/drawing/2014/main" id="{CE0A4A2E-186B-4AC3-8B1F-3CC80725A379}"/>
                </a:ext>
              </a:extLst>
            </p:cNvPr>
            <p:cNvCxnSpPr/>
            <p:nvPr/>
          </p:nvCxnSpPr>
          <p:spPr>
            <a:xfrm rot="10800000">
              <a:off x="3435990" y="2297970"/>
              <a:ext cx="119979" cy="0"/>
            </a:xfrm>
            <a:prstGeom prst="straightConnector1">
              <a:avLst/>
            </a:prstGeom>
            <a:noFill/>
            <a:ln w="19050" cap="flat" cmpd="sng">
              <a:solidFill>
                <a:schemeClr val="dk2"/>
              </a:solidFill>
              <a:prstDash val="solid"/>
              <a:miter lim="800000"/>
              <a:headEnd type="none" w="med" len="med"/>
              <a:tailEnd type="none" w="med" len="med"/>
            </a:ln>
          </p:spPr>
        </p:cxnSp>
        <p:cxnSp>
          <p:nvCxnSpPr>
            <p:cNvPr id="594" name="Google Shape;1655;p18">
              <a:extLst>
                <a:ext uri="{FF2B5EF4-FFF2-40B4-BE49-F238E27FC236}">
                  <a16:creationId xmlns:a16="http://schemas.microsoft.com/office/drawing/2014/main" id="{06F8F371-600D-4B53-8E68-7786CCF57D76}"/>
                </a:ext>
              </a:extLst>
            </p:cNvPr>
            <p:cNvCxnSpPr/>
            <p:nvPr/>
          </p:nvCxnSpPr>
          <p:spPr>
            <a:xfrm>
              <a:off x="3453337" y="2259939"/>
              <a:ext cx="0" cy="75155"/>
            </a:xfrm>
            <a:prstGeom prst="straightConnector1">
              <a:avLst/>
            </a:prstGeom>
            <a:noFill/>
            <a:ln w="19050" cap="flat" cmpd="sng">
              <a:solidFill>
                <a:schemeClr val="dk2"/>
              </a:solidFill>
              <a:prstDash val="solid"/>
              <a:miter lim="800000"/>
              <a:headEnd type="none" w="med" len="med"/>
              <a:tailEnd type="none" w="med" len="med"/>
            </a:ln>
          </p:spPr>
        </p:cxnSp>
        <p:cxnSp>
          <p:nvCxnSpPr>
            <p:cNvPr id="595" name="Google Shape;1656;p18">
              <a:extLst>
                <a:ext uri="{FF2B5EF4-FFF2-40B4-BE49-F238E27FC236}">
                  <a16:creationId xmlns:a16="http://schemas.microsoft.com/office/drawing/2014/main" id="{A24F0D31-EB35-4E58-A105-35CACB7A7153}"/>
                </a:ext>
              </a:extLst>
            </p:cNvPr>
            <p:cNvCxnSpPr/>
            <p:nvPr/>
          </p:nvCxnSpPr>
          <p:spPr>
            <a:xfrm rot="10800000">
              <a:off x="3394070" y="2297970"/>
              <a:ext cx="119979" cy="0"/>
            </a:xfrm>
            <a:prstGeom prst="straightConnector1">
              <a:avLst/>
            </a:prstGeom>
            <a:noFill/>
            <a:ln w="19050" cap="flat" cmpd="sng">
              <a:solidFill>
                <a:schemeClr val="dk2"/>
              </a:solidFill>
              <a:prstDash val="solid"/>
              <a:miter lim="800000"/>
              <a:headEnd type="none" w="med" len="med"/>
              <a:tailEnd type="none" w="med" len="med"/>
            </a:ln>
          </p:spPr>
        </p:cxnSp>
        <p:cxnSp>
          <p:nvCxnSpPr>
            <p:cNvPr id="596" name="Google Shape;1657;p18">
              <a:extLst>
                <a:ext uri="{FF2B5EF4-FFF2-40B4-BE49-F238E27FC236}">
                  <a16:creationId xmlns:a16="http://schemas.microsoft.com/office/drawing/2014/main" id="{3B100637-AF57-4551-BE74-ECE46277C617}"/>
                </a:ext>
              </a:extLst>
            </p:cNvPr>
            <p:cNvCxnSpPr/>
            <p:nvPr/>
          </p:nvCxnSpPr>
          <p:spPr>
            <a:xfrm>
              <a:off x="3401298" y="2259939"/>
              <a:ext cx="0" cy="75155"/>
            </a:xfrm>
            <a:prstGeom prst="straightConnector1">
              <a:avLst/>
            </a:prstGeom>
            <a:noFill/>
            <a:ln w="19050" cap="flat" cmpd="sng">
              <a:solidFill>
                <a:schemeClr val="dk2"/>
              </a:solidFill>
              <a:prstDash val="solid"/>
              <a:miter lim="800000"/>
              <a:headEnd type="none" w="med" len="med"/>
              <a:tailEnd type="none" w="med" len="med"/>
            </a:ln>
          </p:spPr>
        </p:cxnSp>
        <p:cxnSp>
          <p:nvCxnSpPr>
            <p:cNvPr id="597" name="Google Shape;1658;p18">
              <a:extLst>
                <a:ext uri="{FF2B5EF4-FFF2-40B4-BE49-F238E27FC236}">
                  <a16:creationId xmlns:a16="http://schemas.microsoft.com/office/drawing/2014/main" id="{6427E622-B8F8-4A46-AB5F-003055D6CF1B}"/>
                </a:ext>
              </a:extLst>
            </p:cNvPr>
            <p:cNvCxnSpPr/>
            <p:nvPr/>
          </p:nvCxnSpPr>
          <p:spPr>
            <a:xfrm rot="10800000">
              <a:off x="3340586" y="2297970"/>
              <a:ext cx="118533" cy="0"/>
            </a:xfrm>
            <a:prstGeom prst="straightConnector1">
              <a:avLst/>
            </a:prstGeom>
            <a:noFill/>
            <a:ln w="19050" cap="flat" cmpd="sng">
              <a:solidFill>
                <a:schemeClr val="dk2"/>
              </a:solidFill>
              <a:prstDash val="solid"/>
              <a:miter lim="800000"/>
              <a:headEnd type="none" w="med" len="med"/>
              <a:tailEnd type="none" w="med" len="med"/>
            </a:ln>
          </p:spPr>
        </p:cxnSp>
        <p:cxnSp>
          <p:nvCxnSpPr>
            <p:cNvPr id="598" name="Google Shape;1659;p18">
              <a:extLst>
                <a:ext uri="{FF2B5EF4-FFF2-40B4-BE49-F238E27FC236}">
                  <a16:creationId xmlns:a16="http://schemas.microsoft.com/office/drawing/2014/main" id="{46A0C44F-3C09-487D-B1F6-15A30E38187D}"/>
                </a:ext>
              </a:extLst>
            </p:cNvPr>
            <p:cNvCxnSpPr/>
            <p:nvPr/>
          </p:nvCxnSpPr>
          <p:spPr>
            <a:xfrm>
              <a:off x="3392625" y="2259939"/>
              <a:ext cx="0" cy="75155"/>
            </a:xfrm>
            <a:prstGeom prst="straightConnector1">
              <a:avLst/>
            </a:prstGeom>
            <a:noFill/>
            <a:ln w="19050" cap="flat" cmpd="sng">
              <a:solidFill>
                <a:schemeClr val="dk2"/>
              </a:solidFill>
              <a:prstDash val="solid"/>
              <a:miter lim="800000"/>
              <a:headEnd type="none" w="med" len="med"/>
              <a:tailEnd type="none" w="med" len="med"/>
            </a:ln>
          </p:spPr>
        </p:cxnSp>
        <p:cxnSp>
          <p:nvCxnSpPr>
            <p:cNvPr id="599" name="Google Shape;1660;p18">
              <a:extLst>
                <a:ext uri="{FF2B5EF4-FFF2-40B4-BE49-F238E27FC236}">
                  <a16:creationId xmlns:a16="http://schemas.microsoft.com/office/drawing/2014/main" id="{7D61D696-A6C1-4E21-B60A-5606AB577AE5}"/>
                </a:ext>
              </a:extLst>
            </p:cNvPr>
            <p:cNvCxnSpPr/>
            <p:nvPr/>
          </p:nvCxnSpPr>
          <p:spPr>
            <a:xfrm rot="10800000">
              <a:off x="3331913" y="2297970"/>
              <a:ext cx="119979" cy="0"/>
            </a:xfrm>
            <a:prstGeom prst="straightConnector1">
              <a:avLst/>
            </a:prstGeom>
            <a:noFill/>
            <a:ln w="19050" cap="flat" cmpd="sng">
              <a:solidFill>
                <a:schemeClr val="dk2"/>
              </a:solidFill>
              <a:prstDash val="solid"/>
              <a:miter lim="800000"/>
              <a:headEnd type="none" w="med" len="med"/>
              <a:tailEnd type="none" w="med" len="med"/>
            </a:ln>
          </p:spPr>
        </p:cxnSp>
        <p:cxnSp>
          <p:nvCxnSpPr>
            <p:cNvPr id="600" name="Google Shape;1661;p18">
              <a:extLst>
                <a:ext uri="{FF2B5EF4-FFF2-40B4-BE49-F238E27FC236}">
                  <a16:creationId xmlns:a16="http://schemas.microsoft.com/office/drawing/2014/main" id="{8D665B0C-368E-4A01-9AA9-7232BE63605F}"/>
                </a:ext>
              </a:extLst>
            </p:cNvPr>
            <p:cNvCxnSpPr/>
            <p:nvPr/>
          </p:nvCxnSpPr>
          <p:spPr>
            <a:xfrm>
              <a:off x="3359378" y="2252695"/>
              <a:ext cx="0" cy="76967"/>
            </a:xfrm>
            <a:prstGeom prst="straightConnector1">
              <a:avLst/>
            </a:prstGeom>
            <a:noFill/>
            <a:ln w="19050" cap="flat" cmpd="sng">
              <a:solidFill>
                <a:schemeClr val="dk2"/>
              </a:solidFill>
              <a:prstDash val="solid"/>
              <a:miter lim="800000"/>
              <a:headEnd type="none" w="med" len="med"/>
              <a:tailEnd type="none" w="med" len="med"/>
            </a:ln>
          </p:spPr>
        </p:cxnSp>
        <p:cxnSp>
          <p:nvCxnSpPr>
            <p:cNvPr id="601" name="Google Shape;1662;p18">
              <a:extLst>
                <a:ext uri="{FF2B5EF4-FFF2-40B4-BE49-F238E27FC236}">
                  <a16:creationId xmlns:a16="http://schemas.microsoft.com/office/drawing/2014/main" id="{AB95328F-3990-4EC9-800C-F6A1045C01F1}"/>
                </a:ext>
              </a:extLst>
            </p:cNvPr>
            <p:cNvCxnSpPr/>
            <p:nvPr/>
          </p:nvCxnSpPr>
          <p:spPr>
            <a:xfrm rot="10800000">
              <a:off x="3297220" y="2291631"/>
              <a:ext cx="122869" cy="0"/>
            </a:xfrm>
            <a:prstGeom prst="straightConnector1">
              <a:avLst/>
            </a:prstGeom>
            <a:noFill/>
            <a:ln w="19050" cap="flat" cmpd="sng">
              <a:solidFill>
                <a:schemeClr val="dk2"/>
              </a:solidFill>
              <a:prstDash val="solid"/>
              <a:miter lim="800000"/>
              <a:headEnd type="none" w="med" len="med"/>
              <a:tailEnd type="none" w="med" len="med"/>
            </a:ln>
          </p:spPr>
        </p:cxnSp>
        <p:cxnSp>
          <p:nvCxnSpPr>
            <p:cNvPr id="602" name="Google Shape;1663;p18">
              <a:extLst>
                <a:ext uri="{FF2B5EF4-FFF2-40B4-BE49-F238E27FC236}">
                  <a16:creationId xmlns:a16="http://schemas.microsoft.com/office/drawing/2014/main" id="{E70EDFF0-3F24-4DAD-9DC7-8C0D0AF2F755}"/>
                </a:ext>
              </a:extLst>
            </p:cNvPr>
            <p:cNvCxnSpPr/>
            <p:nvPr/>
          </p:nvCxnSpPr>
          <p:spPr>
            <a:xfrm>
              <a:off x="3263973" y="2243640"/>
              <a:ext cx="0" cy="75155"/>
            </a:xfrm>
            <a:prstGeom prst="straightConnector1">
              <a:avLst/>
            </a:prstGeom>
            <a:noFill/>
            <a:ln w="19050" cap="flat" cmpd="sng">
              <a:solidFill>
                <a:schemeClr val="dk2"/>
              </a:solidFill>
              <a:prstDash val="solid"/>
              <a:miter lim="800000"/>
              <a:headEnd type="none" w="med" len="med"/>
              <a:tailEnd type="none" w="med" len="med"/>
            </a:ln>
          </p:spPr>
        </p:cxnSp>
        <p:cxnSp>
          <p:nvCxnSpPr>
            <p:cNvPr id="603" name="Google Shape;1664;p18">
              <a:extLst>
                <a:ext uri="{FF2B5EF4-FFF2-40B4-BE49-F238E27FC236}">
                  <a16:creationId xmlns:a16="http://schemas.microsoft.com/office/drawing/2014/main" id="{55265CDC-F757-47C2-BE2A-9FD7BA73B239}"/>
                </a:ext>
              </a:extLst>
            </p:cNvPr>
            <p:cNvCxnSpPr/>
            <p:nvPr/>
          </p:nvCxnSpPr>
          <p:spPr>
            <a:xfrm rot="10800000">
              <a:off x="3203261" y="2281670"/>
              <a:ext cx="119979" cy="0"/>
            </a:xfrm>
            <a:prstGeom prst="straightConnector1">
              <a:avLst/>
            </a:prstGeom>
            <a:noFill/>
            <a:ln w="19050" cap="flat" cmpd="sng">
              <a:solidFill>
                <a:schemeClr val="dk2"/>
              </a:solidFill>
              <a:prstDash val="solid"/>
              <a:miter lim="800000"/>
              <a:headEnd type="none" w="med" len="med"/>
              <a:tailEnd type="none" w="med" len="med"/>
            </a:ln>
          </p:spPr>
        </p:cxnSp>
        <p:cxnSp>
          <p:nvCxnSpPr>
            <p:cNvPr id="604" name="Google Shape;1665;p18">
              <a:extLst>
                <a:ext uri="{FF2B5EF4-FFF2-40B4-BE49-F238E27FC236}">
                  <a16:creationId xmlns:a16="http://schemas.microsoft.com/office/drawing/2014/main" id="{8EE2DD91-9B0C-47F7-B9D2-ADA2DD3894A2}"/>
                </a:ext>
              </a:extLst>
            </p:cNvPr>
            <p:cNvCxnSpPr/>
            <p:nvPr/>
          </p:nvCxnSpPr>
          <p:spPr>
            <a:xfrm>
              <a:off x="3255301" y="2243640"/>
              <a:ext cx="0" cy="75155"/>
            </a:xfrm>
            <a:prstGeom prst="straightConnector1">
              <a:avLst/>
            </a:prstGeom>
            <a:noFill/>
            <a:ln w="19050" cap="flat" cmpd="sng">
              <a:solidFill>
                <a:schemeClr val="dk2"/>
              </a:solidFill>
              <a:prstDash val="solid"/>
              <a:miter lim="800000"/>
              <a:headEnd type="none" w="med" len="med"/>
              <a:tailEnd type="none" w="med" len="med"/>
            </a:ln>
          </p:spPr>
        </p:cxnSp>
        <p:cxnSp>
          <p:nvCxnSpPr>
            <p:cNvPr id="605" name="Google Shape;1666;p18">
              <a:extLst>
                <a:ext uri="{FF2B5EF4-FFF2-40B4-BE49-F238E27FC236}">
                  <a16:creationId xmlns:a16="http://schemas.microsoft.com/office/drawing/2014/main" id="{D53B2DD4-C4BD-4B1F-A4B1-DCAE459E1887}"/>
                </a:ext>
              </a:extLst>
            </p:cNvPr>
            <p:cNvCxnSpPr/>
            <p:nvPr/>
          </p:nvCxnSpPr>
          <p:spPr>
            <a:xfrm rot="10800000">
              <a:off x="3194589" y="2281670"/>
              <a:ext cx="122869" cy="0"/>
            </a:xfrm>
            <a:prstGeom prst="straightConnector1">
              <a:avLst/>
            </a:prstGeom>
            <a:noFill/>
            <a:ln w="19050" cap="flat" cmpd="sng">
              <a:solidFill>
                <a:schemeClr val="dk2"/>
              </a:solidFill>
              <a:prstDash val="solid"/>
              <a:miter lim="800000"/>
              <a:headEnd type="none" w="med" len="med"/>
              <a:tailEnd type="none" w="med" len="med"/>
            </a:ln>
          </p:spPr>
        </p:cxnSp>
        <p:cxnSp>
          <p:nvCxnSpPr>
            <p:cNvPr id="606" name="Google Shape;1667;p18">
              <a:extLst>
                <a:ext uri="{FF2B5EF4-FFF2-40B4-BE49-F238E27FC236}">
                  <a16:creationId xmlns:a16="http://schemas.microsoft.com/office/drawing/2014/main" id="{177F8ACF-F990-43A0-9EF1-D303664E2A4F}"/>
                </a:ext>
              </a:extLst>
            </p:cNvPr>
            <p:cNvCxnSpPr/>
            <p:nvPr/>
          </p:nvCxnSpPr>
          <p:spPr>
            <a:xfrm>
              <a:off x="3116531" y="2202893"/>
              <a:ext cx="0" cy="76061"/>
            </a:xfrm>
            <a:prstGeom prst="straightConnector1">
              <a:avLst/>
            </a:prstGeom>
            <a:noFill/>
            <a:ln w="19050" cap="flat" cmpd="sng">
              <a:solidFill>
                <a:schemeClr val="dk2"/>
              </a:solidFill>
              <a:prstDash val="solid"/>
              <a:miter lim="800000"/>
              <a:headEnd type="none" w="med" len="med"/>
              <a:tailEnd type="none" w="med" len="med"/>
            </a:ln>
          </p:spPr>
        </p:cxnSp>
        <p:cxnSp>
          <p:nvCxnSpPr>
            <p:cNvPr id="607" name="Google Shape;1668;p18">
              <a:extLst>
                <a:ext uri="{FF2B5EF4-FFF2-40B4-BE49-F238E27FC236}">
                  <a16:creationId xmlns:a16="http://schemas.microsoft.com/office/drawing/2014/main" id="{D7688C6D-78DE-4AD1-BDC0-0114B2BD4844}"/>
                </a:ext>
              </a:extLst>
            </p:cNvPr>
            <p:cNvCxnSpPr/>
            <p:nvPr/>
          </p:nvCxnSpPr>
          <p:spPr>
            <a:xfrm rot="10800000">
              <a:off x="3058709" y="2240924"/>
              <a:ext cx="119979" cy="0"/>
            </a:xfrm>
            <a:prstGeom prst="straightConnector1">
              <a:avLst/>
            </a:prstGeom>
            <a:noFill/>
            <a:ln w="19050" cap="flat" cmpd="sng">
              <a:solidFill>
                <a:schemeClr val="dk2"/>
              </a:solidFill>
              <a:prstDash val="solid"/>
              <a:miter lim="800000"/>
              <a:headEnd type="none" w="med" len="med"/>
              <a:tailEnd type="none" w="med" len="med"/>
            </a:ln>
          </p:spPr>
        </p:cxnSp>
        <p:cxnSp>
          <p:nvCxnSpPr>
            <p:cNvPr id="608" name="Google Shape;1669;p18">
              <a:extLst>
                <a:ext uri="{FF2B5EF4-FFF2-40B4-BE49-F238E27FC236}">
                  <a16:creationId xmlns:a16="http://schemas.microsoft.com/office/drawing/2014/main" id="{AF82089F-B674-4EDC-877A-87306EE7AA7F}"/>
                </a:ext>
              </a:extLst>
            </p:cNvPr>
            <p:cNvCxnSpPr/>
            <p:nvPr/>
          </p:nvCxnSpPr>
          <p:spPr>
            <a:xfrm>
              <a:off x="3077501" y="2202893"/>
              <a:ext cx="0" cy="76061"/>
            </a:xfrm>
            <a:prstGeom prst="straightConnector1">
              <a:avLst/>
            </a:prstGeom>
            <a:noFill/>
            <a:ln w="19050" cap="flat" cmpd="sng">
              <a:solidFill>
                <a:schemeClr val="dk2"/>
              </a:solidFill>
              <a:prstDash val="solid"/>
              <a:miter lim="800000"/>
              <a:headEnd type="none" w="med" len="med"/>
              <a:tailEnd type="none" w="med" len="med"/>
            </a:ln>
          </p:spPr>
        </p:cxnSp>
        <p:cxnSp>
          <p:nvCxnSpPr>
            <p:cNvPr id="609" name="Google Shape;1670;p18">
              <a:extLst>
                <a:ext uri="{FF2B5EF4-FFF2-40B4-BE49-F238E27FC236}">
                  <a16:creationId xmlns:a16="http://schemas.microsoft.com/office/drawing/2014/main" id="{9D98EA97-A50E-4011-AC7F-CB3637A3464F}"/>
                </a:ext>
              </a:extLst>
            </p:cNvPr>
            <p:cNvCxnSpPr/>
            <p:nvPr/>
          </p:nvCxnSpPr>
          <p:spPr>
            <a:xfrm rot="10800000">
              <a:off x="3016789" y="2240924"/>
              <a:ext cx="119979" cy="0"/>
            </a:xfrm>
            <a:prstGeom prst="straightConnector1">
              <a:avLst/>
            </a:prstGeom>
            <a:noFill/>
            <a:ln w="19050" cap="flat" cmpd="sng">
              <a:solidFill>
                <a:schemeClr val="dk2"/>
              </a:solidFill>
              <a:prstDash val="solid"/>
              <a:miter lim="800000"/>
              <a:headEnd type="none" w="med" len="med"/>
              <a:tailEnd type="none" w="med" len="med"/>
            </a:ln>
          </p:spPr>
        </p:cxnSp>
        <p:cxnSp>
          <p:nvCxnSpPr>
            <p:cNvPr id="610" name="Google Shape;1671;p18">
              <a:extLst>
                <a:ext uri="{FF2B5EF4-FFF2-40B4-BE49-F238E27FC236}">
                  <a16:creationId xmlns:a16="http://schemas.microsoft.com/office/drawing/2014/main" id="{5DDED478-F0BC-4EE9-8648-03A1FD6EA7E2}"/>
                </a:ext>
              </a:extLst>
            </p:cNvPr>
            <p:cNvCxnSpPr/>
            <p:nvPr/>
          </p:nvCxnSpPr>
          <p:spPr>
            <a:xfrm>
              <a:off x="3013898" y="2177539"/>
              <a:ext cx="0" cy="75155"/>
            </a:xfrm>
            <a:prstGeom prst="straightConnector1">
              <a:avLst/>
            </a:prstGeom>
            <a:noFill/>
            <a:ln w="19050" cap="flat" cmpd="sng">
              <a:solidFill>
                <a:schemeClr val="dk2"/>
              </a:solidFill>
              <a:prstDash val="solid"/>
              <a:miter lim="800000"/>
              <a:headEnd type="none" w="med" len="med"/>
              <a:tailEnd type="none" w="med" len="med"/>
            </a:ln>
          </p:spPr>
        </p:cxnSp>
        <p:cxnSp>
          <p:nvCxnSpPr>
            <p:cNvPr id="611" name="Google Shape;1672;p18">
              <a:extLst>
                <a:ext uri="{FF2B5EF4-FFF2-40B4-BE49-F238E27FC236}">
                  <a16:creationId xmlns:a16="http://schemas.microsoft.com/office/drawing/2014/main" id="{E1655833-B454-42DA-9348-EE62BCC29AD2}"/>
                </a:ext>
              </a:extLst>
            </p:cNvPr>
            <p:cNvCxnSpPr/>
            <p:nvPr/>
          </p:nvCxnSpPr>
          <p:spPr>
            <a:xfrm rot="10800000">
              <a:off x="2953186" y="2215570"/>
              <a:ext cx="119979" cy="0"/>
            </a:xfrm>
            <a:prstGeom prst="straightConnector1">
              <a:avLst/>
            </a:prstGeom>
            <a:noFill/>
            <a:ln w="19050" cap="flat" cmpd="sng">
              <a:solidFill>
                <a:schemeClr val="dk2"/>
              </a:solidFill>
              <a:prstDash val="solid"/>
              <a:miter lim="800000"/>
              <a:headEnd type="none" w="med" len="med"/>
              <a:tailEnd type="none" w="med" len="med"/>
            </a:ln>
          </p:spPr>
        </p:cxnSp>
        <p:cxnSp>
          <p:nvCxnSpPr>
            <p:cNvPr id="612" name="Google Shape;1673;p18">
              <a:extLst>
                <a:ext uri="{FF2B5EF4-FFF2-40B4-BE49-F238E27FC236}">
                  <a16:creationId xmlns:a16="http://schemas.microsoft.com/office/drawing/2014/main" id="{4BE09F99-0BAB-4D18-90CA-5E804BE3A252}"/>
                </a:ext>
              </a:extLst>
            </p:cNvPr>
            <p:cNvCxnSpPr/>
            <p:nvPr/>
          </p:nvCxnSpPr>
          <p:spPr>
            <a:xfrm>
              <a:off x="2951740" y="2152185"/>
              <a:ext cx="0" cy="76061"/>
            </a:xfrm>
            <a:prstGeom prst="straightConnector1">
              <a:avLst/>
            </a:prstGeom>
            <a:noFill/>
            <a:ln w="19050" cap="flat" cmpd="sng">
              <a:solidFill>
                <a:schemeClr val="dk2"/>
              </a:solidFill>
              <a:prstDash val="solid"/>
              <a:miter lim="800000"/>
              <a:headEnd type="none" w="med" len="med"/>
              <a:tailEnd type="none" w="med" len="med"/>
            </a:ln>
          </p:spPr>
        </p:cxnSp>
        <p:cxnSp>
          <p:nvCxnSpPr>
            <p:cNvPr id="613" name="Google Shape;1674;p18">
              <a:extLst>
                <a:ext uri="{FF2B5EF4-FFF2-40B4-BE49-F238E27FC236}">
                  <a16:creationId xmlns:a16="http://schemas.microsoft.com/office/drawing/2014/main" id="{9077EDED-99D5-4B9B-A67B-8F50AE1C7349}"/>
                </a:ext>
              </a:extLst>
            </p:cNvPr>
            <p:cNvCxnSpPr/>
            <p:nvPr/>
          </p:nvCxnSpPr>
          <p:spPr>
            <a:xfrm rot="10800000">
              <a:off x="2889583" y="2189311"/>
              <a:ext cx="122869" cy="0"/>
            </a:xfrm>
            <a:prstGeom prst="straightConnector1">
              <a:avLst/>
            </a:prstGeom>
            <a:noFill/>
            <a:ln w="19050" cap="flat" cmpd="sng">
              <a:solidFill>
                <a:schemeClr val="dk2"/>
              </a:solidFill>
              <a:prstDash val="solid"/>
              <a:miter lim="800000"/>
              <a:headEnd type="none" w="med" len="med"/>
              <a:tailEnd type="none" w="med" len="med"/>
            </a:ln>
          </p:spPr>
        </p:cxnSp>
        <p:cxnSp>
          <p:nvCxnSpPr>
            <p:cNvPr id="614" name="Google Shape;1675;p18">
              <a:extLst>
                <a:ext uri="{FF2B5EF4-FFF2-40B4-BE49-F238E27FC236}">
                  <a16:creationId xmlns:a16="http://schemas.microsoft.com/office/drawing/2014/main" id="{ADF7F704-4AE5-4381-8D11-67F35C922E62}"/>
                </a:ext>
              </a:extLst>
            </p:cNvPr>
            <p:cNvCxnSpPr/>
            <p:nvPr/>
          </p:nvCxnSpPr>
          <p:spPr>
            <a:xfrm>
              <a:off x="2898256" y="2122304"/>
              <a:ext cx="0" cy="76061"/>
            </a:xfrm>
            <a:prstGeom prst="straightConnector1">
              <a:avLst/>
            </a:prstGeom>
            <a:noFill/>
            <a:ln w="19050" cap="flat" cmpd="sng">
              <a:solidFill>
                <a:schemeClr val="dk2"/>
              </a:solidFill>
              <a:prstDash val="solid"/>
              <a:miter lim="800000"/>
              <a:headEnd type="none" w="med" len="med"/>
              <a:tailEnd type="none" w="med" len="med"/>
            </a:ln>
          </p:spPr>
        </p:cxnSp>
        <p:cxnSp>
          <p:nvCxnSpPr>
            <p:cNvPr id="615" name="Google Shape;1676;p18">
              <a:extLst>
                <a:ext uri="{FF2B5EF4-FFF2-40B4-BE49-F238E27FC236}">
                  <a16:creationId xmlns:a16="http://schemas.microsoft.com/office/drawing/2014/main" id="{BDFEE4E9-AB5F-43C9-BB2D-BB2BE4ED0DC4}"/>
                </a:ext>
              </a:extLst>
            </p:cNvPr>
            <p:cNvCxnSpPr/>
            <p:nvPr/>
          </p:nvCxnSpPr>
          <p:spPr>
            <a:xfrm rot="10800000">
              <a:off x="2837544" y="2160335"/>
              <a:ext cx="119979" cy="0"/>
            </a:xfrm>
            <a:prstGeom prst="straightConnector1">
              <a:avLst/>
            </a:prstGeom>
            <a:noFill/>
            <a:ln w="19050" cap="flat" cmpd="sng">
              <a:solidFill>
                <a:schemeClr val="dk2"/>
              </a:solidFill>
              <a:prstDash val="solid"/>
              <a:miter lim="800000"/>
              <a:headEnd type="none" w="med" len="med"/>
              <a:tailEnd type="none" w="med" len="med"/>
            </a:ln>
          </p:spPr>
        </p:cxnSp>
        <p:cxnSp>
          <p:nvCxnSpPr>
            <p:cNvPr id="616" name="Google Shape;1677;p18">
              <a:extLst>
                <a:ext uri="{FF2B5EF4-FFF2-40B4-BE49-F238E27FC236}">
                  <a16:creationId xmlns:a16="http://schemas.microsoft.com/office/drawing/2014/main" id="{D6CB6717-50C6-428C-97F4-029661A89985}"/>
                </a:ext>
              </a:extLst>
            </p:cNvPr>
            <p:cNvCxnSpPr/>
            <p:nvPr/>
          </p:nvCxnSpPr>
          <p:spPr>
            <a:xfrm>
              <a:off x="2666973" y="2061637"/>
              <a:ext cx="0" cy="76061"/>
            </a:xfrm>
            <a:prstGeom prst="straightConnector1">
              <a:avLst/>
            </a:prstGeom>
            <a:noFill/>
            <a:ln w="19050" cap="flat" cmpd="sng">
              <a:solidFill>
                <a:schemeClr val="dk2"/>
              </a:solidFill>
              <a:prstDash val="solid"/>
              <a:miter lim="800000"/>
              <a:headEnd type="none" w="med" len="med"/>
              <a:tailEnd type="none" w="med" len="med"/>
            </a:ln>
          </p:spPr>
        </p:cxnSp>
        <p:cxnSp>
          <p:nvCxnSpPr>
            <p:cNvPr id="617" name="Google Shape;1678;p18">
              <a:extLst>
                <a:ext uri="{FF2B5EF4-FFF2-40B4-BE49-F238E27FC236}">
                  <a16:creationId xmlns:a16="http://schemas.microsoft.com/office/drawing/2014/main" id="{F961A182-6DB7-4933-9627-2B5B31FC5095}"/>
                </a:ext>
              </a:extLst>
            </p:cNvPr>
            <p:cNvCxnSpPr/>
            <p:nvPr/>
          </p:nvCxnSpPr>
          <p:spPr>
            <a:xfrm rot="10800000">
              <a:off x="2606261" y="2099667"/>
              <a:ext cx="121424" cy="0"/>
            </a:xfrm>
            <a:prstGeom prst="straightConnector1">
              <a:avLst/>
            </a:prstGeom>
            <a:noFill/>
            <a:ln w="19050" cap="flat" cmpd="sng">
              <a:solidFill>
                <a:schemeClr val="dk2"/>
              </a:solidFill>
              <a:prstDash val="solid"/>
              <a:miter lim="800000"/>
              <a:headEnd type="none" w="med" len="med"/>
              <a:tailEnd type="none" w="med" len="med"/>
            </a:ln>
          </p:spPr>
        </p:cxnSp>
        <p:cxnSp>
          <p:nvCxnSpPr>
            <p:cNvPr id="618" name="Google Shape;1679;p18">
              <a:extLst>
                <a:ext uri="{FF2B5EF4-FFF2-40B4-BE49-F238E27FC236}">
                  <a16:creationId xmlns:a16="http://schemas.microsoft.com/office/drawing/2014/main" id="{BDC92934-8737-4E7C-A2D1-B8419D33ED34}"/>
                </a:ext>
              </a:extLst>
            </p:cNvPr>
            <p:cNvCxnSpPr/>
            <p:nvPr/>
          </p:nvCxnSpPr>
          <p:spPr>
            <a:xfrm>
              <a:off x="2604815" y="2061637"/>
              <a:ext cx="0" cy="76061"/>
            </a:xfrm>
            <a:prstGeom prst="straightConnector1">
              <a:avLst/>
            </a:prstGeom>
            <a:noFill/>
            <a:ln w="19050" cap="flat" cmpd="sng">
              <a:solidFill>
                <a:schemeClr val="dk2"/>
              </a:solidFill>
              <a:prstDash val="solid"/>
              <a:miter lim="800000"/>
              <a:headEnd type="none" w="med" len="med"/>
              <a:tailEnd type="none" w="med" len="med"/>
            </a:ln>
          </p:spPr>
        </p:cxnSp>
        <p:cxnSp>
          <p:nvCxnSpPr>
            <p:cNvPr id="619" name="Google Shape;1680;p18">
              <a:extLst>
                <a:ext uri="{FF2B5EF4-FFF2-40B4-BE49-F238E27FC236}">
                  <a16:creationId xmlns:a16="http://schemas.microsoft.com/office/drawing/2014/main" id="{952BF6E2-193A-44A3-9618-5C4FF92431A0}"/>
                </a:ext>
              </a:extLst>
            </p:cNvPr>
            <p:cNvCxnSpPr/>
            <p:nvPr/>
          </p:nvCxnSpPr>
          <p:spPr>
            <a:xfrm rot="10800000">
              <a:off x="2544102" y="2099667"/>
              <a:ext cx="118533" cy="0"/>
            </a:xfrm>
            <a:prstGeom prst="straightConnector1">
              <a:avLst/>
            </a:prstGeom>
            <a:noFill/>
            <a:ln w="19050" cap="flat" cmpd="sng">
              <a:solidFill>
                <a:schemeClr val="dk2"/>
              </a:solidFill>
              <a:prstDash val="solid"/>
              <a:miter lim="800000"/>
              <a:headEnd type="none" w="med" len="med"/>
              <a:tailEnd type="none" w="med" len="med"/>
            </a:ln>
          </p:spPr>
        </p:cxnSp>
        <p:cxnSp>
          <p:nvCxnSpPr>
            <p:cNvPr id="620" name="Google Shape;1681;p18">
              <a:extLst>
                <a:ext uri="{FF2B5EF4-FFF2-40B4-BE49-F238E27FC236}">
                  <a16:creationId xmlns:a16="http://schemas.microsoft.com/office/drawing/2014/main" id="{F122B807-CCC8-4736-9CC5-39C219DC0422}"/>
                </a:ext>
              </a:extLst>
            </p:cNvPr>
            <p:cNvCxnSpPr/>
            <p:nvPr/>
          </p:nvCxnSpPr>
          <p:spPr>
            <a:xfrm>
              <a:off x="2596142" y="2061637"/>
              <a:ext cx="0" cy="76061"/>
            </a:xfrm>
            <a:prstGeom prst="straightConnector1">
              <a:avLst/>
            </a:prstGeom>
            <a:noFill/>
            <a:ln w="19050" cap="flat" cmpd="sng">
              <a:solidFill>
                <a:schemeClr val="dk2"/>
              </a:solidFill>
              <a:prstDash val="solid"/>
              <a:miter lim="800000"/>
              <a:headEnd type="none" w="med" len="med"/>
              <a:tailEnd type="none" w="med" len="med"/>
            </a:ln>
          </p:spPr>
        </p:cxnSp>
        <p:cxnSp>
          <p:nvCxnSpPr>
            <p:cNvPr id="621" name="Google Shape;1682;p18">
              <a:extLst>
                <a:ext uri="{FF2B5EF4-FFF2-40B4-BE49-F238E27FC236}">
                  <a16:creationId xmlns:a16="http://schemas.microsoft.com/office/drawing/2014/main" id="{73A3427E-A280-457C-A9C6-BF7CA528EC17}"/>
                </a:ext>
              </a:extLst>
            </p:cNvPr>
            <p:cNvCxnSpPr/>
            <p:nvPr/>
          </p:nvCxnSpPr>
          <p:spPr>
            <a:xfrm rot="10800000">
              <a:off x="2536875" y="2099667"/>
              <a:ext cx="119979" cy="0"/>
            </a:xfrm>
            <a:prstGeom prst="straightConnector1">
              <a:avLst/>
            </a:prstGeom>
            <a:noFill/>
            <a:ln w="19050" cap="flat" cmpd="sng">
              <a:solidFill>
                <a:schemeClr val="dk2"/>
              </a:solidFill>
              <a:prstDash val="solid"/>
              <a:miter lim="800000"/>
              <a:headEnd type="none" w="med" len="med"/>
              <a:tailEnd type="none" w="med" len="med"/>
            </a:ln>
          </p:spPr>
        </p:cxnSp>
        <p:cxnSp>
          <p:nvCxnSpPr>
            <p:cNvPr id="622" name="Google Shape;1683;p18">
              <a:extLst>
                <a:ext uri="{FF2B5EF4-FFF2-40B4-BE49-F238E27FC236}">
                  <a16:creationId xmlns:a16="http://schemas.microsoft.com/office/drawing/2014/main" id="{70C9284C-09EC-46F5-BD47-CF7221D6C213}"/>
                </a:ext>
              </a:extLst>
            </p:cNvPr>
            <p:cNvCxnSpPr/>
            <p:nvPr/>
          </p:nvCxnSpPr>
          <p:spPr>
            <a:xfrm>
              <a:off x="2573013" y="2061637"/>
              <a:ext cx="0" cy="76061"/>
            </a:xfrm>
            <a:prstGeom prst="straightConnector1">
              <a:avLst/>
            </a:prstGeom>
            <a:noFill/>
            <a:ln w="19050" cap="flat" cmpd="sng">
              <a:solidFill>
                <a:schemeClr val="dk2"/>
              </a:solidFill>
              <a:prstDash val="solid"/>
              <a:miter lim="800000"/>
              <a:headEnd type="none" w="med" len="med"/>
              <a:tailEnd type="none" w="med" len="med"/>
            </a:ln>
          </p:spPr>
        </p:cxnSp>
        <p:cxnSp>
          <p:nvCxnSpPr>
            <p:cNvPr id="623" name="Google Shape;1684;p18">
              <a:extLst>
                <a:ext uri="{FF2B5EF4-FFF2-40B4-BE49-F238E27FC236}">
                  <a16:creationId xmlns:a16="http://schemas.microsoft.com/office/drawing/2014/main" id="{E783025F-B028-47BC-A210-383F97F21180}"/>
                </a:ext>
              </a:extLst>
            </p:cNvPr>
            <p:cNvCxnSpPr/>
            <p:nvPr/>
          </p:nvCxnSpPr>
          <p:spPr>
            <a:xfrm rot="10800000">
              <a:off x="2512301" y="2099667"/>
              <a:ext cx="121424" cy="0"/>
            </a:xfrm>
            <a:prstGeom prst="straightConnector1">
              <a:avLst/>
            </a:prstGeom>
            <a:noFill/>
            <a:ln w="19050" cap="flat" cmpd="sng">
              <a:solidFill>
                <a:schemeClr val="dk2"/>
              </a:solidFill>
              <a:prstDash val="solid"/>
              <a:miter lim="800000"/>
              <a:headEnd type="none" w="med" len="med"/>
              <a:tailEnd type="none" w="med" len="med"/>
            </a:ln>
          </p:spPr>
        </p:cxnSp>
        <p:cxnSp>
          <p:nvCxnSpPr>
            <p:cNvPr id="624" name="Google Shape;1685;p18">
              <a:extLst>
                <a:ext uri="{FF2B5EF4-FFF2-40B4-BE49-F238E27FC236}">
                  <a16:creationId xmlns:a16="http://schemas.microsoft.com/office/drawing/2014/main" id="{133E7626-2509-4F31-A635-B082243C4235}"/>
                </a:ext>
              </a:extLst>
            </p:cNvPr>
            <p:cNvCxnSpPr/>
            <p:nvPr/>
          </p:nvCxnSpPr>
          <p:spPr>
            <a:xfrm>
              <a:off x="2509411" y="2021796"/>
              <a:ext cx="0" cy="76967"/>
            </a:xfrm>
            <a:prstGeom prst="straightConnector1">
              <a:avLst/>
            </a:prstGeom>
            <a:noFill/>
            <a:ln w="19050" cap="flat" cmpd="sng">
              <a:solidFill>
                <a:schemeClr val="dk2"/>
              </a:solidFill>
              <a:prstDash val="solid"/>
              <a:miter lim="800000"/>
              <a:headEnd type="none" w="med" len="med"/>
              <a:tailEnd type="none" w="med" len="med"/>
            </a:ln>
          </p:spPr>
        </p:cxnSp>
        <p:cxnSp>
          <p:nvCxnSpPr>
            <p:cNvPr id="625" name="Google Shape;1686;p18">
              <a:extLst>
                <a:ext uri="{FF2B5EF4-FFF2-40B4-BE49-F238E27FC236}">
                  <a16:creationId xmlns:a16="http://schemas.microsoft.com/office/drawing/2014/main" id="{C94505AA-C5EA-4E0D-9C94-1870BA2C5ECA}"/>
                </a:ext>
              </a:extLst>
            </p:cNvPr>
            <p:cNvCxnSpPr/>
            <p:nvPr/>
          </p:nvCxnSpPr>
          <p:spPr>
            <a:xfrm rot="10800000">
              <a:off x="2448699" y="2059826"/>
              <a:ext cx="119979" cy="0"/>
            </a:xfrm>
            <a:prstGeom prst="straightConnector1">
              <a:avLst/>
            </a:prstGeom>
            <a:noFill/>
            <a:ln w="19050" cap="flat" cmpd="sng">
              <a:solidFill>
                <a:schemeClr val="dk2"/>
              </a:solidFill>
              <a:prstDash val="solid"/>
              <a:miter lim="800000"/>
              <a:headEnd type="none" w="med" len="med"/>
              <a:tailEnd type="none" w="med" len="med"/>
            </a:ln>
          </p:spPr>
        </p:cxnSp>
        <p:cxnSp>
          <p:nvCxnSpPr>
            <p:cNvPr id="626" name="Google Shape;1687;p18">
              <a:extLst>
                <a:ext uri="{FF2B5EF4-FFF2-40B4-BE49-F238E27FC236}">
                  <a16:creationId xmlns:a16="http://schemas.microsoft.com/office/drawing/2014/main" id="{7B753FE1-EEBE-49D7-A9BE-06D075536C8D}"/>
                </a:ext>
              </a:extLst>
            </p:cNvPr>
            <p:cNvCxnSpPr/>
            <p:nvPr/>
          </p:nvCxnSpPr>
          <p:spPr>
            <a:xfrm>
              <a:off x="2500737" y="2021796"/>
              <a:ext cx="0" cy="76967"/>
            </a:xfrm>
            <a:prstGeom prst="straightConnector1">
              <a:avLst/>
            </a:prstGeom>
            <a:noFill/>
            <a:ln w="19050" cap="flat" cmpd="sng">
              <a:solidFill>
                <a:schemeClr val="dk2"/>
              </a:solidFill>
              <a:prstDash val="solid"/>
              <a:miter lim="800000"/>
              <a:headEnd type="none" w="med" len="med"/>
              <a:tailEnd type="none" w="med" len="med"/>
            </a:ln>
          </p:spPr>
        </p:cxnSp>
        <p:cxnSp>
          <p:nvCxnSpPr>
            <p:cNvPr id="627" name="Google Shape;1688;p18">
              <a:extLst>
                <a:ext uri="{FF2B5EF4-FFF2-40B4-BE49-F238E27FC236}">
                  <a16:creationId xmlns:a16="http://schemas.microsoft.com/office/drawing/2014/main" id="{6D60D54F-DB35-416D-B5B5-49A75F85DC34}"/>
                </a:ext>
              </a:extLst>
            </p:cNvPr>
            <p:cNvCxnSpPr/>
            <p:nvPr/>
          </p:nvCxnSpPr>
          <p:spPr>
            <a:xfrm rot="10800000">
              <a:off x="2440025" y="2059826"/>
              <a:ext cx="122869" cy="0"/>
            </a:xfrm>
            <a:prstGeom prst="straightConnector1">
              <a:avLst/>
            </a:prstGeom>
            <a:noFill/>
            <a:ln w="19050" cap="flat" cmpd="sng">
              <a:solidFill>
                <a:schemeClr val="dk2"/>
              </a:solidFill>
              <a:prstDash val="solid"/>
              <a:miter lim="800000"/>
              <a:headEnd type="none" w="med" len="med"/>
              <a:tailEnd type="none" w="med" len="med"/>
            </a:ln>
          </p:spPr>
        </p:cxnSp>
        <p:cxnSp>
          <p:nvCxnSpPr>
            <p:cNvPr id="628" name="Google Shape;1689;p18">
              <a:extLst>
                <a:ext uri="{FF2B5EF4-FFF2-40B4-BE49-F238E27FC236}">
                  <a16:creationId xmlns:a16="http://schemas.microsoft.com/office/drawing/2014/main" id="{D932883D-0F9D-4BE7-9FC7-1D734B9E887D}"/>
                </a:ext>
              </a:extLst>
            </p:cNvPr>
            <p:cNvCxnSpPr/>
            <p:nvPr/>
          </p:nvCxnSpPr>
          <p:spPr>
            <a:xfrm>
              <a:off x="2477609" y="2021796"/>
              <a:ext cx="0" cy="76967"/>
            </a:xfrm>
            <a:prstGeom prst="straightConnector1">
              <a:avLst/>
            </a:prstGeom>
            <a:noFill/>
            <a:ln w="19050" cap="flat" cmpd="sng">
              <a:solidFill>
                <a:schemeClr val="dk2"/>
              </a:solidFill>
              <a:prstDash val="solid"/>
              <a:miter lim="800000"/>
              <a:headEnd type="none" w="med" len="med"/>
              <a:tailEnd type="none" w="med" len="med"/>
            </a:ln>
          </p:spPr>
        </p:cxnSp>
        <p:cxnSp>
          <p:nvCxnSpPr>
            <p:cNvPr id="629" name="Google Shape;1690;p18">
              <a:extLst>
                <a:ext uri="{FF2B5EF4-FFF2-40B4-BE49-F238E27FC236}">
                  <a16:creationId xmlns:a16="http://schemas.microsoft.com/office/drawing/2014/main" id="{F9C0E6C6-81C7-44DD-8D94-0F3E99393C4C}"/>
                </a:ext>
              </a:extLst>
            </p:cNvPr>
            <p:cNvCxnSpPr/>
            <p:nvPr/>
          </p:nvCxnSpPr>
          <p:spPr>
            <a:xfrm rot="10800000">
              <a:off x="2416897" y="2059826"/>
              <a:ext cx="122869" cy="0"/>
            </a:xfrm>
            <a:prstGeom prst="straightConnector1">
              <a:avLst/>
            </a:prstGeom>
            <a:noFill/>
            <a:ln w="19050" cap="flat" cmpd="sng">
              <a:solidFill>
                <a:schemeClr val="dk2"/>
              </a:solidFill>
              <a:prstDash val="solid"/>
              <a:miter lim="800000"/>
              <a:headEnd type="none" w="med" len="med"/>
              <a:tailEnd type="none" w="med" len="med"/>
            </a:ln>
          </p:spPr>
        </p:cxnSp>
        <p:cxnSp>
          <p:nvCxnSpPr>
            <p:cNvPr id="630" name="Google Shape;1691;p18">
              <a:extLst>
                <a:ext uri="{FF2B5EF4-FFF2-40B4-BE49-F238E27FC236}">
                  <a16:creationId xmlns:a16="http://schemas.microsoft.com/office/drawing/2014/main" id="{A5C47DC9-35FC-479B-BF84-B344569955D1}"/>
                </a:ext>
              </a:extLst>
            </p:cNvPr>
            <p:cNvCxnSpPr/>
            <p:nvPr/>
          </p:nvCxnSpPr>
          <p:spPr>
            <a:xfrm>
              <a:off x="2457372" y="2021796"/>
              <a:ext cx="0" cy="76967"/>
            </a:xfrm>
            <a:prstGeom prst="straightConnector1">
              <a:avLst/>
            </a:prstGeom>
            <a:noFill/>
            <a:ln w="19050" cap="flat" cmpd="sng">
              <a:solidFill>
                <a:schemeClr val="dk2"/>
              </a:solidFill>
              <a:prstDash val="solid"/>
              <a:miter lim="800000"/>
              <a:headEnd type="none" w="med" len="med"/>
              <a:tailEnd type="none" w="med" len="med"/>
            </a:ln>
          </p:spPr>
        </p:cxnSp>
        <p:cxnSp>
          <p:nvCxnSpPr>
            <p:cNvPr id="631" name="Google Shape;1692;p18">
              <a:extLst>
                <a:ext uri="{FF2B5EF4-FFF2-40B4-BE49-F238E27FC236}">
                  <a16:creationId xmlns:a16="http://schemas.microsoft.com/office/drawing/2014/main" id="{480B7574-3251-4887-A42C-B1CE7050E2B0}"/>
                </a:ext>
              </a:extLst>
            </p:cNvPr>
            <p:cNvCxnSpPr/>
            <p:nvPr/>
          </p:nvCxnSpPr>
          <p:spPr>
            <a:xfrm rot="10800000">
              <a:off x="2398105" y="2059826"/>
              <a:ext cx="119979" cy="0"/>
            </a:xfrm>
            <a:prstGeom prst="straightConnector1">
              <a:avLst/>
            </a:prstGeom>
            <a:noFill/>
            <a:ln w="19050" cap="flat" cmpd="sng">
              <a:solidFill>
                <a:schemeClr val="dk2"/>
              </a:solidFill>
              <a:prstDash val="solid"/>
              <a:miter lim="800000"/>
              <a:headEnd type="none" w="med" len="med"/>
              <a:tailEnd type="none" w="med" len="med"/>
            </a:ln>
          </p:spPr>
        </p:cxnSp>
        <p:cxnSp>
          <p:nvCxnSpPr>
            <p:cNvPr id="632" name="Google Shape;1693;p18">
              <a:extLst>
                <a:ext uri="{FF2B5EF4-FFF2-40B4-BE49-F238E27FC236}">
                  <a16:creationId xmlns:a16="http://schemas.microsoft.com/office/drawing/2014/main" id="{F15C65D1-47A6-4BDF-BD47-E3E1C4309098}"/>
                </a:ext>
              </a:extLst>
            </p:cNvPr>
            <p:cNvCxnSpPr/>
            <p:nvPr/>
          </p:nvCxnSpPr>
          <p:spPr>
            <a:xfrm>
              <a:off x="2396660" y="1999158"/>
              <a:ext cx="0" cy="75155"/>
            </a:xfrm>
            <a:prstGeom prst="straightConnector1">
              <a:avLst/>
            </a:prstGeom>
            <a:noFill/>
            <a:ln w="19050" cap="flat" cmpd="sng">
              <a:solidFill>
                <a:schemeClr val="dk2"/>
              </a:solidFill>
              <a:prstDash val="solid"/>
              <a:miter lim="800000"/>
              <a:headEnd type="none" w="med" len="med"/>
              <a:tailEnd type="none" w="med" len="med"/>
            </a:ln>
          </p:spPr>
        </p:cxnSp>
        <p:cxnSp>
          <p:nvCxnSpPr>
            <p:cNvPr id="633" name="Google Shape;1694;p18">
              <a:extLst>
                <a:ext uri="{FF2B5EF4-FFF2-40B4-BE49-F238E27FC236}">
                  <a16:creationId xmlns:a16="http://schemas.microsoft.com/office/drawing/2014/main" id="{9A6B8409-70E6-47E8-865F-E681D3D8F3EE}"/>
                </a:ext>
              </a:extLst>
            </p:cNvPr>
            <p:cNvCxnSpPr/>
            <p:nvPr/>
          </p:nvCxnSpPr>
          <p:spPr>
            <a:xfrm rot="10800000">
              <a:off x="2335948" y="2036283"/>
              <a:ext cx="118533" cy="0"/>
            </a:xfrm>
            <a:prstGeom prst="straightConnector1">
              <a:avLst/>
            </a:prstGeom>
            <a:noFill/>
            <a:ln w="19050" cap="flat" cmpd="sng">
              <a:solidFill>
                <a:schemeClr val="dk2"/>
              </a:solidFill>
              <a:prstDash val="solid"/>
              <a:miter lim="800000"/>
              <a:headEnd type="none" w="med" len="med"/>
              <a:tailEnd type="none" w="med" len="med"/>
            </a:ln>
          </p:spPr>
        </p:cxnSp>
        <p:cxnSp>
          <p:nvCxnSpPr>
            <p:cNvPr id="634" name="Google Shape;1695;p18">
              <a:extLst>
                <a:ext uri="{FF2B5EF4-FFF2-40B4-BE49-F238E27FC236}">
                  <a16:creationId xmlns:a16="http://schemas.microsoft.com/office/drawing/2014/main" id="{765F17BA-C9D1-464C-89DF-1BBC60FF9BEC}"/>
                </a:ext>
              </a:extLst>
            </p:cNvPr>
            <p:cNvCxnSpPr/>
            <p:nvPr/>
          </p:nvCxnSpPr>
          <p:spPr>
            <a:xfrm>
              <a:off x="2291136" y="1991009"/>
              <a:ext cx="0" cy="76061"/>
            </a:xfrm>
            <a:prstGeom prst="straightConnector1">
              <a:avLst/>
            </a:prstGeom>
            <a:noFill/>
            <a:ln w="19050" cap="flat" cmpd="sng">
              <a:solidFill>
                <a:schemeClr val="dk2"/>
              </a:solidFill>
              <a:prstDash val="solid"/>
              <a:miter lim="800000"/>
              <a:headEnd type="none" w="med" len="med"/>
              <a:tailEnd type="none" w="med" len="med"/>
            </a:ln>
          </p:spPr>
        </p:cxnSp>
        <p:cxnSp>
          <p:nvCxnSpPr>
            <p:cNvPr id="635" name="Google Shape;1696;p18">
              <a:extLst>
                <a:ext uri="{FF2B5EF4-FFF2-40B4-BE49-F238E27FC236}">
                  <a16:creationId xmlns:a16="http://schemas.microsoft.com/office/drawing/2014/main" id="{BD300BA3-C68B-4CDA-81D7-C28719737255}"/>
                </a:ext>
              </a:extLst>
            </p:cNvPr>
            <p:cNvCxnSpPr/>
            <p:nvPr/>
          </p:nvCxnSpPr>
          <p:spPr>
            <a:xfrm rot="10800000">
              <a:off x="2230424" y="2029944"/>
              <a:ext cx="121424" cy="0"/>
            </a:xfrm>
            <a:prstGeom prst="straightConnector1">
              <a:avLst/>
            </a:prstGeom>
            <a:noFill/>
            <a:ln w="19050" cap="flat" cmpd="sng">
              <a:solidFill>
                <a:schemeClr val="dk2"/>
              </a:solidFill>
              <a:prstDash val="solid"/>
              <a:miter lim="800000"/>
              <a:headEnd type="none" w="med" len="med"/>
              <a:tailEnd type="none" w="med" len="med"/>
            </a:ln>
          </p:spPr>
        </p:cxnSp>
        <p:cxnSp>
          <p:nvCxnSpPr>
            <p:cNvPr id="636" name="Google Shape;1697;p18">
              <a:extLst>
                <a:ext uri="{FF2B5EF4-FFF2-40B4-BE49-F238E27FC236}">
                  <a16:creationId xmlns:a16="http://schemas.microsoft.com/office/drawing/2014/main" id="{5C9C5549-1CAF-4C19-95D8-861B103CF7F0}"/>
                </a:ext>
              </a:extLst>
            </p:cNvPr>
            <p:cNvCxnSpPr/>
            <p:nvPr/>
          </p:nvCxnSpPr>
          <p:spPr>
            <a:xfrm>
              <a:off x="2270900" y="1973804"/>
              <a:ext cx="0" cy="76061"/>
            </a:xfrm>
            <a:prstGeom prst="straightConnector1">
              <a:avLst/>
            </a:prstGeom>
            <a:noFill/>
            <a:ln w="19050" cap="flat" cmpd="sng">
              <a:solidFill>
                <a:schemeClr val="dk2"/>
              </a:solidFill>
              <a:prstDash val="solid"/>
              <a:miter lim="800000"/>
              <a:headEnd type="none" w="med" len="med"/>
              <a:tailEnd type="none" w="med" len="med"/>
            </a:ln>
          </p:spPr>
        </p:cxnSp>
        <p:cxnSp>
          <p:nvCxnSpPr>
            <p:cNvPr id="637" name="Google Shape;1698;p18">
              <a:extLst>
                <a:ext uri="{FF2B5EF4-FFF2-40B4-BE49-F238E27FC236}">
                  <a16:creationId xmlns:a16="http://schemas.microsoft.com/office/drawing/2014/main" id="{498AA9B8-61E0-4356-8F85-ED799DC141BB}"/>
                </a:ext>
              </a:extLst>
            </p:cNvPr>
            <p:cNvCxnSpPr/>
            <p:nvPr/>
          </p:nvCxnSpPr>
          <p:spPr>
            <a:xfrm rot="10800000">
              <a:off x="2208742" y="2012740"/>
              <a:ext cx="119979" cy="0"/>
            </a:xfrm>
            <a:prstGeom prst="straightConnector1">
              <a:avLst/>
            </a:prstGeom>
            <a:noFill/>
            <a:ln w="19050" cap="flat" cmpd="sng">
              <a:solidFill>
                <a:schemeClr val="dk2"/>
              </a:solidFill>
              <a:prstDash val="solid"/>
              <a:miter lim="800000"/>
              <a:headEnd type="none" w="med" len="med"/>
              <a:tailEnd type="none" w="med" len="med"/>
            </a:ln>
          </p:spPr>
        </p:cxnSp>
        <p:cxnSp>
          <p:nvCxnSpPr>
            <p:cNvPr id="638" name="Google Shape;1699;p18">
              <a:extLst>
                <a:ext uri="{FF2B5EF4-FFF2-40B4-BE49-F238E27FC236}">
                  <a16:creationId xmlns:a16="http://schemas.microsoft.com/office/drawing/2014/main" id="{B20978AF-B255-47C9-83CA-843608F552AC}"/>
                </a:ext>
              </a:extLst>
            </p:cNvPr>
            <p:cNvCxnSpPr/>
            <p:nvPr/>
          </p:nvCxnSpPr>
          <p:spPr>
            <a:xfrm>
              <a:off x="2208742" y="1944829"/>
              <a:ext cx="0" cy="76061"/>
            </a:xfrm>
            <a:prstGeom prst="straightConnector1">
              <a:avLst/>
            </a:prstGeom>
            <a:noFill/>
            <a:ln w="19050" cap="flat" cmpd="sng">
              <a:solidFill>
                <a:schemeClr val="dk2"/>
              </a:solidFill>
              <a:prstDash val="solid"/>
              <a:miter lim="800000"/>
              <a:headEnd type="none" w="med" len="med"/>
              <a:tailEnd type="none" w="med" len="med"/>
            </a:ln>
          </p:spPr>
        </p:cxnSp>
        <p:cxnSp>
          <p:nvCxnSpPr>
            <p:cNvPr id="639" name="Google Shape;1700;p18">
              <a:extLst>
                <a:ext uri="{FF2B5EF4-FFF2-40B4-BE49-F238E27FC236}">
                  <a16:creationId xmlns:a16="http://schemas.microsoft.com/office/drawing/2014/main" id="{25AFBD18-1273-45E2-9456-E5DDF4C70950}"/>
                </a:ext>
              </a:extLst>
            </p:cNvPr>
            <p:cNvCxnSpPr/>
            <p:nvPr/>
          </p:nvCxnSpPr>
          <p:spPr>
            <a:xfrm rot="10800000">
              <a:off x="2148030" y="1983765"/>
              <a:ext cx="122869" cy="0"/>
            </a:xfrm>
            <a:prstGeom prst="straightConnector1">
              <a:avLst/>
            </a:prstGeom>
            <a:noFill/>
            <a:ln w="19050" cap="flat" cmpd="sng">
              <a:solidFill>
                <a:schemeClr val="dk2"/>
              </a:solidFill>
              <a:prstDash val="solid"/>
              <a:miter lim="800000"/>
              <a:headEnd type="none" w="med" len="med"/>
              <a:tailEnd type="none" w="med" len="med"/>
            </a:ln>
          </p:spPr>
        </p:cxnSp>
        <p:cxnSp>
          <p:nvCxnSpPr>
            <p:cNvPr id="640" name="Google Shape;1701;p18">
              <a:extLst>
                <a:ext uri="{FF2B5EF4-FFF2-40B4-BE49-F238E27FC236}">
                  <a16:creationId xmlns:a16="http://schemas.microsoft.com/office/drawing/2014/main" id="{174FF094-4FBA-46E3-84F1-4C5A4A37BDDA}"/>
                </a:ext>
              </a:extLst>
            </p:cNvPr>
            <p:cNvCxnSpPr/>
            <p:nvPr/>
          </p:nvCxnSpPr>
          <p:spPr>
            <a:xfrm>
              <a:off x="2142249" y="1932152"/>
              <a:ext cx="0" cy="76061"/>
            </a:xfrm>
            <a:prstGeom prst="straightConnector1">
              <a:avLst/>
            </a:prstGeom>
            <a:noFill/>
            <a:ln w="19050" cap="flat" cmpd="sng">
              <a:solidFill>
                <a:schemeClr val="dk2"/>
              </a:solidFill>
              <a:prstDash val="solid"/>
              <a:miter lim="800000"/>
              <a:headEnd type="none" w="med" len="med"/>
              <a:tailEnd type="none" w="med" len="med"/>
            </a:ln>
          </p:spPr>
        </p:cxnSp>
        <p:cxnSp>
          <p:nvCxnSpPr>
            <p:cNvPr id="641" name="Google Shape;1702;p18">
              <a:extLst>
                <a:ext uri="{FF2B5EF4-FFF2-40B4-BE49-F238E27FC236}">
                  <a16:creationId xmlns:a16="http://schemas.microsoft.com/office/drawing/2014/main" id="{E080A562-9F1E-4E9F-94D6-CC6C11481BF8}"/>
                </a:ext>
              </a:extLst>
            </p:cNvPr>
            <p:cNvCxnSpPr/>
            <p:nvPr/>
          </p:nvCxnSpPr>
          <p:spPr>
            <a:xfrm rot="10800000">
              <a:off x="2082982" y="1970182"/>
              <a:ext cx="119979" cy="0"/>
            </a:xfrm>
            <a:prstGeom prst="straightConnector1">
              <a:avLst/>
            </a:prstGeom>
            <a:noFill/>
            <a:ln w="19050" cap="flat" cmpd="sng">
              <a:solidFill>
                <a:schemeClr val="dk2"/>
              </a:solidFill>
              <a:prstDash val="solid"/>
              <a:miter lim="800000"/>
              <a:headEnd type="none" w="med" len="med"/>
              <a:tailEnd type="none" w="med" len="med"/>
            </a:ln>
          </p:spPr>
        </p:cxnSp>
        <p:cxnSp>
          <p:nvCxnSpPr>
            <p:cNvPr id="642" name="Google Shape;1703;p18">
              <a:extLst>
                <a:ext uri="{FF2B5EF4-FFF2-40B4-BE49-F238E27FC236}">
                  <a16:creationId xmlns:a16="http://schemas.microsoft.com/office/drawing/2014/main" id="{5A0F7E72-1D7C-4DCE-B889-E00D595CFE0E}"/>
                </a:ext>
              </a:extLst>
            </p:cNvPr>
            <p:cNvCxnSpPr/>
            <p:nvPr/>
          </p:nvCxnSpPr>
          <p:spPr>
            <a:xfrm>
              <a:off x="2135020" y="1932152"/>
              <a:ext cx="0" cy="76061"/>
            </a:xfrm>
            <a:prstGeom prst="straightConnector1">
              <a:avLst/>
            </a:prstGeom>
            <a:noFill/>
            <a:ln w="19050" cap="flat" cmpd="sng">
              <a:solidFill>
                <a:schemeClr val="dk2"/>
              </a:solidFill>
              <a:prstDash val="solid"/>
              <a:miter lim="800000"/>
              <a:headEnd type="none" w="med" len="med"/>
              <a:tailEnd type="none" w="med" len="med"/>
            </a:ln>
          </p:spPr>
        </p:cxnSp>
        <p:cxnSp>
          <p:nvCxnSpPr>
            <p:cNvPr id="643" name="Google Shape;1704;p18">
              <a:extLst>
                <a:ext uri="{FF2B5EF4-FFF2-40B4-BE49-F238E27FC236}">
                  <a16:creationId xmlns:a16="http://schemas.microsoft.com/office/drawing/2014/main" id="{A1B88A87-64D6-4C52-8E25-5A83AADC39F5}"/>
                </a:ext>
              </a:extLst>
            </p:cNvPr>
            <p:cNvCxnSpPr/>
            <p:nvPr/>
          </p:nvCxnSpPr>
          <p:spPr>
            <a:xfrm rot="10800000">
              <a:off x="2074308" y="1970182"/>
              <a:ext cx="122869" cy="0"/>
            </a:xfrm>
            <a:prstGeom prst="straightConnector1">
              <a:avLst/>
            </a:prstGeom>
            <a:noFill/>
            <a:ln w="19050" cap="flat" cmpd="sng">
              <a:solidFill>
                <a:schemeClr val="dk2"/>
              </a:solidFill>
              <a:prstDash val="solid"/>
              <a:miter lim="800000"/>
              <a:headEnd type="none" w="med" len="med"/>
              <a:tailEnd type="none" w="med" len="med"/>
            </a:ln>
          </p:spPr>
        </p:cxnSp>
        <p:cxnSp>
          <p:nvCxnSpPr>
            <p:cNvPr id="644" name="Google Shape;1705;p18">
              <a:extLst>
                <a:ext uri="{FF2B5EF4-FFF2-40B4-BE49-F238E27FC236}">
                  <a16:creationId xmlns:a16="http://schemas.microsoft.com/office/drawing/2014/main" id="{15129C22-4B74-4138-BDF7-1684DC40270D}"/>
                </a:ext>
              </a:extLst>
            </p:cNvPr>
            <p:cNvCxnSpPr/>
            <p:nvPr/>
          </p:nvCxnSpPr>
          <p:spPr>
            <a:xfrm>
              <a:off x="1902291" y="1891405"/>
              <a:ext cx="0" cy="75155"/>
            </a:xfrm>
            <a:prstGeom prst="straightConnector1">
              <a:avLst/>
            </a:prstGeom>
            <a:noFill/>
            <a:ln w="19050" cap="flat" cmpd="sng">
              <a:solidFill>
                <a:schemeClr val="dk2"/>
              </a:solidFill>
              <a:prstDash val="solid"/>
              <a:miter lim="800000"/>
              <a:headEnd type="none" w="med" len="med"/>
              <a:tailEnd type="none" w="med" len="med"/>
            </a:ln>
          </p:spPr>
        </p:cxnSp>
        <p:cxnSp>
          <p:nvCxnSpPr>
            <p:cNvPr id="645" name="Google Shape;1706;p18">
              <a:extLst>
                <a:ext uri="{FF2B5EF4-FFF2-40B4-BE49-F238E27FC236}">
                  <a16:creationId xmlns:a16="http://schemas.microsoft.com/office/drawing/2014/main" id="{D37B8AEA-3C0B-4E62-ABE8-C0784A8D930B}"/>
                </a:ext>
              </a:extLst>
            </p:cNvPr>
            <p:cNvCxnSpPr/>
            <p:nvPr/>
          </p:nvCxnSpPr>
          <p:spPr>
            <a:xfrm rot="10800000">
              <a:off x="1841579" y="1927624"/>
              <a:ext cx="121424" cy="0"/>
            </a:xfrm>
            <a:prstGeom prst="straightConnector1">
              <a:avLst/>
            </a:prstGeom>
            <a:noFill/>
            <a:ln w="19050" cap="flat" cmpd="sng">
              <a:solidFill>
                <a:schemeClr val="dk2"/>
              </a:solidFill>
              <a:prstDash val="solid"/>
              <a:miter lim="800000"/>
              <a:headEnd type="none" w="med" len="med"/>
              <a:tailEnd type="none" w="med" len="med"/>
            </a:ln>
          </p:spPr>
        </p:cxnSp>
        <p:cxnSp>
          <p:nvCxnSpPr>
            <p:cNvPr id="646" name="Google Shape;1707;p18">
              <a:extLst>
                <a:ext uri="{FF2B5EF4-FFF2-40B4-BE49-F238E27FC236}">
                  <a16:creationId xmlns:a16="http://schemas.microsoft.com/office/drawing/2014/main" id="{2B5281AC-96E8-4734-A470-096C9D780589}"/>
                </a:ext>
              </a:extLst>
            </p:cNvPr>
            <p:cNvCxnSpPr/>
            <p:nvPr/>
          </p:nvCxnSpPr>
          <p:spPr>
            <a:xfrm>
              <a:off x="1838688" y="1881444"/>
              <a:ext cx="0" cy="76967"/>
            </a:xfrm>
            <a:prstGeom prst="straightConnector1">
              <a:avLst/>
            </a:prstGeom>
            <a:noFill/>
            <a:ln w="19050" cap="flat" cmpd="sng">
              <a:solidFill>
                <a:schemeClr val="dk2"/>
              </a:solidFill>
              <a:prstDash val="solid"/>
              <a:miter lim="800000"/>
              <a:headEnd type="none" w="med" len="med"/>
              <a:tailEnd type="none" w="med" len="med"/>
            </a:ln>
          </p:spPr>
        </p:cxnSp>
        <p:cxnSp>
          <p:nvCxnSpPr>
            <p:cNvPr id="647" name="Google Shape;1708;p18">
              <a:extLst>
                <a:ext uri="{FF2B5EF4-FFF2-40B4-BE49-F238E27FC236}">
                  <a16:creationId xmlns:a16="http://schemas.microsoft.com/office/drawing/2014/main" id="{3370F34D-B5E8-4EE0-95F5-C41EC14163B9}"/>
                </a:ext>
              </a:extLst>
            </p:cNvPr>
            <p:cNvCxnSpPr/>
            <p:nvPr/>
          </p:nvCxnSpPr>
          <p:spPr>
            <a:xfrm rot="10800000">
              <a:off x="1777976" y="1920380"/>
              <a:ext cx="122869" cy="0"/>
            </a:xfrm>
            <a:prstGeom prst="straightConnector1">
              <a:avLst/>
            </a:prstGeom>
            <a:noFill/>
            <a:ln w="19050" cap="flat" cmpd="sng">
              <a:solidFill>
                <a:schemeClr val="dk2"/>
              </a:solidFill>
              <a:prstDash val="solid"/>
              <a:miter lim="800000"/>
              <a:headEnd type="none" w="med" len="med"/>
              <a:tailEnd type="none" w="med" len="med"/>
            </a:ln>
          </p:spPr>
        </p:cxnSp>
        <p:cxnSp>
          <p:nvCxnSpPr>
            <p:cNvPr id="648" name="Google Shape;1709;p18">
              <a:extLst>
                <a:ext uri="{FF2B5EF4-FFF2-40B4-BE49-F238E27FC236}">
                  <a16:creationId xmlns:a16="http://schemas.microsoft.com/office/drawing/2014/main" id="{78903FB7-385B-46BA-9734-CF4871E1B041}"/>
                </a:ext>
              </a:extLst>
            </p:cNvPr>
            <p:cNvCxnSpPr/>
            <p:nvPr/>
          </p:nvCxnSpPr>
          <p:spPr>
            <a:xfrm>
              <a:off x="1818451" y="1866956"/>
              <a:ext cx="0" cy="75155"/>
            </a:xfrm>
            <a:prstGeom prst="straightConnector1">
              <a:avLst/>
            </a:prstGeom>
            <a:noFill/>
            <a:ln w="19050" cap="flat" cmpd="sng">
              <a:solidFill>
                <a:schemeClr val="dk2"/>
              </a:solidFill>
              <a:prstDash val="solid"/>
              <a:miter lim="800000"/>
              <a:headEnd type="none" w="med" len="med"/>
              <a:tailEnd type="none" w="med" len="med"/>
            </a:ln>
          </p:spPr>
        </p:cxnSp>
        <p:cxnSp>
          <p:nvCxnSpPr>
            <p:cNvPr id="649" name="Google Shape;1710;p18">
              <a:extLst>
                <a:ext uri="{FF2B5EF4-FFF2-40B4-BE49-F238E27FC236}">
                  <a16:creationId xmlns:a16="http://schemas.microsoft.com/office/drawing/2014/main" id="{2671EC57-FA40-47CC-A5F9-79F107B056BF}"/>
                </a:ext>
              </a:extLst>
            </p:cNvPr>
            <p:cNvCxnSpPr/>
            <p:nvPr/>
          </p:nvCxnSpPr>
          <p:spPr>
            <a:xfrm rot="10800000">
              <a:off x="1757739" y="1905892"/>
              <a:ext cx="119979" cy="0"/>
            </a:xfrm>
            <a:prstGeom prst="straightConnector1">
              <a:avLst/>
            </a:prstGeom>
            <a:noFill/>
            <a:ln w="19050" cap="flat" cmpd="sng">
              <a:solidFill>
                <a:schemeClr val="dk2"/>
              </a:solidFill>
              <a:prstDash val="solid"/>
              <a:miter lim="800000"/>
              <a:headEnd type="none" w="med" len="med"/>
              <a:tailEnd type="none" w="med" len="med"/>
            </a:ln>
          </p:spPr>
        </p:cxnSp>
        <p:cxnSp>
          <p:nvCxnSpPr>
            <p:cNvPr id="650" name="Google Shape;1711;p18">
              <a:extLst>
                <a:ext uri="{FF2B5EF4-FFF2-40B4-BE49-F238E27FC236}">
                  <a16:creationId xmlns:a16="http://schemas.microsoft.com/office/drawing/2014/main" id="{959BD55F-01F8-42C5-9465-A7E85271C5F3}"/>
                </a:ext>
              </a:extLst>
            </p:cNvPr>
            <p:cNvCxnSpPr/>
            <p:nvPr/>
          </p:nvCxnSpPr>
          <p:spPr>
            <a:xfrm>
              <a:off x="1565485" y="1756487"/>
              <a:ext cx="0" cy="76061"/>
            </a:xfrm>
            <a:prstGeom prst="straightConnector1">
              <a:avLst/>
            </a:prstGeom>
            <a:noFill/>
            <a:ln w="19050" cap="flat" cmpd="sng">
              <a:solidFill>
                <a:schemeClr val="dk2"/>
              </a:solidFill>
              <a:prstDash val="solid"/>
              <a:miter lim="800000"/>
              <a:headEnd type="none" w="med" len="med"/>
              <a:tailEnd type="none" w="med" len="med"/>
            </a:ln>
          </p:spPr>
        </p:cxnSp>
        <p:cxnSp>
          <p:nvCxnSpPr>
            <p:cNvPr id="651" name="Google Shape;1712;p18">
              <a:extLst>
                <a:ext uri="{FF2B5EF4-FFF2-40B4-BE49-F238E27FC236}">
                  <a16:creationId xmlns:a16="http://schemas.microsoft.com/office/drawing/2014/main" id="{EBD8A5C5-7D69-4FD2-9BF0-77F1DB260B0F}"/>
                </a:ext>
              </a:extLst>
            </p:cNvPr>
            <p:cNvCxnSpPr/>
            <p:nvPr/>
          </p:nvCxnSpPr>
          <p:spPr>
            <a:xfrm rot="10800000">
              <a:off x="1507664" y="1794517"/>
              <a:ext cx="119979" cy="0"/>
            </a:xfrm>
            <a:prstGeom prst="straightConnector1">
              <a:avLst/>
            </a:prstGeom>
            <a:noFill/>
            <a:ln w="19050" cap="flat" cmpd="sng">
              <a:solidFill>
                <a:schemeClr val="dk2"/>
              </a:solidFill>
              <a:prstDash val="solid"/>
              <a:miter lim="800000"/>
              <a:headEnd type="none" w="med" len="med"/>
              <a:tailEnd type="none" w="med" len="med"/>
            </a:ln>
          </p:spPr>
        </p:cxnSp>
        <p:cxnSp>
          <p:nvCxnSpPr>
            <p:cNvPr id="652" name="Google Shape;1713;p18">
              <a:extLst>
                <a:ext uri="{FF2B5EF4-FFF2-40B4-BE49-F238E27FC236}">
                  <a16:creationId xmlns:a16="http://schemas.microsoft.com/office/drawing/2014/main" id="{DC508725-42A6-41BD-B508-4B07861C55D5}"/>
                </a:ext>
              </a:extLst>
            </p:cNvPr>
            <p:cNvCxnSpPr/>
            <p:nvPr/>
          </p:nvCxnSpPr>
          <p:spPr>
            <a:xfrm>
              <a:off x="1442614" y="1730227"/>
              <a:ext cx="0" cy="75155"/>
            </a:xfrm>
            <a:prstGeom prst="straightConnector1">
              <a:avLst/>
            </a:prstGeom>
            <a:noFill/>
            <a:ln w="19050" cap="flat" cmpd="sng">
              <a:solidFill>
                <a:schemeClr val="dk2"/>
              </a:solidFill>
              <a:prstDash val="solid"/>
              <a:miter lim="800000"/>
              <a:headEnd type="none" w="med" len="med"/>
              <a:tailEnd type="none" w="med" len="med"/>
            </a:ln>
          </p:spPr>
        </p:cxnSp>
        <p:cxnSp>
          <p:nvCxnSpPr>
            <p:cNvPr id="653" name="Google Shape;1714;p18">
              <a:extLst>
                <a:ext uri="{FF2B5EF4-FFF2-40B4-BE49-F238E27FC236}">
                  <a16:creationId xmlns:a16="http://schemas.microsoft.com/office/drawing/2014/main" id="{34C5C6E5-BA27-4812-B1ED-C685E5DE31B3}"/>
                </a:ext>
              </a:extLst>
            </p:cNvPr>
            <p:cNvCxnSpPr/>
            <p:nvPr/>
          </p:nvCxnSpPr>
          <p:spPr>
            <a:xfrm rot="10800000">
              <a:off x="1381902" y="1767352"/>
              <a:ext cx="121424" cy="0"/>
            </a:xfrm>
            <a:prstGeom prst="straightConnector1">
              <a:avLst/>
            </a:prstGeom>
            <a:noFill/>
            <a:ln w="19050" cap="flat" cmpd="sng">
              <a:solidFill>
                <a:schemeClr val="dk2"/>
              </a:solidFill>
              <a:prstDash val="solid"/>
              <a:miter lim="800000"/>
              <a:headEnd type="none" w="med" len="med"/>
              <a:tailEnd type="none" w="med" len="med"/>
            </a:ln>
          </p:spPr>
        </p:cxnSp>
        <p:cxnSp>
          <p:nvCxnSpPr>
            <p:cNvPr id="654" name="Google Shape;1715;p18">
              <a:extLst>
                <a:ext uri="{FF2B5EF4-FFF2-40B4-BE49-F238E27FC236}">
                  <a16:creationId xmlns:a16="http://schemas.microsoft.com/office/drawing/2014/main" id="{0DBC0575-E02B-4718-9BEE-A6CDA73B428D}"/>
                </a:ext>
              </a:extLst>
            </p:cNvPr>
            <p:cNvCxnSpPr/>
            <p:nvPr/>
          </p:nvCxnSpPr>
          <p:spPr>
            <a:xfrm>
              <a:off x="1303845" y="1718456"/>
              <a:ext cx="0" cy="75155"/>
            </a:xfrm>
            <a:prstGeom prst="straightConnector1">
              <a:avLst/>
            </a:prstGeom>
            <a:noFill/>
            <a:ln w="19050" cap="flat" cmpd="sng">
              <a:solidFill>
                <a:schemeClr val="dk2"/>
              </a:solidFill>
              <a:prstDash val="solid"/>
              <a:miter lim="800000"/>
              <a:headEnd type="none" w="med" len="med"/>
              <a:tailEnd type="none" w="med" len="med"/>
            </a:ln>
          </p:spPr>
        </p:cxnSp>
        <p:cxnSp>
          <p:nvCxnSpPr>
            <p:cNvPr id="655" name="Google Shape;1716;p18">
              <a:extLst>
                <a:ext uri="{FF2B5EF4-FFF2-40B4-BE49-F238E27FC236}">
                  <a16:creationId xmlns:a16="http://schemas.microsoft.com/office/drawing/2014/main" id="{E7999C45-87BF-4CCE-8C35-FB8829E07C6A}"/>
                </a:ext>
              </a:extLst>
            </p:cNvPr>
            <p:cNvCxnSpPr/>
            <p:nvPr/>
          </p:nvCxnSpPr>
          <p:spPr>
            <a:xfrm rot="10800000">
              <a:off x="1244578" y="1754675"/>
              <a:ext cx="119979" cy="0"/>
            </a:xfrm>
            <a:prstGeom prst="straightConnector1">
              <a:avLst/>
            </a:prstGeom>
            <a:noFill/>
            <a:ln w="19050" cap="flat" cmpd="sng">
              <a:solidFill>
                <a:schemeClr val="accent1"/>
              </a:solidFill>
              <a:prstDash val="solid"/>
              <a:miter lim="800000"/>
              <a:headEnd type="none" w="med" len="med"/>
              <a:tailEnd type="none" w="med" len="med"/>
            </a:ln>
          </p:spPr>
        </p:cxnSp>
        <p:cxnSp>
          <p:nvCxnSpPr>
            <p:cNvPr id="656" name="Google Shape;1717;p18">
              <a:extLst>
                <a:ext uri="{FF2B5EF4-FFF2-40B4-BE49-F238E27FC236}">
                  <a16:creationId xmlns:a16="http://schemas.microsoft.com/office/drawing/2014/main" id="{69A76302-4882-45BF-BA5C-D2467E5094B2}"/>
                </a:ext>
              </a:extLst>
            </p:cNvPr>
            <p:cNvCxnSpPr/>
            <p:nvPr/>
          </p:nvCxnSpPr>
          <p:spPr>
            <a:xfrm>
              <a:off x="1387685" y="1718456"/>
              <a:ext cx="0" cy="75155"/>
            </a:xfrm>
            <a:prstGeom prst="straightConnector1">
              <a:avLst/>
            </a:prstGeom>
            <a:noFill/>
            <a:ln w="19050" cap="flat" cmpd="sng">
              <a:solidFill>
                <a:schemeClr val="dk2"/>
              </a:solidFill>
              <a:prstDash val="solid"/>
              <a:miter lim="800000"/>
              <a:headEnd type="none" w="med" len="med"/>
              <a:tailEnd type="none" w="med" len="med"/>
            </a:ln>
          </p:spPr>
        </p:cxnSp>
        <p:cxnSp>
          <p:nvCxnSpPr>
            <p:cNvPr id="657" name="Google Shape;1718;p18">
              <a:extLst>
                <a:ext uri="{FF2B5EF4-FFF2-40B4-BE49-F238E27FC236}">
                  <a16:creationId xmlns:a16="http://schemas.microsoft.com/office/drawing/2014/main" id="{E8C3B770-29C0-4FC1-96C2-B2128390FC03}"/>
                </a:ext>
              </a:extLst>
            </p:cNvPr>
            <p:cNvCxnSpPr/>
            <p:nvPr/>
          </p:nvCxnSpPr>
          <p:spPr>
            <a:xfrm rot="10800000">
              <a:off x="1326973" y="1754675"/>
              <a:ext cx="121424" cy="0"/>
            </a:xfrm>
            <a:prstGeom prst="straightConnector1">
              <a:avLst/>
            </a:prstGeom>
            <a:noFill/>
            <a:ln w="19050" cap="flat" cmpd="sng">
              <a:solidFill>
                <a:schemeClr val="dk2"/>
              </a:solidFill>
              <a:prstDash val="solid"/>
              <a:miter lim="800000"/>
              <a:headEnd type="none" w="med" len="med"/>
              <a:tailEnd type="none" w="med" len="med"/>
            </a:ln>
          </p:spPr>
        </p:cxnSp>
        <p:cxnSp>
          <p:nvCxnSpPr>
            <p:cNvPr id="658" name="Google Shape;1719;p18">
              <a:extLst>
                <a:ext uri="{FF2B5EF4-FFF2-40B4-BE49-F238E27FC236}">
                  <a16:creationId xmlns:a16="http://schemas.microsoft.com/office/drawing/2014/main" id="{7662001A-A7D6-45B8-84FC-01E03C29226C}"/>
                </a:ext>
              </a:extLst>
            </p:cNvPr>
            <p:cNvCxnSpPr/>
            <p:nvPr/>
          </p:nvCxnSpPr>
          <p:spPr>
            <a:xfrm>
              <a:off x="1545246" y="1751053"/>
              <a:ext cx="0" cy="75155"/>
            </a:xfrm>
            <a:prstGeom prst="straightConnector1">
              <a:avLst/>
            </a:prstGeom>
            <a:noFill/>
            <a:ln w="19050" cap="flat" cmpd="sng">
              <a:solidFill>
                <a:schemeClr val="dk2"/>
              </a:solidFill>
              <a:prstDash val="solid"/>
              <a:miter lim="800000"/>
              <a:headEnd type="none" w="med" len="med"/>
              <a:tailEnd type="none" w="med" len="med"/>
            </a:ln>
          </p:spPr>
        </p:cxnSp>
        <p:cxnSp>
          <p:nvCxnSpPr>
            <p:cNvPr id="659" name="Google Shape;1720;p18">
              <a:extLst>
                <a:ext uri="{FF2B5EF4-FFF2-40B4-BE49-F238E27FC236}">
                  <a16:creationId xmlns:a16="http://schemas.microsoft.com/office/drawing/2014/main" id="{716ECF4B-9E89-49F6-9176-BF66AA7AA52B}"/>
                </a:ext>
              </a:extLst>
            </p:cNvPr>
            <p:cNvCxnSpPr/>
            <p:nvPr/>
          </p:nvCxnSpPr>
          <p:spPr>
            <a:xfrm rot="10800000">
              <a:off x="1484535" y="1789084"/>
              <a:ext cx="121424" cy="0"/>
            </a:xfrm>
            <a:prstGeom prst="straightConnector1">
              <a:avLst/>
            </a:prstGeom>
            <a:noFill/>
            <a:ln w="19050" cap="flat" cmpd="sng">
              <a:solidFill>
                <a:schemeClr val="dk2"/>
              </a:solidFill>
              <a:prstDash val="solid"/>
              <a:miter lim="800000"/>
              <a:headEnd type="none" w="med" len="med"/>
              <a:tailEnd type="none" w="med" len="med"/>
            </a:ln>
          </p:spPr>
        </p:cxnSp>
        <p:cxnSp>
          <p:nvCxnSpPr>
            <p:cNvPr id="660" name="Google Shape;1721;p18">
              <a:extLst>
                <a:ext uri="{FF2B5EF4-FFF2-40B4-BE49-F238E27FC236}">
                  <a16:creationId xmlns:a16="http://schemas.microsoft.com/office/drawing/2014/main" id="{A174EE81-B8FF-4F5F-A366-329FB3AF3E81}"/>
                </a:ext>
              </a:extLst>
            </p:cNvPr>
            <p:cNvCxnSpPr/>
            <p:nvPr/>
          </p:nvCxnSpPr>
          <p:spPr>
            <a:xfrm>
              <a:off x="2101773" y="1926718"/>
              <a:ext cx="0" cy="76967"/>
            </a:xfrm>
            <a:prstGeom prst="straightConnector1">
              <a:avLst/>
            </a:prstGeom>
            <a:noFill/>
            <a:ln w="19050" cap="flat" cmpd="sng">
              <a:solidFill>
                <a:schemeClr val="dk2"/>
              </a:solidFill>
              <a:prstDash val="solid"/>
              <a:miter lim="800000"/>
              <a:headEnd type="none" w="med" len="med"/>
              <a:tailEnd type="none" w="med" len="med"/>
            </a:ln>
          </p:spPr>
        </p:cxnSp>
        <p:cxnSp>
          <p:nvCxnSpPr>
            <p:cNvPr id="661" name="Google Shape;1722;p18">
              <a:extLst>
                <a:ext uri="{FF2B5EF4-FFF2-40B4-BE49-F238E27FC236}">
                  <a16:creationId xmlns:a16="http://schemas.microsoft.com/office/drawing/2014/main" id="{E0A217A2-1818-4D58-A62D-A90182028557}"/>
                </a:ext>
              </a:extLst>
            </p:cNvPr>
            <p:cNvCxnSpPr/>
            <p:nvPr/>
          </p:nvCxnSpPr>
          <p:spPr>
            <a:xfrm rot="10800000">
              <a:off x="2041061" y="1964749"/>
              <a:ext cx="121424" cy="0"/>
            </a:xfrm>
            <a:prstGeom prst="straightConnector1">
              <a:avLst/>
            </a:prstGeom>
            <a:noFill/>
            <a:ln w="19050" cap="flat" cmpd="sng">
              <a:solidFill>
                <a:schemeClr val="dk2"/>
              </a:solidFill>
              <a:prstDash val="solid"/>
              <a:miter lim="800000"/>
              <a:headEnd type="none" w="med" len="med"/>
              <a:tailEnd type="none" w="med" len="med"/>
            </a:ln>
          </p:spPr>
        </p:cxnSp>
        <p:cxnSp>
          <p:nvCxnSpPr>
            <p:cNvPr id="662" name="Google Shape;1723;p18">
              <a:extLst>
                <a:ext uri="{FF2B5EF4-FFF2-40B4-BE49-F238E27FC236}">
                  <a16:creationId xmlns:a16="http://schemas.microsoft.com/office/drawing/2014/main" id="{F26B4EEB-A5A9-4D01-9DD6-72BE4508D0D5}"/>
                </a:ext>
              </a:extLst>
            </p:cNvPr>
            <p:cNvCxnSpPr/>
            <p:nvPr/>
          </p:nvCxnSpPr>
          <p:spPr>
            <a:xfrm>
              <a:off x="3892775" y="2297970"/>
              <a:ext cx="0" cy="75155"/>
            </a:xfrm>
            <a:prstGeom prst="straightConnector1">
              <a:avLst/>
            </a:prstGeom>
            <a:noFill/>
            <a:ln w="19050" cap="flat" cmpd="sng">
              <a:solidFill>
                <a:schemeClr val="dk2"/>
              </a:solidFill>
              <a:prstDash val="solid"/>
              <a:miter lim="800000"/>
              <a:headEnd type="none" w="med" len="med"/>
              <a:tailEnd type="none" w="med" len="med"/>
            </a:ln>
          </p:spPr>
        </p:cxnSp>
        <p:cxnSp>
          <p:nvCxnSpPr>
            <p:cNvPr id="663" name="Google Shape;1724;p18">
              <a:extLst>
                <a:ext uri="{FF2B5EF4-FFF2-40B4-BE49-F238E27FC236}">
                  <a16:creationId xmlns:a16="http://schemas.microsoft.com/office/drawing/2014/main" id="{1EC9651E-4165-42A6-B11F-3725606AF2A9}"/>
                </a:ext>
              </a:extLst>
            </p:cNvPr>
            <p:cNvCxnSpPr/>
            <p:nvPr/>
          </p:nvCxnSpPr>
          <p:spPr>
            <a:xfrm rot="10800000">
              <a:off x="3832064" y="2335094"/>
              <a:ext cx="121424" cy="0"/>
            </a:xfrm>
            <a:prstGeom prst="straightConnector1">
              <a:avLst/>
            </a:prstGeom>
            <a:noFill/>
            <a:ln w="19050" cap="flat" cmpd="sng">
              <a:solidFill>
                <a:schemeClr val="dk2"/>
              </a:solidFill>
              <a:prstDash val="solid"/>
              <a:miter lim="800000"/>
              <a:headEnd type="none" w="med" len="med"/>
              <a:tailEnd type="none" w="med" len="med"/>
            </a:ln>
          </p:spPr>
        </p:cxnSp>
        <p:cxnSp>
          <p:nvCxnSpPr>
            <p:cNvPr id="664" name="Google Shape;1725;p18">
              <a:extLst>
                <a:ext uri="{FF2B5EF4-FFF2-40B4-BE49-F238E27FC236}">
                  <a16:creationId xmlns:a16="http://schemas.microsoft.com/office/drawing/2014/main" id="{BEC54D6F-B04E-4F97-A5DB-C58903B96AAF}"/>
                </a:ext>
              </a:extLst>
            </p:cNvPr>
            <p:cNvCxnSpPr/>
            <p:nvPr/>
          </p:nvCxnSpPr>
          <p:spPr>
            <a:xfrm>
              <a:off x="3884102" y="2287104"/>
              <a:ext cx="0" cy="76967"/>
            </a:xfrm>
            <a:prstGeom prst="straightConnector1">
              <a:avLst/>
            </a:prstGeom>
            <a:noFill/>
            <a:ln w="19050" cap="flat" cmpd="sng">
              <a:solidFill>
                <a:schemeClr val="dk2"/>
              </a:solidFill>
              <a:prstDash val="solid"/>
              <a:miter lim="800000"/>
              <a:headEnd type="none" w="med" len="med"/>
              <a:tailEnd type="none" w="med" len="med"/>
            </a:ln>
          </p:spPr>
        </p:cxnSp>
        <p:cxnSp>
          <p:nvCxnSpPr>
            <p:cNvPr id="665" name="Google Shape;1726;p18">
              <a:extLst>
                <a:ext uri="{FF2B5EF4-FFF2-40B4-BE49-F238E27FC236}">
                  <a16:creationId xmlns:a16="http://schemas.microsoft.com/office/drawing/2014/main" id="{07495C06-D1BC-4561-A598-7F4DCC591D89}"/>
                </a:ext>
              </a:extLst>
            </p:cNvPr>
            <p:cNvCxnSpPr/>
            <p:nvPr/>
          </p:nvCxnSpPr>
          <p:spPr>
            <a:xfrm rot="10800000">
              <a:off x="3823390" y="2325134"/>
              <a:ext cx="121424" cy="0"/>
            </a:xfrm>
            <a:prstGeom prst="straightConnector1">
              <a:avLst/>
            </a:prstGeom>
            <a:noFill/>
            <a:ln w="19050" cap="flat" cmpd="sng">
              <a:solidFill>
                <a:schemeClr val="dk2"/>
              </a:solidFill>
              <a:prstDash val="solid"/>
              <a:miter lim="800000"/>
              <a:headEnd type="none" w="med" len="med"/>
              <a:tailEnd type="none" w="med" len="med"/>
            </a:ln>
          </p:spPr>
        </p:cxnSp>
        <p:cxnSp>
          <p:nvCxnSpPr>
            <p:cNvPr id="666" name="Google Shape;1727;p18">
              <a:extLst>
                <a:ext uri="{FF2B5EF4-FFF2-40B4-BE49-F238E27FC236}">
                  <a16:creationId xmlns:a16="http://schemas.microsoft.com/office/drawing/2014/main" id="{8A751132-88DA-4B2F-94FF-D132471D45F3}"/>
                </a:ext>
              </a:extLst>
            </p:cNvPr>
            <p:cNvCxnSpPr/>
            <p:nvPr/>
          </p:nvCxnSpPr>
          <p:spPr>
            <a:xfrm>
              <a:off x="4012754" y="2318796"/>
              <a:ext cx="0" cy="75155"/>
            </a:xfrm>
            <a:prstGeom prst="straightConnector1">
              <a:avLst/>
            </a:prstGeom>
            <a:noFill/>
            <a:ln w="19050" cap="flat" cmpd="sng">
              <a:solidFill>
                <a:schemeClr val="dk2"/>
              </a:solidFill>
              <a:prstDash val="solid"/>
              <a:miter lim="800000"/>
              <a:headEnd type="none" w="med" len="med"/>
              <a:tailEnd type="none" w="med" len="med"/>
            </a:ln>
          </p:spPr>
        </p:cxnSp>
        <p:cxnSp>
          <p:nvCxnSpPr>
            <p:cNvPr id="667" name="Google Shape;1728;p18">
              <a:extLst>
                <a:ext uri="{FF2B5EF4-FFF2-40B4-BE49-F238E27FC236}">
                  <a16:creationId xmlns:a16="http://schemas.microsoft.com/office/drawing/2014/main" id="{03AAC0EF-E538-441D-BA2D-7EF23FCE33BB}"/>
                </a:ext>
              </a:extLst>
            </p:cNvPr>
            <p:cNvCxnSpPr/>
            <p:nvPr/>
          </p:nvCxnSpPr>
          <p:spPr>
            <a:xfrm rot="10800000">
              <a:off x="3952042" y="2356827"/>
              <a:ext cx="119979" cy="0"/>
            </a:xfrm>
            <a:prstGeom prst="straightConnector1">
              <a:avLst/>
            </a:prstGeom>
            <a:noFill/>
            <a:ln w="19050" cap="flat" cmpd="sng">
              <a:solidFill>
                <a:schemeClr val="dk2"/>
              </a:solidFill>
              <a:prstDash val="solid"/>
              <a:miter lim="800000"/>
              <a:headEnd type="none" w="med" len="med"/>
              <a:tailEnd type="none" w="med" len="med"/>
            </a:ln>
          </p:spPr>
        </p:cxnSp>
        <p:cxnSp>
          <p:nvCxnSpPr>
            <p:cNvPr id="668" name="Google Shape;1729;p18">
              <a:extLst>
                <a:ext uri="{FF2B5EF4-FFF2-40B4-BE49-F238E27FC236}">
                  <a16:creationId xmlns:a16="http://schemas.microsoft.com/office/drawing/2014/main" id="{EF69E1D4-BC84-4A23-A70E-8C88A7802F49}"/>
                </a:ext>
              </a:extLst>
            </p:cNvPr>
            <p:cNvCxnSpPr/>
            <p:nvPr/>
          </p:nvCxnSpPr>
          <p:spPr>
            <a:xfrm>
              <a:off x="4914760" y="2486312"/>
              <a:ext cx="0" cy="76061"/>
            </a:xfrm>
            <a:prstGeom prst="straightConnector1">
              <a:avLst/>
            </a:prstGeom>
            <a:noFill/>
            <a:ln w="19050" cap="flat" cmpd="sng">
              <a:solidFill>
                <a:schemeClr val="dk2"/>
              </a:solidFill>
              <a:prstDash val="solid"/>
              <a:miter lim="800000"/>
              <a:headEnd type="none" w="med" len="med"/>
              <a:tailEnd type="none" w="med" len="med"/>
            </a:ln>
          </p:spPr>
        </p:cxnSp>
        <p:sp>
          <p:nvSpPr>
            <p:cNvPr id="670" name="Google Shape;1731;p18">
              <a:extLst>
                <a:ext uri="{FF2B5EF4-FFF2-40B4-BE49-F238E27FC236}">
                  <a16:creationId xmlns:a16="http://schemas.microsoft.com/office/drawing/2014/main" id="{B67A5F2E-BCA7-4B1D-BE9F-218A5467C04E}"/>
                </a:ext>
              </a:extLst>
            </p:cNvPr>
            <p:cNvSpPr txBox="1"/>
            <p:nvPr/>
          </p:nvSpPr>
          <p:spPr>
            <a:xfrm>
              <a:off x="1855451" y="3128896"/>
              <a:ext cx="3048774" cy="275637"/>
            </a:xfrm>
            <a:prstGeom prst="homePlate">
              <a:avLst/>
            </a:prstGeom>
            <a:solidFill>
              <a:schemeClr val="accent5"/>
            </a:solidFill>
            <a:ln>
              <a:noFill/>
            </a:ln>
          </p:spPr>
          <p:txBody>
            <a:bodyPr spcFirstLastPara="1" wrap="square" lIns="18288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a:ln>
                    <a:noFill/>
                  </a:ln>
                  <a:solidFill>
                    <a:srgbClr val="FFFFFF"/>
                  </a:solidFill>
                  <a:effectLst/>
                  <a:uLnTx/>
                  <a:uFillTx/>
                  <a:latin typeface="Gene Sans" panose="00000500000000000000" pitchFamily="50" charset="0"/>
                  <a:cs typeface="Arial"/>
                  <a:sym typeface="Arial"/>
                </a:rPr>
                <a:t>HR = 0.53 (95% CI, 0.43 to 0.66)</a:t>
              </a:r>
              <a:endParaRPr kumimoji="0" sz="1000" b="0" i="0" u="none" strike="noStrike" kern="0" cap="none" spc="0" normalizeH="0" baseline="0" noProof="0" dirty="0">
                <a:ln>
                  <a:noFill/>
                </a:ln>
                <a:solidFill>
                  <a:srgbClr val="FFFFFF"/>
                </a:solidFill>
                <a:effectLst/>
                <a:uLnTx/>
                <a:uFillTx/>
                <a:latin typeface="Gene Sans" panose="00000500000000000000" pitchFamily="50" charset="0"/>
                <a:cs typeface="Arial"/>
                <a:sym typeface="Arial"/>
              </a:endParaRPr>
            </a:p>
          </p:txBody>
        </p:sp>
        <p:cxnSp>
          <p:nvCxnSpPr>
            <p:cNvPr id="669" name="Google Shape;1730;p18">
              <a:extLst>
                <a:ext uri="{FF2B5EF4-FFF2-40B4-BE49-F238E27FC236}">
                  <a16:creationId xmlns:a16="http://schemas.microsoft.com/office/drawing/2014/main" id="{9A568425-9395-4C0F-BE5D-A75357CA3535}"/>
                </a:ext>
              </a:extLst>
            </p:cNvPr>
            <p:cNvCxnSpPr/>
            <p:nvPr/>
          </p:nvCxnSpPr>
          <p:spPr>
            <a:xfrm rot="10800000">
              <a:off x="4855493" y="2525248"/>
              <a:ext cx="119979" cy="0"/>
            </a:xfrm>
            <a:prstGeom prst="straightConnector1">
              <a:avLst/>
            </a:prstGeom>
            <a:noFill/>
            <a:ln w="19050" cap="flat" cmpd="sng">
              <a:solidFill>
                <a:schemeClr val="dk2"/>
              </a:solidFill>
              <a:prstDash val="solid"/>
              <a:miter lim="800000"/>
              <a:headEnd type="none" w="med" len="med"/>
              <a:tailEnd type="none" w="med" len="med"/>
            </a:ln>
          </p:spPr>
        </p:cxnSp>
        <p:sp>
          <p:nvSpPr>
            <p:cNvPr id="671" name="Google Shape;1733;p18">
              <a:extLst>
                <a:ext uri="{FF2B5EF4-FFF2-40B4-BE49-F238E27FC236}">
                  <a16:creationId xmlns:a16="http://schemas.microsoft.com/office/drawing/2014/main" id="{D35804DC-B461-4B43-B6B3-52F182DB816F}"/>
                </a:ext>
              </a:extLst>
            </p:cNvPr>
            <p:cNvSpPr/>
            <p:nvPr/>
          </p:nvSpPr>
          <p:spPr>
            <a:xfrm>
              <a:off x="1244408" y="1691055"/>
              <a:ext cx="7517941" cy="1887832"/>
            </a:xfrm>
            <a:custGeom>
              <a:avLst/>
              <a:gdLst/>
              <a:ahLst/>
              <a:cxnLst/>
              <a:rect l="l" t="t" r="r" b="b"/>
              <a:pathLst>
                <a:path w="7590329" h="3350103" extrusionOk="0">
                  <a:moveTo>
                    <a:pt x="0" y="0"/>
                  </a:moveTo>
                  <a:lnTo>
                    <a:pt x="0" y="3350103"/>
                  </a:lnTo>
                  <a:lnTo>
                    <a:pt x="7590329" y="3350103"/>
                  </a:ln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grpSp>
          <p:nvGrpSpPr>
            <p:cNvPr id="672" name="Google Shape;1734;p18">
              <a:extLst>
                <a:ext uri="{FF2B5EF4-FFF2-40B4-BE49-F238E27FC236}">
                  <a16:creationId xmlns:a16="http://schemas.microsoft.com/office/drawing/2014/main" id="{C1ECB08C-595B-47FB-A374-0B61FFC8A3EC}"/>
                </a:ext>
              </a:extLst>
            </p:cNvPr>
            <p:cNvGrpSpPr/>
            <p:nvPr/>
          </p:nvGrpSpPr>
          <p:grpSpPr>
            <a:xfrm>
              <a:off x="1296262" y="1729714"/>
              <a:ext cx="7063550" cy="1409668"/>
              <a:chOff x="3267798" y="1618842"/>
              <a:chExt cx="7724960" cy="2451535"/>
            </a:xfrm>
          </p:grpSpPr>
          <p:sp>
            <p:nvSpPr>
              <p:cNvPr id="673" name="Google Shape;1735;p18">
                <a:extLst>
                  <a:ext uri="{FF2B5EF4-FFF2-40B4-BE49-F238E27FC236}">
                    <a16:creationId xmlns:a16="http://schemas.microsoft.com/office/drawing/2014/main" id="{B45F2382-1D5A-40F7-A667-63D46E15D672}"/>
                  </a:ext>
                </a:extLst>
              </p:cNvPr>
              <p:cNvSpPr/>
              <p:nvPr/>
            </p:nvSpPr>
            <p:spPr>
              <a:xfrm>
                <a:off x="3267798" y="1660294"/>
                <a:ext cx="7665432" cy="2339709"/>
              </a:xfrm>
              <a:custGeom>
                <a:avLst/>
                <a:gdLst/>
                <a:ahLst/>
                <a:cxnLst/>
                <a:rect l="l" t="t" r="r" b="b"/>
                <a:pathLst>
                  <a:path w="7709985" h="2339708" extrusionOk="0">
                    <a:moveTo>
                      <a:pt x="0" y="0"/>
                    </a:moveTo>
                    <a:lnTo>
                      <a:pt x="110537" y="0"/>
                    </a:lnTo>
                    <a:lnTo>
                      <a:pt x="110537" y="37122"/>
                    </a:lnTo>
                    <a:lnTo>
                      <a:pt x="110537" y="51492"/>
                    </a:lnTo>
                    <a:lnTo>
                      <a:pt x="146831" y="51492"/>
                    </a:lnTo>
                    <a:lnTo>
                      <a:pt x="146831" y="77745"/>
                    </a:lnTo>
                    <a:lnTo>
                      <a:pt x="187729" y="77745"/>
                    </a:lnTo>
                    <a:lnTo>
                      <a:pt x="187729" y="124078"/>
                    </a:lnTo>
                    <a:lnTo>
                      <a:pt x="227615" y="124078"/>
                    </a:lnTo>
                    <a:lnTo>
                      <a:pt x="227615" y="140106"/>
                    </a:lnTo>
                    <a:lnTo>
                      <a:pt x="265474" y="140106"/>
                    </a:lnTo>
                    <a:lnTo>
                      <a:pt x="265474" y="161108"/>
                    </a:lnTo>
                    <a:lnTo>
                      <a:pt x="284265" y="161108"/>
                    </a:lnTo>
                    <a:lnTo>
                      <a:pt x="284265" y="176491"/>
                    </a:lnTo>
                    <a:lnTo>
                      <a:pt x="293569" y="176491"/>
                    </a:lnTo>
                    <a:lnTo>
                      <a:pt x="293569" y="200441"/>
                    </a:lnTo>
                    <a:lnTo>
                      <a:pt x="319637" y="200441"/>
                    </a:lnTo>
                    <a:lnTo>
                      <a:pt x="350219" y="200441"/>
                    </a:lnTo>
                    <a:lnTo>
                      <a:pt x="350219" y="249078"/>
                    </a:lnTo>
                    <a:lnTo>
                      <a:pt x="377301" y="249078"/>
                    </a:lnTo>
                    <a:lnTo>
                      <a:pt x="377301" y="273396"/>
                    </a:lnTo>
                    <a:lnTo>
                      <a:pt x="408620" y="273396"/>
                    </a:lnTo>
                    <a:lnTo>
                      <a:pt x="408620" y="313558"/>
                    </a:lnTo>
                    <a:lnTo>
                      <a:pt x="443347" y="313558"/>
                    </a:lnTo>
                    <a:lnTo>
                      <a:pt x="443347" y="330783"/>
                    </a:lnTo>
                    <a:lnTo>
                      <a:pt x="474666" y="330783"/>
                    </a:lnTo>
                    <a:lnTo>
                      <a:pt x="474666" y="365695"/>
                    </a:lnTo>
                    <a:lnTo>
                      <a:pt x="491707" y="365695"/>
                    </a:lnTo>
                    <a:lnTo>
                      <a:pt x="491707" y="392131"/>
                    </a:lnTo>
                    <a:lnTo>
                      <a:pt x="525513" y="392131"/>
                    </a:lnTo>
                    <a:lnTo>
                      <a:pt x="525513" y="405396"/>
                    </a:lnTo>
                    <a:lnTo>
                      <a:pt x="540712" y="405396"/>
                    </a:lnTo>
                    <a:lnTo>
                      <a:pt x="540712" y="431741"/>
                    </a:lnTo>
                    <a:lnTo>
                      <a:pt x="553148" y="431741"/>
                    </a:lnTo>
                    <a:lnTo>
                      <a:pt x="553148" y="458178"/>
                    </a:lnTo>
                    <a:lnTo>
                      <a:pt x="591560" y="458178"/>
                    </a:lnTo>
                    <a:lnTo>
                      <a:pt x="591560" y="490510"/>
                    </a:lnTo>
                    <a:lnTo>
                      <a:pt x="629050" y="490510"/>
                    </a:lnTo>
                    <a:lnTo>
                      <a:pt x="629050" y="518144"/>
                    </a:lnTo>
                    <a:lnTo>
                      <a:pt x="662672" y="518144"/>
                    </a:lnTo>
                    <a:lnTo>
                      <a:pt x="662672" y="550384"/>
                    </a:lnTo>
                    <a:lnTo>
                      <a:pt x="700531" y="550384"/>
                    </a:lnTo>
                    <a:lnTo>
                      <a:pt x="700531" y="594046"/>
                    </a:lnTo>
                    <a:lnTo>
                      <a:pt x="746588" y="594046"/>
                    </a:lnTo>
                    <a:lnTo>
                      <a:pt x="746588" y="633748"/>
                    </a:lnTo>
                    <a:lnTo>
                      <a:pt x="761050" y="633748"/>
                    </a:lnTo>
                    <a:lnTo>
                      <a:pt x="761050" y="648947"/>
                    </a:lnTo>
                    <a:lnTo>
                      <a:pt x="776802" y="648947"/>
                    </a:lnTo>
                    <a:lnTo>
                      <a:pt x="776802" y="666633"/>
                    </a:lnTo>
                    <a:lnTo>
                      <a:pt x="797804" y="666633"/>
                    </a:lnTo>
                    <a:lnTo>
                      <a:pt x="797804" y="691596"/>
                    </a:lnTo>
                    <a:lnTo>
                      <a:pt x="822399" y="691596"/>
                    </a:lnTo>
                    <a:lnTo>
                      <a:pt x="822399" y="709005"/>
                    </a:lnTo>
                    <a:lnTo>
                      <a:pt x="863850" y="709005"/>
                    </a:lnTo>
                    <a:lnTo>
                      <a:pt x="863850" y="729639"/>
                    </a:lnTo>
                    <a:lnTo>
                      <a:pt x="902538" y="729639"/>
                    </a:lnTo>
                    <a:lnTo>
                      <a:pt x="902538" y="775052"/>
                    </a:lnTo>
                    <a:lnTo>
                      <a:pt x="949885" y="775052"/>
                    </a:lnTo>
                    <a:lnTo>
                      <a:pt x="949885" y="802594"/>
                    </a:lnTo>
                    <a:lnTo>
                      <a:pt x="997877" y="802594"/>
                    </a:lnTo>
                    <a:lnTo>
                      <a:pt x="997877" y="841098"/>
                    </a:lnTo>
                    <a:lnTo>
                      <a:pt x="1032235" y="841098"/>
                    </a:lnTo>
                    <a:lnTo>
                      <a:pt x="1032235" y="853257"/>
                    </a:lnTo>
                    <a:lnTo>
                      <a:pt x="1076819" y="853257"/>
                    </a:lnTo>
                    <a:lnTo>
                      <a:pt x="1076819" y="889734"/>
                    </a:lnTo>
                    <a:lnTo>
                      <a:pt x="1128956" y="889734"/>
                    </a:lnTo>
                    <a:lnTo>
                      <a:pt x="1128956" y="907144"/>
                    </a:lnTo>
                    <a:lnTo>
                      <a:pt x="1184961" y="907144"/>
                    </a:lnTo>
                    <a:lnTo>
                      <a:pt x="1184961" y="949240"/>
                    </a:lnTo>
                    <a:lnTo>
                      <a:pt x="1218675" y="949240"/>
                    </a:lnTo>
                    <a:lnTo>
                      <a:pt x="1218675" y="958359"/>
                    </a:lnTo>
                    <a:lnTo>
                      <a:pt x="1247691" y="958359"/>
                    </a:lnTo>
                    <a:lnTo>
                      <a:pt x="1247691" y="981757"/>
                    </a:lnTo>
                    <a:lnTo>
                      <a:pt x="1272654" y="981757"/>
                    </a:lnTo>
                    <a:lnTo>
                      <a:pt x="1272654" y="1000640"/>
                    </a:lnTo>
                    <a:lnTo>
                      <a:pt x="1322304" y="1000640"/>
                    </a:lnTo>
                    <a:lnTo>
                      <a:pt x="1322304" y="1021734"/>
                    </a:lnTo>
                    <a:lnTo>
                      <a:pt x="1344135" y="1021734"/>
                    </a:lnTo>
                    <a:lnTo>
                      <a:pt x="1344135" y="1071845"/>
                    </a:lnTo>
                    <a:lnTo>
                      <a:pt x="1388258" y="1071845"/>
                    </a:lnTo>
                    <a:lnTo>
                      <a:pt x="1388258" y="1097821"/>
                    </a:lnTo>
                    <a:lnTo>
                      <a:pt x="1428236" y="1097821"/>
                    </a:lnTo>
                    <a:lnTo>
                      <a:pt x="1428236" y="1118270"/>
                    </a:lnTo>
                    <a:lnTo>
                      <a:pt x="1476872" y="1118270"/>
                    </a:lnTo>
                    <a:lnTo>
                      <a:pt x="1476872" y="1142957"/>
                    </a:lnTo>
                    <a:lnTo>
                      <a:pt x="1555722" y="1142957"/>
                    </a:lnTo>
                    <a:lnTo>
                      <a:pt x="1555722" y="1163775"/>
                    </a:lnTo>
                    <a:lnTo>
                      <a:pt x="1630888" y="1163775"/>
                    </a:lnTo>
                    <a:lnTo>
                      <a:pt x="1630888" y="1193620"/>
                    </a:lnTo>
                    <a:lnTo>
                      <a:pt x="1683577" y="1193620"/>
                    </a:lnTo>
                    <a:lnTo>
                      <a:pt x="1683577" y="1222360"/>
                    </a:lnTo>
                    <a:lnTo>
                      <a:pt x="1683577" y="1260956"/>
                    </a:lnTo>
                    <a:lnTo>
                      <a:pt x="1758927" y="1260956"/>
                    </a:lnTo>
                    <a:lnTo>
                      <a:pt x="1758927" y="1281405"/>
                    </a:lnTo>
                    <a:lnTo>
                      <a:pt x="1816222" y="1281405"/>
                    </a:lnTo>
                    <a:lnTo>
                      <a:pt x="1816222" y="1307013"/>
                    </a:lnTo>
                    <a:lnTo>
                      <a:pt x="1864214" y="1307013"/>
                    </a:lnTo>
                    <a:lnTo>
                      <a:pt x="1864214" y="1319080"/>
                    </a:lnTo>
                    <a:lnTo>
                      <a:pt x="1890927" y="1319080"/>
                    </a:lnTo>
                    <a:lnTo>
                      <a:pt x="1890927" y="1336213"/>
                    </a:lnTo>
                    <a:lnTo>
                      <a:pt x="1930168" y="1336213"/>
                    </a:lnTo>
                    <a:lnTo>
                      <a:pt x="1930168" y="1347451"/>
                    </a:lnTo>
                    <a:lnTo>
                      <a:pt x="1952828" y="1347451"/>
                    </a:lnTo>
                    <a:lnTo>
                      <a:pt x="1952828" y="1373059"/>
                    </a:lnTo>
                    <a:lnTo>
                      <a:pt x="2018874" y="1373059"/>
                    </a:lnTo>
                    <a:lnTo>
                      <a:pt x="2018874" y="1384481"/>
                    </a:lnTo>
                    <a:lnTo>
                      <a:pt x="2070274" y="1384481"/>
                    </a:lnTo>
                    <a:lnTo>
                      <a:pt x="2070274" y="1402904"/>
                    </a:lnTo>
                    <a:lnTo>
                      <a:pt x="2110989" y="1402904"/>
                    </a:lnTo>
                    <a:lnTo>
                      <a:pt x="2110989" y="1416445"/>
                    </a:lnTo>
                    <a:lnTo>
                      <a:pt x="2167823" y="1416445"/>
                    </a:lnTo>
                    <a:lnTo>
                      <a:pt x="2167823" y="1445000"/>
                    </a:lnTo>
                    <a:lnTo>
                      <a:pt x="2225395" y="1445000"/>
                    </a:lnTo>
                    <a:lnTo>
                      <a:pt x="2225395" y="1462871"/>
                    </a:lnTo>
                    <a:lnTo>
                      <a:pt x="2244923" y="1462871"/>
                    </a:lnTo>
                    <a:lnTo>
                      <a:pt x="2244923" y="1482491"/>
                    </a:lnTo>
                    <a:lnTo>
                      <a:pt x="2315207" y="1482491"/>
                    </a:lnTo>
                    <a:lnTo>
                      <a:pt x="2315207" y="1496585"/>
                    </a:lnTo>
                    <a:lnTo>
                      <a:pt x="2356382" y="1496585"/>
                    </a:lnTo>
                    <a:lnTo>
                      <a:pt x="2356382" y="1511046"/>
                    </a:lnTo>
                    <a:lnTo>
                      <a:pt x="2379963" y="1511046"/>
                    </a:lnTo>
                    <a:lnTo>
                      <a:pt x="2379963" y="1525140"/>
                    </a:lnTo>
                    <a:lnTo>
                      <a:pt x="2398294" y="1525140"/>
                    </a:lnTo>
                    <a:lnTo>
                      <a:pt x="2398294" y="1540984"/>
                    </a:lnTo>
                    <a:lnTo>
                      <a:pt x="2442785" y="1540984"/>
                    </a:lnTo>
                    <a:lnTo>
                      <a:pt x="2442785" y="1562631"/>
                    </a:lnTo>
                    <a:lnTo>
                      <a:pt x="2479631" y="1562631"/>
                    </a:lnTo>
                    <a:lnTo>
                      <a:pt x="2504225" y="1562631"/>
                    </a:lnTo>
                    <a:lnTo>
                      <a:pt x="2504225" y="1582527"/>
                    </a:lnTo>
                    <a:lnTo>
                      <a:pt x="2532873" y="1582527"/>
                    </a:lnTo>
                    <a:lnTo>
                      <a:pt x="2532873" y="1591094"/>
                    </a:lnTo>
                    <a:lnTo>
                      <a:pt x="2569995" y="1591094"/>
                    </a:lnTo>
                    <a:lnTo>
                      <a:pt x="2569995" y="1606938"/>
                    </a:lnTo>
                    <a:lnTo>
                      <a:pt x="2627936" y="1606938"/>
                    </a:lnTo>
                    <a:lnTo>
                      <a:pt x="2627936" y="1618268"/>
                    </a:lnTo>
                    <a:lnTo>
                      <a:pt x="2662755" y="1618268"/>
                    </a:lnTo>
                    <a:lnTo>
                      <a:pt x="2662755" y="1628677"/>
                    </a:lnTo>
                    <a:lnTo>
                      <a:pt x="2706601" y="1628677"/>
                    </a:lnTo>
                    <a:lnTo>
                      <a:pt x="2706601" y="1637243"/>
                    </a:lnTo>
                    <a:lnTo>
                      <a:pt x="2772647" y="1637243"/>
                    </a:lnTo>
                    <a:lnTo>
                      <a:pt x="2772647" y="1672984"/>
                    </a:lnTo>
                    <a:lnTo>
                      <a:pt x="2836114" y="1672984"/>
                    </a:lnTo>
                    <a:lnTo>
                      <a:pt x="2836114" y="1684314"/>
                    </a:lnTo>
                    <a:lnTo>
                      <a:pt x="2889357" y="1684314"/>
                    </a:lnTo>
                    <a:lnTo>
                      <a:pt x="2889357" y="1704579"/>
                    </a:lnTo>
                    <a:lnTo>
                      <a:pt x="2949784" y="1704579"/>
                    </a:lnTo>
                    <a:lnTo>
                      <a:pt x="2949784" y="1727700"/>
                    </a:lnTo>
                    <a:lnTo>
                      <a:pt x="3011224" y="1727700"/>
                    </a:lnTo>
                    <a:lnTo>
                      <a:pt x="3011224" y="1745570"/>
                    </a:lnTo>
                    <a:lnTo>
                      <a:pt x="3075151" y="1745570"/>
                    </a:lnTo>
                    <a:lnTo>
                      <a:pt x="3075151" y="1763625"/>
                    </a:lnTo>
                    <a:lnTo>
                      <a:pt x="3119643" y="1763625"/>
                    </a:lnTo>
                    <a:lnTo>
                      <a:pt x="3119643" y="1782416"/>
                    </a:lnTo>
                    <a:lnTo>
                      <a:pt x="3165700" y="1782416"/>
                    </a:lnTo>
                    <a:lnTo>
                      <a:pt x="3165700" y="1801207"/>
                    </a:lnTo>
                    <a:lnTo>
                      <a:pt x="3205586" y="1801207"/>
                    </a:lnTo>
                    <a:lnTo>
                      <a:pt x="3205586" y="1816038"/>
                    </a:lnTo>
                    <a:lnTo>
                      <a:pt x="3222995" y="1816038"/>
                    </a:lnTo>
                    <a:lnTo>
                      <a:pt x="3222995" y="1829486"/>
                    </a:lnTo>
                    <a:lnTo>
                      <a:pt x="3274579" y="1829486"/>
                    </a:lnTo>
                    <a:lnTo>
                      <a:pt x="3274579" y="1848370"/>
                    </a:lnTo>
                    <a:lnTo>
                      <a:pt x="3301201" y="1848370"/>
                    </a:lnTo>
                    <a:lnTo>
                      <a:pt x="3301201" y="1859424"/>
                    </a:lnTo>
                    <a:lnTo>
                      <a:pt x="3331506" y="1859424"/>
                    </a:lnTo>
                    <a:lnTo>
                      <a:pt x="3331506" y="1870662"/>
                    </a:lnTo>
                    <a:lnTo>
                      <a:pt x="3370102" y="1870662"/>
                    </a:lnTo>
                    <a:lnTo>
                      <a:pt x="3370102" y="1892308"/>
                    </a:lnTo>
                    <a:lnTo>
                      <a:pt x="3411277" y="1892308"/>
                    </a:lnTo>
                    <a:lnTo>
                      <a:pt x="3411277" y="1906955"/>
                    </a:lnTo>
                    <a:lnTo>
                      <a:pt x="3442965" y="1906955"/>
                    </a:lnTo>
                    <a:lnTo>
                      <a:pt x="3458072" y="1906955"/>
                    </a:lnTo>
                    <a:lnTo>
                      <a:pt x="3458072" y="1920219"/>
                    </a:lnTo>
                    <a:lnTo>
                      <a:pt x="3599283" y="1920219"/>
                    </a:lnTo>
                    <a:lnTo>
                      <a:pt x="3599283" y="1936616"/>
                    </a:lnTo>
                    <a:lnTo>
                      <a:pt x="3702359" y="1936616"/>
                    </a:lnTo>
                    <a:lnTo>
                      <a:pt x="3702359" y="1954578"/>
                    </a:lnTo>
                    <a:lnTo>
                      <a:pt x="3775038" y="1954578"/>
                    </a:lnTo>
                    <a:lnTo>
                      <a:pt x="3775038" y="1968303"/>
                    </a:lnTo>
                    <a:lnTo>
                      <a:pt x="3833346" y="1968303"/>
                    </a:lnTo>
                    <a:lnTo>
                      <a:pt x="3833346" y="1980278"/>
                    </a:lnTo>
                    <a:lnTo>
                      <a:pt x="3917723" y="1980278"/>
                    </a:lnTo>
                    <a:lnTo>
                      <a:pt x="3917723" y="1997503"/>
                    </a:lnTo>
                    <a:lnTo>
                      <a:pt x="3961201" y="1997503"/>
                    </a:lnTo>
                    <a:lnTo>
                      <a:pt x="3961201" y="2008741"/>
                    </a:lnTo>
                    <a:lnTo>
                      <a:pt x="4018128" y="2008741"/>
                    </a:lnTo>
                    <a:lnTo>
                      <a:pt x="4018128" y="2018874"/>
                    </a:lnTo>
                    <a:lnTo>
                      <a:pt x="4045118" y="2018874"/>
                    </a:lnTo>
                    <a:lnTo>
                      <a:pt x="4045118" y="2033888"/>
                    </a:lnTo>
                    <a:lnTo>
                      <a:pt x="4159247" y="2033888"/>
                    </a:lnTo>
                    <a:lnTo>
                      <a:pt x="4159247" y="2046140"/>
                    </a:lnTo>
                    <a:lnTo>
                      <a:pt x="4253020" y="2046140"/>
                    </a:lnTo>
                    <a:lnTo>
                      <a:pt x="4253020" y="2060694"/>
                    </a:lnTo>
                    <a:lnTo>
                      <a:pt x="4370742" y="2060694"/>
                    </a:lnTo>
                    <a:lnTo>
                      <a:pt x="4370742" y="2069997"/>
                    </a:lnTo>
                    <a:lnTo>
                      <a:pt x="4490491" y="2069997"/>
                    </a:lnTo>
                    <a:lnTo>
                      <a:pt x="4490491" y="2074787"/>
                    </a:lnTo>
                    <a:lnTo>
                      <a:pt x="4549813" y="2074787"/>
                    </a:lnTo>
                    <a:lnTo>
                      <a:pt x="4549813" y="2084828"/>
                    </a:lnTo>
                    <a:cubicBezTo>
                      <a:pt x="4549813" y="2084828"/>
                      <a:pt x="4608122" y="2080775"/>
                      <a:pt x="4604069" y="2084828"/>
                    </a:cubicBezTo>
                    <a:cubicBezTo>
                      <a:pt x="4600015" y="2088881"/>
                      <a:pt x="4604069" y="2112094"/>
                      <a:pt x="4604069" y="2112094"/>
                    </a:cubicBezTo>
                    <a:lnTo>
                      <a:pt x="4650402" y="2112094"/>
                    </a:lnTo>
                    <a:lnTo>
                      <a:pt x="4650402" y="2120752"/>
                    </a:lnTo>
                    <a:lnTo>
                      <a:pt x="4695170" y="2120752"/>
                    </a:lnTo>
                    <a:lnTo>
                      <a:pt x="4695170" y="2135951"/>
                    </a:lnTo>
                    <a:lnTo>
                      <a:pt x="4807273" y="2135951"/>
                    </a:lnTo>
                    <a:lnTo>
                      <a:pt x="4807273" y="2156401"/>
                    </a:lnTo>
                    <a:lnTo>
                      <a:pt x="5384002" y="2156401"/>
                    </a:lnTo>
                    <a:lnTo>
                      <a:pt x="5384002" y="2206695"/>
                    </a:lnTo>
                    <a:lnTo>
                      <a:pt x="5671123" y="2206695"/>
                    </a:lnTo>
                    <a:lnTo>
                      <a:pt x="5671123" y="2257727"/>
                    </a:lnTo>
                    <a:lnTo>
                      <a:pt x="5939821" y="2257727"/>
                    </a:lnTo>
                    <a:lnTo>
                      <a:pt x="5939821" y="2346801"/>
                    </a:lnTo>
                    <a:lnTo>
                      <a:pt x="7715605" y="2346801"/>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74" name="Google Shape;1736;p18">
                <a:extLst>
                  <a:ext uri="{FF2B5EF4-FFF2-40B4-BE49-F238E27FC236}">
                    <a16:creationId xmlns:a16="http://schemas.microsoft.com/office/drawing/2014/main" id="{B1733527-D349-4A71-9CAC-42EC0D1BF111}"/>
                  </a:ext>
                </a:extLst>
              </p:cNvPr>
              <p:cNvSpPr/>
              <p:nvPr/>
            </p:nvSpPr>
            <p:spPr>
              <a:xfrm>
                <a:off x="3333462" y="1618842"/>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75" name="Google Shape;1737;p18">
                <a:extLst>
                  <a:ext uri="{FF2B5EF4-FFF2-40B4-BE49-F238E27FC236}">
                    <a16:creationId xmlns:a16="http://schemas.microsoft.com/office/drawing/2014/main" id="{A732958C-678F-417A-8465-6D322F8580F4}"/>
                  </a:ext>
                </a:extLst>
              </p:cNvPr>
              <p:cNvSpPr/>
              <p:nvPr/>
            </p:nvSpPr>
            <p:spPr>
              <a:xfrm>
                <a:off x="3267798" y="168488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76" name="Google Shape;1738;p18">
                <a:extLst>
                  <a:ext uri="{FF2B5EF4-FFF2-40B4-BE49-F238E27FC236}">
                    <a16:creationId xmlns:a16="http://schemas.microsoft.com/office/drawing/2014/main" id="{E986368A-753C-47B0-ABB1-F4EB5B88A743}"/>
                  </a:ext>
                </a:extLst>
              </p:cNvPr>
              <p:cNvSpPr/>
              <p:nvPr/>
            </p:nvSpPr>
            <p:spPr>
              <a:xfrm>
                <a:off x="3372751" y="1627040"/>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77" name="Google Shape;1739;p18">
                <a:extLst>
                  <a:ext uri="{FF2B5EF4-FFF2-40B4-BE49-F238E27FC236}">
                    <a16:creationId xmlns:a16="http://schemas.microsoft.com/office/drawing/2014/main" id="{F7BED6E5-6DB8-4737-9D3E-B133C70F91D1}"/>
                  </a:ext>
                </a:extLst>
              </p:cNvPr>
              <p:cNvSpPr/>
              <p:nvPr/>
            </p:nvSpPr>
            <p:spPr>
              <a:xfrm>
                <a:off x="3307087" y="1693086"/>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78" name="Google Shape;1740;p18">
                <a:extLst>
                  <a:ext uri="{FF2B5EF4-FFF2-40B4-BE49-F238E27FC236}">
                    <a16:creationId xmlns:a16="http://schemas.microsoft.com/office/drawing/2014/main" id="{A418E768-669D-450D-83B8-9CDFA5E482B1}"/>
                  </a:ext>
                </a:extLst>
              </p:cNvPr>
              <p:cNvSpPr/>
              <p:nvPr/>
            </p:nvSpPr>
            <p:spPr>
              <a:xfrm>
                <a:off x="3413780" y="166259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79" name="Google Shape;1741;p18">
                <a:extLst>
                  <a:ext uri="{FF2B5EF4-FFF2-40B4-BE49-F238E27FC236}">
                    <a16:creationId xmlns:a16="http://schemas.microsoft.com/office/drawing/2014/main" id="{657BD008-1FE6-4F43-938F-7BD0B2EE070E}"/>
                  </a:ext>
                </a:extLst>
              </p:cNvPr>
              <p:cNvSpPr/>
              <p:nvPr/>
            </p:nvSpPr>
            <p:spPr>
              <a:xfrm>
                <a:off x="3348208" y="172864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80" name="Google Shape;1742;p18">
                <a:extLst>
                  <a:ext uri="{FF2B5EF4-FFF2-40B4-BE49-F238E27FC236}">
                    <a16:creationId xmlns:a16="http://schemas.microsoft.com/office/drawing/2014/main" id="{6C1852AD-F3EB-4B1E-9188-A376DEC7B230}"/>
                  </a:ext>
                </a:extLst>
              </p:cNvPr>
              <p:cNvSpPr/>
              <p:nvPr/>
            </p:nvSpPr>
            <p:spPr>
              <a:xfrm>
                <a:off x="3449405" y="1711693"/>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81" name="Google Shape;1743;p18">
                <a:extLst>
                  <a:ext uri="{FF2B5EF4-FFF2-40B4-BE49-F238E27FC236}">
                    <a16:creationId xmlns:a16="http://schemas.microsoft.com/office/drawing/2014/main" id="{D08960CA-578F-4AB6-984B-7AAEEEB55915}"/>
                  </a:ext>
                </a:extLst>
              </p:cNvPr>
              <p:cNvSpPr/>
              <p:nvPr/>
            </p:nvSpPr>
            <p:spPr>
              <a:xfrm>
                <a:off x="3383833" y="177774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82" name="Google Shape;1744;p18">
                <a:extLst>
                  <a:ext uri="{FF2B5EF4-FFF2-40B4-BE49-F238E27FC236}">
                    <a16:creationId xmlns:a16="http://schemas.microsoft.com/office/drawing/2014/main" id="{825859F2-C025-40E1-A6A4-40AB090C21D5}"/>
                  </a:ext>
                </a:extLst>
              </p:cNvPr>
              <p:cNvSpPr/>
              <p:nvPr/>
            </p:nvSpPr>
            <p:spPr>
              <a:xfrm>
                <a:off x="3458564" y="1718234"/>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83" name="Google Shape;1745;p18">
                <a:extLst>
                  <a:ext uri="{FF2B5EF4-FFF2-40B4-BE49-F238E27FC236}">
                    <a16:creationId xmlns:a16="http://schemas.microsoft.com/office/drawing/2014/main" id="{46984FE9-13EC-4E4A-AB52-9543A048F94A}"/>
                  </a:ext>
                </a:extLst>
              </p:cNvPr>
              <p:cNvSpPr/>
              <p:nvPr/>
            </p:nvSpPr>
            <p:spPr>
              <a:xfrm>
                <a:off x="3392991" y="178428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84" name="Google Shape;1746;p18">
                <a:extLst>
                  <a:ext uri="{FF2B5EF4-FFF2-40B4-BE49-F238E27FC236}">
                    <a16:creationId xmlns:a16="http://schemas.microsoft.com/office/drawing/2014/main" id="{4EDB88D6-44A3-4296-81F7-19327E93B0F1}"/>
                  </a:ext>
                </a:extLst>
              </p:cNvPr>
              <p:cNvSpPr/>
              <p:nvPr/>
            </p:nvSpPr>
            <p:spPr>
              <a:xfrm>
                <a:off x="3472850" y="1718234"/>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85" name="Google Shape;1747;p18">
                <a:extLst>
                  <a:ext uri="{FF2B5EF4-FFF2-40B4-BE49-F238E27FC236}">
                    <a16:creationId xmlns:a16="http://schemas.microsoft.com/office/drawing/2014/main" id="{27BE3118-3C35-418A-A8DA-2B0E36C34B88}"/>
                  </a:ext>
                </a:extLst>
              </p:cNvPr>
              <p:cNvSpPr/>
              <p:nvPr/>
            </p:nvSpPr>
            <p:spPr>
              <a:xfrm>
                <a:off x="3407186" y="1784280"/>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86" name="Google Shape;1748;p18">
                <a:extLst>
                  <a:ext uri="{FF2B5EF4-FFF2-40B4-BE49-F238E27FC236}">
                    <a16:creationId xmlns:a16="http://schemas.microsoft.com/office/drawing/2014/main" id="{727FD17F-A1AE-45C8-9639-54CEDD41FA24}"/>
                  </a:ext>
                </a:extLst>
              </p:cNvPr>
              <p:cNvSpPr/>
              <p:nvPr/>
            </p:nvSpPr>
            <p:spPr>
              <a:xfrm>
                <a:off x="3484940" y="1728642"/>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87" name="Google Shape;1749;p18">
                <a:extLst>
                  <a:ext uri="{FF2B5EF4-FFF2-40B4-BE49-F238E27FC236}">
                    <a16:creationId xmlns:a16="http://schemas.microsoft.com/office/drawing/2014/main" id="{1673C1F8-E28B-4D6D-A2FC-C87EA43127D8}"/>
                  </a:ext>
                </a:extLst>
              </p:cNvPr>
              <p:cNvSpPr/>
              <p:nvPr/>
            </p:nvSpPr>
            <p:spPr>
              <a:xfrm>
                <a:off x="3419275" y="1794596"/>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88" name="Google Shape;1750;p18">
                <a:extLst>
                  <a:ext uri="{FF2B5EF4-FFF2-40B4-BE49-F238E27FC236}">
                    <a16:creationId xmlns:a16="http://schemas.microsoft.com/office/drawing/2014/main" id="{77373C63-9E1A-45E9-9D6E-2E48D4287594}"/>
                  </a:ext>
                </a:extLst>
              </p:cNvPr>
              <p:cNvSpPr/>
              <p:nvPr/>
            </p:nvSpPr>
            <p:spPr>
              <a:xfrm>
                <a:off x="3503988" y="175526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89" name="Google Shape;1751;p18">
                <a:extLst>
                  <a:ext uri="{FF2B5EF4-FFF2-40B4-BE49-F238E27FC236}">
                    <a16:creationId xmlns:a16="http://schemas.microsoft.com/office/drawing/2014/main" id="{92FF47AE-F585-410D-A938-81DD2989A855}"/>
                  </a:ext>
                </a:extLst>
              </p:cNvPr>
              <p:cNvSpPr/>
              <p:nvPr/>
            </p:nvSpPr>
            <p:spPr>
              <a:xfrm>
                <a:off x="3438415" y="182121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90" name="Google Shape;1752;p18">
                <a:extLst>
                  <a:ext uri="{FF2B5EF4-FFF2-40B4-BE49-F238E27FC236}">
                    <a16:creationId xmlns:a16="http://schemas.microsoft.com/office/drawing/2014/main" id="{73D2FE73-7072-4A5B-B356-D354132C33A4}"/>
                  </a:ext>
                </a:extLst>
              </p:cNvPr>
              <p:cNvSpPr/>
              <p:nvPr/>
            </p:nvSpPr>
            <p:spPr>
              <a:xfrm>
                <a:off x="3494189" y="173794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91" name="Google Shape;1753;p18">
                <a:extLst>
                  <a:ext uri="{FF2B5EF4-FFF2-40B4-BE49-F238E27FC236}">
                    <a16:creationId xmlns:a16="http://schemas.microsoft.com/office/drawing/2014/main" id="{B13B9E14-63BC-4AC6-8FFE-A45AA74F6BD3}"/>
                  </a:ext>
                </a:extLst>
              </p:cNvPr>
              <p:cNvSpPr/>
              <p:nvPr/>
            </p:nvSpPr>
            <p:spPr>
              <a:xfrm>
                <a:off x="3428616" y="180399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92" name="Google Shape;1754;p18">
                <a:extLst>
                  <a:ext uri="{FF2B5EF4-FFF2-40B4-BE49-F238E27FC236}">
                    <a16:creationId xmlns:a16="http://schemas.microsoft.com/office/drawing/2014/main" id="{01FFAC64-B2CA-4D91-BBD7-C83E610741DF}"/>
                  </a:ext>
                </a:extLst>
              </p:cNvPr>
              <p:cNvSpPr/>
              <p:nvPr/>
            </p:nvSpPr>
            <p:spPr>
              <a:xfrm>
                <a:off x="3585772" y="1800215"/>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93" name="Google Shape;1755;p18">
                <a:extLst>
                  <a:ext uri="{FF2B5EF4-FFF2-40B4-BE49-F238E27FC236}">
                    <a16:creationId xmlns:a16="http://schemas.microsoft.com/office/drawing/2014/main" id="{3A6C77FD-383F-4248-9E56-7540B934CE6D}"/>
                  </a:ext>
                </a:extLst>
              </p:cNvPr>
              <p:cNvSpPr/>
              <p:nvPr/>
            </p:nvSpPr>
            <p:spPr>
              <a:xfrm>
                <a:off x="3520199" y="186626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94" name="Google Shape;1756;p18">
                <a:extLst>
                  <a:ext uri="{FF2B5EF4-FFF2-40B4-BE49-F238E27FC236}">
                    <a16:creationId xmlns:a16="http://schemas.microsoft.com/office/drawing/2014/main" id="{83B3445B-1E23-4863-91ED-F879AA95D111}"/>
                  </a:ext>
                </a:extLst>
              </p:cNvPr>
              <p:cNvSpPr/>
              <p:nvPr/>
            </p:nvSpPr>
            <p:spPr>
              <a:xfrm>
                <a:off x="3616177" y="183669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95" name="Google Shape;1757;p18">
                <a:extLst>
                  <a:ext uri="{FF2B5EF4-FFF2-40B4-BE49-F238E27FC236}">
                    <a16:creationId xmlns:a16="http://schemas.microsoft.com/office/drawing/2014/main" id="{11CFF702-ACDA-4CEB-A165-A50C1F66F34A}"/>
                  </a:ext>
                </a:extLst>
              </p:cNvPr>
              <p:cNvSpPr/>
              <p:nvPr/>
            </p:nvSpPr>
            <p:spPr>
              <a:xfrm>
                <a:off x="3550604" y="190264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96" name="Google Shape;1758;p18">
                <a:extLst>
                  <a:ext uri="{FF2B5EF4-FFF2-40B4-BE49-F238E27FC236}">
                    <a16:creationId xmlns:a16="http://schemas.microsoft.com/office/drawing/2014/main" id="{17088652-BC12-48AC-BE0E-3E4A4B4722E2}"/>
                  </a:ext>
                </a:extLst>
              </p:cNvPr>
              <p:cNvSpPr/>
              <p:nvPr/>
            </p:nvSpPr>
            <p:spPr>
              <a:xfrm>
                <a:off x="3640263" y="185511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97" name="Google Shape;1759;p18">
                <a:extLst>
                  <a:ext uri="{FF2B5EF4-FFF2-40B4-BE49-F238E27FC236}">
                    <a16:creationId xmlns:a16="http://schemas.microsoft.com/office/drawing/2014/main" id="{D37265BC-BE9D-46D9-8DF1-FB1B99538798}"/>
                  </a:ext>
                </a:extLst>
              </p:cNvPr>
              <p:cNvSpPr/>
              <p:nvPr/>
            </p:nvSpPr>
            <p:spPr>
              <a:xfrm>
                <a:off x="3574599" y="192107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98" name="Google Shape;1760;p18">
                <a:extLst>
                  <a:ext uri="{FF2B5EF4-FFF2-40B4-BE49-F238E27FC236}">
                    <a16:creationId xmlns:a16="http://schemas.microsoft.com/office/drawing/2014/main" id="{C4F0ED76-CE59-4BA2-AE3A-272AC03CD115}"/>
                  </a:ext>
                </a:extLst>
              </p:cNvPr>
              <p:cNvSpPr/>
              <p:nvPr/>
            </p:nvSpPr>
            <p:spPr>
              <a:xfrm>
                <a:off x="3648780" y="1866262"/>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699" name="Google Shape;1761;p18">
                <a:extLst>
                  <a:ext uri="{FF2B5EF4-FFF2-40B4-BE49-F238E27FC236}">
                    <a16:creationId xmlns:a16="http://schemas.microsoft.com/office/drawing/2014/main" id="{2F4A66C2-5520-4CD6-8818-B5CE9B9A8DEB}"/>
                  </a:ext>
                </a:extLst>
              </p:cNvPr>
              <p:cNvSpPr/>
              <p:nvPr/>
            </p:nvSpPr>
            <p:spPr>
              <a:xfrm>
                <a:off x="3583115" y="1932308"/>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00" name="Google Shape;1762;p18">
                <a:extLst>
                  <a:ext uri="{FF2B5EF4-FFF2-40B4-BE49-F238E27FC236}">
                    <a16:creationId xmlns:a16="http://schemas.microsoft.com/office/drawing/2014/main" id="{FCE59141-24C0-4782-AD2D-1585D3BFDC20}"/>
                  </a:ext>
                </a:extLst>
              </p:cNvPr>
              <p:cNvSpPr/>
              <p:nvPr/>
            </p:nvSpPr>
            <p:spPr>
              <a:xfrm>
                <a:off x="3663799" y="1882013"/>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01" name="Google Shape;1763;p18">
                <a:extLst>
                  <a:ext uri="{FF2B5EF4-FFF2-40B4-BE49-F238E27FC236}">
                    <a16:creationId xmlns:a16="http://schemas.microsoft.com/office/drawing/2014/main" id="{47F3010D-0BB9-47F4-AB95-44E85970144F}"/>
                  </a:ext>
                </a:extLst>
              </p:cNvPr>
              <p:cNvSpPr/>
              <p:nvPr/>
            </p:nvSpPr>
            <p:spPr>
              <a:xfrm>
                <a:off x="3598135" y="1948059"/>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02" name="Google Shape;1764;p18">
                <a:extLst>
                  <a:ext uri="{FF2B5EF4-FFF2-40B4-BE49-F238E27FC236}">
                    <a16:creationId xmlns:a16="http://schemas.microsoft.com/office/drawing/2014/main" id="{D8B49FFD-4686-4F39-BD29-E6125ED7242E}"/>
                  </a:ext>
                </a:extLst>
              </p:cNvPr>
              <p:cNvSpPr/>
              <p:nvPr/>
            </p:nvSpPr>
            <p:spPr>
              <a:xfrm>
                <a:off x="3734317" y="1933505"/>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03" name="Google Shape;1765;p18">
                <a:extLst>
                  <a:ext uri="{FF2B5EF4-FFF2-40B4-BE49-F238E27FC236}">
                    <a16:creationId xmlns:a16="http://schemas.microsoft.com/office/drawing/2014/main" id="{1B028D40-FA5A-47C2-AE7C-1BF4A7F22967}"/>
                  </a:ext>
                </a:extLst>
              </p:cNvPr>
              <p:cNvSpPr/>
              <p:nvPr/>
            </p:nvSpPr>
            <p:spPr>
              <a:xfrm>
                <a:off x="3668745" y="1999551"/>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04" name="Google Shape;1766;p18">
                <a:extLst>
                  <a:ext uri="{FF2B5EF4-FFF2-40B4-BE49-F238E27FC236}">
                    <a16:creationId xmlns:a16="http://schemas.microsoft.com/office/drawing/2014/main" id="{E057DF1B-7CE1-46AA-B6D4-6347DC576D16}"/>
                  </a:ext>
                </a:extLst>
              </p:cNvPr>
              <p:cNvSpPr/>
              <p:nvPr/>
            </p:nvSpPr>
            <p:spPr>
              <a:xfrm>
                <a:off x="3739812" y="192493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05" name="Google Shape;1767;p18">
                <a:extLst>
                  <a:ext uri="{FF2B5EF4-FFF2-40B4-BE49-F238E27FC236}">
                    <a16:creationId xmlns:a16="http://schemas.microsoft.com/office/drawing/2014/main" id="{C9F9B64E-1A28-43D4-A82F-A455DC3133D5}"/>
                  </a:ext>
                </a:extLst>
              </p:cNvPr>
              <p:cNvSpPr/>
              <p:nvPr/>
            </p:nvSpPr>
            <p:spPr>
              <a:xfrm>
                <a:off x="3674240" y="199098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06" name="Google Shape;1768;p18">
                <a:extLst>
                  <a:ext uri="{FF2B5EF4-FFF2-40B4-BE49-F238E27FC236}">
                    <a16:creationId xmlns:a16="http://schemas.microsoft.com/office/drawing/2014/main" id="{097627A9-5A10-425E-B3BC-CAFEF419718E}"/>
                  </a:ext>
                </a:extLst>
              </p:cNvPr>
              <p:cNvSpPr/>
              <p:nvPr/>
            </p:nvSpPr>
            <p:spPr>
              <a:xfrm>
                <a:off x="3708766" y="193028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07" name="Google Shape;1769;p18">
                <a:extLst>
                  <a:ext uri="{FF2B5EF4-FFF2-40B4-BE49-F238E27FC236}">
                    <a16:creationId xmlns:a16="http://schemas.microsoft.com/office/drawing/2014/main" id="{F4ADA82C-8815-4451-B1E4-B1753DA494AA}"/>
                  </a:ext>
                </a:extLst>
              </p:cNvPr>
              <p:cNvSpPr/>
              <p:nvPr/>
            </p:nvSpPr>
            <p:spPr>
              <a:xfrm>
                <a:off x="3643102" y="199632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08" name="Google Shape;1770;p18">
                <a:extLst>
                  <a:ext uri="{FF2B5EF4-FFF2-40B4-BE49-F238E27FC236}">
                    <a16:creationId xmlns:a16="http://schemas.microsoft.com/office/drawing/2014/main" id="{77038DD5-0631-4E69-B718-EF0CEAF5FD67}"/>
                  </a:ext>
                </a:extLst>
              </p:cNvPr>
              <p:cNvSpPr/>
              <p:nvPr/>
            </p:nvSpPr>
            <p:spPr>
              <a:xfrm>
                <a:off x="3756755" y="1980207"/>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09" name="Google Shape;1771;p18">
                <a:extLst>
                  <a:ext uri="{FF2B5EF4-FFF2-40B4-BE49-F238E27FC236}">
                    <a16:creationId xmlns:a16="http://schemas.microsoft.com/office/drawing/2014/main" id="{754E63E5-C6D8-4E67-BA9D-54EF93405DD4}"/>
                  </a:ext>
                </a:extLst>
              </p:cNvPr>
              <p:cNvSpPr/>
              <p:nvPr/>
            </p:nvSpPr>
            <p:spPr>
              <a:xfrm>
                <a:off x="3691091" y="204625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10" name="Google Shape;1772;p18">
                <a:extLst>
                  <a:ext uri="{FF2B5EF4-FFF2-40B4-BE49-F238E27FC236}">
                    <a16:creationId xmlns:a16="http://schemas.microsoft.com/office/drawing/2014/main" id="{5BC9621D-2AB5-43FD-8DD2-E20AD91A28EA}"/>
                  </a:ext>
                </a:extLst>
              </p:cNvPr>
              <p:cNvSpPr/>
              <p:nvPr/>
            </p:nvSpPr>
            <p:spPr>
              <a:xfrm>
                <a:off x="3756755" y="1959850"/>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11" name="Google Shape;1773;p18">
                <a:extLst>
                  <a:ext uri="{FF2B5EF4-FFF2-40B4-BE49-F238E27FC236}">
                    <a16:creationId xmlns:a16="http://schemas.microsoft.com/office/drawing/2014/main" id="{86B6BF69-540D-4E27-BCF9-11768FC51281}"/>
                  </a:ext>
                </a:extLst>
              </p:cNvPr>
              <p:cNvSpPr/>
              <p:nvPr/>
            </p:nvSpPr>
            <p:spPr>
              <a:xfrm>
                <a:off x="3691091" y="2025896"/>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12" name="Google Shape;1774;p18">
                <a:extLst>
                  <a:ext uri="{FF2B5EF4-FFF2-40B4-BE49-F238E27FC236}">
                    <a16:creationId xmlns:a16="http://schemas.microsoft.com/office/drawing/2014/main" id="{01B97177-731E-4387-9861-455AECAF21BB}"/>
                  </a:ext>
                </a:extLst>
              </p:cNvPr>
              <p:cNvSpPr/>
              <p:nvPr/>
            </p:nvSpPr>
            <p:spPr>
              <a:xfrm>
                <a:off x="3790366" y="200553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13" name="Google Shape;1775;p18">
                <a:extLst>
                  <a:ext uri="{FF2B5EF4-FFF2-40B4-BE49-F238E27FC236}">
                    <a16:creationId xmlns:a16="http://schemas.microsoft.com/office/drawing/2014/main" id="{02EDA231-4444-47F7-8D85-A454427CC661}"/>
                  </a:ext>
                </a:extLst>
              </p:cNvPr>
              <p:cNvSpPr/>
              <p:nvPr/>
            </p:nvSpPr>
            <p:spPr>
              <a:xfrm>
                <a:off x="3724701" y="207158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14" name="Google Shape;1776;p18">
                <a:extLst>
                  <a:ext uri="{FF2B5EF4-FFF2-40B4-BE49-F238E27FC236}">
                    <a16:creationId xmlns:a16="http://schemas.microsoft.com/office/drawing/2014/main" id="{36F5B4CE-98D1-4DBD-9FF7-958163ED8911}"/>
                  </a:ext>
                </a:extLst>
              </p:cNvPr>
              <p:cNvSpPr/>
              <p:nvPr/>
            </p:nvSpPr>
            <p:spPr>
              <a:xfrm>
                <a:off x="3855939" y="2059610"/>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15" name="Google Shape;1777;p18">
                <a:extLst>
                  <a:ext uri="{FF2B5EF4-FFF2-40B4-BE49-F238E27FC236}">
                    <a16:creationId xmlns:a16="http://schemas.microsoft.com/office/drawing/2014/main" id="{CC9F32BB-CE44-407C-9E6A-5AB02254ECF7}"/>
                  </a:ext>
                </a:extLst>
              </p:cNvPr>
              <p:cNvSpPr/>
              <p:nvPr/>
            </p:nvSpPr>
            <p:spPr>
              <a:xfrm>
                <a:off x="3790366" y="2125656"/>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16" name="Google Shape;1778;p18">
                <a:extLst>
                  <a:ext uri="{FF2B5EF4-FFF2-40B4-BE49-F238E27FC236}">
                    <a16:creationId xmlns:a16="http://schemas.microsoft.com/office/drawing/2014/main" id="{7E9BF4A5-83F1-4899-8C75-D6AD49574E20}"/>
                  </a:ext>
                </a:extLst>
              </p:cNvPr>
              <p:cNvSpPr/>
              <p:nvPr/>
            </p:nvSpPr>
            <p:spPr>
              <a:xfrm>
                <a:off x="3893213" y="210760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17" name="Google Shape;1779;p18">
                <a:extLst>
                  <a:ext uri="{FF2B5EF4-FFF2-40B4-BE49-F238E27FC236}">
                    <a16:creationId xmlns:a16="http://schemas.microsoft.com/office/drawing/2014/main" id="{EAE47049-0597-4060-80BD-1531AF0493C3}"/>
                  </a:ext>
                </a:extLst>
              </p:cNvPr>
              <p:cNvSpPr/>
              <p:nvPr/>
            </p:nvSpPr>
            <p:spPr>
              <a:xfrm>
                <a:off x="3827640" y="217364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18" name="Google Shape;1780;p18">
                <a:extLst>
                  <a:ext uri="{FF2B5EF4-FFF2-40B4-BE49-F238E27FC236}">
                    <a16:creationId xmlns:a16="http://schemas.microsoft.com/office/drawing/2014/main" id="{B94D0E66-BD38-41D9-B5FC-0BCC4DD58BB4}"/>
                  </a:ext>
                </a:extLst>
              </p:cNvPr>
              <p:cNvSpPr/>
              <p:nvPr/>
            </p:nvSpPr>
            <p:spPr>
              <a:xfrm>
                <a:off x="3902555" y="210760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19" name="Google Shape;1781;p18">
                <a:extLst>
                  <a:ext uri="{FF2B5EF4-FFF2-40B4-BE49-F238E27FC236}">
                    <a16:creationId xmlns:a16="http://schemas.microsoft.com/office/drawing/2014/main" id="{C2691B23-CED7-4754-86C2-0E97C1CD9853}"/>
                  </a:ext>
                </a:extLst>
              </p:cNvPr>
              <p:cNvSpPr/>
              <p:nvPr/>
            </p:nvSpPr>
            <p:spPr>
              <a:xfrm>
                <a:off x="3836890" y="217364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20" name="Google Shape;1782;p18">
                <a:extLst>
                  <a:ext uri="{FF2B5EF4-FFF2-40B4-BE49-F238E27FC236}">
                    <a16:creationId xmlns:a16="http://schemas.microsoft.com/office/drawing/2014/main" id="{089931C9-D2BF-412D-861F-30656E06542C}"/>
                  </a:ext>
                </a:extLst>
              </p:cNvPr>
              <p:cNvSpPr/>
              <p:nvPr/>
            </p:nvSpPr>
            <p:spPr>
              <a:xfrm>
                <a:off x="3926641" y="2144447"/>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21" name="Google Shape;1783;p18">
                <a:extLst>
                  <a:ext uri="{FF2B5EF4-FFF2-40B4-BE49-F238E27FC236}">
                    <a16:creationId xmlns:a16="http://schemas.microsoft.com/office/drawing/2014/main" id="{9FA22079-61C8-4A39-9A53-62701F48ABE6}"/>
                  </a:ext>
                </a:extLst>
              </p:cNvPr>
              <p:cNvSpPr/>
              <p:nvPr/>
            </p:nvSpPr>
            <p:spPr>
              <a:xfrm>
                <a:off x="3861068" y="2210494"/>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22" name="Google Shape;1784;p18">
                <a:extLst>
                  <a:ext uri="{FF2B5EF4-FFF2-40B4-BE49-F238E27FC236}">
                    <a16:creationId xmlns:a16="http://schemas.microsoft.com/office/drawing/2014/main" id="{2F93F291-898D-456E-941B-C6CCDC89FE96}"/>
                  </a:ext>
                </a:extLst>
              </p:cNvPr>
              <p:cNvSpPr/>
              <p:nvPr/>
            </p:nvSpPr>
            <p:spPr>
              <a:xfrm>
                <a:off x="3935432" y="215061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23" name="Google Shape;1785;p18">
                <a:extLst>
                  <a:ext uri="{FF2B5EF4-FFF2-40B4-BE49-F238E27FC236}">
                    <a16:creationId xmlns:a16="http://schemas.microsoft.com/office/drawing/2014/main" id="{33D520F9-5B5A-4818-9ABA-4C44D0170D91}"/>
                  </a:ext>
                </a:extLst>
              </p:cNvPr>
              <p:cNvSpPr/>
              <p:nvPr/>
            </p:nvSpPr>
            <p:spPr>
              <a:xfrm>
                <a:off x="3869768" y="221666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24" name="Google Shape;1786;p18">
                <a:extLst>
                  <a:ext uri="{FF2B5EF4-FFF2-40B4-BE49-F238E27FC236}">
                    <a16:creationId xmlns:a16="http://schemas.microsoft.com/office/drawing/2014/main" id="{11E6E9F9-C707-4ED0-911C-09B77A42A24E}"/>
                  </a:ext>
                </a:extLst>
              </p:cNvPr>
              <p:cNvSpPr/>
              <p:nvPr/>
            </p:nvSpPr>
            <p:spPr>
              <a:xfrm>
                <a:off x="3958877" y="217825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25" name="Google Shape;1787;p18">
                <a:extLst>
                  <a:ext uri="{FF2B5EF4-FFF2-40B4-BE49-F238E27FC236}">
                    <a16:creationId xmlns:a16="http://schemas.microsoft.com/office/drawing/2014/main" id="{2452A114-4784-4475-8D6F-0E6ACD33D236}"/>
                  </a:ext>
                </a:extLst>
              </p:cNvPr>
              <p:cNvSpPr/>
              <p:nvPr/>
            </p:nvSpPr>
            <p:spPr>
              <a:xfrm>
                <a:off x="3893213" y="2244300"/>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26" name="Google Shape;1788;p18">
                <a:extLst>
                  <a:ext uri="{FF2B5EF4-FFF2-40B4-BE49-F238E27FC236}">
                    <a16:creationId xmlns:a16="http://schemas.microsoft.com/office/drawing/2014/main" id="{A23D6C7B-12EE-47C1-908A-2B3BCCA2FDBF}"/>
                  </a:ext>
                </a:extLst>
              </p:cNvPr>
              <p:cNvSpPr/>
              <p:nvPr/>
            </p:nvSpPr>
            <p:spPr>
              <a:xfrm>
                <a:off x="3968127" y="218442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27" name="Google Shape;1789;p18">
                <a:extLst>
                  <a:ext uri="{FF2B5EF4-FFF2-40B4-BE49-F238E27FC236}">
                    <a16:creationId xmlns:a16="http://schemas.microsoft.com/office/drawing/2014/main" id="{2BF5F7BF-053C-46D2-B626-D96AE8FB9E0E}"/>
                  </a:ext>
                </a:extLst>
              </p:cNvPr>
              <p:cNvSpPr/>
              <p:nvPr/>
            </p:nvSpPr>
            <p:spPr>
              <a:xfrm>
                <a:off x="3902555" y="225037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28" name="Google Shape;1790;p18">
                <a:extLst>
                  <a:ext uri="{FF2B5EF4-FFF2-40B4-BE49-F238E27FC236}">
                    <a16:creationId xmlns:a16="http://schemas.microsoft.com/office/drawing/2014/main" id="{ED7728BE-561E-4CA8-8ECA-E4DA7AE1343A}"/>
                  </a:ext>
                </a:extLst>
              </p:cNvPr>
              <p:cNvSpPr/>
              <p:nvPr/>
            </p:nvSpPr>
            <p:spPr>
              <a:xfrm>
                <a:off x="3974538" y="219437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29" name="Google Shape;1791;p18">
                <a:extLst>
                  <a:ext uri="{FF2B5EF4-FFF2-40B4-BE49-F238E27FC236}">
                    <a16:creationId xmlns:a16="http://schemas.microsoft.com/office/drawing/2014/main" id="{DA47FE3A-3F1C-4DE1-97C3-597BAF5D6A7C}"/>
                  </a:ext>
                </a:extLst>
              </p:cNvPr>
              <p:cNvSpPr/>
              <p:nvPr/>
            </p:nvSpPr>
            <p:spPr>
              <a:xfrm>
                <a:off x="3908874" y="226042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30" name="Google Shape;1792;p18">
                <a:extLst>
                  <a:ext uri="{FF2B5EF4-FFF2-40B4-BE49-F238E27FC236}">
                    <a16:creationId xmlns:a16="http://schemas.microsoft.com/office/drawing/2014/main" id="{C3685E88-2181-4F6D-82E6-F700DDE8182C}"/>
                  </a:ext>
                </a:extLst>
              </p:cNvPr>
              <p:cNvSpPr/>
              <p:nvPr/>
            </p:nvSpPr>
            <p:spPr>
              <a:xfrm>
                <a:off x="3979118" y="2194742"/>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31" name="Google Shape;1793;p18">
                <a:extLst>
                  <a:ext uri="{FF2B5EF4-FFF2-40B4-BE49-F238E27FC236}">
                    <a16:creationId xmlns:a16="http://schemas.microsoft.com/office/drawing/2014/main" id="{568C28AF-DCE9-4C7E-AD22-E795DBA46699}"/>
                  </a:ext>
                </a:extLst>
              </p:cNvPr>
              <p:cNvSpPr/>
              <p:nvPr/>
            </p:nvSpPr>
            <p:spPr>
              <a:xfrm>
                <a:off x="3913452" y="226078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32" name="Google Shape;1794;p18">
                <a:extLst>
                  <a:ext uri="{FF2B5EF4-FFF2-40B4-BE49-F238E27FC236}">
                    <a16:creationId xmlns:a16="http://schemas.microsoft.com/office/drawing/2014/main" id="{3E9136A5-5CE7-485B-934D-D19B6AC20FF8}"/>
                  </a:ext>
                </a:extLst>
              </p:cNvPr>
              <p:cNvSpPr/>
              <p:nvPr/>
            </p:nvSpPr>
            <p:spPr>
              <a:xfrm>
                <a:off x="4015201" y="2223758"/>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33" name="Google Shape;1795;p18">
                <a:extLst>
                  <a:ext uri="{FF2B5EF4-FFF2-40B4-BE49-F238E27FC236}">
                    <a16:creationId xmlns:a16="http://schemas.microsoft.com/office/drawing/2014/main" id="{7912A621-6599-4289-BCC8-A8CF8ACF6FFA}"/>
                  </a:ext>
                </a:extLst>
              </p:cNvPr>
              <p:cNvSpPr/>
              <p:nvPr/>
            </p:nvSpPr>
            <p:spPr>
              <a:xfrm>
                <a:off x="3949536" y="2289804"/>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34" name="Google Shape;1796;p18">
                <a:extLst>
                  <a:ext uri="{FF2B5EF4-FFF2-40B4-BE49-F238E27FC236}">
                    <a16:creationId xmlns:a16="http://schemas.microsoft.com/office/drawing/2014/main" id="{10058348-06C6-4F26-B918-52C2FF443C02}"/>
                  </a:ext>
                </a:extLst>
              </p:cNvPr>
              <p:cNvSpPr/>
              <p:nvPr/>
            </p:nvSpPr>
            <p:spPr>
              <a:xfrm>
                <a:off x="4024542" y="223269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35" name="Google Shape;1797;p18">
                <a:extLst>
                  <a:ext uri="{FF2B5EF4-FFF2-40B4-BE49-F238E27FC236}">
                    <a16:creationId xmlns:a16="http://schemas.microsoft.com/office/drawing/2014/main" id="{BC81C99D-FFBD-4AEA-9E9B-C93C6F8CBA42}"/>
                  </a:ext>
                </a:extLst>
              </p:cNvPr>
              <p:cNvSpPr/>
              <p:nvPr/>
            </p:nvSpPr>
            <p:spPr>
              <a:xfrm>
                <a:off x="3958877" y="229873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36" name="Google Shape;1798;p18">
                <a:extLst>
                  <a:ext uri="{FF2B5EF4-FFF2-40B4-BE49-F238E27FC236}">
                    <a16:creationId xmlns:a16="http://schemas.microsoft.com/office/drawing/2014/main" id="{C660B28E-6145-4A4A-858E-95AE9D29CF81}"/>
                  </a:ext>
                </a:extLst>
              </p:cNvPr>
              <p:cNvSpPr/>
              <p:nvPr/>
            </p:nvSpPr>
            <p:spPr>
              <a:xfrm>
                <a:off x="4033792" y="2244300"/>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37" name="Google Shape;1799;p18">
                <a:extLst>
                  <a:ext uri="{FF2B5EF4-FFF2-40B4-BE49-F238E27FC236}">
                    <a16:creationId xmlns:a16="http://schemas.microsoft.com/office/drawing/2014/main" id="{A25CA346-EEF7-414C-93F6-01FF071427F1}"/>
                  </a:ext>
                </a:extLst>
              </p:cNvPr>
              <p:cNvSpPr/>
              <p:nvPr/>
            </p:nvSpPr>
            <p:spPr>
              <a:xfrm>
                <a:off x="3968127" y="2310254"/>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38" name="Google Shape;1800;p18">
                <a:extLst>
                  <a:ext uri="{FF2B5EF4-FFF2-40B4-BE49-F238E27FC236}">
                    <a16:creationId xmlns:a16="http://schemas.microsoft.com/office/drawing/2014/main" id="{6E7F6388-7095-401B-BBDA-CD248318B68D}"/>
                  </a:ext>
                </a:extLst>
              </p:cNvPr>
              <p:cNvSpPr/>
              <p:nvPr/>
            </p:nvSpPr>
            <p:spPr>
              <a:xfrm>
                <a:off x="4044690" y="2257656"/>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39" name="Google Shape;1801;p18">
                <a:extLst>
                  <a:ext uri="{FF2B5EF4-FFF2-40B4-BE49-F238E27FC236}">
                    <a16:creationId xmlns:a16="http://schemas.microsoft.com/office/drawing/2014/main" id="{0FD609E0-4B30-4987-91E8-77C114BF6D48}"/>
                  </a:ext>
                </a:extLst>
              </p:cNvPr>
              <p:cNvSpPr/>
              <p:nvPr/>
            </p:nvSpPr>
            <p:spPr>
              <a:xfrm>
                <a:off x="3979118" y="232370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40" name="Google Shape;1802;p18">
                <a:extLst>
                  <a:ext uri="{FF2B5EF4-FFF2-40B4-BE49-F238E27FC236}">
                    <a16:creationId xmlns:a16="http://schemas.microsoft.com/office/drawing/2014/main" id="{E141125C-9E96-4DD0-B1ED-11A70F64E5BE}"/>
                  </a:ext>
                </a:extLst>
              </p:cNvPr>
              <p:cNvSpPr/>
              <p:nvPr/>
            </p:nvSpPr>
            <p:spPr>
              <a:xfrm>
                <a:off x="4050826" y="2264565"/>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41" name="Google Shape;1803;p18">
                <a:extLst>
                  <a:ext uri="{FF2B5EF4-FFF2-40B4-BE49-F238E27FC236}">
                    <a16:creationId xmlns:a16="http://schemas.microsoft.com/office/drawing/2014/main" id="{CA0BE687-0ED9-4E6F-AF87-B5163CE7A5D8}"/>
                  </a:ext>
                </a:extLst>
              </p:cNvPr>
              <p:cNvSpPr/>
              <p:nvPr/>
            </p:nvSpPr>
            <p:spPr>
              <a:xfrm>
                <a:off x="3985161" y="2330611"/>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42" name="Google Shape;1804;p18">
                <a:extLst>
                  <a:ext uri="{FF2B5EF4-FFF2-40B4-BE49-F238E27FC236}">
                    <a16:creationId xmlns:a16="http://schemas.microsoft.com/office/drawing/2014/main" id="{24E441B0-A61A-48DD-A580-E166EA8C3B9A}"/>
                  </a:ext>
                </a:extLst>
              </p:cNvPr>
              <p:cNvSpPr/>
              <p:nvPr/>
            </p:nvSpPr>
            <p:spPr>
              <a:xfrm>
                <a:off x="4060992" y="2276540"/>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43" name="Google Shape;1805;p18">
                <a:extLst>
                  <a:ext uri="{FF2B5EF4-FFF2-40B4-BE49-F238E27FC236}">
                    <a16:creationId xmlns:a16="http://schemas.microsoft.com/office/drawing/2014/main" id="{DF853E25-DDEF-467A-82C2-972AEB596F7F}"/>
                  </a:ext>
                </a:extLst>
              </p:cNvPr>
              <p:cNvSpPr/>
              <p:nvPr/>
            </p:nvSpPr>
            <p:spPr>
              <a:xfrm>
                <a:off x="3995327" y="2342494"/>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44" name="Google Shape;1806;p18">
                <a:extLst>
                  <a:ext uri="{FF2B5EF4-FFF2-40B4-BE49-F238E27FC236}">
                    <a16:creationId xmlns:a16="http://schemas.microsoft.com/office/drawing/2014/main" id="{7EA06674-EF38-4424-9FB0-9C69EE1F8D8F}"/>
                  </a:ext>
                </a:extLst>
              </p:cNvPr>
              <p:cNvSpPr/>
              <p:nvPr/>
            </p:nvSpPr>
            <p:spPr>
              <a:xfrm>
                <a:off x="4071432" y="2285751"/>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45" name="Google Shape;1807;p18">
                <a:extLst>
                  <a:ext uri="{FF2B5EF4-FFF2-40B4-BE49-F238E27FC236}">
                    <a16:creationId xmlns:a16="http://schemas.microsoft.com/office/drawing/2014/main" id="{6C6DED16-5653-485A-838A-58AB679384D5}"/>
                  </a:ext>
                </a:extLst>
              </p:cNvPr>
              <p:cNvSpPr/>
              <p:nvPr/>
            </p:nvSpPr>
            <p:spPr>
              <a:xfrm>
                <a:off x="4005768" y="2351705"/>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46" name="Google Shape;1808;p18">
                <a:extLst>
                  <a:ext uri="{FF2B5EF4-FFF2-40B4-BE49-F238E27FC236}">
                    <a16:creationId xmlns:a16="http://schemas.microsoft.com/office/drawing/2014/main" id="{EE18C308-A5CA-44E3-93E1-5B8A0AF0AB59}"/>
                  </a:ext>
                </a:extLst>
              </p:cNvPr>
              <p:cNvSpPr/>
              <p:nvPr/>
            </p:nvSpPr>
            <p:spPr>
              <a:xfrm>
                <a:off x="4080865" y="229394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47" name="Google Shape;1809;p18">
                <a:extLst>
                  <a:ext uri="{FF2B5EF4-FFF2-40B4-BE49-F238E27FC236}">
                    <a16:creationId xmlns:a16="http://schemas.microsoft.com/office/drawing/2014/main" id="{DA68933F-65A1-4C60-97C0-D27151981B6D}"/>
                  </a:ext>
                </a:extLst>
              </p:cNvPr>
              <p:cNvSpPr/>
              <p:nvPr/>
            </p:nvSpPr>
            <p:spPr>
              <a:xfrm>
                <a:off x="4015201" y="235990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48" name="Google Shape;1810;p18">
                <a:extLst>
                  <a:ext uri="{FF2B5EF4-FFF2-40B4-BE49-F238E27FC236}">
                    <a16:creationId xmlns:a16="http://schemas.microsoft.com/office/drawing/2014/main" id="{0312EC50-341A-4FA9-B36A-3F4E79AE31FE}"/>
                  </a:ext>
                </a:extLst>
              </p:cNvPr>
              <p:cNvSpPr/>
              <p:nvPr/>
            </p:nvSpPr>
            <p:spPr>
              <a:xfrm>
                <a:off x="4090114" y="230067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49" name="Google Shape;1811;p18">
                <a:extLst>
                  <a:ext uri="{FF2B5EF4-FFF2-40B4-BE49-F238E27FC236}">
                    <a16:creationId xmlns:a16="http://schemas.microsoft.com/office/drawing/2014/main" id="{6C227DD3-ED4A-49CE-8865-E0631F5E2E04}"/>
                  </a:ext>
                </a:extLst>
              </p:cNvPr>
              <p:cNvSpPr/>
              <p:nvPr/>
            </p:nvSpPr>
            <p:spPr>
              <a:xfrm>
                <a:off x="4024542" y="236672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50" name="Google Shape;1812;p18">
                <a:extLst>
                  <a:ext uri="{FF2B5EF4-FFF2-40B4-BE49-F238E27FC236}">
                    <a16:creationId xmlns:a16="http://schemas.microsoft.com/office/drawing/2014/main" id="{B914358F-0EB0-47FA-94D4-34B9B48D770D}"/>
                  </a:ext>
                </a:extLst>
              </p:cNvPr>
              <p:cNvSpPr/>
              <p:nvPr/>
            </p:nvSpPr>
            <p:spPr>
              <a:xfrm>
                <a:off x="4099456" y="2309056"/>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51" name="Google Shape;1813;p18">
                <a:extLst>
                  <a:ext uri="{FF2B5EF4-FFF2-40B4-BE49-F238E27FC236}">
                    <a16:creationId xmlns:a16="http://schemas.microsoft.com/office/drawing/2014/main" id="{61CBC3BA-68C5-48D2-8506-62BF0418F7A6}"/>
                  </a:ext>
                </a:extLst>
              </p:cNvPr>
              <p:cNvSpPr/>
              <p:nvPr/>
            </p:nvSpPr>
            <p:spPr>
              <a:xfrm>
                <a:off x="4033792" y="237510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52" name="Google Shape;1814;p18">
                <a:extLst>
                  <a:ext uri="{FF2B5EF4-FFF2-40B4-BE49-F238E27FC236}">
                    <a16:creationId xmlns:a16="http://schemas.microsoft.com/office/drawing/2014/main" id="{5496E40D-EBEA-4B9B-A3B5-AEB444DAAA37}"/>
                  </a:ext>
                </a:extLst>
              </p:cNvPr>
              <p:cNvSpPr/>
              <p:nvPr/>
            </p:nvSpPr>
            <p:spPr>
              <a:xfrm>
                <a:off x="4110355" y="2310254"/>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53" name="Google Shape;1815;p18">
                <a:extLst>
                  <a:ext uri="{FF2B5EF4-FFF2-40B4-BE49-F238E27FC236}">
                    <a16:creationId xmlns:a16="http://schemas.microsoft.com/office/drawing/2014/main" id="{DE8BA720-599B-40CF-AF59-7CBB298636A3}"/>
                  </a:ext>
                </a:extLst>
              </p:cNvPr>
              <p:cNvSpPr/>
              <p:nvPr/>
            </p:nvSpPr>
            <p:spPr>
              <a:xfrm>
                <a:off x="4044690" y="2376300"/>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54" name="Google Shape;1816;p18">
                <a:extLst>
                  <a:ext uri="{FF2B5EF4-FFF2-40B4-BE49-F238E27FC236}">
                    <a16:creationId xmlns:a16="http://schemas.microsoft.com/office/drawing/2014/main" id="{47FD3694-5AD3-4170-BE1E-EC27854192FB}"/>
                  </a:ext>
                </a:extLst>
              </p:cNvPr>
              <p:cNvSpPr/>
              <p:nvPr/>
            </p:nvSpPr>
            <p:spPr>
              <a:xfrm>
                <a:off x="4120062" y="2323702"/>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55" name="Google Shape;1817;p18">
                <a:extLst>
                  <a:ext uri="{FF2B5EF4-FFF2-40B4-BE49-F238E27FC236}">
                    <a16:creationId xmlns:a16="http://schemas.microsoft.com/office/drawing/2014/main" id="{E89324D1-3003-40D4-AB28-59B0D4695079}"/>
                  </a:ext>
                </a:extLst>
              </p:cNvPr>
              <p:cNvSpPr/>
              <p:nvPr/>
            </p:nvSpPr>
            <p:spPr>
              <a:xfrm>
                <a:off x="4054398" y="238974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56" name="Google Shape;1818;p18">
                <a:extLst>
                  <a:ext uri="{FF2B5EF4-FFF2-40B4-BE49-F238E27FC236}">
                    <a16:creationId xmlns:a16="http://schemas.microsoft.com/office/drawing/2014/main" id="{4165617A-3401-4A32-86C8-80019BCF6A69}"/>
                  </a:ext>
                </a:extLst>
              </p:cNvPr>
              <p:cNvSpPr/>
              <p:nvPr/>
            </p:nvSpPr>
            <p:spPr>
              <a:xfrm>
                <a:off x="4157336" y="2359903"/>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57" name="Google Shape;1819;p18">
                <a:extLst>
                  <a:ext uri="{FF2B5EF4-FFF2-40B4-BE49-F238E27FC236}">
                    <a16:creationId xmlns:a16="http://schemas.microsoft.com/office/drawing/2014/main" id="{A5E7CD42-E08B-4A85-B909-EE1EA7C9DD18}"/>
                  </a:ext>
                </a:extLst>
              </p:cNvPr>
              <p:cNvSpPr/>
              <p:nvPr/>
            </p:nvSpPr>
            <p:spPr>
              <a:xfrm>
                <a:off x="4091671" y="242594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58" name="Google Shape;1820;p18">
                <a:extLst>
                  <a:ext uri="{FF2B5EF4-FFF2-40B4-BE49-F238E27FC236}">
                    <a16:creationId xmlns:a16="http://schemas.microsoft.com/office/drawing/2014/main" id="{26E0A39A-F2E8-4F75-B3BD-C625D51A5D7F}"/>
                  </a:ext>
                </a:extLst>
              </p:cNvPr>
              <p:cNvSpPr/>
              <p:nvPr/>
            </p:nvSpPr>
            <p:spPr>
              <a:xfrm>
                <a:off x="4166403" y="2369115"/>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59" name="Google Shape;1821;p18">
                <a:extLst>
                  <a:ext uri="{FF2B5EF4-FFF2-40B4-BE49-F238E27FC236}">
                    <a16:creationId xmlns:a16="http://schemas.microsoft.com/office/drawing/2014/main" id="{792030C2-E19B-4DB0-A12E-1EC9FDBA6443}"/>
                  </a:ext>
                </a:extLst>
              </p:cNvPr>
              <p:cNvSpPr/>
              <p:nvPr/>
            </p:nvSpPr>
            <p:spPr>
              <a:xfrm>
                <a:off x="4100739" y="2435161"/>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60" name="Google Shape;1822;p18">
                <a:extLst>
                  <a:ext uri="{FF2B5EF4-FFF2-40B4-BE49-F238E27FC236}">
                    <a16:creationId xmlns:a16="http://schemas.microsoft.com/office/drawing/2014/main" id="{A3C2DC60-312A-4609-8864-22517D04C5E3}"/>
                  </a:ext>
                </a:extLst>
              </p:cNvPr>
              <p:cNvSpPr/>
              <p:nvPr/>
            </p:nvSpPr>
            <p:spPr>
              <a:xfrm>
                <a:off x="4222909" y="239665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61" name="Google Shape;1823;p18">
                <a:extLst>
                  <a:ext uri="{FF2B5EF4-FFF2-40B4-BE49-F238E27FC236}">
                    <a16:creationId xmlns:a16="http://schemas.microsoft.com/office/drawing/2014/main" id="{52DDE057-6015-4CF5-A092-5C288ACE1592}"/>
                  </a:ext>
                </a:extLst>
              </p:cNvPr>
              <p:cNvSpPr/>
              <p:nvPr/>
            </p:nvSpPr>
            <p:spPr>
              <a:xfrm>
                <a:off x="4157336" y="2462611"/>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62" name="Google Shape;1824;p18">
                <a:extLst>
                  <a:ext uri="{FF2B5EF4-FFF2-40B4-BE49-F238E27FC236}">
                    <a16:creationId xmlns:a16="http://schemas.microsoft.com/office/drawing/2014/main" id="{9CAD221E-DF33-424F-894B-913C3655A055}"/>
                  </a:ext>
                </a:extLst>
              </p:cNvPr>
              <p:cNvSpPr/>
              <p:nvPr/>
            </p:nvSpPr>
            <p:spPr>
              <a:xfrm>
                <a:off x="4212102" y="239665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63" name="Google Shape;1825;p18">
                <a:extLst>
                  <a:ext uri="{FF2B5EF4-FFF2-40B4-BE49-F238E27FC236}">
                    <a16:creationId xmlns:a16="http://schemas.microsoft.com/office/drawing/2014/main" id="{2079CC94-98FB-4815-84A2-F28DAD9C93C5}"/>
                  </a:ext>
                </a:extLst>
              </p:cNvPr>
              <p:cNvSpPr/>
              <p:nvPr/>
            </p:nvSpPr>
            <p:spPr>
              <a:xfrm>
                <a:off x="4146438" y="2462611"/>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64" name="Google Shape;1826;p18">
                <a:extLst>
                  <a:ext uri="{FF2B5EF4-FFF2-40B4-BE49-F238E27FC236}">
                    <a16:creationId xmlns:a16="http://schemas.microsoft.com/office/drawing/2014/main" id="{DF16C430-3DE9-4C96-A188-17E86F10C0B7}"/>
                  </a:ext>
                </a:extLst>
              </p:cNvPr>
              <p:cNvSpPr/>
              <p:nvPr/>
            </p:nvSpPr>
            <p:spPr>
              <a:xfrm>
                <a:off x="4216682" y="239665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65" name="Google Shape;1827;p18">
                <a:extLst>
                  <a:ext uri="{FF2B5EF4-FFF2-40B4-BE49-F238E27FC236}">
                    <a16:creationId xmlns:a16="http://schemas.microsoft.com/office/drawing/2014/main" id="{EADE8A5B-A673-4299-B33F-D1E2081EE546}"/>
                  </a:ext>
                </a:extLst>
              </p:cNvPr>
              <p:cNvSpPr/>
              <p:nvPr/>
            </p:nvSpPr>
            <p:spPr>
              <a:xfrm>
                <a:off x="4151016" y="2462611"/>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66" name="Google Shape;1828;p18">
                <a:extLst>
                  <a:ext uri="{FF2B5EF4-FFF2-40B4-BE49-F238E27FC236}">
                    <a16:creationId xmlns:a16="http://schemas.microsoft.com/office/drawing/2014/main" id="{46CED6BC-F627-4B71-9A7B-C6E6691FC318}"/>
                  </a:ext>
                </a:extLst>
              </p:cNvPr>
              <p:cNvSpPr/>
              <p:nvPr/>
            </p:nvSpPr>
            <p:spPr>
              <a:xfrm>
                <a:off x="4251300" y="2413330"/>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67" name="Google Shape;1829;p18">
                <a:extLst>
                  <a:ext uri="{FF2B5EF4-FFF2-40B4-BE49-F238E27FC236}">
                    <a16:creationId xmlns:a16="http://schemas.microsoft.com/office/drawing/2014/main" id="{CE92DCE9-15FD-4BA6-B422-088B72550757}"/>
                  </a:ext>
                </a:extLst>
              </p:cNvPr>
              <p:cNvSpPr/>
              <p:nvPr/>
            </p:nvSpPr>
            <p:spPr>
              <a:xfrm>
                <a:off x="4185635" y="2479376"/>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68" name="Google Shape;1830;p18">
                <a:extLst>
                  <a:ext uri="{FF2B5EF4-FFF2-40B4-BE49-F238E27FC236}">
                    <a16:creationId xmlns:a16="http://schemas.microsoft.com/office/drawing/2014/main" id="{E57D62AA-DD57-4966-8946-BCD33EFD5A12}"/>
                  </a:ext>
                </a:extLst>
              </p:cNvPr>
              <p:cNvSpPr/>
              <p:nvPr/>
            </p:nvSpPr>
            <p:spPr>
              <a:xfrm>
                <a:off x="4251300" y="2408540"/>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69" name="Google Shape;1831;p18">
                <a:extLst>
                  <a:ext uri="{FF2B5EF4-FFF2-40B4-BE49-F238E27FC236}">
                    <a16:creationId xmlns:a16="http://schemas.microsoft.com/office/drawing/2014/main" id="{E8C71859-9372-4469-9217-7251AFAA750C}"/>
                  </a:ext>
                </a:extLst>
              </p:cNvPr>
              <p:cNvSpPr/>
              <p:nvPr/>
            </p:nvSpPr>
            <p:spPr>
              <a:xfrm>
                <a:off x="4185635" y="2474586"/>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70" name="Google Shape;1832;p18">
                <a:extLst>
                  <a:ext uri="{FF2B5EF4-FFF2-40B4-BE49-F238E27FC236}">
                    <a16:creationId xmlns:a16="http://schemas.microsoft.com/office/drawing/2014/main" id="{D880A71D-4C69-4BE5-9327-3E07972716C6}"/>
                  </a:ext>
                </a:extLst>
              </p:cNvPr>
              <p:cNvSpPr/>
              <p:nvPr/>
            </p:nvSpPr>
            <p:spPr>
              <a:xfrm>
                <a:off x="4259908" y="2417751"/>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71" name="Google Shape;1833;p18">
                <a:extLst>
                  <a:ext uri="{FF2B5EF4-FFF2-40B4-BE49-F238E27FC236}">
                    <a16:creationId xmlns:a16="http://schemas.microsoft.com/office/drawing/2014/main" id="{5311B21B-FDEB-4E1E-941D-67197D0716FC}"/>
                  </a:ext>
                </a:extLst>
              </p:cNvPr>
              <p:cNvSpPr/>
              <p:nvPr/>
            </p:nvSpPr>
            <p:spPr>
              <a:xfrm>
                <a:off x="4194244" y="248379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72" name="Google Shape;1834;p18">
                <a:extLst>
                  <a:ext uri="{FF2B5EF4-FFF2-40B4-BE49-F238E27FC236}">
                    <a16:creationId xmlns:a16="http://schemas.microsoft.com/office/drawing/2014/main" id="{05DE5B56-C848-4060-98AB-E15FBFF8F02E}"/>
                  </a:ext>
                </a:extLst>
              </p:cNvPr>
              <p:cNvSpPr/>
              <p:nvPr/>
            </p:nvSpPr>
            <p:spPr>
              <a:xfrm>
                <a:off x="4267509" y="2417751"/>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73" name="Google Shape;1835;p18">
                <a:extLst>
                  <a:ext uri="{FF2B5EF4-FFF2-40B4-BE49-F238E27FC236}">
                    <a16:creationId xmlns:a16="http://schemas.microsoft.com/office/drawing/2014/main" id="{C7FC164C-8750-4FFE-A302-48A25AEECEB8}"/>
                  </a:ext>
                </a:extLst>
              </p:cNvPr>
              <p:cNvSpPr/>
              <p:nvPr/>
            </p:nvSpPr>
            <p:spPr>
              <a:xfrm>
                <a:off x="4201845" y="2483797"/>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74" name="Google Shape;1836;p18">
                <a:extLst>
                  <a:ext uri="{FF2B5EF4-FFF2-40B4-BE49-F238E27FC236}">
                    <a16:creationId xmlns:a16="http://schemas.microsoft.com/office/drawing/2014/main" id="{57EE2EB3-5D74-40D9-8272-D72FE24B3C85}"/>
                  </a:ext>
                </a:extLst>
              </p:cNvPr>
              <p:cNvSpPr/>
              <p:nvPr/>
            </p:nvSpPr>
            <p:spPr>
              <a:xfrm>
                <a:off x="4274103" y="2417751"/>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75" name="Google Shape;1837;p18">
                <a:extLst>
                  <a:ext uri="{FF2B5EF4-FFF2-40B4-BE49-F238E27FC236}">
                    <a16:creationId xmlns:a16="http://schemas.microsoft.com/office/drawing/2014/main" id="{26561F76-6CDE-4148-B91D-0D727E9BC075}"/>
                  </a:ext>
                </a:extLst>
              </p:cNvPr>
              <p:cNvSpPr/>
              <p:nvPr/>
            </p:nvSpPr>
            <p:spPr>
              <a:xfrm>
                <a:off x="4208439" y="248379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76" name="Google Shape;1838;p18">
                <a:extLst>
                  <a:ext uri="{FF2B5EF4-FFF2-40B4-BE49-F238E27FC236}">
                    <a16:creationId xmlns:a16="http://schemas.microsoft.com/office/drawing/2014/main" id="{A9CEC5B3-0AF1-4DC9-9705-33BB476FD766}"/>
                  </a:ext>
                </a:extLst>
              </p:cNvPr>
              <p:cNvSpPr/>
              <p:nvPr/>
            </p:nvSpPr>
            <p:spPr>
              <a:xfrm>
                <a:off x="4294068" y="2429910"/>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77" name="Google Shape;1839;p18">
                <a:extLst>
                  <a:ext uri="{FF2B5EF4-FFF2-40B4-BE49-F238E27FC236}">
                    <a16:creationId xmlns:a16="http://schemas.microsoft.com/office/drawing/2014/main" id="{0B252D12-7AF0-4446-B365-60B80AF8E7CA}"/>
                  </a:ext>
                </a:extLst>
              </p:cNvPr>
              <p:cNvSpPr/>
              <p:nvPr/>
            </p:nvSpPr>
            <p:spPr>
              <a:xfrm>
                <a:off x="4228404" y="2495956"/>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78" name="Google Shape;1840;p18">
                <a:extLst>
                  <a:ext uri="{FF2B5EF4-FFF2-40B4-BE49-F238E27FC236}">
                    <a16:creationId xmlns:a16="http://schemas.microsoft.com/office/drawing/2014/main" id="{BB454B46-9AEB-4D52-A8AF-A589BCD1B5BE}"/>
                  </a:ext>
                </a:extLst>
              </p:cNvPr>
              <p:cNvSpPr/>
              <p:nvPr/>
            </p:nvSpPr>
            <p:spPr>
              <a:xfrm>
                <a:off x="4329419" y="2447320"/>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79" name="Google Shape;1841;p18">
                <a:extLst>
                  <a:ext uri="{FF2B5EF4-FFF2-40B4-BE49-F238E27FC236}">
                    <a16:creationId xmlns:a16="http://schemas.microsoft.com/office/drawing/2014/main" id="{6BE17C4B-51D4-4547-B9DD-559E1B06C9B6}"/>
                  </a:ext>
                </a:extLst>
              </p:cNvPr>
              <p:cNvSpPr/>
              <p:nvPr/>
            </p:nvSpPr>
            <p:spPr>
              <a:xfrm>
                <a:off x="4263847" y="2513274"/>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80" name="Google Shape;1842;p18">
                <a:extLst>
                  <a:ext uri="{FF2B5EF4-FFF2-40B4-BE49-F238E27FC236}">
                    <a16:creationId xmlns:a16="http://schemas.microsoft.com/office/drawing/2014/main" id="{947F924E-BE89-4739-A5F2-5996B6A80995}"/>
                  </a:ext>
                </a:extLst>
              </p:cNvPr>
              <p:cNvSpPr/>
              <p:nvPr/>
            </p:nvSpPr>
            <p:spPr>
              <a:xfrm>
                <a:off x="4338394" y="246261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81" name="Google Shape;1843;p18">
                <a:extLst>
                  <a:ext uri="{FF2B5EF4-FFF2-40B4-BE49-F238E27FC236}">
                    <a16:creationId xmlns:a16="http://schemas.microsoft.com/office/drawing/2014/main" id="{7D63FB9C-C3FC-4FB8-9223-96458EAB9E28}"/>
                  </a:ext>
                </a:extLst>
              </p:cNvPr>
              <p:cNvSpPr/>
              <p:nvPr/>
            </p:nvSpPr>
            <p:spPr>
              <a:xfrm>
                <a:off x="4272730" y="252865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82" name="Google Shape;1844;p18">
                <a:extLst>
                  <a:ext uri="{FF2B5EF4-FFF2-40B4-BE49-F238E27FC236}">
                    <a16:creationId xmlns:a16="http://schemas.microsoft.com/office/drawing/2014/main" id="{3683043E-E728-493C-9854-5CEED4DFD3A3}"/>
                  </a:ext>
                </a:extLst>
              </p:cNvPr>
              <p:cNvSpPr/>
              <p:nvPr/>
            </p:nvSpPr>
            <p:spPr>
              <a:xfrm>
                <a:off x="4385192" y="248379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83" name="Google Shape;1845;p18">
                <a:extLst>
                  <a:ext uri="{FF2B5EF4-FFF2-40B4-BE49-F238E27FC236}">
                    <a16:creationId xmlns:a16="http://schemas.microsoft.com/office/drawing/2014/main" id="{4DC57C96-6EC7-4162-AA3D-EE57437B6E74}"/>
                  </a:ext>
                </a:extLst>
              </p:cNvPr>
              <p:cNvSpPr/>
              <p:nvPr/>
            </p:nvSpPr>
            <p:spPr>
              <a:xfrm>
                <a:off x="4319528" y="2549751"/>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84" name="Google Shape;1846;p18">
                <a:extLst>
                  <a:ext uri="{FF2B5EF4-FFF2-40B4-BE49-F238E27FC236}">
                    <a16:creationId xmlns:a16="http://schemas.microsoft.com/office/drawing/2014/main" id="{DA274889-5839-44D4-BEAC-6FF1490EF517}"/>
                  </a:ext>
                </a:extLst>
              </p:cNvPr>
              <p:cNvSpPr/>
              <p:nvPr/>
            </p:nvSpPr>
            <p:spPr>
              <a:xfrm>
                <a:off x="4395084" y="248379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85" name="Google Shape;1847;p18">
                <a:extLst>
                  <a:ext uri="{FF2B5EF4-FFF2-40B4-BE49-F238E27FC236}">
                    <a16:creationId xmlns:a16="http://schemas.microsoft.com/office/drawing/2014/main" id="{DB8B6D78-EF9F-42F6-BA33-DD23AD47005D}"/>
                  </a:ext>
                </a:extLst>
              </p:cNvPr>
              <p:cNvSpPr/>
              <p:nvPr/>
            </p:nvSpPr>
            <p:spPr>
              <a:xfrm>
                <a:off x="4329419" y="2549751"/>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86" name="Google Shape;1848;p18">
                <a:extLst>
                  <a:ext uri="{FF2B5EF4-FFF2-40B4-BE49-F238E27FC236}">
                    <a16:creationId xmlns:a16="http://schemas.microsoft.com/office/drawing/2014/main" id="{49AD99E7-0C42-4D91-BC9F-27D873BFD8C7}"/>
                  </a:ext>
                </a:extLst>
              </p:cNvPr>
              <p:cNvSpPr/>
              <p:nvPr/>
            </p:nvSpPr>
            <p:spPr>
              <a:xfrm>
                <a:off x="4395084" y="250120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87" name="Google Shape;1849;p18">
                <a:extLst>
                  <a:ext uri="{FF2B5EF4-FFF2-40B4-BE49-F238E27FC236}">
                    <a16:creationId xmlns:a16="http://schemas.microsoft.com/office/drawing/2014/main" id="{1A505825-7DB2-4E8F-8DE9-2960596AE533}"/>
                  </a:ext>
                </a:extLst>
              </p:cNvPr>
              <p:cNvSpPr/>
              <p:nvPr/>
            </p:nvSpPr>
            <p:spPr>
              <a:xfrm>
                <a:off x="4329419" y="2567161"/>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88" name="Google Shape;1850;p18">
                <a:extLst>
                  <a:ext uri="{FF2B5EF4-FFF2-40B4-BE49-F238E27FC236}">
                    <a16:creationId xmlns:a16="http://schemas.microsoft.com/office/drawing/2014/main" id="{0463E06F-7EAB-491D-86C6-38D382AF8865}"/>
                  </a:ext>
                </a:extLst>
              </p:cNvPr>
              <p:cNvSpPr/>
              <p:nvPr/>
            </p:nvSpPr>
            <p:spPr>
              <a:xfrm>
                <a:off x="4442615" y="2533908"/>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89" name="Google Shape;1851;p18">
                <a:extLst>
                  <a:ext uri="{FF2B5EF4-FFF2-40B4-BE49-F238E27FC236}">
                    <a16:creationId xmlns:a16="http://schemas.microsoft.com/office/drawing/2014/main" id="{ADB48A9C-210F-4802-A5D1-36A8C0D98EB7}"/>
                  </a:ext>
                </a:extLst>
              </p:cNvPr>
              <p:cNvSpPr/>
              <p:nvPr/>
            </p:nvSpPr>
            <p:spPr>
              <a:xfrm>
                <a:off x="4376950" y="2599954"/>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90" name="Google Shape;1852;p18">
                <a:extLst>
                  <a:ext uri="{FF2B5EF4-FFF2-40B4-BE49-F238E27FC236}">
                    <a16:creationId xmlns:a16="http://schemas.microsoft.com/office/drawing/2014/main" id="{88BAE7A8-BC4F-4463-8E38-DF3B7373F996}"/>
                  </a:ext>
                </a:extLst>
              </p:cNvPr>
              <p:cNvSpPr/>
              <p:nvPr/>
            </p:nvSpPr>
            <p:spPr>
              <a:xfrm>
                <a:off x="4450857" y="253943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91" name="Google Shape;1853;p18">
                <a:extLst>
                  <a:ext uri="{FF2B5EF4-FFF2-40B4-BE49-F238E27FC236}">
                    <a16:creationId xmlns:a16="http://schemas.microsoft.com/office/drawing/2014/main" id="{44E8B966-6A03-4FD3-8641-3076EB935E9C}"/>
                  </a:ext>
                </a:extLst>
              </p:cNvPr>
              <p:cNvSpPr/>
              <p:nvPr/>
            </p:nvSpPr>
            <p:spPr>
              <a:xfrm>
                <a:off x="4385192" y="260538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92" name="Google Shape;1854;p18">
                <a:extLst>
                  <a:ext uri="{FF2B5EF4-FFF2-40B4-BE49-F238E27FC236}">
                    <a16:creationId xmlns:a16="http://schemas.microsoft.com/office/drawing/2014/main" id="{467C0501-0450-4A00-8503-E6B8B4C70A5C}"/>
                  </a:ext>
                </a:extLst>
              </p:cNvPr>
              <p:cNvSpPr/>
              <p:nvPr/>
            </p:nvSpPr>
            <p:spPr>
              <a:xfrm>
                <a:off x="4455803" y="253906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93" name="Google Shape;1855;p18">
                <a:extLst>
                  <a:ext uri="{FF2B5EF4-FFF2-40B4-BE49-F238E27FC236}">
                    <a16:creationId xmlns:a16="http://schemas.microsoft.com/office/drawing/2014/main" id="{9E0689E3-431E-41E3-A31B-55FEFD88CDB0}"/>
                  </a:ext>
                </a:extLst>
              </p:cNvPr>
              <p:cNvSpPr/>
              <p:nvPr/>
            </p:nvSpPr>
            <p:spPr>
              <a:xfrm>
                <a:off x="4390230" y="260502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94" name="Google Shape;1856;p18">
                <a:extLst>
                  <a:ext uri="{FF2B5EF4-FFF2-40B4-BE49-F238E27FC236}">
                    <a16:creationId xmlns:a16="http://schemas.microsoft.com/office/drawing/2014/main" id="{8BCCDED4-4BA7-4FF5-B112-814F785EE3B2}"/>
                  </a:ext>
                </a:extLst>
              </p:cNvPr>
              <p:cNvSpPr/>
              <p:nvPr/>
            </p:nvSpPr>
            <p:spPr>
              <a:xfrm>
                <a:off x="4460748" y="253906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95" name="Google Shape;1857;p18">
                <a:extLst>
                  <a:ext uri="{FF2B5EF4-FFF2-40B4-BE49-F238E27FC236}">
                    <a16:creationId xmlns:a16="http://schemas.microsoft.com/office/drawing/2014/main" id="{2F95336C-1290-4AED-AC3E-837A7E85215E}"/>
                  </a:ext>
                </a:extLst>
              </p:cNvPr>
              <p:cNvSpPr/>
              <p:nvPr/>
            </p:nvSpPr>
            <p:spPr>
              <a:xfrm>
                <a:off x="4395084" y="260502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96" name="Google Shape;1858;p18">
                <a:extLst>
                  <a:ext uri="{FF2B5EF4-FFF2-40B4-BE49-F238E27FC236}">
                    <a16:creationId xmlns:a16="http://schemas.microsoft.com/office/drawing/2014/main" id="{CB250291-BDAF-49C6-B715-DA6C01AD3D0E}"/>
                  </a:ext>
                </a:extLst>
              </p:cNvPr>
              <p:cNvSpPr/>
              <p:nvPr/>
            </p:nvSpPr>
            <p:spPr>
              <a:xfrm>
                <a:off x="4469631" y="253906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97" name="Google Shape;1859;p18">
                <a:extLst>
                  <a:ext uri="{FF2B5EF4-FFF2-40B4-BE49-F238E27FC236}">
                    <a16:creationId xmlns:a16="http://schemas.microsoft.com/office/drawing/2014/main" id="{72ECE7C6-9F98-4081-B18B-67997F8AA9B5}"/>
                  </a:ext>
                </a:extLst>
              </p:cNvPr>
              <p:cNvSpPr/>
              <p:nvPr/>
            </p:nvSpPr>
            <p:spPr>
              <a:xfrm>
                <a:off x="4403967" y="2605020"/>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98" name="Google Shape;1860;p18">
                <a:extLst>
                  <a:ext uri="{FF2B5EF4-FFF2-40B4-BE49-F238E27FC236}">
                    <a16:creationId xmlns:a16="http://schemas.microsoft.com/office/drawing/2014/main" id="{D0574A47-9F1A-49EC-9DF1-2334E46C8332}"/>
                  </a:ext>
                </a:extLst>
              </p:cNvPr>
              <p:cNvSpPr/>
              <p:nvPr/>
            </p:nvSpPr>
            <p:spPr>
              <a:xfrm>
                <a:off x="4477049" y="254975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799" name="Google Shape;1861;p18">
                <a:extLst>
                  <a:ext uri="{FF2B5EF4-FFF2-40B4-BE49-F238E27FC236}">
                    <a16:creationId xmlns:a16="http://schemas.microsoft.com/office/drawing/2014/main" id="{DE896E38-82B5-4E90-A2D4-3AFD5C672D15}"/>
                  </a:ext>
                </a:extLst>
              </p:cNvPr>
              <p:cNvSpPr/>
              <p:nvPr/>
            </p:nvSpPr>
            <p:spPr>
              <a:xfrm>
                <a:off x="4411477" y="261579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00" name="Google Shape;1862;p18">
                <a:extLst>
                  <a:ext uri="{FF2B5EF4-FFF2-40B4-BE49-F238E27FC236}">
                    <a16:creationId xmlns:a16="http://schemas.microsoft.com/office/drawing/2014/main" id="{E75C7B3E-9A25-4659-9DD5-334655FF6995}"/>
                  </a:ext>
                </a:extLst>
              </p:cNvPr>
              <p:cNvSpPr/>
              <p:nvPr/>
            </p:nvSpPr>
            <p:spPr>
              <a:xfrm>
                <a:off x="4479339" y="254975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01" name="Google Shape;1863;p18">
                <a:extLst>
                  <a:ext uri="{FF2B5EF4-FFF2-40B4-BE49-F238E27FC236}">
                    <a16:creationId xmlns:a16="http://schemas.microsoft.com/office/drawing/2014/main" id="{60AEEB36-07F9-4722-824A-80B421DE037A}"/>
                  </a:ext>
                </a:extLst>
              </p:cNvPr>
              <p:cNvSpPr/>
              <p:nvPr/>
            </p:nvSpPr>
            <p:spPr>
              <a:xfrm>
                <a:off x="4413766" y="261579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02" name="Google Shape;1864;p18">
                <a:extLst>
                  <a:ext uri="{FF2B5EF4-FFF2-40B4-BE49-F238E27FC236}">
                    <a16:creationId xmlns:a16="http://schemas.microsoft.com/office/drawing/2014/main" id="{40480DA9-C993-485D-B0CE-9519774430F8}"/>
                  </a:ext>
                </a:extLst>
              </p:cNvPr>
              <p:cNvSpPr/>
              <p:nvPr/>
            </p:nvSpPr>
            <p:spPr>
              <a:xfrm>
                <a:off x="4488405" y="254975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03" name="Google Shape;1865;p18">
                <a:extLst>
                  <a:ext uri="{FF2B5EF4-FFF2-40B4-BE49-F238E27FC236}">
                    <a16:creationId xmlns:a16="http://schemas.microsoft.com/office/drawing/2014/main" id="{05E2605E-4CF1-4BD7-9879-BC1DD4FF477E}"/>
                  </a:ext>
                </a:extLst>
              </p:cNvPr>
              <p:cNvSpPr/>
              <p:nvPr/>
            </p:nvSpPr>
            <p:spPr>
              <a:xfrm>
                <a:off x="4422741" y="261579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04" name="Google Shape;1866;p18">
                <a:extLst>
                  <a:ext uri="{FF2B5EF4-FFF2-40B4-BE49-F238E27FC236}">
                    <a16:creationId xmlns:a16="http://schemas.microsoft.com/office/drawing/2014/main" id="{BAB442EE-98D4-4B3B-A8B8-DC19A8450675}"/>
                  </a:ext>
                </a:extLst>
              </p:cNvPr>
              <p:cNvSpPr/>
              <p:nvPr/>
            </p:nvSpPr>
            <p:spPr>
              <a:xfrm>
                <a:off x="4495000" y="254975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05" name="Google Shape;1867;p18">
                <a:extLst>
                  <a:ext uri="{FF2B5EF4-FFF2-40B4-BE49-F238E27FC236}">
                    <a16:creationId xmlns:a16="http://schemas.microsoft.com/office/drawing/2014/main" id="{36A041EF-4334-4259-B05A-38BA902557AD}"/>
                  </a:ext>
                </a:extLst>
              </p:cNvPr>
              <p:cNvSpPr/>
              <p:nvPr/>
            </p:nvSpPr>
            <p:spPr>
              <a:xfrm>
                <a:off x="4429336" y="2615797"/>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06" name="Google Shape;1868;p18">
                <a:extLst>
                  <a:ext uri="{FF2B5EF4-FFF2-40B4-BE49-F238E27FC236}">
                    <a16:creationId xmlns:a16="http://schemas.microsoft.com/office/drawing/2014/main" id="{90C94C90-9A5B-4E42-AEEF-EEC2E20CA3EB}"/>
                  </a:ext>
                </a:extLst>
              </p:cNvPr>
              <p:cNvSpPr/>
              <p:nvPr/>
            </p:nvSpPr>
            <p:spPr>
              <a:xfrm>
                <a:off x="4501868" y="254975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07" name="Google Shape;1869;p18">
                <a:extLst>
                  <a:ext uri="{FF2B5EF4-FFF2-40B4-BE49-F238E27FC236}">
                    <a16:creationId xmlns:a16="http://schemas.microsoft.com/office/drawing/2014/main" id="{53B318FB-AF20-47DC-BDF0-1B6C5925D38F}"/>
                  </a:ext>
                </a:extLst>
              </p:cNvPr>
              <p:cNvSpPr/>
              <p:nvPr/>
            </p:nvSpPr>
            <p:spPr>
              <a:xfrm>
                <a:off x="4436204" y="2615797"/>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08" name="Google Shape;1870;p18">
                <a:extLst>
                  <a:ext uri="{FF2B5EF4-FFF2-40B4-BE49-F238E27FC236}">
                    <a16:creationId xmlns:a16="http://schemas.microsoft.com/office/drawing/2014/main" id="{76264B5D-22EE-4FB5-B264-33A47E65E246}"/>
                  </a:ext>
                </a:extLst>
              </p:cNvPr>
              <p:cNvSpPr/>
              <p:nvPr/>
            </p:nvSpPr>
            <p:spPr>
              <a:xfrm>
                <a:off x="4511484" y="256716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09" name="Google Shape;1871;p18">
                <a:extLst>
                  <a:ext uri="{FF2B5EF4-FFF2-40B4-BE49-F238E27FC236}">
                    <a16:creationId xmlns:a16="http://schemas.microsoft.com/office/drawing/2014/main" id="{5F582448-AFA9-4781-9B75-1C8AFB070F06}"/>
                  </a:ext>
                </a:extLst>
              </p:cNvPr>
              <p:cNvSpPr/>
              <p:nvPr/>
            </p:nvSpPr>
            <p:spPr>
              <a:xfrm>
                <a:off x="4445820" y="2633207"/>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10" name="Google Shape;1872;p18">
                <a:extLst>
                  <a:ext uri="{FF2B5EF4-FFF2-40B4-BE49-F238E27FC236}">
                    <a16:creationId xmlns:a16="http://schemas.microsoft.com/office/drawing/2014/main" id="{1DB8353D-33C0-490C-9B9E-4DFA6F7C9350}"/>
                  </a:ext>
                </a:extLst>
              </p:cNvPr>
              <p:cNvSpPr/>
              <p:nvPr/>
            </p:nvSpPr>
            <p:spPr>
              <a:xfrm>
                <a:off x="4531083" y="2575820"/>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11" name="Google Shape;1873;p18">
                <a:extLst>
                  <a:ext uri="{FF2B5EF4-FFF2-40B4-BE49-F238E27FC236}">
                    <a16:creationId xmlns:a16="http://schemas.microsoft.com/office/drawing/2014/main" id="{41E8B6A4-AD05-430E-9C78-CEEC12972454}"/>
                  </a:ext>
                </a:extLst>
              </p:cNvPr>
              <p:cNvSpPr/>
              <p:nvPr/>
            </p:nvSpPr>
            <p:spPr>
              <a:xfrm>
                <a:off x="4465510" y="2641866"/>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12" name="Google Shape;1874;p18">
                <a:extLst>
                  <a:ext uri="{FF2B5EF4-FFF2-40B4-BE49-F238E27FC236}">
                    <a16:creationId xmlns:a16="http://schemas.microsoft.com/office/drawing/2014/main" id="{5E4CB92A-D86A-4EC8-ACCE-198808CCACEB}"/>
                  </a:ext>
                </a:extLst>
              </p:cNvPr>
              <p:cNvSpPr/>
              <p:nvPr/>
            </p:nvSpPr>
            <p:spPr>
              <a:xfrm>
                <a:off x="4538593" y="258466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13" name="Google Shape;1875;p18">
                <a:extLst>
                  <a:ext uri="{FF2B5EF4-FFF2-40B4-BE49-F238E27FC236}">
                    <a16:creationId xmlns:a16="http://schemas.microsoft.com/office/drawing/2014/main" id="{8C2D0FE0-910C-4601-96D4-9ACBAEC3457B}"/>
                  </a:ext>
                </a:extLst>
              </p:cNvPr>
              <p:cNvSpPr/>
              <p:nvPr/>
            </p:nvSpPr>
            <p:spPr>
              <a:xfrm>
                <a:off x="4472928" y="265061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14" name="Google Shape;1876;p18">
                <a:extLst>
                  <a:ext uri="{FF2B5EF4-FFF2-40B4-BE49-F238E27FC236}">
                    <a16:creationId xmlns:a16="http://schemas.microsoft.com/office/drawing/2014/main" id="{7BA97280-ED70-4D20-AB97-08062841C92B}"/>
                  </a:ext>
                </a:extLst>
              </p:cNvPr>
              <p:cNvSpPr/>
              <p:nvPr/>
            </p:nvSpPr>
            <p:spPr>
              <a:xfrm>
                <a:off x="4547476" y="258972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15" name="Google Shape;1877;p18">
                <a:extLst>
                  <a:ext uri="{FF2B5EF4-FFF2-40B4-BE49-F238E27FC236}">
                    <a16:creationId xmlns:a16="http://schemas.microsoft.com/office/drawing/2014/main" id="{221FD383-C7B3-4853-95B9-2B9E68BE85D6}"/>
                  </a:ext>
                </a:extLst>
              </p:cNvPr>
              <p:cNvSpPr/>
              <p:nvPr/>
            </p:nvSpPr>
            <p:spPr>
              <a:xfrm>
                <a:off x="4481812" y="2655775"/>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16" name="Google Shape;1878;p18">
                <a:extLst>
                  <a:ext uri="{FF2B5EF4-FFF2-40B4-BE49-F238E27FC236}">
                    <a16:creationId xmlns:a16="http://schemas.microsoft.com/office/drawing/2014/main" id="{DA64C284-B866-448D-996F-39CF28FF72C8}"/>
                  </a:ext>
                </a:extLst>
              </p:cNvPr>
              <p:cNvSpPr/>
              <p:nvPr/>
            </p:nvSpPr>
            <p:spPr>
              <a:xfrm>
                <a:off x="4555994" y="259930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17" name="Google Shape;1879;p18">
                <a:extLst>
                  <a:ext uri="{FF2B5EF4-FFF2-40B4-BE49-F238E27FC236}">
                    <a16:creationId xmlns:a16="http://schemas.microsoft.com/office/drawing/2014/main" id="{270F269B-828E-4FE0-999B-D8ACF72C0503}"/>
                  </a:ext>
                </a:extLst>
              </p:cNvPr>
              <p:cNvSpPr/>
              <p:nvPr/>
            </p:nvSpPr>
            <p:spPr>
              <a:xfrm>
                <a:off x="4490329" y="266526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18" name="Google Shape;1880;p18">
                <a:extLst>
                  <a:ext uri="{FF2B5EF4-FFF2-40B4-BE49-F238E27FC236}">
                    <a16:creationId xmlns:a16="http://schemas.microsoft.com/office/drawing/2014/main" id="{40698218-E196-4DA0-BDB3-1C1140738D4C}"/>
                  </a:ext>
                </a:extLst>
              </p:cNvPr>
              <p:cNvSpPr/>
              <p:nvPr/>
            </p:nvSpPr>
            <p:spPr>
              <a:xfrm>
                <a:off x="4563228" y="259995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19" name="Google Shape;1881;p18">
                <a:extLst>
                  <a:ext uri="{FF2B5EF4-FFF2-40B4-BE49-F238E27FC236}">
                    <a16:creationId xmlns:a16="http://schemas.microsoft.com/office/drawing/2014/main" id="{1E3DFEAA-289B-4414-857C-E79EB2B997A4}"/>
                  </a:ext>
                </a:extLst>
              </p:cNvPr>
              <p:cNvSpPr/>
              <p:nvPr/>
            </p:nvSpPr>
            <p:spPr>
              <a:xfrm>
                <a:off x="4497656" y="266590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20" name="Google Shape;1882;p18">
                <a:extLst>
                  <a:ext uri="{FF2B5EF4-FFF2-40B4-BE49-F238E27FC236}">
                    <a16:creationId xmlns:a16="http://schemas.microsoft.com/office/drawing/2014/main" id="{3B91204A-86BB-45D2-BD41-94ABBBD09598}"/>
                  </a:ext>
                </a:extLst>
              </p:cNvPr>
              <p:cNvSpPr/>
              <p:nvPr/>
            </p:nvSpPr>
            <p:spPr>
              <a:xfrm>
                <a:off x="4573852" y="259995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21" name="Google Shape;1883;p18">
                <a:extLst>
                  <a:ext uri="{FF2B5EF4-FFF2-40B4-BE49-F238E27FC236}">
                    <a16:creationId xmlns:a16="http://schemas.microsoft.com/office/drawing/2014/main" id="{152E6FA9-4D57-4185-BCAA-24C78989799C}"/>
                  </a:ext>
                </a:extLst>
              </p:cNvPr>
              <p:cNvSpPr/>
              <p:nvPr/>
            </p:nvSpPr>
            <p:spPr>
              <a:xfrm>
                <a:off x="4508187" y="2665908"/>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22" name="Google Shape;1884;p18">
                <a:extLst>
                  <a:ext uri="{FF2B5EF4-FFF2-40B4-BE49-F238E27FC236}">
                    <a16:creationId xmlns:a16="http://schemas.microsoft.com/office/drawing/2014/main" id="{23BD8C56-56E7-4BE8-86B1-220ABEF8F8F2}"/>
                  </a:ext>
                </a:extLst>
              </p:cNvPr>
              <p:cNvSpPr/>
              <p:nvPr/>
            </p:nvSpPr>
            <p:spPr>
              <a:xfrm>
                <a:off x="4582461" y="259995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23" name="Google Shape;1885;p18">
                <a:extLst>
                  <a:ext uri="{FF2B5EF4-FFF2-40B4-BE49-F238E27FC236}">
                    <a16:creationId xmlns:a16="http://schemas.microsoft.com/office/drawing/2014/main" id="{FCF52C7A-A04C-4EC9-9EF5-DA8DC3B0A982}"/>
                  </a:ext>
                </a:extLst>
              </p:cNvPr>
              <p:cNvSpPr/>
              <p:nvPr/>
            </p:nvSpPr>
            <p:spPr>
              <a:xfrm>
                <a:off x="4516796" y="2665908"/>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24" name="Google Shape;1886;p18">
                <a:extLst>
                  <a:ext uri="{FF2B5EF4-FFF2-40B4-BE49-F238E27FC236}">
                    <a16:creationId xmlns:a16="http://schemas.microsoft.com/office/drawing/2014/main" id="{0DA88BC4-EC6F-4C84-AD23-3E5E34120CE3}"/>
                  </a:ext>
                </a:extLst>
              </p:cNvPr>
              <p:cNvSpPr/>
              <p:nvPr/>
            </p:nvSpPr>
            <p:spPr>
              <a:xfrm>
                <a:off x="4590062" y="261846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25" name="Google Shape;1887;p18">
                <a:extLst>
                  <a:ext uri="{FF2B5EF4-FFF2-40B4-BE49-F238E27FC236}">
                    <a16:creationId xmlns:a16="http://schemas.microsoft.com/office/drawing/2014/main" id="{74700724-3031-425C-9710-369102FB6381}"/>
                  </a:ext>
                </a:extLst>
              </p:cNvPr>
              <p:cNvSpPr/>
              <p:nvPr/>
            </p:nvSpPr>
            <p:spPr>
              <a:xfrm>
                <a:off x="4524397" y="268442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26" name="Google Shape;1888;p18">
                <a:extLst>
                  <a:ext uri="{FF2B5EF4-FFF2-40B4-BE49-F238E27FC236}">
                    <a16:creationId xmlns:a16="http://schemas.microsoft.com/office/drawing/2014/main" id="{494C2134-2A75-4112-B497-589A91484BCC}"/>
                  </a:ext>
                </a:extLst>
              </p:cNvPr>
              <p:cNvSpPr/>
              <p:nvPr/>
            </p:nvSpPr>
            <p:spPr>
              <a:xfrm>
                <a:off x="4598762" y="263320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27" name="Google Shape;1889;p18">
                <a:extLst>
                  <a:ext uri="{FF2B5EF4-FFF2-40B4-BE49-F238E27FC236}">
                    <a16:creationId xmlns:a16="http://schemas.microsoft.com/office/drawing/2014/main" id="{3F5245B8-DA48-45EE-BA2A-141BD2B43B7A}"/>
                  </a:ext>
                </a:extLst>
              </p:cNvPr>
              <p:cNvSpPr/>
              <p:nvPr/>
            </p:nvSpPr>
            <p:spPr>
              <a:xfrm>
                <a:off x="4533098" y="269925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28" name="Google Shape;1890;p18">
                <a:extLst>
                  <a:ext uri="{FF2B5EF4-FFF2-40B4-BE49-F238E27FC236}">
                    <a16:creationId xmlns:a16="http://schemas.microsoft.com/office/drawing/2014/main" id="{91C0B59F-1373-4270-8C07-3F4461063331}"/>
                  </a:ext>
                </a:extLst>
              </p:cNvPr>
              <p:cNvSpPr/>
              <p:nvPr/>
            </p:nvSpPr>
            <p:spPr>
              <a:xfrm>
                <a:off x="4604166" y="263320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29" name="Google Shape;1891;p18">
                <a:extLst>
                  <a:ext uri="{FF2B5EF4-FFF2-40B4-BE49-F238E27FC236}">
                    <a16:creationId xmlns:a16="http://schemas.microsoft.com/office/drawing/2014/main" id="{447DFC75-0965-4664-972E-2B2DF2E98FEB}"/>
                  </a:ext>
                </a:extLst>
              </p:cNvPr>
              <p:cNvSpPr/>
              <p:nvPr/>
            </p:nvSpPr>
            <p:spPr>
              <a:xfrm>
                <a:off x="4538593" y="269925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30" name="Google Shape;1892;p18">
                <a:extLst>
                  <a:ext uri="{FF2B5EF4-FFF2-40B4-BE49-F238E27FC236}">
                    <a16:creationId xmlns:a16="http://schemas.microsoft.com/office/drawing/2014/main" id="{DC3534F8-4163-44EC-940E-6C467F85C058}"/>
                  </a:ext>
                </a:extLst>
              </p:cNvPr>
              <p:cNvSpPr/>
              <p:nvPr/>
            </p:nvSpPr>
            <p:spPr>
              <a:xfrm>
                <a:off x="4613140" y="265577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31" name="Google Shape;1893;p18">
                <a:extLst>
                  <a:ext uri="{FF2B5EF4-FFF2-40B4-BE49-F238E27FC236}">
                    <a16:creationId xmlns:a16="http://schemas.microsoft.com/office/drawing/2014/main" id="{A1D0A466-F89E-4793-9740-3FBD888B882B}"/>
                  </a:ext>
                </a:extLst>
              </p:cNvPr>
              <p:cNvSpPr/>
              <p:nvPr/>
            </p:nvSpPr>
            <p:spPr>
              <a:xfrm>
                <a:off x="4547476" y="272172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32" name="Google Shape;1894;p18">
                <a:extLst>
                  <a:ext uri="{FF2B5EF4-FFF2-40B4-BE49-F238E27FC236}">
                    <a16:creationId xmlns:a16="http://schemas.microsoft.com/office/drawing/2014/main" id="{29451B26-F8AF-427B-99D7-AFCE29FD91B4}"/>
                  </a:ext>
                </a:extLst>
              </p:cNvPr>
              <p:cNvSpPr/>
              <p:nvPr/>
            </p:nvSpPr>
            <p:spPr>
              <a:xfrm>
                <a:off x="4648125" y="267106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33" name="Google Shape;1895;p18">
                <a:extLst>
                  <a:ext uri="{FF2B5EF4-FFF2-40B4-BE49-F238E27FC236}">
                    <a16:creationId xmlns:a16="http://schemas.microsoft.com/office/drawing/2014/main" id="{37925D92-1056-4BB4-94CF-F9EEB83FAF3B}"/>
                  </a:ext>
                </a:extLst>
              </p:cNvPr>
              <p:cNvSpPr/>
              <p:nvPr/>
            </p:nvSpPr>
            <p:spPr>
              <a:xfrm>
                <a:off x="4582461" y="273711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34" name="Google Shape;1896;p18">
                <a:extLst>
                  <a:ext uri="{FF2B5EF4-FFF2-40B4-BE49-F238E27FC236}">
                    <a16:creationId xmlns:a16="http://schemas.microsoft.com/office/drawing/2014/main" id="{339D0AC8-F7AB-4A56-8743-CD5B316A7140}"/>
                  </a:ext>
                </a:extLst>
              </p:cNvPr>
              <p:cNvSpPr/>
              <p:nvPr/>
            </p:nvSpPr>
            <p:spPr>
              <a:xfrm>
                <a:off x="4683293" y="269188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35" name="Google Shape;1897;p18">
                <a:extLst>
                  <a:ext uri="{FF2B5EF4-FFF2-40B4-BE49-F238E27FC236}">
                    <a16:creationId xmlns:a16="http://schemas.microsoft.com/office/drawing/2014/main" id="{BB60AD79-0A2C-4946-A94B-7E054BA06071}"/>
                  </a:ext>
                </a:extLst>
              </p:cNvPr>
              <p:cNvSpPr/>
              <p:nvPr/>
            </p:nvSpPr>
            <p:spPr>
              <a:xfrm>
                <a:off x="4617720" y="275793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36" name="Google Shape;1898;p18">
                <a:extLst>
                  <a:ext uri="{FF2B5EF4-FFF2-40B4-BE49-F238E27FC236}">
                    <a16:creationId xmlns:a16="http://schemas.microsoft.com/office/drawing/2014/main" id="{71A7D570-BB1A-4F1A-8F5F-23B233D896CB}"/>
                  </a:ext>
                </a:extLst>
              </p:cNvPr>
              <p:cNvSpPr/>
              <p:nvPr/>
            </p:nvSpPr>
            <p:spPr>
              <a:xfrm>
                <a:off x="4713698" y="2712333"/>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37" name="Google Shape;1899;p18">
                <a:extLst>
                  <a:ext uri="{FF2B5EF4-FFF2-40B4-BE49-F238E27FC236}">
                    <a16:creationId xmlns:a16="http://schemas.microsoft.com/office/drawing/2014/main" id="{9F33B5B2-E964-4F81-8857-9FF5B76274F4}"/>
                  </a:ext>
                </a:extLst>
              </p:cNvPr>
              <p:cNvSpPr/>
              <p:nvPr/>
            </p:nvSpPr>
            <p:spPr>
              <a:xfrm>
                <a:off x="4648125" y="277837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38" name="Google Shape;1900;p18">
                <a:extLst>
                  <a:ext uri="{FF2B5EF4-FFF2-40B4-BE49-F238E27FC236}">
                    <a16:creationId xmlns:a16="http://schemas.microsoft.com/office/drawing/2014/main" id="{2F91AA52-3B73-4B0D-A03B-22107CF93B7A}"/>
                  </a:ext>
                </a:extLst>
              </p:cNvPr>
              <p:cNvSpPr/>
              <p:nvPr/>
            </p:nvSpPr>
            <p:spPr>
              <a:xfrm>
                <a:off x="4721300" y="2712333"/>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39" name="Google Shape;1901;p18">
                <a:extLst>
                  <a:ext uri="{FF2B5EF4-FFF2-40B4-BE49-F238E27FC236}">
                    <a16:creationId xmlns:a16="http://schemas.microsoft.com/office/drawing/2014/main" id="{5C3D5860-F4F1-4886-9E02-CF252904858F}"/>
                  </a:ext>
                </a:extLst>
              </p:cNvPr>
              <p:cNvSpPr/>
              <p:nvPr/>
            </p:nvSpPr>
            <p:spPr>
              <a:xfrm>
                <a:off x="4655727" y="277837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40" name="Google Shape;1902;p18">
                <a:extLst>
                  <a:ext uri="{FF2B5EF4-FFF2-40B4-BE49-F238E27FC236}">
                    <a16:creationId xmlns:a16="http://schemas.microsoft.com/office/drawing/2014/main" id="{6F1D9395-786D-43ED-9770-FF462E23C410}"/>
                  </a:ext>
                </a:extLst>
              </p:cNvPr>
              <p:cNvSpPr/>
              <p:nvPr/>
            </p:nvSpPr>
            <p:spPr>
              <a:xfrm>
                <a:off x="4730000" y="2712333"/>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41" name="Google Shape;1903;p18">
                <a:extLst>
                  <a:ext uri="{FF2B5EF4-FFF2-40B4-BE49-F238E27FC236}">
                    <a16:creationId xmlns:a16="http://schemas.microsoft.com/office/drawing/2014/main" id="{E126E070-6AE3-44FF-AE47-35E34D1B80A2}"/>
                  </a:ext>
                </a:extLst>
              </p:cNvPr>
              <p:cNvSpPr/>
              <p:nvPr/>
            </p:nvSpPr>
            <p:spPr>
              <a:xfrm>
                <a:off x="4664335" y="2778379"/>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42" name="Google Shape;1904;p18">
                <a:extLst>
                  <a:ext uri="{FF2B5EF4-FFF2-40B4-BE49-F238E27FC236}">
                    <a16:creationId xmlns:a16="http://schemas.microsoft.com/office/drawing/2014/main" id="{846719AD-D7DE-40B8-8F3D-5B03018C8612}"/>
                  </a:ext>
                </a:extLst>
              </p:cNvPr>
              <p:cNvSpPr/>
              <p:nvPr/>
            </p:nvSpPr>
            <p:spPr>
              <a:xfrm>
                <a:off x="4748957" y="2721729"/>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43" name="Google Shape;1905;p18">
                <a:extLst>
                  <a:ext uri="{FF2B5EF4-FFF2-40B4-BE49-F238E27FC236}">
                    <a16:creationId xmlns:a16="http://schemas.microsoft.com/office/drawing/2014/main" id="{296CF8AE-6E65-4DEA-A7DA-2788FD7473F0}"/>
                  </a:ext>
                </a:extLst>
              </p:cNvPr>
              <p:cNvSpPr/>
              <p:nvPr/>
            </p:nvSpPr>
            <p:spPr>
              <a:xfrm>
                <a:off x="4683293" y="2787775"/>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44" name="Google Shape;1906;p18">
                <a:extLst>
                  <a:ext uri="{FF2B5EF4-FFF2-40B4-BE49-F238E27FC236}">
                    <a16:creationId xmlns:a16="http://schemas.microsoft.com/office/drawing/2014/main" id="{72DF4562-85F2-433F-9EEA-E45BE7575708}"/>
                  </a:ext>
                </a:extLst>
              </p:cNvPr>
              <p:cNvSpPr/>
              <p:nvPr/>
            </p:nvSpPr>
            <p:spPr>
              <a:xfrm>
                <a:off x="4758024" y="2721729"/>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45" name="Google Shape;1907;p18">
                <a:extLst>
                  <a:ext uri="{FF2B5EF4-FFF2-40B4-BE49-F238E27FC236}">
                    <a16:creationId xmlns:a16="http://schemas.microsoft.com/office/drawing/2014/main" id="{6E7CD97D-546D-4004-9CC0-5A626C5F5C20}"/>
                  </a:ext>
                </a:extLst>
              </p:cNvPr>
              <p:cNvSpPr/>
              <p:nvPr/>
            </p:nvSpPr>
            <p:spPr>
              <a:xfrm>
                <a:off x="4692451" y="278777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46" name="Google Shape;1908;p18">
                <a:extLst>
                  <a:ext uri="{FF2B5EF4-FFF2-40B4-BE49-F238E27FC236}">
                    <a16:creationId xmlns:a16="http://schemas.microsoft.com/office/drawing/2014/main" id="{0D148271-FF47-4302-843E-DE39AC01F7BA}"/>
                  </a:ext>
                </a:extLst>
              </p:cNvPr>
              <p:cNvSpPr/>
              <p:nvPr/>
            </p:nvSpPr>
            <p:spPr>
              <a:xfrm>
                <a:off x="4764068" y="2721729"/>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47" name="Google Shape;1909;p18">
                <a:extLst>
                  <a:ext uri="{FF2B5EF4-FFF2-40B4-BE49-F238E27FC236}">
                    <a16:creationId xmlns:a16="http://schemas.microsoft.com/office/drawing/2014/main" id="{752B214B-D595-4455-B1A8-9B5242BFA6C9}"/>
                  </a:ext>
                </a:extLst>
              </p:cNvPr>
              <p:cNvSpPr/>
              <p:nvPr/>
            </p:nvSpPr>
            <p:spPr>
              <a:xfrm>
                <a:off x="4698495" y="278777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48" name="Google Shape;1910;p18">
                <a:extLst>
                  <a:ext uri="{FF2B5EF4-FFF2-40B4-BE49-F238E27FC236}">
                    <a16:creationId xmlns:a16="http://schemas.microsoft.com/office/drawing/2014/main" id="{91ABF7E8-36F4-459D-B3B9-1F4368BBD3FB}"/>
                  </a:ext>
                </a:extLst>
              </p:cNvPr>
              <p:cNvSpPr/>
              <p:nvPr/>
            </p:nvSpPr>
            <p:spPr>
              <a:xfrm>
                <a:off x="4773867" y="2723111"/>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49" name="Google Shape;1911;p18">
                <a:extLst>
                  <a:ext uri="{FF2B5EF4-FFF2-40B4-BE49-F238E27FC236}">
                    <a16:creationId xmlns:a16="http://schemas.microsoft.com/office/drawing/2014/main" id="{C7FCA66F-98B6-41B1-A212-B896EBADF085}"/>
                  </a:ext>
                </a:extLst>
              </p:cNvPr>
              <p:cNvSpPr/>
              <p:nvPr/>
            </p:nvSpPr>
            <p:spPr>
              <a:xfrm>
                <a:off x="4708203" y="278915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50" name="Google Shape;1912;p18">
                <a:extLst>
                  <a:ext uri="{FF2B5EF4-FFF2-40B4-BE49-F238E27FC236}">
                    <a16:creationId xmlns:a16="http://schemas.microsoft.com/office/drawing/2014/main" id="{733E75E1-417E-430F-B5A1-2F4CB9D9BB95}"/>
                  </a:ext>
                </a:extLst>
              </p:cNvPr>
              <p:cNvSpPr/>
              <p:nvPr/>
            </p:nvSpPr>
            <p:spPr>
              <a:xfrm>
                <a:off x="4782659" y="2737112"/>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51" name="Google Shape;1913;p18">
                <a:extLst>
                  <a:ext uri="{FF2B5EF4-FFF2-40B4-BE49-F238E27FC236}">
                    <a16:creationId xmlns:a16="http://schemas.microsoft.com/office/drawing/2014/main" id="{608D62CC-DF4A-4F9A-B395-B86B2091FF92}"/>
                  </a:ext>
                </a:extLst>
              </p:cNvPr>
              <p:cNvSpPr/>
              <p:nvPr/>
            </p:nvSpPr>
            <p:spPr>
              <a:xfrm>
                <a:off x="4716995" y="2803066"/>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52" name="Google Shape;1914;p18">
                <a:extLst>
                  <a:ext uri="{FF2B5EF4-FFF2-40B4-BE49-F238E27FC236}">
                    <a16:creationId xmlns:a16="http://schemas.microsoft.com/office/drawing/2014/main" id="{F3E0B333-AFD6-4BF9-8343-3E116438C2CA}"/>
                  </a:ext>
                </a:extLst>
              </p:cNvPr>
              <p:cNvSpPr/>
              <p:nvPr/>
            </p:nvSpPr>
            <p:spPr>
              <a:xfrm>
                <a:off x="4814621" y="275046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53" name="Google Shape;1915;p18">
                <a:extLst>
                  <a:ext uri="{FF2B5EF4-FFF2-40B4-BE49-F238E27FC236}">
                    <a16:creationId xmlns:a16="http://schemas.microsoft.com/office/drawing/2014/main" id="{420FEEFF-1DFA-4B67-A6E7-1F92EDFDA9EB}"/>
                  </a:ext>
                </a:extLst>
              </p:cNvPr>
              <p:cNvSpPr/>
              <p:nvPr/>
            </p:nvSpPr>
            <p:spPr>
              <a:xfrm>
                <a:off x="4748957" y="281651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54" name="Google Shape;1916;p18">
                <a:extLst>
                  <a:ext uri="{FF2B5EF4-FFF2-40B4-BE49-F238E27FC236}">
                    <a16:creationId xmlns:a16="http://schemas.microsoft.com/office/drawing/2014/main" id="{A5DEC2A1-EDD0-41AF-AB61-6B810A7388F6}"/>
                  </a:ext>
                </a:extLst>
              </p:cNvPr>
              <p:cNvSpPr/>
              <p:nvPr/>
            </p:nvSpPr>
            <p:spPr>
              <a:xfrm>
                <a:off x="4879370" y="2765207"/>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55" name="Google Shape;1917;p18">
                <a:extLst>
                  <a:ext uri="{FF2B5EF4-FFF2-40B4-BE49-F238E27FC236}">
                    <a16:creationId xmlns:a16="http://schemas.microsoft.com/office/drawing/2014/main" id="{EE059FD3-6623-4C7B-A59A-26F870B5CF8F}"/>
                  </a:ext>
                </a:extLst>
              </p:cNvPr>
              <p:cNvSpPr/>
              <p:nvPr/>
            </p:nvSpPr>
            <p:spPr>
              <a:xfrm>
                <a:off x="4813706" y="283125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56" name="Google Shape;1918;p18">
                <a:extLst>
                  <a:ext uri="{FF2B5EF4-FFF2-40B4-BE49-F238E27FC236}">
                    <a16:creationId xmlns:a16="http://schemas.microsoft.com/office/drawing/2014/main" id="{C6F65222-1C8C-4DD7-A90A-0FC59B7A4646}"/>
                  </a:ext>
                </a:extLst>
              </p:cNvPr>
              <p:cNvSpPr/>
              <p:nvPr/>
            </p:nvSpPr>
            <p:spPr>
              <a:xfrm>
                <a:off x="4889353" y="277506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57" name="Google Shape;1919;p18">
                <a:extLst>
                  <a:ext uri="{FF2B5EF4-FFF2-40B4-BE49-F238E27FC236}">
                    <a16:creationId xmlns:a16="http://schemas.microsoft.com/office/drawing/2014/main" id="{D6E3654C-27DB-447D-8C8F-1B280F5C72F7}"/>
                  </a:ext>
                </a:extLst>
              </p:cNvPr>
              <p:cNvSpPr/>
              <p:nvPr/>
            </p:nvSpPr>
            <p:spPr>
              <a:xfrm>
                <a:off x="4823689" y="284110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58" name="Google Shape;1920;p18">
                <a:extLst>
                  <a:ext uri="{FF2B5EF4-FFF2-40B4-BE49-F238E27FC236}">
                    <a16:creationId xmlns:a16="http://schemas.microsoft.com/office/drawing/2014/main" id="{E397EBC5-E9D7-4626-807B-DCEB541DA8AF}"/>
                  </a:ext>
                </a:extLst>
              </p:cNvPr>
              <p:cNvSpPr/>
              <p:nvPr/>
            </p:nvSpPr>
            <p:spPr>
              <a:xfrm>
                <a:off x="4933037" y="281651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59" name="Google Shape;1921;p18">
                <a:extLst>
                  <a:ext uri="{FF2B5EF4-FFF2-40B4-BE49-F238E27FC236}">
                    <a16:creationId xmlns:a16="http://schemas.microsoft.com/office/drawing/2014/main" id="{E40A6022-FBA4-4E57-94E3-29769A799959}"/>
                  </a:ext>
                </a:extLst>
              </p:cNvPr>
              <p:cNvSpPr/>
              <p:nvPr/>
            </p:nvSpPr>
            <p:spPr>
              <a:xfrm>
                <a:off x="4867464" y="288246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60" name="Google Shape;1922;p18">
                <a:extLst>
                  <a:ext uri="{FF2B5EF4-FFF2-40B4-BE49-F238E27FC236}">
                    <a16:creationId xmlns:a16="http://schemas.microsoft.com/office/drawing/2014/main" id="{F0066FBE-0EA3-49D2-B4B0-4ECDB03B4F3F}"/>
                  </a:ext>
                </a:extLst>
              </p:cNvPr>
              <p:cNvSpPr/>
              <p:nvPr/>
            </p:nvSpPr>
            <p:spPr>
              <a:xfrm>
                <a:off x="4941737" y="281651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61" name="Google Shape;1923;p18">
                <a:extLst>
                  <a:ext uri="{FF2B5EF4-FFF2-40B4-BE49-F238E27FC236}">
                    <a16:creationId xmlns:a16="http://schemas.microsoft.com/office/drawing/2014/main" id="{E84A379B-3A10-4F9D-B024-AEC1DB22D83A}"/>
                  </a:ext>
                </a:extLst>
              </p:cNvPr>
              <p:cNvSpPr/>
              <p:nvPr/>
            </p:nvSpPr>
            <p:spPr>
              <a:xfrm>
                <a:off x="4876073" y="288246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62" name="Google Shape;1924;p18">
                <a:extLst>
                  <a:ext uri="{FF2B5EF4-FFF2-40B4-BE49-F238E27FC236}">
                    <a16:creationId xmlns:a16="http://schemas.microsoft.com/office/drawing/2014/main" id="{B0A61ACD-A852-4AEF-9CDE-CE5E5CAD210A}"/>
                  </a:ext>
                </a:extLst>
              </p:cNvPr>
              <p:cNvSpPr/>
              <p:nvPr/>
            </p:nvSpPr>
            <p:spPr>
              <a:xfrm>
                <a:off x="5010607" y="285511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63" name="Google Shape;1925;p18">
                <a:extLst>
                  <a:ext uri="{FF2B5EF4-FFF2-40B4-BE49-F238E27FC236}">
                    <a16:creationId xmlns:a16="http://schemas.microsoft.com/office/drawing/2014/main" id="{A223BB15-AFD3-4CBB-8903-0A286457FF4B}"/>
                  </a:ext>
                </a:extLst>
              </p:cNvPr>
              <p:cNvSpPr/>
              <p:nvPr/>
            </p:nvSpPr>
            <p:spPr>
              <a:xfrm>
                <a:off x="4945034" y="292115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64" name="Google Shape;1926;p18">
                <a:extLst>
                  <a:ext uri="{FF2B5EF4-FFF2-40B4-BE49-F238E27FC236}">
                    <a16:creationId xmlns:a16="http://schemas.microsoft.com/office/drawing/2014/main" id="{8713A6FE-1F52-429D-BD66-E7C65D7209F3}"/>
                  </a:ext>
                </a:extLst>
              </p:cNvPr>
              <p:cNvSpPr/>
              <p:nvPr/>
            </p:nvSpPr>
            <p:spPr>
              <a:xfrm>
                <a:off x="5016652" y="285511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65" name="Google Shape;1927;p18">
                <a:extLst>
                  <a:ext uri="{FF2B5EF4-FFF2-40B4-BE49-F238E27FC236}">
                    <a16:creationId xmlns:a16="http://schemas.microsoft.com/office/drawing/2014/main" id="{A5F63436-755B-449D-BFCB-C5D8C6C9A7DD}"/>
                  </a:ext>
                </a:extLst>
              </p:cNvPr>
              <p:cNvSpPr/>
              <p:nvPr/>
            </p:nvSpPr>
            <p:spPr>
              <a:xfrm>
                <a:off x="4950988" y="2921157"/>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66" name="Google Shape;1928;p18">
                <a:extLst>
                  <a:ext uri="{FF2B5EF4-FFF2-40B4-BE49-F238E27FC236}">
                    <a16:creationId xmlns:a16="http://schemas.microsoft.com/office/drawing/2014/main" id="{3BA608F7-4496-4ABD-BC5C-D6B962C1EC2D}"/>
                  </a:ext>
                </a:extLst>
              </p:cNvPr>
              <p:cNvSpPr/>
              <p:nvPr/>
            </p:nvSpPr>
            <p:spPr>
              <a:xfrm>
                <a:off x="5024620" y="285511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67" name="Google Shape;1929;p18">
                <a:extLst>
                  <a:ext uri="{FF2B5EF4-FFF2-40B4-BE49-F238E27FC236}">
                    <a16:creationId xmlns:a16="http://schemas.microsoft.com/office/drawing/2014/main" id="{20BA6B65-99BB-48EF-832A-C7628EC7FEFB}"/>
                  </a:ext>
                </a:extLst>
              </p:cNvPr>
              <p:cNvSpPr/>
              <p:nvPr/>
            </p:nvSpPr>
            <p:spPr>
              <a:xfrm>
                <a:off x="4959047" y="292115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68" name="Google Shape;1930;p18">
                <a:extLst>
                  <a:ext uri="{FF2B5EF4-FFF2-40B4-BE49-F238E27FC236}">
                    <a16:creationId xmlns:a16="http://schemas.microsoft.com/office/drawing/2014/main" id="{8373ACB8-AEFE-4649-A1AA-5A24A0345367}"/>
                  </a:ext>
                </a:extLst>
              </p:cNvPr>
              <p:cNvSpPr/>
              <p:nvPr/>
            </p:nvSpPr>
            <p:spPr>
              <a:xfrm>
                <a:off x="5032770" y="2869112"/>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69" name="Google Shape;1931;p18">
                <a:extLst>
                  <a:ext uri="{FF2B5EF4-FFF2-40B4-BE49-F238E27FC236}">
                    <a16:creationId xmlns:a16="http://schemas.microsoft.com/office/drawing/2014/main" id="{85DD0AA9-D45B-45E8-BC96-69867836FBE9}"/>
                  </a:ext>
                </a:extLst>
              </p:cNvPr>
              <p:cNvSpPr/>
              <p:nvPr/>
            </p:nvSpPr>
            <p:spPr>
              <a:xfrm>
                <a:off x="4967197" y="293515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70" name="Google Shape;1932;p18">
                <a:extLst>
                  <a:ext uri="{FF2B5EF4-FFF2-40B4-BE49-F238E27FC236}">
                    <a16:creationId xmlns:a16="http://schemas.microsoft.com/office/drawing/2014/main" id="{35364A2E-9CD3-45B9-A85B-9973DBF146CF}"/>
                  </a:ext>
                </a:extLst>
              </p:cNvPr>
              <p:cNvSpPr/>
              <p:nvPr/>
            </p:nvSpPr>
            <p:spPr>
              <a:xfrm>
                <a:off x="5039914" y="2869112"/>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71" name="Google Shape;1933;p18">
                <a:extLst>
                  <a:ext uri="{FF2B5EF4-FFF2-40B4-BE49-F238E27FC236}">
                    <a16:creationId xmlns:a16="http://schemas.microsoft.com/office/drawing/2014/main" id="{E0E1A34E-24CB-4E2E-8E41-C3DD52FFB886}"/>
                  </a:ext>
                </a:extLst>
              </p:cNvPr>
              <p:cNvSpPr/>
              <p:nvPr/>
            </p:nvSpPr>
            <p:spPr>
              <a:xfrm>
                <a:off x="4974249" y="2935158"/>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72" name="Google Shape;1934;p18">
                <a:extLst>
                  <a:ext uri="{FF2B5EF4-FFF2-40B4-BE49-F238E27FC236}">
                    <a16:creationId xmlns:a16="http://schemas.microsoft.com/office/drawing/2014/main" id="{E92B0524-F00C-4CE7-A820-D3A965F95333}"/>
                  </a:ext>
                </a:extLst>
              </p:cNvPr>
              <p:cNvSpPr/>
              <p:nvPr/>
            </p:nvSpPr>
            <p:spPr>
              <a:xfrm>
                <a:off x="5046050" y="2869112"/>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73" name="Google Shape;1935;p18">
                <a:extLst>
                  <a:ext uri="{FF2B5EF4-FFF2-40B4-BE49-F238E27FC236}">
                    <a16:creationId xmlns:a16="http://schemas.microsoft.com/office/drawing/2014/main" id="{A670292B-9AB8-4A34-9223-30C075364F1A}"/>
                  </a:ext>
                </a:extLst>
              </p:cNvPr>
              <p:cNvSpPr/>
              <p:nvPr/>
            </p:nvSpPr>
            <p:spPr>
              <a:xfrm>
                <a:off x="4980386" y="293515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74" name="Google Shape;1936;p18">
                <a:extLst>
                  <a:ext uri="{FF2B5EF4-FFF2-40B4-BE49-F238E27FC236}">
                    <a16:creationId xmlns:a16="http://schemas.microsoft.com/office/drawing/2014/main" id="{A712DF45-DFBD-4F21-A2D7-6DECEA0ECA76}"/>
                  </a:ext>
                </a:extLst>
              </p:cNvPr>
              <p:cNvSpPr/>
              <p:nvPr/>
            </p:nvSpPr>
            <p:spPr>
              <a:xfrm>
                <a:off x="5064367" y="2882469"/>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75" name="Google Shape;1937;p18">
                <a:extLst>
                  <a:ext uri="{FF2B5EF4-FFF2-40B4-BE49-F238E27FC236}">
                    <a16:creationId xmlns:a16="http://schemas.microsoft.com/office/drawing/2014/main" id="{D7260B20-5BF8-42B7-BABA-C433C8F82A14}"/>
                  </a:ext>
                </a:extLst>
              </p:cNvPr>
              <p:cNvSpPr/>
              <p:nvPr/>
            </p:nvSpPr>
            <p:spPr>
              <a:xfrm>
                <a:off x="4998702" y="294851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76" name="Google Shape;1938;p18">
                <a:extLst>
                  <a:ext uri="{FF2B5EF4-FFF2-40B4-BE49-F238E27FC236}">
                    <a16:creationId xmlns:a16="http://schemas.microsoft.com/office/drawing/2014/main" id="{2A7E7C3B-71C4-4F1C-B4F0-C50F554ABDD6}"/>
                  </a:ext>
                </a:extLst>
              </p:cNvPr>
              <p:cNvSpPr/>
              <p:nvPr/>
            </p:nvSpPr>
            <p:spPr>
              <a:xfrm>
                <a:off x="5073616" y="2882469"/>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77" name="Google Shape;1939;p18">
                <a:extLst>
                  <a:ext uri="{FF2B5EF4-FFF2-40B4-BE49-F238E27FC236}">
                    <a16:creationId xmlns:a16="http://schemas.microsoft.com/office/drawing/2014/main" id="{343F53A2-7456-4FED-AD6A-2D61498A4ACC}"/>
                  </a:ext>
                </a:extLst>
              </p:cNvPr>
              <p:cNvSpPr/>
              <p:nvPr/>
            </p:nvSpPr>
            <p:spPr>
              <a:xfrm>
                <a:off x="5008043" y="294851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78" name="Google Shape;1940;p18">
                <a:extLst>
                  <a:ext uri="{FF2B5EF4-FFF2-40B4-BE49-F238E27FC236}">
                    <a16:creationId xmlns:a16="http://schemas.microsoft.com/office/drawing/2014/main" id="{182A6D3B-AC5D-4F31-9C6D-6A8034541A57}"/>
                  </a:ext>
                </a:extLst>
              </p:cNvPr>
              <p:cNvSpPr/>
              <p:nvPr/>
            </p:nvSpPr>
            <p:spPr>
              <a:xfrm>
                <a:off x="5082316" y="2882469"/>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79" name="Google Shape;1941;p18">
                <a:extLst>
                  <a:ext uri="{FF2B5EF4-FFF2-40B4-BE49-F238E27FC236}">
                    <a16:creationId xmlns:a16="http://schemas.microsoft.com/office/drawing/2014/main" id="{E29CFA26-D02F-4E76-B57E-0F64CA44CE50}"/>
                  </a:ext>
                </a:extLst>
              </p:cNvPr>
              <p:cNvSpPr/>
              <p:nvPr/>
            </p:nvSpPr>
            <p:spPr>
              <a:xfrm>
                <a:off x="5016652" y="294851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80" name="Google Shape;1942;p18">
                <a:extLst>
                  <a:ext uri="{FF2B5EF4-FFF2-40B4-BE49-F238E27FC236}">
                    <a16:creationId xmlns:a16="http://schemas.microsoft.com/office/drawing/2014/main" id="{20BB988E-2D5E-40AC-8071-50FDF0291BF4}"/>
                  </a:ext>
                </a:extLst>
              </p:cNvPr>
              <p:cNvSpPr/>
              <p:nvPr/>
            </p:nvSpPr>
            <p:spPr>
              <a:xfrm>
                <a:off x="5098435" y="2907063"/>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81" name="Google Shape;1943;p18">
                <a:extLst>
                  <a:ext uri="{FF2B5EF4-FFF2-40B4-BE49-F238E27FC236}">
                    <a16:creationId xmlns:a16="http://schemas.microsoft.com/office/drawing/2014/main" id="{B4BA714F-B604-410E-A35D-7B64AC9C5DDA}"/>
                  </a:ext>
                </a:extLst>
              </p:cNvPr>
              <p:cNvSpPr/>
              <p:nvPr/>
            </p:nvSpPr>
            <p:spPr>
              <a:xfrm>
                <a:off x="5032770" y="2973110"/>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82" name="Google Shape;1944;p18">
                <a:extLst>
                  <a:ext uri="{FF2B5EF4-FFF2-40B4-BE49-F238E27FC236}">
                    <a16:creationId xmlns:a16="http://schemas.microsoft.com/office/drawing/2014/main" id="{9554B165-90BF-4BEC-B0F8-9FD60A716A65}"/>
                  </a:ext>
                </a:extLst>
              </p:cNvPr>
              <p:cNvSpPr/>
              <p:nvPr/>
            </p:nvSpPr>
            <p:spPr>
              <a:xfrm>
                <a:off x="5105578" y="2907063"/>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83" name="Google Shape;1945;p18">
                <a:extLst>
                  <a:ext uri="{FF2B5EF4-FFF2-40B4-BE49-F238E27FC236}">
                    <a16:creationId xmlns:a16="http://schemas.microsoft.com/office/drawing/2014/main" id="{A7B05252-33FF-438F-98D1-31579A904FC2}"/>
                  </a:ext>
                </a:extLst>
              </p:cNvPr>
              <p:cNvSpPr/>
              <p:nvPr/>
            </p:nvSpPr>
            <p:spPr>
              <a:xfrm>
                <a:off x="5039914" y="297311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84" name="Google Shape;1946;p18">
                <a:extLst>
                  <a:ext uri="{FF2B5EF4-FFF2-40B4-BE49-F238E27FC236}">
                    <a16:creationId xmlns:a16="http://schemas.microsoft.com/office/drawing/2014/main" id="{56C983C1-BD7C-4FEF-860C-4A2C3068C117}"/>
                  </a:ext>
                </a:extLst>
              </p:cNvPr>
              <p:cNvSpPr/>
              <p:nvPr/>
            </p:nvSpPr>
            <p:spPr>
              <a:xfrm>
                <a:off x="5111623" y="2907063"/>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85" name="Google Shape;1947;p18">
                <a:extLst>
                  <a:ext uri="{FF2B5EF4-FFF2-40B4-BE49-F238E27FC236}">
                    <a16:creationId xmlns:a16="http://schemas.microsoft.com/office/drawing/2014/main" id="{14C21503-74F3-4AC2-8EE4-4551C6EF2E5F}"/>
                  </a:ext>
                </a:extLst>
              </p:cNvPr>
              <p:cNvSpPr/>
              <p:nvPr/>
            </p:nvSpPr>
            <p:spPr>
              <a:xfrm>
                <a:off x="5046050" y="297311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86" name="Google Shape;1948;p18">
                <a:extLst>
                  <a:ext uri="{FF2B5EF4-FFF2-40B4-BE49-F238E27FC236}">
                    <a16:creationId xmlns:a16="http://schemas.microsoft.com/office/drawing/2014/main" id="{A2495541-630A-4635-AAAC-1DAF4E6E9C0E}"/>
                  </a:ext>
                </a:extLst>
              </p:cNvPr>
              <p:cNvSpPr/>
              <p:nvPr/>
            </p:nvSpPr>
            <p:spPr>
              <a:xfrm>
                <a:off x="5121331" y="291323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87" name="Google Shape;1949;p18">
                <a:extLst>
                  <a:ext uri="{FF2B5EF4-FFF2-40B4-BE49-F238E27FC236}">
                    <a16:creationId xmlns:a16="http://schemas.microsoft.com/office/drawing/2014/main" id="{FC3A99BA-EE66-4530-AD56-66E032B6817B}"/>
                  </a:ext>
                </a:extLst>
              </p:cNvPr>
              <p:cNvSpPr/>
              <p:nvPr/>
            </p:nvSpPr>
            <p:spPr>
              <a:xfrm>
                <a:off x="5055666" y="2979281"/>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88" name="Google Shape;1950;p18">
                <a:extLst>
                  <a:ext uri="{FF2B5EF4-FFF2-40B4-BE49-F238E27FC236}">
                    <a16:creationId xmlns:a16="http://schemas.microsoft.com/office/drawing/2014/main" id="{46E3320F-834F-4116-94A9-CC2B09E9F40E}"/>
                  </a:ext>
                </a:extLst>
              </p:cNvPr>
              <p:cNvSpPr/>
              <p:nvPr/>
            </p:nvSpPr>
            <p:spPr>
              <a:xfrm>
                <a:off x="5129940" y="291323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89" name="Google Shape;1951;p18">
                <a:extLst>
                  <a:ext uri="{FF2B5EF4-FFF2-40B4-BE49-F238E27FC236}">
                    <a16:creationId xmlns:a16="http://schemas.microsoft.com/office/drawing/2014/main" id="{7F75DDFD-6CA2-41C1-A818-EF7955B26D36}"/>
                  </a:ext>
                </a:extLst>
              </p:cNvPr>
              <p:cNvSpPr/>
              <p:nvPr/>
            </p:nvSpPr>
            <p:spPr>
              <a:xfrm>
                <a:off x="5064367" y="2979281"/>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90" name="Google Shape;1952;p18">
                <a:extLst>
                  <a:ext uri="{FF2B5EF4-FFF2-40B4-BE49-F238E27FC236}">
                    <a16:creationId xmlns:a16="http://schemas.microsoft.com/office/drawing/2014/main" id="{CF686FD5-0F5C-4AC1-B1CA-68DC98EA099A}"/>
                  </a:ext>
                </a:extLst>
              </p:cNvPr>
              <p:cNvSpPr/>
              <p:nvPr/>
            </p:nvSpPr>
            <p:spPr>
              <a:xfrm>
                <a:off x="5139280" y="291323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91" name="Google Shape;1953;p18">
                <a:extLst>
                  <a:ext uri="{FF2B5EF4-FFF2-40B4-BE49-F238E27FC236}">
                    <a16:creationId xmlns:a16="http://schemas.microsoft.com/office/drawing/2014/main" id="{E1ED68D7-C52D-45EE-B427-D0B8F79FF7F8}"/>
                  </a:ext>
                </a:extLst>
              </p:cNvPr>
              <p:cNvSpPr/>
              <p:nvPr/>
            </p:nvSpPr>
            <p:spPr>
              <a:xfrm>
                <a:off x="5073616" y="2979281"/>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92" name="Google Shape;1954;p18">
                <a:extLst>
                  <a:ext uri="{FF2B5EF4-FFF2-40B4-BE49-F238E27FC236}">
                    <a16:creationId xmlns:a16="http://schemas.microsoft.com/office/drawing/2014/main" id="{31A634A7-4DA1-451E-BF6D-B485B9CF2CFC}"/>
                  </a:ext>
                </a:extLst>
              </p:cNvPr>
              <p:cNvSpPr/>
              <p:nvPr/>
            </p:nvSpPr>
            <p:spPr>
              <a:xfrm>
                <a:off x="5147889" y="292115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93" name="Google Shape;1955;p18">
                <a:extLst>
                  <a:ext uri="{FF2B5EF4-FFF2-40B4-BE49-F238E27FC236}">
                    <a16:creationId xmlns:a16="http://schemas.microsoft.com/office/drawing/2014/main" id="{AF889BC1-7C68-4AB9-978E-00CF20AAFAD0}"/>
                  </a:ext>
                </a:extLst>
              </p:cNvPr>
              <p:cNvSpPr/>
              <p:nvPr/>
            </p:nvSpPr>
            <p:spPr>
              <a:xfrm>
                <a:off x="5082316" y="298720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94" name="Google Shape;1956;p18">
                <a:extLst>
                  <a:ext uri="{FF2B5EF4-FFF2-40B4-BE49-F238E27FC236}">
                    <a16:creationId xmlns:a16="http://schemas.microsoft.com/office/drawing/2014/main" id="{E282E19C-75CD-47B8-8956-F0478CBBECF3}"/>
                  </a:ext>
                </a:extLst>
              </p:cNvPr>
              <p:cNvSpPr/>
              <p:nvPr/>
            </p:nvSpPr>
            <p:spPr>
              <a:xfrm>
                <a:off x="5153659" y="2930368"/>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95" name="Google Shape;1957;p18">
                <a:extLst>
                  <a:ext uri="{FF2B5EF4-FFF2-40B4-BE49-F238E27FC236}">
                    <a16:creationId xmlns:a16="http://schemas.microsoft.com/office/drawing/2014/main" id="{4FAE524A-5EEE-4565-92B0-69BFED95DC1C}"/>
                  </a:ext>
                </a:extLst>
              </p:cNvPr>
              <p:cNvSpPr/>
              <p:nvPr/>
            </p:nvSpPr>
            <p:spPr>
              <a:xfrm>
                <a:off x="5087994" y="299641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96" name="Google Shape;1958;p18">
                <a:extLst>
                  <a:ext uri="{FF2B5EF4-FFF2-40B4-BE49-F238E27FC236}">
                    <a16:creationId xmlns:a16="http://schemas.microsoft.com/office/drawing/2014/main" id="{DCB7A0F0-F6A6-44B3-9BFA-8D4CD3783B97}"/>
                  </a:ext>
                </a:extLst>
              </p:cNvPr>
              <p:cNvSpPr/>
              <p:nvPr/>
            </p:nvSpPr>
            <p:spPr>
              <a:xfrm>
                <a:off x="5164099" y="2930368"/>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97" name="Google Shape;1959;p18">
                <a:extLst>
                  <a:ext uri="{FF2B5EF4-FFF2-40B4-BE49-F238E27FC236}">
                    <a16:creationId xmlns:a16="http://schemas.microsoft.com/office/drawing/2014/main" id="{DF99CBFF-86E1-4CAD-8F6B-DEC4A15D47D3}"/>
                  </a:ext>
                </a:extLst>
              </p:cNvPr>
              <p:cNvSpPr/>
              <p:nvPr/>
            </p:nvSpPr>
            <p:spPr>
              <a:xfrm>
                <a:off x="5098435" y="299641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98" name="Google Shape;1960;p18">
                <a:extLst>
                  <a:ext uri="{FF2B5EF4-FFF2-40B4-BE49-F238E27FC236}">
                    <a16:creationId xmlns:a16="http://schemas.microsoft.com/office/drawing/2014/main" id="{BC5320FD-E365-4187-B18B-F1198DA5EC05}"/>
                  </a:ext>
                </a:extLst>
              </p:cNvPr>
              <p:cNvSpPr/>
              <p:nvPr/>
            </p:nvSpPr>
            <p:spPr>
              <a:xfrm>
                <a:off x="5186995" y="2930368"/>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899" name="Google Shape;1961;p18">
                <a:extLst>
                  <a:ext uri="{FF2B5EF4-FFF2-40B4-BE49-F238E27FC236}">
                    <a16:creationId xmlns:a16="http://schemas.microsoft.com/office/drawing/2014/main" id="{E4196F4F-5069-4168-912B-2BCDFCFB9B59}"/>
                  </a:ext>
                </a:extLst>
              </p:cNvPr>
              <p:cNvSpPr/>
              <p:nvPr/>
            </p:nvSpPr>
            <p:spPr>
              <a:xfrm>
                <a:off x="5121331" y="299641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00" name="Google Shape;1962;p18">
                <a:extLst>
                  <a:ext uri="{FF2B5EF4-FFF2-40B4-BE49-F238E27FC236}">
                    <a16:creationId xmlns:a16="http://schemas.microsoft.com/office/drawing/2014/main" id="{0BC440E2-2329-4718-913D-8F5C695C4319}"/>
                  </a:ext>
                </a:extLst>
              </p:cNvPr>
              <p:cNvSpPr/>
              <p:nvPr/>
            </p:nvSpPr>
            <p:spPr>
              <a:xfrm>
                <a:off x="5196702" y="294160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01" name="Google Shape;1963;p18">
                <a:extLst>
                  <a:ext uri="{FF2B5EF4-FFF2-40B4-BE49-F238E27FC236}">
                    <a16:creationId xmlns:a16="http://schemas.microsoft.com/office/drawing/2014/main" id="{EBBB2E23-77E1-4ED3-9DC1-89A50B9B4255}"/>
                  </a:ext>
                </a:extLst>
              </p:cNvPr>
              <p:cNvSpPr/>
              <p:nvPr/>
            </p:nvSpPr>
            <p:spPr>
              <a:xfrm>
                <a:off x="5131038" y="300765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02" name="Google Shape;1964;p18">
                <a:extLst>
                  <a:ext uri="{FF2B5EF4-FFF2-40B4-BE49-F238E27FC236}">
                    <a16:creationId xmlns:a16="http://schemas.microsoft.com/office/drawing/2014/main" id="{33F401C8-D7C9-4CE1-8B9E-E5C31B3CB5CB}"/>
                  </a:ext>
                </a:extLst>
              </p:cNvPr>
              <p:cNvSpPr/>
              <p:nvPr/>
            </p:nvSpPr>
            <p:spPr>
              <a:xfrm>
                <a:off x="5204945" y="294160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03" name="Google Shape;1965;p18">
                <a:extLst>
                  <a:ext uri="{FF2B5EF4-FFF2-40B4-BE49-F238E27FC236}">
                    <a16:creationId xmlns:a16="http://schemas.microsoft.com/office/drawing/2014/main" id="{FE8B0EB7-1730-46A7-8FA9-C09C458E973B}"/>
                  </a:ext>
                </a:extLst>
              </p:cNvPr>
              <p:cNvSpPr/>
              <p:nvPr/>
            </p:nvSpPr>
            <p:spPr>
              <a:xfrm>
                <a:off x="5139280" y="300765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04" name="Google Shape;1966;p18">
                <a:extLst>
                  <a:ext uri="{FF2B5EF4-FFF2-40B4-BE49-F238E27FC236}">
                    <a16:creationId xmlns:a16="http://schemas.microsoft.com/office/drawing/2014/main" id="{F98049AB-6FC6-4A09-A825-46FBABC54D87}"/>
                  </a:ext>
                </a:extLst>
              </p:cNvPr>
              <p:cNvSpPr/>
              <p:nvPr/>
            </p:nvSpPr>
            <p:spPr>
              <a:xfrm>
                <a:off x="5214195" y="2953858"/>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05" name="Google Shape;1967;p18">
                <a:extLst>
                  <a:ext uri="{FF2B5EF4-FFF2-40B4-BE49-F238E27FC236}">
                    <a16:creationId xmlns:a16="http://schemas.microsoft.com/office/drawing/2014/main" id="{662CD28E-51F0-4E3E-B0B6-0C910BD88D8D}"/>
                  </a:ext>
                </a:extLst>
              </p:cNvPr>
              <p:cNvSpPr/>
              <p:nvPr/>
            </p:nvSpPr>
            <p:spPr>
              <a:xfrm>
                <a:off x="5148622" y="3019904"/>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06" name="Google Shape;1968;p18">
                <a:extLst>
                  <a:ext uri="{FF2B5EF4-FFF2-40B4-BE49-F238E27FC236}">
                    <a16:creationId xmlns:a16="http://schemas.microsoft.com/office/drawing/2014/main" id="{8767CEAE-B7AD-4D94-9275-8F8A3D105A6F}"/>
                  </a:ext>
                </a:extLst>
              </p:cNvPr>
              <p:cNvSpPr/>
              <p:nvPr/>
            </p:nvSpPr>
            <p:spPr>
              <a:xfrm>
                <a:off x="5252568" y="296721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07" name="Google Shape;1969;p18">
                <a:extLst>
                  <a:ext uri="{FF2B5EF4-FFF2-40B4-BE49-F238E27FC236}">
                    <a16:creationId xmlns:a16="http://schemas.microsoft.com/office/drawing/2014/main" id="{8EE8C675-4BCE-415B-8D7E-F301A6272012}"/>
                  </a:ext>
                </a:extLst>
              </p:cNvPr>
              <p:cNvSpPr/>
              <p:nvPr/>
            </p:nvSpPr>
            <p:spPr>
              <a:xfrm>
                <a:off x="5186995" y="303326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08" name="Google Shape;1970;p18">
                <a:extLst>
                  <a:ext uri="{FF2B5EF4-FFF2-40B4-BE49-F238E27FC236}">
                    <a16:creationId xmlns:a16="http://schemas.microsoft.com/office/drawing/2014/main" id="{64E990DB-E438-4639-BCB6-E82222320CB5}"/>
                  </a:ext>
                </a:extLst>
              </p:cNvPr>
              <p:cNvSpPr/>
              <p:nvPr/>
            </p:nvSpPr>
            <p:spPr>
              <a:xfrm>
                <a:off x="5275005" y="296721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09" name="Google Shape;1971;p18">
                <a:extLst>
                  <a:ext uri="{FF2B5EF4-FFF2-40B4-BE49-F238E27FC236}">
                    <a16:creationId xmlns:a16="http://schemas.microsoft.com/office/drawing/2014/main" id="{7AA099CE-7838-4E42-AC31-D3EAF9623BE5}"/>
                  </a:ext>
                </a:extLst>
              </p:cNvPr>
              <p:cNvSpPr/>
              <p:nvPr/>
            </p:nvSpPr>
            <p:spPr>
              <a:xfrm>
                <a:off x="5209341" y="303326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10" name="Google Shape;1972;p18">
                <a:extLst>
                  <a:ext uri="{FF2B5EF4-FFF2-40B4-BE49-F238E27FC236}">
                    <a16:creationId xmlns:a16="http://schemas.microsoft.com/office/drawing/2014/main" id="{E12AE3FE-4B3F-49E9-BECD-DE2344706A16}"/>
                  </a:ext>
                </a:extLst>
              </p:cNvPr>
              <p:cNvSpPr/>
              <p:nvPr/>
            </p:nvSpPr>
            <p:spPr>
              <a:xfrm>
                <a:off x="5284896" y="2978544"/>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11" name="Google Shape;1973;p18">
                <a:extLst>
                  <a:ext uri="{FF2B5EF4-FFF2-40B4-BE49-F238E27FC236}">
                    <a16:creationId xmlns:a16="http://schemas.microsoft.com/office/drawing/2014/main" id="{58E5D97A-6D97-493F-8303-A97652BD7157}"/>
                  </a:ext>
                </a:extLst>
              </p:cNvPr>
              <p:cNvSpPr/>
              <p:nvPr/>
            </p:nvSpPr>
            <p:spPr>
              <a:xfrm>
                <a:off x="5219232" y="3044590"/>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12" name="Google Shape;1974;p18">
                <a:extLst>
                  <a:ext uri="{FF2B5EF4-FFF2-40B4-BE49-F238E27FC236}">
                    <a16:creationId xmlns:a16="http://schemas.microsoft.com/office/drawing/2014/main" id="{F705D538-7650-43C0-BDBC-7CD3E730F38B}"/>
                  </a:ext>
                </a:extLst>
              </p:cNvPr>
              <p:cNvSpPr/>
              <p:nvPr/>
            </p:nvSpPr>
            <p:spPr>
              <a:xfrm>
                <a:off x="5329955" y="298720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13" name="Google Shape;1975;p18">
                <a:extLst>
                  <a:ext uri="{FF2B5EF4-FFF2-40B4-BE49-F238E27FC236}">
                    <a16:creationId xmlns:a16="http://schemas.microsoft.com/office/drawing/2014/main" id="{41445E52-4E88-4D10-A125-B10315720CD2}"/>
                  </a:ext>
                </a:extLst>
              </p:cNvPr>
              <p:cNvSpPr/>
              <p:nvPr/>
            </p:nvSpPr>
            <p:spPr>
              <a:xfrm>
                <a:off x="5264291" y="305315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14" name="Google Shape;1976;p18">
                <a:extLst>
                  <a:ext uri="{FF2B5EF4-FFF2-40B4-BE49-F238E27FC236}">
                    <a16:creationId xmlns:a16="http://schemas.microsoft.com/office/drawing/2014/main" id="{31E11D3E-9C09-490A-8041-E2ECAB165934}"/>
                  </a:ext>
                </a:extLst>
              </p:cNvPr>
              <p:cNvSpPr/>
              <p:nvPr/>
            </p:nvSpPr>
            <p:spPr>
              <a:xfrm>
                <a:off x="5357429" y="298720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15" name="Google Shape;1977;p18">
                <a:extLst>
                  <a:ext uri="{FF2B5EF4-FFF2-40B4-BE49-F238E27FC236}">
                    <a16:creationId xmlns:a16="http://schemas.microsoft.com/office/drawing/2014/main" id="{2CD8AE5B-6F2C-41AB-9CA5-84368A5AD28D}"/>
                  </a:ext>
                </a:extLst>
              </p:cNvPr>
              <p:cNvSpPr/>
              <p:nvPr/>
            </p:nvSpPr>
            <p:spPr>
              <a:xfrm>
                <a:off x="5291765" y="305315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16" name="Google Shape;1978;p18">
                <a:extLst>
                  <a:ext uri="{FF2B5EF4-FFF2-40B4-BE49-F238E27FC236}">
                    <a16:creationId xmlns:a16="http://schemas.microsoft.com/office/drawing/2014/main" id="{BFAE475F-4839-400A-A5CD-7B948D43AC01}"/>
                  </a:ext>
                </a:extLst>
              </p:cNvPr>
              <p:cNvSpPr/>
              <p:nvPr/>
            </p:nvSpPr>
            <p:spPr>
              <a:xfrm>
                <a:off x="5366588" y="29970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17" name="Google Shape;1979;p18">
                <a:extLst>
                  <a:ext uri="{FF2B5EF4-FFF2-40B4-BE49-F238E27FC236}">
                    <a16:creationId xmlns:a16="http://schemas.microsoft.com/office/drawing/2014/main" id="{7CEFFF8B-3CF2-45D1-B887-E37C7026150E}"/>
                  </a:ext>
                </a:extLst>
              </p:cNvPr>
              <p:cNvSpPr/>
              <p:nvPr/>
            </p:nvSpPr>
            <p:spPr>
              <a:xfrm>
                <a:off x="5300923" y="30630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18" name="Google Shape;1980;p18">
                <a:extLst>
                  <a:ext uri="{FF2B5EF4-FFF2-40B4-BE49-F238E27FC236}">
                    <a16:creationId xmlns:a16="http://schemas.microsoft.com/office/drawing/2014/main" id="{FC7DA610-7392-49AD-BC3A-FAAF2902872B}"/>
                  </a:ext>
                </a:extLst>
              </p:cNvPr>
              <p:cNvSpPr/>
              <p:nvPr/>
            </p:nvSpPr>
            <p:spPr>
              <a:xfrm>
                <a:off x="5391773" y="301087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19" name="Google Shape;1981;p18">
                <a:extLst>
                  <a:ext uri="{FF2B5EF4-FFF2-40B4-BE49-F238E27FC236}">
                    <a16:creationId xmlns:a16="http://schemas.microsoft.com/office/drawing/2014/main" id="{A3B99D8E-4112-4956-9EF9-AB8E4072C6DD}"/>
                  </a:ext>
                </a:extLst>
              </p:cNvPr>
              <p:cNvSpPr/>
              <p:nvPr/>
            </p:nvSpPr>
            <p:spPr>
              <a:xfrm>
                <a:off x="5326108" y="307683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20" name="Google Shape;1982;p18">
                <a:extLst>
                  <a:ext uri="{FF2B5EF4-FFF2-40B4-BE49-F238E27FC236}">
                    <a16:creationId xmlns:a16="http://schemas.microsoft.com/office/drawing/2014/main" id="{DE4D50D7-E2A7-478C-908B-E8BB44A0A56D}"/>
                  </a:ext>
                </a:extLst>
              </p:cNvPr>
              <p:cNvSpPr/>
              <p:nvPr/>
            </p:nvSpPr>
            <p:spPr>
              <a:xfrm>
                <a:off x="5399374" y="301087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21" name="Google Shape;1983;p18">
                <a:extLst>
                  <a:ext uri="{FF2B5EF4-FFF2-40B4-BE49-F238E27FC236}">
                    <a16:creationId xmlns:a16="http://schemas.microsoft.com/office/drawing/2014/main" id="{F5A52039-96FC-4846-ADBF-D7C37681C7B6}"/>
                  </a:ext>
                </a:extLst>
              </p:cNvPr>
              <p:cNvSpPr/>
              <p:nvPr/>
            </p:nvSpPr>
            <p:spPr>
              <a:xfrm>
                <a:off x="5333709" y="3076830"/>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22" name="Google Shape;1984;p18">
                <a:extLst>
                  <a:ext uri="{FF2B5EF4-FFF2-40B4-BE49-F238E27FC236}">
                    <a16:creationId xmlns:a16="http://schemas.microsoft.com/office/drawing/2014/main" id="{5CCFC309-8CA4-4ABB-A30E-831418BE12CA}"/>
                  </a:ext>
                </a:extLst>
              </p:cNvPr>
              <p:cNvSpPr/>
              <p:nvPr/>
            </p:nvSpPr>
            <p:spPr>
              <a:xfrm>
                <a:off x="5406243" y="301087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23" name="Google Shape;1985;p18">
                <a:extLst>
                  <a:ext uri="{FF2B5EF4-FFF2-40B4-BE49-F238E27FC236}">
                    <a16:creationId xmlns:a16="http://schemas.microsoft.com/office/drawing/2014/main" id="{05FA8950-0D0B-4E16-B4D7-F7EC89080530}"/>
                  </a:ext>
                </a:extLst>
              </p:cNvPr>
              <p:cNvSpPr/>
              <p:nvPr/>
            </p:nvSpPr>
            <p:spPr>
              <a:xfrm>
                <a:off x="5340578" y="3076830"/>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24" name="Google Shape;1986;p18">
                <a:extLst>
                  <a:ext uri="{FF2B5EF4-FFF2-40B4-BE49-F238E27FC236}">
                    <a16:creationId xmlns:a16="http://schemas.microsoft.com/office/drawing/2014/main" id="{27349714-CC2D-4BAD-8FB2-EADEF0447EF5}"/>
                  </a:ext>
                </a:extLst>
              </p:cNvPr>
              <p:cNvSpPr/>
              <p:nvPr/>
            </p:nvSpPr>
            <p:spPr>
              <a:xfrm>
                <a:off x="5414669" y="301087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25" name="Google Shape;1987;p18">
                <a:extLst>
                  <a:ext uri="{FF2B5EF4-FFF2-40B4-BE49-F238E27FC236}">
                    <a16:creationId xmlns:a16="http://schemas.microsoft.com/office/drawing/2014/main" id="{8FE6E1AC-C047-46AF-A272-D24D9AEE4785}"/>
                  </a:ext>
                </a:extLst>
              </p:cNvPr>
              <p:cNvSpPr/>
              <p:nvPr/>
            </p:nvSpPr>
            <p:spPr>
              <a:xfrm>
                <a:off x="5349004" y="307683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26" name="Google Shape;1988;p18">
                <a:extLst>
                  <a:ext uri="{FF2B5EF4-FFF2-40B4-BE49-F238E27FC236}">
                    <a16:creationId xmlns:a16="http://schemas.microsoft.com/office/drawing/2014/main" id="{0409183E-7F0D-4428-8038-95D18298DA2B}"/>
                  </a:ext>
                </a:extLst>
              </p:cNvPr>
              <p:cNvSpPr/>
              <p:nvPr/>
            </p:nvSpPr>
            <p:spPr>
              <a:xfrm>
                <a:off x="5423002" y="302469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27" name="Google Shape;1989;p18">
                <a:extLst>
                  <a:ext uri="{FF2B5EF4-FFF2-40B4-BE49-F238E27FC236}">
                    <a16:creationId xmlns:a16="http://schemas.microsoft.com/office/drawing/2014/main" id="{665916A1-D5FA-4D99-87E7-73BB8B0F8936}"/>
                  </a:ext>
                </a:extLst>
              </p:cNvPr>
              <p:cNvSpPr/>
              <p:nvPr/>
            </p:nvSpPr>
            <p:spPr>
              <a:xfrm>
                <a:off x="5357429" y="309064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28" name="Google Shape;1990;p18">
                <a:extLst>
                  <a:ext uri="{FF2B5EF4-FFF2-40B4-BE49-F238E27FC236}">
                    <a16:creationId xmlns:a16="http://schemas.microsoft.com/office/drawing/2014/main" id="{CC25D3EF-9585-4BEB-9F9A-94D927C37EC2}"/>
                  </a:ext>
                </a:extLst>
              </p:cNvPr>
              <p:cNvSpPr/>
              <p:nvPr/>
            </p:nvSpPr>
            <p:spPr>
              <a:xfrm>
                <a:off x="5457346" y="303915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29" name="Google Shape;1991;p18">
                <a:extLst>
                  <a:ext uri="{FF2B5EF4-FFF2-40B4-BE49-F238E27FC236}">
                    <a16:creationId xmlns:a16="http://schemas.microsoft.com/office/drawing/2014/main" id="{51196B72-CB96-48AC-9123-8E225D2F1604}"/>
                  </a:ext>
                </a:extLst>
              </p:cNvPr>
              <p:cNvSpPr/>
              <p:nvPr/>
            </p:nvSpPr>
            <p:spPr>
              <a:xfrm>
                <a:off x="5391773" y="310511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30" name="Google Shape;1992;p18">
                <a:extLst>
                  <a:ext uri="{FF2B5EF4-FFF2-40B4-BE49-F238E27FC236}">
                    <a16:creationId xmlns:a16="http://schemas.microsoft.com/office/drawing/2014/main" id="{7DD88D87-A1D0-43C9-83A7-5DE6848FE41B}"/>
                  </a:ext>
                </a:extLst>
              </p:cNvPr>
              <p:cNvSpPr/>
              <p:nvPr/>
            </p:nvSpPr>
            <p:spPr>
              <a:xfrm>
                <a:off x="5480241" y="3044590"/>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31" name="Google Shape;1993;p18">
                <a:extLst>
                  <a:ext uri="{FF2B5EF4-FFF2-40B4-BE49-F238E27FC236}">
                    <a16:creationId xmlns:a16="http://schemas.microsoft.com/office/drawing/2014/main" id="{BFDF1CCA-21E5-4C2D-B18F-5D3CBD7A4DB5}"/>
                  </a:ext>
                </a:extLst>
              </p:cNvPr>
              <p:cNvSpPr/>
              <p:nvPr/>
            </p:nvSpPr>
            <p:spPr>
              <a:xfrm>
                <a:off x="5414669" y="311063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32" name="Google Shape;1994;p18">
                <a:extLst>
                  <a:ext uri="{FF2B5EF4-FFF2-40B4-BE49-F238E27FC236}">
                    <a16:creationId xmlns:a16="http://schemas.microsoft.com/office/drawing/2014/main" id="{93A373B3-56E1-4EC4-9D58-9ED2418E3AB6}"/>
                  </a:ext>
                </a:extLst>
              </p:cNvPr>
              <p:cNvSpPr/>
              <p:nvPr/>
            </p:nvSpPr>
            <p:spPr>
              <a:xfrm>
                <a:off x="5490499" y="305702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33" name="Google Shape;1995;p18">
                <a:extLst>
                  <a:ext uri="{FF2B5EF4-FFF2-40B4-BE49-F238E27FC236}">
                    <a16:creationId xmlns:a16="http://schemas.microsoft.com/office/drawing/2014/main" id="{E204F4CF-EA1F-4A50-98B1-38E4CA237D27}"/>
                  </a:ext>
                </a:extLst>
              </p:cNvPr>
              <p:cNvSpPr/>
              <p:nvPr/>
            </p:nvSpPr>
            <p:spPr>
              <a:xfrm>
                <a:off x="5424833" y="3123072"/>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34" name="Google Shape;1996;p18">
                <a:extLst>
                  <a:ext uri="{FF2B5EF4-FFF2-40B4-BE49-F238E27FC236}">
                    <a16:creationId xmlns:a16="http://schemas.microsoft.com/office/drawing/2014/main" id="{A7B96CA8-5186-4AEE-B5B9-E30EF00E5C36}"/>
                  </a:ext>
                </a:extLst>
              </p:cNvPr>
              <p:cNvSpPr/>
              <p:nvPr/>
            </p:nvSpPr>
            <p:spPr>
              <a:xfrm>
                <a:off x="5499657" y="3063013"/>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35" name="Google Shape;1997;p18">
                <a:extLst>
                  <a:ext uri="{FF2B5EF4-FFF2-40B4-BE49-F238E27FC236}">
                    <a16:creationId xmlns:a16="http://schemas.microsoft.com/office/drawing/2014/main" id="{27BC078D-2FEE-4136-BBD2-20BA9C88CF53}"/>
                  </a:ext>
                </a:extLst>
              </p:cNvPr>
              <p:cNvSpPr/>
              <p:nvPr/>
            </p:nvSpPr>
            <p:spPr>
              <a:xfrm>
                <a:off x="5433992" y="3129059"/>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36" name="Google Shape;1998;p18">
                <a:extLst>
                  <a:ext uri="{FF2B5EF4-FFF2-40B4-BE49-F238E27FC236}">
                    <a16:creationId xmlns:a16="http://schemas.microsoft.com/office/drawing/2014/main" id="{6F303686-7E38-4D66-A2AF-7DD47D9B4B4C}"/>
                  </a:ext>
                </a:extLst>
              </p:cNvPr>
              <p:cNvSpPr/>
              <p:nvPr/>
            </p:nvSpPr>
            <p:spPr>
              <a:xfrm>
                <a:off x="5503869" y="3063013"/>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37" name="Google Shape;1999;p18">
                <a:extLst>
                  <a:ext uri="{FF2B5EF4-FFF2-40B4-BE49-F238E27FC236}">
                    <a16:creationId xmlns:a16="http://schemas.microsoft.com/office/drawing/2014/main" id="{D18DFB29-47C0-4CC0-BE48-5962358E6421}"/>
                  </a:ext>
                </a:extLst>
              </p:cNvPr>
              <p:cNvSpPr/>
              <p:nvPr/>
            </p:nvSpPr>
            <p:spPr>
              <a:xfrm>
                <a:off x="5438205" y="3129059"/>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38" name="Google Shape;2000;p18">
                <a:extLst>
                  <a:ext uri="{FF2B5EF4-FFF2-40B4-BE49-F238E27FC236}">
                    <a16:creationId xmlns:a16="http://schemas.microsoft.com/office/drawing/2014/main" id="{4CE9A612-0CC8-428E-B415-C274E283DA5D}"/>
                  </a:ext>
                </a:extLst>
              </p:cNvPr>
              <p:cNvSpPr/>
              <p:nvPr/>
            </p:nvSpPr>
            <p:spPr>
              <a:xfrm>
                <a:off x="5526491" y="3073606"/>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39" name="Google Shape;2001;p18">
                <a:extLst>
                  <a:ext uri="{FF2B5EF4-FFF2-40B4-BE49-F238E27FC236}">
                    <a16:creationId xmlns:a16="http://schemas.microsoft.com/office/drawing/2014/main" id="{B3B041F1-72A9-4CD3-8247-C7697A777D9F}"/>
                  </a:ext>
                </a:extLst>
              </p:cNvPr>
              <p:cNvSpPr/>
              <p:nvPr/>
            </p:nvSpPr>
            <p:spPr>
              <a:xfrm>
                <a:off x="5460825" y="313965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40" name="Google Shape;2002;p18">
                <a:extLst>
                  <a:ext uri="{FF2B5EF4-FFF2-40B4-BE49-F238E27FC236}">
                    <a16:creationId xmlns:a16="http://schemas.microsoft.com/office/drawing/2014/main" id="{59711BB8-72BC-48D2-808F-0C636C7FB5FF}"/>
                  </a:ext>
                </a:extLst>
              </p:cNvPr>
              <p:cNvSpPr/>
              <p:nvPr/>
            </p:nvSpPr>
            <p:spPr>
              <a:xfrm>
                <a:off x="5530612" y="3073606"/>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41" name="Google Shape;2003;p18">
                <a:extLst>
                  <a:ext uri="{FF2B5EF4-FFF2-40B4-BE49-F238E27FC236}">
                    <a16:creationId xmlns:a16="http://schemas.microsoft.com/office/drawing/2014/main" id="{9409712B-D6D0-4292-AB31-74E5BCC968F3}"/>
                  </a:ext>
                </a:extLst>
              </p:cNvPr>
              <p:cNvSpPr/>
              <p:nvPr/>
            </p:nvSpPr>
            <p:spPr>
              <a:xfrm>
                <a:off x="5465039" y="313965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42" name="Google Shape;2004;p18">
                <a:extLst>
                  <a:ext uri="{FF2B5EF4-FFF2-40B4-BE49-F238E27FC236}">
                    <a16:creationId xmlns:a16="http://schemas.microsoft.com/office/drawing/2014/main" id="{6139C76C-2119-4D6B-89D2-D6AD3081B64A}"/>
                  </a:ext>
                </a:extLst>
              </p:cNvPr>
              <p:cNvSpPr/>
              <p:nvPr/>
            </p:nvSpPr>
            <p:spPr>
              <a:xfrm>
                <a:off x="5537480" y="3073606"/>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43" name="Google Shape;2005;p18">
                <a:extLst>
                  <a:ext uri="{FF2B5EF4-FFF2-40B4-BE49-F238E27FC236}">
                    <a16:creationId xmlns:a16="http://schemas.microsoft.com/office/drawing/2014/main" id="{2B75D41A-373C-4396-80B2-C51F7516ED30}"/>
                  </a:ext>
                </a:extLst>
              </p:cNvPr>
              <p:cNvSpPr/>
              <p:nvPr/>
            </p:nvSpPr>
            <p:spPr>
              <a:xfrm>
                <a:off x="5471907" y="313965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44" name="Google Shape;2006;p18">
                <a:extLst>
                  <a:ext uri="{FF2B5EF4-FFF2-40B4-BE49-F238E27FC236}">
                    <a16:creationId xmlns:a16="http://schemas.microsoft.com/office/drawing/2014/main" id="{04F537B8-1A4B-4A74-982B-D892AAC12FEF}"/>
                  </a:ext>
                </a:extLst>
              </p:cNvPr>
              <p:cNvSpPr/>
              <p:nvPr/>
            </p:nvSpPr>
            <p:spPr>
              <a:xfrm>
                <a:off x="5559643" y="3076830"/>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45" name="Google Shape;2007;p18">
                <a:extLst>
                  <a:ext uri="{FF2B5EF4-FFF2-40B4-BE49-F238E27FC236}">
                    <a16:creationId xmlns:a16="http://schemas.microsoft.com/office/drawing/2014/main" id="{54F16C3E-C746-41C6-8DE1-CF9563DCCD09}"/>
                  </a:ext>
                </a:extLst>
              </p:cNvPr>
              <p:cNvSpPr/>
              <p:nvPr/>
            </p:nvSpPr>
            <p:spPr>
              <a:xfrm>
                <a:off x="5493979" y="3142877"/>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46" name="Google Shape;2008;p18">
                <a:extLst>
                  <a:ext uri="{FF2B5EF4-FFF2-40B4-BE49-F238E27FC236}">
                    <a16:creationId xmlns:a16="http://schemas.microsoft.com/office/drawing/2014/main" id="{7E3FED12-3A0B-43DA-9262-92F22FF8AAEC}"/>
                  </a:ext>
                </a:extLst>
              </p:cNvPr>
              <p:cNvSpPr/>
              <p:nvPr/>
            </p:nvSpPr>
            <p:spPr>
              <a:xfrm>
                <a:off x="5568160" y="307664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47" name="Google Shape;2009;p18">
                <a:extLst>
                  <a:ext uri="{FF2B5EF4-FFF2-40B4-BE49-F238E27FC236}">
                    <a16:creationId xmlns:a16="http://schemas.microsoft.com/office/drawing/2014/main" id="{FB00E707-FBF7-466C-B0A0-542E01CFFDF4}"/>
                  </a:ext>
                </a:extLst>
              </p:cNvPr>
              <p:cNvSpPr/>
              <p:nvPr/>
            </p:nvSpPr>
            <p:spPr>
              <a:xfrm>
                <a:off x="5502496" y="3142600"/>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48" name="Google Shape;2010;p18">
                <a:extLst>
                  <a:ext uri="{FF2B5EF4-FFF2-40B4-BE49-F238E27FC236}">
                    <a16:creationId xmlns:a16="http://schemas.microsoft.com/office/drawing/2014/main" id="{B1CA2901-2406-483E-AE13-D957AE966D2F}"/>
                  </a:ext>
                </a:extLst>
              </p:cNvPr>
              <p:cNvSpPr/>
              <p:nvPr/>
            </p:nvSpPr>
            <p:spPr>
              <a:xfrm>
                <a:off x="5577227" y="3085950"/>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49" name="Google Shape;2011;p18">
                <a:extLst>
                  <a:ext uri="{FF2B5EF4-FFF2-40B4-BE49-F238E27FC236}">
                    <a16:creationId xmlns:a16="http://schemas.microsoft.com/office/drawing/2014/main" id="{842E170D-2664-40FD-B7E9-42A6AB10C84A}"/>
                  </a:ext>
                </a:extLst>
              </p:cNvPr>
              <p:cNvSpPr/>
              <p:nvPr/>
            </p:nvSpPr>
            <p:spPr>
              <a:xfrm>
                <a:off x="5511562" y="3151904"/>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50" name="Google Shape;2012;p18">
                <a:extLst>
                  <a:ext uri="{FF2B5EF4-FFF2-40B4-BE49-F238E27FC236}">
                    <a16:creationId xmlns:a16="http://schemas.microsoft.com/office/drawing/2014/main" id="{0320A85A-4301-4DD9-9123-B56A70362E15}"/>
                  </a:ext>
                </a:extLst>
              </p:cNvPr>
              <p:cNvSpPr/>
              <p:nvPr/>
            </p:nvSpPr>
            <p:spPr>
              <a:xfrm>
                <a:off x="5610379" y="3099214"/>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51" name="Google Shape;2013;p18">
                <a:extLst>
                  <a:ext uri="{FF2B5EF4-FFF2-40B4-BE49-F238E27FC236}">
                    <a16:creationId xmlns:a16="http://schemas.microsoft.com/office/drawing/2014/main" id="{B01A4D3E-E95C-4D9A-9E83-0CF0B9F7B0F2}"/>
                  </a:ext>
                </a:extLst>
              </p:cNvPr>
              <p:cNvSpPr/>
              <p:nvPr/>
            </p:nvSpPr>
            <p:spPr>
              <a:xfrm>
                <a:off x="5544806" y="316526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52" name="Google Shape;2014;p18">
                <a:extLst>
                  <a:ext uri="{FF2B5EF4-FFF2-40B4-BE49-F238E27FC236}">
                    <a16:creationId xmlns:a16="http://schemas.microsoft.com/office/drawing/2014/main" id="{1FD348B9-E1AC-4DB0-BE58-F5E1D92A58A4}"/>
                  </a:ext>
                </a:extLst>
              </p:cNvPr>
              <p:cNvSpPr/>
              <p:nvPr/>
            </p:nvSpPr>
            <p:spPr>
              <a:xfrm>
                <a:off x="5621736" y="3105110"/>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53" name="Google Shape;2015;p18">
                <a:extLst>
                  <a:ext uri="{FF2B5EF4-FFF2-40B4-BE49-F238E27FC236}">
                    <a16:creationId xmlns:a16="http://schemas.microsoft.com/office/drawing/2014/main" id="{EAA3864C-ABAA-49F3-A56E-2A2297AA7EF0}"/>
                  </a:ext>
                </a:extLst>
              </p:cNvPr>
              <p:cNvSpPr/>
              <p:nvPr/>
            </p:nvSpPr>
            <p:spPr>
              <a:xfrm>
                <a:off x="5556163" y="3171156"/>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54" name="Google Shape;2016;p18">
                <a:extLst>
                  <a:ext uri="{FF2B5EF4-FFF2-40B4-BE49-F238E27FC236}">
                    <a16:creationId xmlns:a16="http://schemas.microsoft.com/office/drawing/2014/main" id="{607BC67B-8FCF-4E7A-B63A-4123EEE10A37}"/>
                  </a:ext>
                </a:extLst>
              </p:cNvPr>
              <p:cNvSpPr/>
              <p:nvPr/>
            </p:nvSpPr>
            <p:spPr>
              <a:xfrm>
                <a:off x="5630619" y="3115150"/>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55" name="Google Shape;2017;p18">
                <a:extLst>
                  <a:ext uri="{FF2B5EF4-FFF2-40B4-BE49-F238E27FC236}">
                    <a16:creationId xmlns:a16="http://schemas.microsoft.com/office/drawing/2014/main" id="{69F9F41C-B1A5-49F0-98F1-39253C2A351A}"/>
                  </a:ext>
                </a:extLst>
              </p:cNvPr>
              <p:cNvSpPr/>
              <p:nvPr/>
            </p:nvSpPr>
            <p:spPr>
              <a:xfrm>
                <a:off x="5564955" y="3181104"/>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56" name="Google Shape;2018;p18">
                <a:extLst>
                  <a:ext uri="{FF2B5EF4-FFF2-40B4-BE49-F238E27FC236}">
                    <a16:creationId xmlns:a16="http://schemas.microsoft.com/office/drawing/2014/main" id="{AD4736C0-0E43-43A3-B20F-C9D9BE75CA3B}"/>
                  </a:ext>
                </a:extLst>
              </p:cNvPr>
              <p:cNvSpPr/>
              <p:nvPr/>
            </p:nvSpPr>
            <p:spPr>
              <a:xfrm>
                <a:off x="5651957" y="3115150"/>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57" name="Google Shape;2019;p18">
                <a:extLst>
                  <a:ext uri="{FF2B5EF4-FFF2-40B4-BE49-F238E27FC236}">
                    <a16:creationId xmlns:a16="http://schemas.microsoft.com/office/drawing/2014/main" id="{196A3478-F3D8-403C-B0A2-4EF37F013844}"/>
                  </a:ext>
                </a:extLst>
              </p:cNvPr>
              <p:cNvSpPr/>
              <p:nvPr/>
            </p:nvSpPr>
            <p:spPr>
              <a:xfrm>
                <a:off x="5586384" y="3181104"/>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58" name="Google Shape;2020;p18">
                <a:extLst>
                  <a:ext uri="{FF2B5EF4-FFF2-40B4-BE49-F238E27FC236}">
                    <a16:creationId xmlns:a16="http://schemas.microsoft.com/office/drawing/2014/main" id="{F7AE59A2-CC42-4783-AA7F-0E19E70B4C2C}"/>
                  </a:ext>
                </a:extLst>
              </p:cNvPr>
              <p:cNvSpPr/>
              <p:nvPr/>
            </p:nvSpPr>
            <p:spPr>
              <a:xfrm>
                <a:off x="5687400" y="313587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59" name="Google Shape;2021;p18">
                <a:extLst>
                  <a:ext uri="{FF2B5EF4-FFF2-40B4-BE49-F238E27FC236}">
                    <a16:creationId xmlns:a16="http://schemas.microsoft.com/office/drawing/2014/main" id="{6FC1BC7F-40E1-4369-A130-DD6106342C7F}"/>
                  </a:ext>
                </a:extLst>
              </p:cNvPr>
              <p:cNvSpPr/>
              <p:nvPr/>
            </p:nvSpPr>
            <p:spPr>
              <a:xfrm>
                <a:off x="5621736" y="3201830"/>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60" name="Google Shape;2022;p18">
                <a:extLst>
                  <a:ext uri="{FF2B5EF4-FFF2-40B4-BE49-F238E27FC236}">
                    <a16:creationId xmlns:a16="http://schemas.microsoft.com/office/drawing/2014/main" id="{5C7A6065-AE9C-4564-A7E9-50E71284A671}"/>
                  </a:ext>
                </a:extLst>
              </p:cNvPr>
              <p:cNvSpPr/>
              <p:nvPr/>
            </p:nvSpPr>
            <p:spPr>
              <a:xfrm>
                <a:off x="5696284" y="313504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61" name="Google Shape;2023;p18">
                <a:extLst>
                  <a:ext uri="{FF2B5EF4-FFF2-40B4-BE49-F238E27FC236}">
                    <a16:creationId xmlns:a16="http://schemas.microsoft.com/office/drawing/2014/main" id="{9896548C-22D8-416D-B736-429EE45D5B93}"/>
                  </a:ext>
                </a:extLst>
              </p:cNvPr>
              <p:cNvSpPr/>
              <p:nvPr/>
            </p:nvSpPr>
            <p:spPr>
              <a:xfrm>
                <a:off x="5630619" y="3201001"/>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62" name="Google Shape;2024;p18">
                <a:extLst>
                  <a:ext uri="{FF2B5EF4-FFF2-40B4-BE49-F238E27FC236}">
                    <a16:creationId xmlns:a16="http://schemas.microsoft.com/office/drawing/2014/main" id="{9B80F589-4DBE-45C8-BF1C-2B9F97A5FCDE}"/>
                  </a:ext>
                </a:extLst>
              </p:cNvPr>
              <p:cNvSpPr/>
              <p:nvPr/>
            </p:nvSpPr>
            <p:spPr>
              <a:xfrm>
                <a:off x="5732917" y="315669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63" name="Google Shape;2025;p18">
                <a:extLst>
                  <a:ext uri="{FF2B5EF4-FFF2-40B4-BE49-F238E27FC236}">
                    <a16:creationId xmlns:a16="http://schemas.microsoft.com/office/drawing/2014/main" id="{BA6028E3-25CC-48D0-A9BA-095CBB53FF41}"/>
                  </a:ext>
                </a:extLst>
              </p:cNvPr>
              <p:cNvSpPr/>
              <p:nvPr/>
            </p:nvSpPr>
            <p:spPr>
              <a:xfrm>
                <a:off x="5667252" y="322274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64" name="Google Shape;2026;p18">
                <a:extLst>
                  <a:ext uri="{FF2B5EF4-FFF2-40B4-BE49-F238E27FC236}">
                    <a16:creationId xmlns:a16="http://schemas.microsoft.com/office/drawing/2014/main" id="{7B7BD71A-E2EE-47A1-8DAF-0494EADA9545}"/>
                  </a:ext>
                </a:extLst>
              </p:cNvPr>
              <p:cNvSpPr/>
              <p:nvPr/>
            </p:nvSpPr>
            <p:spPr>
              <a:xfrm>
                <a:off x="5757277" y="317115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65" name="Google Shape;2027;p18">
                <a:extLst>
                  <a:ext uri="{FF2B5EF4-FFF2-40B4-BE49-F238E27FC236}">
                    <a16:creationId xmlns:a16="http://schemas.microsoft.com/office/drawing/2014/main" id="{46FDB088-3391-4D49-B599-A5F92A060FA4}"/>
                  </a:ext>
                </a:extLst>
              </p:cNvPr>
              <p:cNvSpPr/>
              <p:nvPr/>
            </p:nvSpPr>
            <p:spPr>
              <a:xfrm>
                <a:off x="5691704" y="323720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66" name="Google Shape;2028;p18">
                <a:extLst>
                  <a:ext uri="{FF2B5EF4-FFF2-40B4-BE49-F238E27FC236}">
                    <a16:creationId xmlns:a16="http://schemas.microsoft.com/office/drawing/2014/main" id="{67D80DFB-5122-42DC-9478-EE6221DB0445}"/>
                  </a:ext>
                </a:extLst>
              </p:cNvPr>
              <p:cNvSpPr/>
              <p:nvPr/>
            </p:nvSpPr>
            <p:spPr>
              <a:xfrm>
                <a:off x="5780997" y="317659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67" name="Google Shape;2029;p18">
                <a:extLst>
                  <a:ext uri="{FF2B5EF4-FFF2-40B4-BE49-F238E27FC236}">
                    <a16:creationId xmlns:a16="http://schemas.microsoft.com/office/drawing/2014/main" id="{1CBE0FAA-3A4E-4C34-BEB9-39B4FF9108F4}"/>
                  </a:ext>
                </a:extLst>
              </p:cNvPr>
              <p:cNvSpPr/>
              <p:nvPr/>
            </p:nvSpPr>
            <p:spPr>
              <a:xfrm>
                <a:off x="5715333" y="3242637"/>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68" name="Google Shape;2030;p18">
                <a:extLst>
                  <a:ext uri="{FF2B5EF4-FFF2-40B4-BE49-F238E27FC236}">
                    <a16:creationId xmlns:a16="http://schemas.microsoft.com/office/drawing/2014/main" id="{64A086BC-FD54-4BE7-A8C2-86459F481BC9}"/>
                  </a:ext>
                </a:extLst>
              </p:cNvPr>
              <p:cNvSpPr/>
              <p:nvPr/>
            </p:nvSpPr>
            <p:spPr>
              <a:xfrm>
                <a:off x="5792445" y="3181104"/>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69" name="Google Shape;2031;p18">
                <a:extLst>
                  <a:ext uri="{FF2B5EF4-FFF2-40B4-BE49-F238E27FC236}">
                    <a16:creationId xmlns:a16="http://schemas.microsoft.com/office/drawing/2014/main" id="{2D889D5F-A135-4096-9CFF-18ED840518AC}"/>
                  </a:ext>
                </a:extLst>
              </p:cNvPr>
              <p:cNvSpPr/>
              <p:nvPr/>
            </p:nvSpPr>
            <p:spPr>
              <a:xfrm>
                <a:off x="5726780" y="324715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70" name="Google Shape;2032;p18">
                <a:extLst>
                  <a:ext uri="{FF2B5EF4-FFF2-40B4-BE49-F238E27FC236}">
                    <a16:creationId xmlns:a16="http://schemas.microsoft.com/office/drawing/2014/main" id="{77DFD476-45D3-4A05-B8ED-45B1A5F06F79}"/>
                  </a:ext>
                </a:extLst>
              </p:cNvPr>
              <p:cNvSpPr/>
              <p:nvPr/>
            </p:nvSpPr>
            <p:spPr>
              <a:xfrm>
                <a:off x="5798490" y="3181104"/>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71" name="Google Shape;2033;p18">
                <a:extLst>
                  <a:ext uri="{FF2B5EF4-FFF2-40B4-BE49-F238E27FC236}">
                    <a16:creationId xmlns:a16="http://schemas.microsoft.com/office/drawing/2014/main" id="{312CF3AB-66AE-40B0-B37E-1375D2A403B7}"/>
                  </a:ext>
                </a:extLst>
              </p:cNvPr>
              <p:cNvSpPr/>
              <p:nvPr/>
            </p:nvSpPr>
            <p:spPr>
              <a:xfrm>
                <a:off x="5732917" y="324715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72" name="Google Shape;2034;p18">
                <a:extLst>
                  <a:ext uri="{FF2B5EF4-FFF2-40B4-BE49-F238E27FC236}">
                    <a16:creationId xmlns:a16="http://schemas.microsoft.com/office/drawing/2014/main" id="{6AD904D4-3789-4327-A354-6E81DF387029}"/>
                  </a:ext>
                </a:extLst>
              </p:cNvPr>
              <p:cNvSpPr/>
              <p:nvPr/>
            </p:nvSpPr>
            <p:spPr>
              <a:xfrm>
                <a:off x="5798490" y="3181104"/>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73" name="Google Shape;2035;p18">
                <a:extLst>
                  <a:ext uri="{FF2B5EF4-FFF2-40B4-BE49-F238E27FC236}">
                    <a16:creationId xmlns:a16="http://schemas.microsoft.com/office/drawing/2014/main" id="{7DD72797-C8BC-4493-99B4-D342B3506EE9}"/>
                  </a:ext>
                </a:extLst>
              </p:cNvPr>
              <p:cNvSpPr/>
              <p:nvPr/>
            </p:nvSpPr>
            <p:spPr>
              <a:xfrm>
                <a:off x="5732917" y="324715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74" name="Google Shape;2036;p18">
                <a:extLst>
                  <a:ext uri="{FF2B5EF4-FFF2-40B4-BE49-F238E27FC236}">
                    <a16:creationId xmlns:a16="http://schemas.microsoft.com/office/drawing/2014/main" id="{91981710-5344-4B71-A52B-872D46F2741B}"/>
                  </a:ext>
                </a:extLst>
              </p:cNvPr>
              <p:cNvSpPr/>
              <p:nvPr/>
            </p:nvSpPr>
            <p:spPr>
              <a:xfrm>
                <a:off x="5807190" y="318524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75" name="Google Shape;2037;p18">
                <a:extLst>
                  <a:ext uri="{FF2B5EF4-FFF2-40B4-BE49-F238E27FC236}">
                    <a16:creationId xmlns:a16="http://schemas.microsoft.com/office/drawing/2014/main" id="{A3BC1174-2B93-4572-A0A2-D30306D148FC}"/>
                  </a:ext>
                </a:extLst>
              </p:cNvPr>
              <p:cNvSpPr/>
              <p:nvPr/>
            </p:nvSpPr>
            <p:spPr>
              <a:xfrm>
                <a:off x="5741525" y="325120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76" name="Google Shape;2038;p18">
                <a:extLst>
                  <a:ext uri="{FF2B5EF4-FFF2-40B4-BE49-F238E27FC236}">
                    <a16:creationId xmlns:a16="http://schemas.microsoft.com/office/drawing/2014/main" id="{D2A6B5F3-A224-42C9-93BC-8024D27271FE}"/>
                  </a:ext>
                </a:extLst>
              </p:cNvPr>
              <p:cNvSpPr/>
              <p:nvPr/>
            </p:nvSpPr>
            <p:spPr>
              <a:xfrm>
                <a:off x="5813051" y="318524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77" name="Google Shape;2039;p18">
                <a:extLst>
                  <a:ext uri="{FF2B5EF4-FFF2-40B4-BE49-F238E27FC236}">
                    <a16:creationId xmlns:a16="http://schemas.microsoft.com/office/drawing/2014/main" id="{27F6EC9A-2DD4-4C8A-934C-CA568A919231}"/>
                  </a:ext>
                </a:extLst>
              </p:cNvPr>
              <p:cNvSpPr/>
              <p:nvPr/>
            </p:nvSpPr>
            <p:spPr>
              <a:xfrm>
                <a:off x="5747478" y="325120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78" name="Google Shape;2040;p18">
                <a:extLst>
                  <a:ext uri="{FF2B5EF4-FFF2-40B4-BE49-F238E27FC236}">
                    <a16:creationId xmlns:a16="http://schemas.microsoft.com/office/drawing/2014/main" id="{0EA9CF94-0468-4421-A7A4-FC7CF463D6FA}"/>
                  </a:ext>
                </a:extLst>
              </p:cNvPr>
              <p:cNvSpPr/>
              <p:nvPr/>
            </p:nvSpPr>
            <p:spPr>
              <a:xfrm>
                <a:off x="5822942" y="319510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79" name="Google Shape;2041;p18">
                <a:extLst>
                  <a:ext uri="{FF2B5EF4-FFF2-40B4-BE49-F238E27FC236}">
                    <a16:creationId xmlns:a16="http://schemas.microsoft.com/office/drawing/2014/main" id="{E1C957A3-4FAE-4A97-A01E-D0413FF24DE2}"/>
                  </a:ext>
                </a:extLst>
              </p:cNvPr>
              <p:cNvSpPr/>
              <p:nvPr/>
            </p:nvSpPr>
            <p:spPr>
              <a:xfrm>
                <a:off x="5757277" y="3261060"/>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80" name="Google Shape;2042;p18">
                <a:extLst>
                  <a:ext uri="{FF2B5EF4-FFF2-40B4-BE49-F238E27FC236}">
                    <a16:creationId xmlns:a16="http://schemas.microsoft.com/office/drawing/2014/main" id="{E63684DB-1238-4349-9D0D-BDA19DD0CD72}"/>
                  </a:ext>
                </a:extLst>
              </p:cNvPr>
              <p:cNvSpPr/>
              <p:nvPr/>
            </p:nvSpPr>
            <p:spPr>
              <a:xfrm>
                <a:off x="5827521" y="319510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81" name="Google Shape;2043;p18">
                <a:extLst>
                  <a:ext uri="{FF2B5EF4-FFF2-40B4-BE49-F238E27FC236}">
                    <a16:creationId xmlns:a16="http://schemas.microsoft.com/office/drawing/2014/main" id="{60BA6740-1EB3-40DD-8DCD-8F2D03CBF61E}"/>
                  </a:ext>
                </a:extLst>
              </p:cNvPr>
              <p:cNvSpPr/>
              <p:nvPr/>
            </p:nvSpPr>
            <p:spPr>
              <a:xfrm>
                <a:off x="5761857" y="3261060"/>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82" name="Google Shape;2044;p18">
                <a:extLst>
                  <a:ext uri="{FF2B5EF4-FFF2-40B4-BE49-F238E27FC236}">
                    <a16:creationId xmlns:a16="http://schemas.microsoft.com/office/drawing/2014/main" id="{5291DB94-02ED-4E4E-83C7-86BA43765D9F}"/>
                  </a:ext>
                </a:extLst>
              </p:cNvPr>
              <p:cNvSpPr/>
              <p:nvPr/>
            </p:nvSpPr>
            <p:spPr>
              <a:xfrm>
                <a:off x="5831551" y="319510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83" name="Google Shape;2045;p18">
                <a:extLst>
                  <a:ext uri="{FF2B5EF4-FFF2-40B4-BE49-F238E27FC236}">
                    <a16:creationId xmlns:a16="http://schemas.microsoft.com/office/drawing/2014/main" id="{4B2D5E27-64E0-42B1-8686-B1A400AEAF1E}"/>
                  </a:ext>
                </a:extLst>
              </p:cNvPr>
              <p:cNvSpPr/>
              <p:nvPr/>
            </p:nvSpPr>
            <p:spPr>
              <a:xfrm>
                <a:off x="5765978" y="326106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84" name="Google Shape;2046;p18">
                <a:extLst>
                  <a:ext uri="{FF2B5EF4-FFF2-40B4-BE49-F238E27FC236}">
                    <a16:creationId xmlns:a16="http://schemas.microsoft.com/office/drawing/2014/main" id="{55612806-8ACD-400A-A915-96360AA98C69}"/>
                  </a:ext>
                </a:extLst>
              </p:cNvPr>
              <p:cNvSpPr/>
              <p:nvPr/>
            </p:nvSpPr>
            <p:spPr>
              <a:xfrm>
                <a:off x="5880914" y="320569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85" name="Google Shape;2047;p18">
                <a:extLst>
                  <a:ext uri="{FF2B5EF4-FFF2-40B4-BE49-F238E27FC236}">
                    <a16:creationId xmlns:a16="http://schemas.microsoft.com/office/drawing/2014/main" id="{BCF496B7-B8AB-4AA5-B0D5-5D308084BCEF}"/>
                  </a:ext>
                </a:extLst>
              </p:cNvPr>
              <p:cNvSpPr/>
              <p:nvPr/>
            </p:nvSpPr>
            <p:spPr>
              <a:xfrm>
                <a:off x="5815341" y="327165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86" name="Google Shape;2048;p18">
                <a:extLst>
                  <a:ext uri="{FF2B5EF4-FFF2-40B4-BE49-F238E27FC236}">
                    <a16:creationId xmlns:a16="http://schemas.microsoft.com/office/drawing/2014/main" id="{30E02008-B28A-48A8-BB63-49497568FB16}"/>
                  </a:ext>
                </a:extLst>
              </p:cNvPr>
              <p:cNvSpPr/>
              <p:nvPr/>
            </p:nvSpPr>
            <p:spPr>
              <a:xfrm>
                <a:off x="5903809" y="320569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87" name="Google Shape;2049;p18">
                <a:extLst>
                  <a:ext uri="{FF2B5EF4-FFF2-40B4-BE49-F238E27FC236}">
                    <a16:creationId xmlns:a16="http://schemas.microsoft.com/office/drawing/2014/main" id="{DE884449-9EC9-43FB-BFB1-359C5644A582}"/>
                  </a:ext>
                </a:extLst>
              </p:cNvPr>
              <p:cNvSpPr/>
              <p:nvPr/>
            </p:nvSpPr>
            <p:spPr>
              <a:xfrm>
                <a:off x="5838236" y="327165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88" name="Google Shape;2050;p18">
                <a:extLst>
                  <a:ext uri="{FF2B5EF4-FFF2-40B4-BE49-F238E27FC236}">
                    <a16:creationId xmlns:a16="http://schemas.microsoft.com/office/drawing/2014/main" id="{E11664AE-252B-4E39-B0B3-C037049C6865}"/>
                  </a:ext>
                </a:extLst>
              </p:cNvPr>
              <p:cNvSpPr/>
              <p:nvPr/>
            </p:nvSpPr>
            <p:spPr>
              <a:xfrm>
                <a:off x="5913609" y="3212331"/>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89" name="Google Shape;2051;p18">
                <a:extLst>
                  <a:ext uri="{FF2B5EF4-FFF2-40B4-BE49-F238E27FC236}">
                    <a16:creationId xmlns:a16="http://schemas.microsoft.com/office/drawing/2014/main" id="{4F9EAFA7-8FEB-48A8-8E5B-6E1A0DFA8FF2}"/>
                  </a:ext>
                </a:extLst>
              </p:cNvPr>
              <p:cNvSpPr/>
              <p:nvPr/>
            </p:nvSpPr>
            <p:spPr>
              <a:xfrm>
                <a:off x="5847944" y="327837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90" name="Google Shape;2052;p18">
                <a:extLst>
                  <a:ext uri="{FF2B5EF4-FFF2-40B4-BE49-F238E27FC236}">
                    <a16:creationId xmlns:a16="http://schemas.microsoft.com/office/drawing/2014/main" id="{6D90A1CD-6D21-4AB2-845A-A1170DC283A3}"/>
                  </a:ext>
                </a:extLst>
              </p:cNvPr>
              <p:cNvSpPr/>
              <p:nvPr/>
            </p:nvSpPr>
            <p:spPr>
              <a:xfrm>
                <a:off x="5948592" y="3222740"/>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91" name="Google Shape;2053;p18">
                <a:extLst>
                  <a:ext uri="{FF2B5EF4-FFF2-40B4-BE49-F238E27FC236}">
                    <a16:creationId xmlns:a16="http://schemas.microsoft.com/office/drawing/2014/main" id="{6DF32AED-EB4C-4543-AF80-F152B9AAE902}"/>
                  </a:ext>
                </a:extLst>
              </p:cNvPr>
              <p:cNvSpPr/>
              <p:nvPr/>
            </p:nvSpPr>
            <p:spPr>
              <a:xfrm>
                <a:off x="5883019" y="3288694"/>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92" name="Google Shape;2054;p18">
                <a:extLst>
                  <a:ext uri="{FF2B5EF4-FFF2-40B4-BE49-F238E27FC236}">
                    <a16:creationId xmlns:a16="http://schemas.microsoft.com/office/drawing/2014/main" id="{9E2E6C89-B0B7-440B-9EE5-0FC441668FC7}"/>
                  </a:ext>
                </a:extLst>
              </p:cNvPr>
              <p:cNvSpPr/>
              <p:nvPr/>
            </p:nvSpPr>
            <p:spPr>
              <a:xfrm>
                <a:off x="5958758" y="323130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93" name="Google Shape;2055;p18">
                <a:extLst>
                  <a:ext uri="{FF2B5EF4-FFF2-40B4-BE49-F238E27FC236}">
                    <a16:creationId xmlns:a16="http://schemas.microsoft.com/office/drawing/2014/main" id="{B55ED8FF-0D73-4006-8FA8-6D1896589A63}"/>
                  </a:ext>
                </a:extLst>
              </p:cNvPr>
              <p:cNvSpPr/>
              <p:nvPr/>
            </p:nvSpPr>
            <p:spPr>
              <a:xfrm>
                <a:off x="5893185" y="3297261"/>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94" name="Google Shape;2056;p18">
                <a:extLst>
                  <a:ext uri="{FF2B5EF4-FFF2-40B4-BE49-F238E27FC236}">
                    <a16:creationId xmlns:a16="http://schemas.microsoft.com/office/drawing/2014/main" id="{D175BD9F-1451-4569-BEDE-47F49F716D5F}"/>
                  </a:ext>
                </a:extLst>
              </p:cNvPr>
              <p:cNvSpPr/>
              <p:nvPr/>
            </p:nvSpPr>
            <p:spPr>
              <a:xfrm>
                <a:off x="6017829" y="3237202"/>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95" name="Google Shape;2057;p18">
                <a:extLst>
                  <a:ext uri="{FF2B5EF4-FFF2-40B4-BE49-F238E27FC236}">
                    <a16:creationId xmlns:a16="http://schemas.microsoft.com/office/drawing/2014/main" id="{4B0F224E-A1CB-4CB7-BC57-0153BE6BF32B}"/>
                  </a:ext>
                </a:extLst>
              </p:cNvPr>
              <p:cNvSpPr/>
              <p:nvPr/>
            </p:nvSpPr>
            <p:spPr>
              <a:xfrm>
                <a:off x="5952164" y="3303156"/>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96" name="Google Shape;2058;p18">
                <a:extLst>
                  <a:ext uri="{FF2B5EF4-FFF2-40B4-BE49-F238E27FC236}">
                    <a16:creationId xmlns:a16="http://schemas.microsoft.com/office/drawing/2014/main" id="{EAB44961-C817-4457-854B-8890111C6BAB}"/>
                  </a:ext>
                </a:extLst>
              </p:cNvPr>
              <p:cNvSpPr/>
              <p:nvPr/>
            </p:nvSpPr>
            <p:spPr>
              <a:xfrm>
                <a:off x="6074793" y="326704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97" name="Google Shape;2059;p18">
                <a:extLst>
                  <a:ext uri="{FF2B5EF4-FFF2-40B4-BE49-F238E27FC236}">
                    <a16:creationId xmlns:a16="http://schemas.microsoft.com/office/drawing/2014/main" id="{FF425A85-4287-417B-8B01-E3FAA866EC91}"/>
                  </a:ext>
                </a:extLst>
              </p:cNvPr>
              <p:cNvSpPr/>
              <p:nvPr/>
            </p:nvSpPr>
            <p:spPr>
              <a:xfrm>
                <a:off x="6009128" y="333309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98" name="Google Shape;2060;p18">
                <a:extLst>
                  <a:ext uri="{FF2B5EF4-FFF2-40B4-BE49-F238E27FC236}">
                    <a16:creationId xmlns:a16="http://schemas.microsoft.com/office/drawing/2014/main" id="{D467A86D-066E-4A1D-A288-F7319A9257C6}"/>
                  </a:ext>
                </a:extLst>
              </p:cNvPr>
              <p:cNvSpPr/>
              <p:nvPr/>
            </p:nvSpPr>
            <p:spPr>
              <a:xfrm>
                <a:off x="6083402" y="3273679"/>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999" name="Google Shape;2061;p18">
                <a:extLst>
                  <a:ext uri="{FF2B5EF4-FFF2-40B4-BE49-F238E27FC236}">
                    <a16:creationId xmlns:a16="http://schemas.microsoft.com/office/drawing/2014/main" id="{56EC569A-42BA-4032-8371-F4E33DB14881}"/>
                  </a:ext>
                </a:extLst>
              </p:cNvPr>
              <p:cNvSpPr/>
              <p:nvPr/>
            </p:nvSpPr>
            <p:spPr>
              <a:xfrm>
                <a:off x="6017829" y="333972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00" name="Google Shape;2062;p18">
                <a:extLst>
                  <a:ext uri="{FF2B5EF4-FFF2-40B4-BE49-F238E27FC236}">
                    <a16:creationId xmlns:a16="http://schemas.microsoft.com/office/drawing/2014/main" id="{FD247090-0122-4EE3-81DA-5810ADD91EA4}"/>
                  </a:ext>
                </a:extLst>
              </p:cNvPr>
              <p:cNvSpPr/>
              <p:nvPr/>
            </p:nvSpPr>
            <p:spPr>
              <a:xfrm>
                <a:off x="6087523" y="3273679"/>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01" name="Google Shape;2063;p18">
                <a:extLst>
                  <a:ext uri="{FF2B5EF4-FFF2-40B4-BE49-F238E27FC236}">
                    <a16:creationId xmlns:a16="http://schemas.microsoft.com/office/drawing/2014/main" id="{7AE9F7D0-EE72-4219-A3B4-26D5EEAFA995}"/>
                  </a:ext>
                </a:extLst>
              </p:cNvPr>
              <p:cNvSpPr/>
              <p:nvPr/>
            </p:nvSpPr>
            <p:spPr>
              <a:xfrm>
                <a:off x="6021858" y="3339725"/>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02" name="Google Shape;2064;p18">
                <a:extLst>
                  <a:ext uri="{FF2B5EF4-FFF2-40B4-BE49-F238E27FC236}">
                    <a16:creationId xmlns:a16="http://schemas.microsoft.com/office/drawing/2014/main" id="{4A1F5798-5281-4276-A3E7-9AB357337981}"/>
                  </a:ext>
                </a:extLst>
              </p:cNvPr>
              <p:cNvSpPr/>
              <p:nvPr/>
            </p:nvSpPr>
            <p:spPr>
              <a:xfrm>
                <a:off x="6108403" y="328344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03" name="Google Shape;2065;p18">
                <a:extLst>
                  <a:ext uri="{FF2B5EF4-FFF2-40B4-BE49-F238E27FC236}">
                    <a16:creationId xmlns:a16="http://schemas.microsoft.com/office/drawing/2014/main" id="{66199196-B3F9-481B-A74E-7692217DBD1A}"/>
                  </a:ext>
                </a:extLst>
              </p:cNvPr>
              <p:cNvSpPr/>
              <p:nvPr/>
            </p:nvSpPr>
            <p:spPr>
              <a:xfrm>
                <a:off x="6042739" y="334939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04" name="Google Shape;2066;p18">
                <a:extLst>
                  <a:ext uri="{FF2B5EF4-FFF2-40B4-BE49-F238E27FC236}">
                    <a16:creationId xmlns:a16="http://schemas.microsoft.com/office/drawing/2014/main" id="{D6403DC5-F31F-4797-9809-AFA1C5A37DCB}"/>
                  </a:ext>
                </a:extLst>
              </p:cNvPr>
              <p:cNvSpPr/>
              <p:nvPr/>
            </p:nvSpPr>
            <p:spPr>
              <a:xfrm>
                <a:off x="6114448" y="328344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05" name="Google Shape;2067;p18">
                <a:extLst>
                  <a:ext uri="{FF2B5EF4-FFF2-40B4-BE49-F238E27FC236}">
                    <a16:creationId xmlns:a16="http://schemas.microsoft.com/office/drawing/2014/main" id="{C60040AA-EDBF-4FAA-8096-73804446911C}"/>
                  </a:ext>
                </a:extLst>
              </p:cNvPr>
              <p:cNvSpPr/>
              <p:nvPr/>
            </p:nvSpPr>
            <p:spPr>
              <a:xfrm>
                <a:off x="6048875" y="334939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06" name="Google Shape;2068;p18">
                <a:extLst>
                  <a:ext uri="{FF2B5EF4-FFF2-40B4-BE49-F238E27FC236}">
                    <a16:creationId xmlns:a16="http://schemas.microsoft.com/office/drawing/2014/main" id="{A927ED69-86EB-4A03-B496-033BA5A26456}"/>
                  </a:ext>
                </a:extLst>
              </p:cNvPr>
              <p:cNvSpPr/>
              <p:nvPr/>
            </p:nvSpPr>
            <p:spPr>
              <a:xfrm>
                <a:off x="6121592" y="328344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07" name="Google Shape;2069;p18">
                <a:extLst>
                  <a:ext uri="{FF2B5EF4-FFF2-40B4-BE49-F238E27FC236}">
                    <a16:creationId xmlns:a16="http://schemas.microsoft.com/office/drawing/2014/main" id="{FDA3372B-C8AC-4B6C-8E58-9766A46D9685}"/>
                  </a:ext>
                </a:extLst>
              </p:cNvPr>
              <p:cNvSpPr/>
              <p:nvPr/>
            </p:nvSpPr>
            <p:spPr>
              <a:xfrm>
                <a:off x="6055927" y="3349397"/>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08" name="Google Shape;2070;p18">
                <a:extLst>
                  <a:ext uri="{FF2B5EF4-FFF2-40B4-BE49-F238E27FC236}">
                    <a16:creationId xmlns:a16="http://schemas.microsoft.com/office/drawing/2014/main" id="{AA499E9D-9154-45D1-A968-09DC5F4A83DB}"/>
                  </a:ext>
                </a:extLst>
              </p:cNvPr>
              <p:cNvSpPr/>
              <p:nvPr/>
            </p:nvSpPr>
            <p:spPr>
              <a:xfrm>
                <a:off x="6140457" y="329523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09" name="Google Shape;2071;p18">
                <a:extLst>
                  <a:ext uri="{FF2B5EF4-FFF2-40B4-BE49-F238E27FC236}">
                    <a16:creationId xmlns:a16="http://schemas.microsoft.com/office/drawing/2014/main" id="{2364826F-0F57-4BB9-A6A7-7FDD6256FB91}"/>
                  </a:ext>
                </a:extLst>
              </p:cNvPr>
              <p:cNvSpPr/>
              <p:nvPr/>
            </p:nvSpPr>
            <p:spPr>
              <a:xfrm>
                <a:off x="6074793" y="336118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10" name="Google Shape;2072;p18">
                <a:extLst>
                  <a:ext uri="{FF2B5EF4-FFF2-40B4-BE49-F238E27FC236}">
                    <a16:creationId xmlns:a16="http://schemas.microsoft.com/office/drawing/2014/main" id="{3F461237-1A1F-4879-AB69-FB52F0DA5A2B}"/>
                  </a:ext>
                </a:extLst>
              </p:cNvPr>
              <p:cNvSpPr/>
              <p:nvPr/>
            </p:nvSpPr>
            <p:spPr>
              <a:xfrm>
                <a:off x="6149066" y="329523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11" name="Google Shape;2073;p18">
                <a:extLst>
                  <a:ext uri="{FF2B5EF4-FFF2-40B4-BE49-F238E27FC236}">
                    <a16:creationId xmlns:a16="http://schemas.microsoft.com/office/drawing/2014/main" id="{60EC82B1-CF74-4F39-8C4F-1F1825BEF96D}"/>
                  </a:ext>
                </a:extLst>
              </p:cNvPr>
              <p:cNvSpPr/>
              <p:nvPr/>
            </p:nvSpPr>
            <p:spPr>
              <a:xfrm>
                <a:off x="6083402" y="3361188"/>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12" name="Google Shape;2074;p18">
                <a:extLst>
                  <a:ext uri="{FF2B5EF4-FFF2-40B4-BE49-F238E27FC236}">
                    <a16:creationId xmlns:a16="http://schemas.microsoft.com/office/drawing/2014/main" id="{60805CED-EA70-4EC0-BA2C-B2296D3E2DE2}"/>
                  </a:ext>
                </a:extLst>
              </p:cNvPr>
              <p:cNvSpPr/>
              <p:nvPr/>
            </p:nvSpPr>
            <p:spPr>
              <a:xfrm>
                <a:off x="6153187" y="329523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13" name="Google Shape;2075;p18">
                <a:extLst>
                  <a:ext uri="{FF2B5EF4-FFF2-40B4-BE49-F238E27FC236}">
                    <a16:creationId xmlns:a16="http://schemas.microsoft.com/office/drawing/2014/main" id="{88113CAF-A3DE-4AD1-A58D-B371F3900C3A}"/>
                  </a:ext>
                </a:extLst>
              </p:cNvPr>
              <p:cNvSpPr/>
              <p:nvPr/>
            </p:nvSpPr>
            <p:spPr>
              <a:xfrm>
                <a:off x="6087523" y="336118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14" name="Google Shape;2076;p18">
                <a:extLst>
                  <a:ext uri="{FF2B5EF4-FFF2-40B4-BE49-F238E27FC236}">
                    <a16:creationId xmlns:a16="http://schemas.microsoft.com/office/drawing/2014/main" id="{BB9685FC-B4B0-40F3-B300-2FEFDBA19605}"/>
                  </a:ext>
                </a:extLst>
              </p:cNvPr>
              <p:cNvSpPr/>
              <p:nvPr/>
            </p:nvSpPr>
            <p:spPr>
              <a:xfrm>
                <a:off x="6163811" y="33054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15" name="Google Shape;2077;p18">
                <a:extLst>
                  <a:ext uri="{FF2B5EF4-FFF2-40B4-BE49-F238E27FC236}">
                    <a16:creationId xmlns:a16="http://schemas.microsoft.com/office/drawing/2014/main" id="{E71AD96D-CDC0-470A-8592-8AFB179D002C}"/>
                  </a:ext>
                </a:extLst>
              </p:cNvPr>
              <p:cNvSpPr/>
              <p:nvPr/>
            </p:nvSpPr>
            <p:spPr>
              <a:xfrm>
                <a:off x="6098238" y="33714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16" name="Google Shape;2078;p18">
                <a:extLst>
                  <a:ext uri="{FF2B5EF4-FFF2-40B4-BE49-F238E27FC236}">
                    <a16:creationId xmlns:a16="http://schemas.microsoft.com/office/drawing/2014/main" id="{E17B7DA8-00E7-4FD3-A169-6AED34E229E5}"/>
                  </a:ext>
                </a:extLst>
              </p:cNvPr>
              <p:cNvSpPr/>
              <p:nvPr/>
            </p:nvSpPr>
            <p:spPr>
              <a:xfrm>
                <a:off x="6173976" y="33054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17" name="Google Shape;2079;p18">
                <a:extLst>
                  <a:ext uri="{FF2B5EF4-FFF2-40B4-BE49-F238E27FC236}">
                    <a16:creationId xmlns:a16="http://schemas.microsoft.com/office/drawing/2014/main" id="{16D01D50-784E-43CA-94B4-F6459ED3BA40}"/>
                  </a:ext>
                </a:extLst>
              </p:cNvPr>
              <p:cNvSpPr/>
              <p:nvPr/>
            </p:nvSpPr>
            <p:spPr>
              <a:xfrm>
                <a:off x="6108403" y="33714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18" name="Google Shape;2080;p18">
                <a:extLst>
                  <a:ext uri="{FF2B5EF4-FFF2-40B4-BE49-F238E27FC236}">
                    <a16:creationId xmlns:a16="http://schemas.microsoft.com/office/drawing/2014/main" id="{F559A19A-88AB-463C-BA44-A436BA0E4CAE}"/>
                  </a:ext>
                </a:extLst>
              </p:cNvPr>
              <p:cNvSpPr/>
              <p:nvPr/>
            </p:nvSpPr>
            <p:spPr>
              <a:xfrm>
                <a:off x="6180113" y="33054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19" name="Google Shape;2081;p18">
                <a:extLst>
                  <a:ext uri="{FF2B5EF4-FFF2-40B4-BE49-F238E27FC236}">
                    <a16:creationId xmlns:a16="http://schemas.microsoft.com/office/drawing/2014/main" id="{07BF6CC2-D734-4210-BB42-059C8832CDD8}"/>
                  </a:ext>
                </a:extLst>
              </p:cNvPr>
              <p:cNvSpPr/>
              <p:nvPr/>
            </p:nvSpPr>
            <p:spPr>
              <a:xfrm>
                <a:off x="6114448" y="337141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20" name="Google Shape;2082;p18">
                <a:extLst>
                  <a:ext uri="{FF2B5EF4-FFF2-40B4-BE49-F238E27FC236}">
                    <a16:creationId xmlns:a16="http://schemas.microsoft.com/office/drawing/2014/main" id="{BE3F7D16-2BB4-4F28-B1C6-9AB5F055B4E3}"/>
                  </a:ext>
                </a:extLst>
              </p:cNvPr>
              <p:cNvSpPr/>
              <p:nvPr/>
            </p:nvSpPr>
            <p:spPr>
              <a:xfrm>
                <a:off x="6187256" y="33054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21" name="Google Shape;2083;p18">
                <a:extLst>
                  <a:ext uri="{FF2B5EF4-FFF2-40B4-BE49-F238E27FC236}">
                    <a16:creationId xmlns:a16="http://schemas.microsoft.com/office/drawing/2014/main" id="{E9058156-C7D1-454D-A7D7-19485B7925E0}"/>
                  </a:ext>
                </a:extLst>
              </p:cNvPr>
              <p:cNvSpPr/>
              <p:nvPr/>
            </p:nvSpPr>
            <p:spPr>
              <a:xfrm>
                <a:off x="6121592" y="33714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22" name="Google Shape;2084;p18">
                <a:extLst>
                  <a:ext uri="{FF2B5EF4-FFF2-40B4-BE49-F238E27FC236}">
                    <a16:creationId xmlns:a16="http://schemas.microsoft.com/office/drawing/2014/main" id="{7CC01AEE-4476-4AB7-BC93-98D8A3D99BC6}"/>
                  </a:ext>
                </a:extLst>
              </p:cNvPr>
              <p:cNvSpPr/>
              <p:nvPr/>
            </p:nvSpPr>
            <p:spPr>
              <a:xfrm>
                <a:off x="6192843" y="33054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23" name="Google Shape;2085;p18">
                <a:extLst>
                  <a:ext uri="{FF2B5EF4-FFF2-40B4-BE49-F238E27FC236}">
                    <a16:creationId xmlns:a16="http://schemas.microsoft.com/office/drawing/2014/main" id="{E05074C3-750A-4F55-BDD8-8F642556D7C5}"/>
                  </a:ext>
                </a:extLst>
              </p:cNvPr>
              <p:cNvSpPr/>
              <p:nvPr/>
            </p:nvSpPr>
            <p:spPr>
              <a:xfrm>
                <a:off x="6127178" y="337141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24" name="Google Shape;2086;p18">
                <a:extLst>
                  <a:ext uri="{FF2B5EF4-FFF2-40B4-BE49-F238E27FC236}">
                    <a16:creationId xmlns:a16="http://schemas.microsoft.com/office/drawing/2014/main" id="{3EA382D3-48EA-43E4-A1BD-90B30ABA7F9F}"/>
                  </a:ext>
                </a:extLst>
              </p:cNvPr>
              <p:cNvSpPr/>
              <p:nvPr/>
            </p:nvSpPr>
            <p:spPr>
              <a:xfrm>
                <a:off x="6200443" y="331669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25" name="Google Shape;2087;p18">
                <a:extLst>
                  <a:ext uri="{FF2B5EF4-FFF2-40B4-BE49-F238E27FC236}">
                    <a16:creationId xmlns:a16="http://schemas.microsoft.com/office/drawing/2014/main" id="{8FB6C775-816A-410D-B32A-F5AFBB37B3E4}"/>
                  </a:ext>
                </a:extLst>
              </p:cNvPr>
              <p:cNvSpPr/>
              <p:nvPr/>
            </p:nvSpPr>
            <p:spPr>
              <a:xfrm>
                <a:off x="6134870" y="338274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26" name="Google Shape;2088;p18">
                <a:extLst>
                  <a:ext uri="{FF2B5EF4-FFF2-40B4-BE49-F238E27FC236}">
                    <a16:creationId xmlns:a16="http://schemas.microsoft.com/office/drawing/2014/main" id="{2DEA7AE0-4A64-489D-A4FA-9C7D5347DF4F}"/>
                  </a:ext>
                </a:extLst>
              </p:cNvPr>
              <p:cNvSpPr/>
              <p:nvPr/>
            </p:nvSpPr>
            <p:spPr>
              <a:xfrm>
                <a:off x="6223339" y="3321763"/>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27" name="Google Shape;2089;p18">
                <a:extLst>
                  <a:ext uri="{FF2B5EF4-FFF2-40B4-BE49-F238E27FC236}">
                    <a16:creationId xmlns:a16="http://schemas.microsoft.com/office/drawing/2014/main" id="{25F978A5-236C-4703-8A16-52FAA540D84B}"/>
                  </a:ext>
                </a:extLst>
              </p:cNvPr>
              <p:cNvSpPr/>
              <p:nvPr/>
            </p:nvSpPr>
            <p:spPr>
              <a:xfrm>
                <a:off x="6157766" y="338780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28" name="Google Shape;2090;p18">
                <a:extLst>
                  <a:ext uri="{FF2B5EF4-FFF2-40B4-BE49-F238E27FC236}">
                    <a16:creationId xmlns:a16="http://schemas.microsoft.com/office/drawing/2014/main" id="{5A686E46-041C-440D-AB4A-CC849B2E7D38}"/>
                  </a:ext>
                </a:extLst>
              </p:cNvPr>
              <p:cNvSpPr/>
              <p:nvPr/>
            </p:nvSpPr>
            <p:spPr>
              <a:xfrm>
                <a:off x="6230757" y="3321763"/>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29" name="Google Shape;2091;p18">
                <a:extLst>
                  <a:ext uri="{FF2B5EF4-FFF2-40B4-BE49-F238E27FC236}">
                    <a16:creationId xmlns:a16="http://schemas.microsoft.com/office/drawing/2014/main" id="{CC94588C-BC8F-4AF6-87CD-419115969F2C}"/>
                  </a:ext>
                </a:extLst>
              </p:cNvPr>
              <p:cNvSpPr/>
              <p:nvPr/>
            </p:nvSpPr>
            <p:spPr>
              <a:xfrm>
                <a:off x="6165093" y="338780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30" name="Google Shape;2092;p18">
                <a:extLst>
                  <a:ext uri="{FF2B5EF4-FFF2-40B4-BE49-F238E27FC236}">
                    <a16:creationId xmlns:a16="http://schemas.microsoft.com/office/drawing/2014/main" id="{79350907-35C6-43AE-A6B6-5BC12AE2F075}"/>
                  </a:ext>
                </a:extLst>
              </p:cNvPr>
              <p:cNvSpPr/>
              <p:nvPr/>
            </p:nvSpPr>
            <p:spPr>
              <a:xfrm>
                <a:off x="6238084" y="3321763"/>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31" name="Google Shape;2093;p18">
                <a:extLst>
                  <a:ext uri="{FF2B5EF4-FFF2-40B4-BE49-F238E27FC236}">
                    <a16:creationId xmlns:a16="http://schemas.microsoft.com/office/drawing/2014/main" id="{F681AE54-78B9-4336-8E68-C601BEBEF0FD}"/>
                  </a:ext>
                </a:extLst>
              </p:cNvPr>
              <p:cNvSpPr/>
              <p:nvPr/>
            </p:nvSpPr>
            <p:spPr>
              <a:xfrm>
                <a:off x="6172511" y="338780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32" name="Google Shape;2094;p18">
                <a:extLst>
                  <a:ext uri="{FF2B5EF4-FFF2-40B4-BE49-F238E27FC236}">
                    <a16:creationId xmlns:a16="http://schemas.microsoft.com/office/drawing/2014/main" id="{74436E2F-31BD-40C3-AA35-FBF7CDBE5AA1}"/>
                  </a:ext>
                </a:extLst>
              </p:cNvPr>
              <p:cNvSpPr/>
              <p:nvPr/>
            </p:nvSpPr>
            <p:spPr>
              <a:xfrm>
                <a:off x="6245502" y="3321763"/>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33" name="Google Shape;2095;p18">
                <a:extLst>
                  <a:ext uri="{FF2B5EF4-FFF2-40B4-BE49-F238E27FC236}">
                    <a16:creationId xmlns:a16="http://schemas.microsoft.com/office/drawing/2014/main" id="{39D586F2-A797-466D-9A96-8A92537BFDAB}"/>
                  </a:ext>
                </a:extLst>
              </p:cNvPr>
              <p:cNvSpPr/>
              <p:nvPr/>
            </p:nvSpPr>
            <p:spPr>
              <a:xfrm>
                <a:off x="6179838" y="3387809"/>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34" name="Google Shape;2096;p18">
                <a:extLst>
                  <a:ext uri="{FF2B5EF4-FFF2-40B4-BE49-F238E27FC236}">
                    <a16:creationId xmlns:a16="http://schemas.microsoft.com/office/drawing/2014/main" id="{DC87B7FE-9014-488A-BFC3-89C4C5FBE302}"/>
                  </a:ext>
                </a:extLst>
              </p:cNvPr>
              <p:cNvSpPr/>
              <p:nvPr/>
            </p:nvSpPr>
            <p:spPr>
              <a:xfrm>
                <a:off x="6252829" y="3321763"/>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35" name="Google Shape;2097;p18">
                <a:extLst>
                  <a:ext uri="{FF2B5EF4-FFF2-40B4-BE49-F238E27FC236}">
                    <a16:creationId xmlns:a16="http://schemas.microsoft.com/office/drawing/2014/main" id="{5381A9AB-CABE-4530-A3E6-4153FDDB1A6E}"/>
                  </a:ext>
                </a:extLst>
              </p:cNvPr>
              <p:cNvSpPr/>
              <p:nvPr/>
            </p:nvSpPr>
            <p:spPr>
              <a:xfrm>
                <a:off x="6187256" y="338780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36" name="Google Shape;2098;p18">
                <a:extLst>
                  <a:ext uri="{FF2B5EF4-FFF2-40B4-BE49-F238E27FC236}">
                    <a16:creationId xmlns:a16="http://schemas.microsoft.com/office/drawing/2014/main" id="{B8D04B1A-9957-498F-8C9C-5495CE8D0B88}"/>
                  </a:ext>
                </a:extLst>
              </p:cNvPr>
              <p:cNvSpPr/>
              <p:nvPr/>
            </p:nvSpPr>
            <p:spPr>
              <a:xfrm>
                <a:off x="6258507" y="3321763"/>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37" name="Google Shape;2099;p18">
                <a:extLst>
                  <a:ext uri="{FF2B5EF4-FFF2-40B4-BE49-F238E27FC236}">
                    <a16:creationId xmlns:a16="http://schemas.microsoft.com/office/drawing/2014/main" id="{7196EA43-EB64-4FBA-ACE5-7B7879E77568}"/>
                  </a:ext>
                </a:extLst>
              </p:cNvPr>
              <p:cNvSpPr/>
              <p:nvPr/>
            </p:nvSpPr>
            <p:spPr>
              <a:xfrm>
                <a:off x="6192843" y="338780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38" name="Google Shape;2100;p18">
                <a:extLst>
                  <a:ext uri="{FF2B5EF4-FFF2-40B4-BE49-F238E27FC236}">
                    <a16:creationId xmlns:a16="http://schemas.microsoft.com/office/drawing/2014/main" id="{6C08EB9B-5C8A-4D90-AC2C-8F3F2B62F315}"/>
                  </a:ext>
                </a:extLst>
              </p:cNvPr>
              <p:cNvSpPr/>
              <p:nvPr/>
            </p:nvSpPr>
            <p:spPr>
              <a:xfrm>
                <a:off x="6280303" y="332950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39" name="Google Shape;2101;p18">
                <a:extLst>
                  <a:ext uri="{FF2B5EF4-FFF2-40B4-BE49-F238E27FC236}">
                    <a16:creationId xmlns:a16="http://schemas.microsoft.com/office/drawing/2014/main" id="{5581C7B2-FCDB-45E8-A69B-D7470A233914}"/>
                  </a:ext>
                </a:extLst>
              </p:cNvPr>
              <p:cNvSpPr/>
              <p:nvPr/>
            </p:nvSpPr>
            <p:spPr>
              <a:xfrm>
                <a:off x="6214730" y="339554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40" name="Google Shape;2102;p18">
                <a:extLst>
                  <a:ext uri="{FF2B5EF4-FFF2-40B4-BE49-F238E27FC236}">
                    <a16:creationId xmlns:a16="http://schemas.microsoft.com/office/drawing/2014/main" id="{22CF41BB-C4FD-40DB-A529-880BC1FA6EC8}"/>
                  </a:ext>
                </a:extLst>
              </p:cNvPr>
              <p:cNvSpPr/>
              <p:nvPr/>
            </p:nvSpPr>
            <p:spPr>
              <a:xfrm>
                <a:off x="6289004" y="334433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41" name="Google Shape;2103;p18">
                <a:extLst>
                  <a:ext uri="{FF2B5EF4-FFF2-40B4-BE49-F238E27FC236}">
                    <a16:creationId xmlns:a16="http://schemas.microsoft.com/office/drawing/2014/main" id="{44E95D50-9D7E-4F24-9329-D2F607AB596A}"/>
                  </a:ext>
                </a:extLst>
              </p:cNvPr>
              <p:cNvSpPr/>
              <p:nvPr/>
            </p:nvSpPr>
            <p:spPr>
              <a:xfrm>
                <a:off x="6223339" y="3410377"/>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42" name="Google Shape;2104;p18">
                <a:extLst>
                  <a:ext uri="{FF2B5EF4-FFF2-40B4-BE49-F238E27FC236}">
                    <a16:creationId xmlns:a16="http://schemas.microsoft.com/office/drawing/2014/main" id="{32AD8E71-2504-464A-B721-25FC8E839AE3}"/>
                  </a:ext>
                </a:extLst>
              </p:cNvPr>
              <p:cNvSpPr/>
              <p:nvPr/>
            </p:nvSpPr>
            <p:spPr>
              <a:xfrm>
                <a:off x="6296330" y="334433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43" name="Google Shape;2105;p18">
                <a:extLst>
                  <a:ext uri="{FF2B5EF4-FFF2-40B4-BE49-F238E27FC236}">
                    <a16:creationId xmlns:a16="http://schemas.microsoft.com/office/drawing/2014/main" id="{5DC2A135-CE2E-49B6-8D9A-C1DCF1D86528}"/>
                  </a:ext>
                </a:extLst>
              </p:cNvPr>
              <p:cNvSpPr/>
              <p:nvPr/>
            </p:nvSpPr>
            <p:spPr>
              <a:xfrm>
                <a:off x="6230757" y="341037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44" name="Google Shape;2106;p18">
                <a:extLst>
                  <a:ext uri="{FF2B5EF4-FFF2-40B4-BE49-F238E27FC236}">
                    <a16:creationId xmlns:a16="http://schemas.microsoft.com/office/drawing/2014/main" id="{CA78709D-DCA0-496F-BF62-208521B0632E}"/>
                  </a:ext>
                </a:extLst>
              </p:cNvPr>
              <p:cNvSpPr/>
              <p:nvPr/>
            </p:nvSpPr>
            <p:spPr>
              <a:xfrm>
                <a:off x="6303749" y="334433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45" name="Google Shape;2107;p18">
                <a:extLst>
                  <a:ext uri="{FF2B5EF4-FFF2-40B4-BE49-F238E27FC236}">
                    <a16:creationId xmlns:a16="http://schemas.microsoft.com/office/drawing/2014/main" id="{6F877A77-D2DC-4F63-9CBD-9DE3D6B31C30}"/>
                  </a:ext>
                </a:extLst>
              </p:cNvPr>
              <p:cNvSpPr/>
              <p:nvPr/>
            </p:nvSpPr>
            <p:spPr>
              <a:xfrm>
                <a:off x="6238084" y="3410377"/>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46" name="Google Shape;2108;p18">
                <a:extLst>
                  <a:ext uri="{FF2B5EF4-FFF2-40B4-BE49-F238E27FC236}">
                    <a16:creationId xmlns:a16="http://schemas.microsoft.com/office/drawing/2014/main" id="{35BF6640-E5DC-429C-9C0B-4A1A7CBA453E}"/>
                  </a:ext>
                </a:extLst>
              </p:cNvPr>
              <p:cNvSpPr/>
              <p:nvPr/>
            </p:nvSpPr>
            <p:spPr>
              <a:xfrm>
                <a:off x="6311167" y="3354740"/>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47" name="Google Shape;2109;p18">
                <a:extLst>
                  <a:ext uri="{FF2B5EF4-FFF2-40B4-BE49-F238E27FC236}">
                    <a16:creationId xmlns:a16="http://schemas.microsoft.com/office/drawing/2014/main" id="{A34C9AAB-BD15-4797-939D-7767C8AC6DD6}"/>
                  </a:ext>
                </a:extLst>
              </p:cNvPr>
              <p:cNvSpPr/>
              <p:nvPr/>
            </p:nvSpPr>
            <p:spPr>
              <a:xfrm>
                <a:off x="6245502" y="3420786"/>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48" name="Google Shape;2110;p18">
                <a:extLst>
                  <a:ext uri="{FF2B5EF4-FFF2-40B4-BE49-F238E27FC236}">
                    <a16:creationId xmlns:a16="http://schemas.microsoft.com/office/drawing/2014/main" id="{E11979E7-E393-4C8D-98E7-974BC58EF175}"/>
                  </a:ext>
                </a:extLst>
              </p:cNvPr>
              <p:cNvSpPr/>
              <p:nvPr/>
            </p:nvSpPr>
            <p:spPr>
              <a:xfrm>
                <a:off x="6320507" y="3354740"/>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49" name="Google Shape;2111;p18">
                <a:extLst>
                  <a:ext uri="{FF2B5EF4-FFF2-40B4-BE49-F238E27FC236}">
                    <a16:creationId xmlns:a16="http://schemas.microsoft.com/office/drawing/2014/main" id="{AA0110F9-4B7E-4AA6-A923-BD94C4A3703F}"/>
                  </a:ext>
                </a:extLst>
              </p:cNvPr>
              <p:cNvSpPr/>
              <p:nvPr/>
            </p:nvSpPr>
            <p:spPr>
              <a:xfrm>
                <a:off x="6254935" y="3420786"/>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50" name="Google Shape;2112;p18">
                <a:extLst>
                  <a:ext uri="{FF2B5EF4-FFF2-40B4-BE49-F238E27FC236}">
                    <a16:creationId xmlns:a16="http://schemas.microsoft.com/office/drawing/2014/main" id="{0F6EB9E3-D0E3-44F1-BD26-96BEEF768FBE}"/>
                  </a:ext>
                </a:extLst>
              </p:cNvPr>
              <p:cNvSpPr/>
              <p:nvPr/>
            </p:nvSpPr>
            <p:spPr>
              <a:xfrm>
                <a:off x="6327194" y="3354740"/>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51" name="Google Shape;2113;p18">
                <a:extLst>
                  <a:ext uri="{FF2B5EF4-FFF2-40B4-BE49-F238E27FC236}">
                    <a16:creationId xmlns:a16="http://schemas.microsoft.com/office/drawing/2014/main" id="{D4181749-3757-4500-93A5-8A4780C4C469}"/>
                  </a:ext>
                </a:extLst>
              </p:cNvPr>
              <p:cNvSpPr/>
              <p:nvPr/>
            </p:nvSpPr>
            <p:spPr>
              <a:xfrm>
                <a:off x="6261529" y="3420786"/>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52" name="Google Shape;2114;p18">
                <a:extLst>
                  <a:ext uri="{FF2B5EF4-FFF2-40B4-BE49-F238E27FC236}">
                    <a16:creationId xmlns:a16="http://schemas.microsoft.com/office/drawing/2014/main" id="{2BC9233E-6972-435B-A53A-5A51CC4570D6}"/>
                  </a:ext>
                </a:extLst>
              </p:cNvPr>
              <p:cNvSpPr/>
              <p:nvPr/>
            </p:nvSpPr>
            <p:spPr>
              <a:xfrm>
                <a:off x="6349540" y="3357780"/>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53" name="Google Shape;2115;p18">
                <a:extLst>
                  <a:ext uri="{FF2B5EF4-FFF2-40B4-BE49-F238E27FC236}">
                    <a16:creationId xmlns:a16="http://schemas.microsoft.com/office/drawing/2014/main" id="{6603EBF8-82A8-4792-A2D8-DABC21F64DB8}"/>
                  </a:ext>
                </a:extLst>
              </p:cNvPr>
              <p:cNvSpPr/>
              <p:nvPr/>
            </p:nvSpPr>
            <p:spPr>
              <a:xfrm>
                <a:off x="6283875" y="3423826"/>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54" name="Google Shape;2116;p18">
                <a:extLst>
                  <a:ext uri="{FF2B5EF4-FFF2-40B4-BE49-F238E27FC236}">
                    <a16:creationId xmlns:a16="http://schemas.microsoft.com/office/drawing/2014/main" id="{1248E402-BFDD-4A8A-A74C-6C1A6732A70E}"/>
                  </a:ext>
                </a:extLst>
              </p:cNvPr>
              <p:cNvSpPr/>
              <p:nvPr/>
            </p:nvSpPr>
            <p:spPr>
              <a:xfrm>
                <a:off x="6357690" y="3371413"/>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55" name="Google Shape;2117;p18">
                <a:extLst>
                  <a:ext uri="{FF2B5EF4-FFF2-40B4-BE49-F238E27FC236}">
                    <a16:creationId xmlns:a16="http://schemas.microsoft.com/office/drawing/2014/main" id="{3CED0116-6629-48F6-BDD4-EF88E4978549}"/>
                  </a:ext>
                </a:extLst>
              </p:cNvPr>
              <p:cNvSpPr/>
              <p:nvPr/>
            </p:nvSpPr>
            <p:spPr>
              <a:xfrm>
                <a:off x="6292026" y="3437459"/>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56" name="Google Shape;2118;p18">
                <a:extLst>
                  <a:ext uri="{FF2B5EF4-FFF2-40B4-BE49-F238E27FC236}">
                    <a16:creationId xmlns:a16="http://schemas.microsoft.com/office/drawing/2014/main" id="{4936F1D1-A1F7-4302-B7BA-0BBA54E7207A}"/>
                  </a:ext>
                </a:extLst>
              </p:cNvPr>
              <p:cNvSpPr/>
              <p:nvPr/>
            </p:nvSpPr>
            <p:spPr>
              <a:xfrm>
                <a:off x="6365841" y="3371413"/>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57" name="Google Shape;2119;p18">
                <a:extLst>
                  <a:ext uri="{FF2B5EF4-FFF2-40B4-BE49-F238E27FC236}">
                    <a16:creationId xmlns:a16="http://schemas.microsoft.com/office/drawing/2014/main" id="{0C43E3D2-E043-4D0F-BF78-F37AF89D8159}"/>
                  </a:ext>
                </a:extLst>
              </p:cNvPr>
              <p:cNvSpPr/>
              <p:nvPr/>
            </p:nvSpPr>
            <p:spPr>
              <a:xfrm>
                <a:off x="6300177" y="343745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58" name="Google Shape;2120;p18">
                <a:extLst>
                  <a:ext uri="{FF2B5EF4-FFF2-40B4-BE49-F238E27FC236}">
                    <a16:creationId xmlns:a16="http://schemas.microsoft.com/office/drawing/2014/main" id="{F9F12246-F208-47EB-9512-643FAA4C1811}"/>
                  </a:ext>
                </a:extLst>
              </p:cNvPr>
              <p:cNvSpPr/>
              <p:nvPr/>
            </p:nvSpPr>
            <p:spPr>
              <a:xfrm>
                <a:off x="6371428" y="337675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59" name="Google Shape;2121;p18">
                <a:extLst>
                  <a:ext uri="{FF2B5EF4-FFF2-40B4-BE49-F238E27FC236}">
                    <a16:creationId xmlns:a16="http://schemas.microsoft.com/office/drawing/2014/main" id="{9518E201-07C0-4F88-94B0-96C3EF7FC48E}"/>
                  </a:ext>
                </a:extLst>
              </p:cNvPr>
              <p:cNvSpPr/>
              <p:nvPr/>
            </p:nvSpPr>
            <p:spPr>
              <a:xfrm>
                <a:off x="6305763" y="3442709"/>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60" name="Google Shape;2122;p18">
                <a:extLst>
                  <a:ext uri="{FF2B5EF4-FFF2-40B4-BE49-F238E27FC236}">
                    <a16:creationId xmlns:a16="http://schemas.microsoft.com/office/drawing/2014/main" id="{6F27F07A-FACE-4473-9A3E-76DD860336EB}"/>
                  </a:ext>
                </a:extLst>
              </p:cNvPr>
              <p:cNvSpPr/>
              <p:nvPr/>
            </p:nvSpPr>
            <p:spPr>
              <a:xfrm>
                <a:off x="6376740" y="337675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61" name="Google Shape;2123;p18">
                <a:extLst>
                  <a:ext uri="{FF2B5EF4-FFF2-40B4-BE49-F238E27FC236}">
                    <a16:creationId xmlns:a16="http://schemas.microsoft.com/office/drawing/2014/main" id="{D1D7B24C-96B6-486E-B27D-6F9320A8A606}"/>
                  </a:ext>
                </a:extLst>
              </p:cNvPr>
              <p:cNvSpPr/>
              <p:nvPr/>
            </p:nvSpPr>
            <p:spPr>
              <a:xfrm>
                <a:off x="6311167" y="344270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62" name="Google Shape;2124;p18">
                <a:extLst>
                  <a:ext uri="{FF2B5EF4-FFF2-40B4-BE49-F238E27FC236}">
                    <a16:creationId xmlns:a16="http://schemas.microsoft.com/office/drawing/2014/main" id="{A929DCD3-6CAA-4A5A-970F-5F119CFA1DBD}"/>
                  </a:ext>
                </a:extLst>
              </p:cNvPr>
              <p:cNvSpPr/>
              <p:nvPr/>
            </p:nvSpPr>
            <p:spPr>
              <a:xfrm>
                <a:off x="6384158" y="337675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63" name="Google Shape;2125;p18">
                <a:extLst>
                  <a:ext uri="{FF2B5EF4-FFF2-40B4-BE49-F238E27FC236}">
                    <a16:creationId xmlns:a16="http://schemas.microsoft.com/office/drawing/2014/main" id="{6A6097C1-F75E-48C6-872F-889FFD492F29}"/>
                  </a:ext>
                </a:extLst>
              </p:cNvPr>
              <p:cNvSpPr/>
              <p:nvPr/>
            </p:nvSpPr>
            <p:spPr>
              <a:xfrm>
                <a:off x="6318493" y="344270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64" name="Google Shape;2126;p18">
                <a:extLst>
                  <a:ext uri="{FF2B5EF4-FFF2-40B4-BE49-F238E27FC236}">
                    <a16:creationId xmlns:a16="http://schemas.microsoft.com/office/drawing/2014/main" id="{272391D4-2C7A-4E67-9B02-274D24A6C3CF}"/>
                  </a:ext>
                </a:extLst>
              </p:cNvPr>
              <p:cNvSpPr/>
              <p:nvPr/>
            </p:nvSpPr>
            <p:spPr>
              <a:xfrm>
                <a:off x="6408793" y="337675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65" name="Google Shape;2127;p18">
                <a:extLst>
                  <a:ext uri="{FF2B5EF4-FFF2-40B4-BE49-F238E27FC236}">
                    <a16:creationId xmlns:a16="http://schemas.microsoft.com/office/drawing/2014/main" id="{1608BFD0-B925-49A1-B980-3235618403DC}"/>
                  </a:ext>
                </a:extLst>
              </p:cNvPr>
              <p:cNvSpPr/>
              <p:nvPr/>
            </p:nvSpPr>
            <p:spPr>
              <a:xfrm>
                <a:off x="6343220" y="344270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66" name="Google Shape;2128;p18">
                <a:extLst>
                  <a:ext uri="{FF2B5EF4-FFF2-40B4-BE49-F238E27FC236}">
                    <a16:creationId xmlns:a16="http://schemas.microsoft.com/office/drawing/2014/main" id="{67EB81DB-A89A-4F98-A3A9-4574B059844A}"/>
                  </a:ext>
                </a:extLst>
              </p:cNvPr>
              <p:cNvSpPr/>
              <p:nvPr/>
            </p:nvSpPr>
            <p:spPr>
              <a:xfrm>
                <a:off x="6414197" y="337675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67" name="Google Shape;2129;p18">
                <a:extLst>
                  <a:ext uri="{FF2B5EF4-FFF2-40B4-BE49-F238E27FC236}">
                    <a16:creationId xmlns:a16="http://schemas.microsoft.com/office/drawing/2014/main" id="{775E2E78-CA1D-4054-B45C-08AB78FECD98}"/>
                  </a:ext>
                </a:extLst>
              </p:cNvPr>
              <p:cNvSpPr/>
              <p:nvPr/>
            </p:nvSpPr>
            <p:spPr>
              <a:xfrm>
                <a:off x="6348533" y="344270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68" name="Google Shape;2130;p18">
                <a:extLst>
                  <a:ext uri="{FF2B5EF4-FFF2-40B4-BE49-F238E27FC236}">
                    <a16:creationId xmlns:a16="http://schemas.microsoft.com/office/drawing/2014/main" id="{D80DE703-E4B1-4812-99CF-F45F70BAE12F}"/>
                  </a:ext>
                </a:extLst>
              </p:cNvPr>
              <p:cNvSpPr/>
              <p:nvPr/>
            </p:nvSpPr>
            <p:spPr>
              <a:xfrm>
                <a:off x="6421523" y="337675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69" name="Google Shape;2131;p18">
                <a:extLst>
                  <a:ext uri="{FF2B5EF4-FFF2-40B4-BE49-F238E27FC236}">
                    <a16:creationId xmlns:a16="http://schemas.microsoft.com/office/drawing/2014/main" id="{C1988CDD-256E-4168-A262-0AD84877EFC8}"/>
                  </a:ext>
                </a:extLst>
              </p:cNvPr>
              <p:cNvSpPr/>
              <p:nvPr/>
            </p:nvSpPr>
            <p:spPr>
              <a:xfrm>
                <a:off x="6355859" y="3442709"/>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70" name="Google Shape;2132;p18">
                <a:extLst>
                  <a:ext uri="{FF2B5EF4-FFF2-40B4-BE49-F238E27FC236}">
                    <a16:creationId xmlns:a16="http://schemas.microsoft.com/office/drawing/2014/main" id="{8F19652B-F118-4174-875F-57E8FD9DB0B1}"/>
                  </a:ext>
                </a:extLst>
              </p:cNvPr>
              <p:cNvSpPr/>
              <p:nvPr/>
            </p:nvSpPr>
            <p:spPr>
              <a:xfrm>
                <a:off x="6427659" y="338780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71" name="Google Shape;2133;p18">
                <a:extLst>
                  <a:ext uri="{FF2B5EF4-FFF2-40B4-BE49-F238E27FC236}">
                    <a16:creationId xmlns:a16="http://schemas.microsoft.com/office/drawing/2014/main" id="{BA7ED6F3-909A-462C-BD35-3C6B02686801}"/>
                  </a:ext>
                </a:extLst>
              </p:cNvPr>
              <p:cNvSpPr/>
              <p:nvPr/>
            </p:nvSpPr>
            <p:spPr>
              <a:xfrm>
                <a:off x="6361994" y="345385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72" name="Google Shape;2134;p18">
                <a:extLst>
                  <a:ext uri="{FF2B5EF4-FFF2-40B4-BE49-F238E27FC236}">
                    <a16:creationId xmlns:a16="http://schemas.microsoft.com/office/drawing/2014/main" id="{A31DA628-95F9-4D55-9FB9-97BF95E47481}"/>
                  </a:ext>
                </a:extLst>
              </p:cNvPr>
              <p:cNvSpPr/>
              <p:nvPr/>
            </p:nvSpPr>
            <p:spPr>
              <a:xfrm>
                <a:off x="6438100" y="338780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73" name="Google Shape;2135;p18">
                <a:extLst>
                  <a:ext uri="{FF2B5EF4-FFF2-40B4-BE49-F238E27FC236}">
                    <a16:creationId xmlns:a16="http://schemas.microsoft.com/office/drawing/2014/main" id="{D2F8E6F5-148D-4B07-927B-50AA5B5D11F8}"/>
                  </a:ext>
                </a:extLst>
              </p:cNvPr>
              <p:cNvSpPr/>
              <p:nvPr/>
            </p:nvSpPr>
            <p:spPr>
              <a:xfrm>
                <a:off x="6372527" y="345385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74" name="Google Shape;2136;p18">
                <a:extLst>
                  <a:ext uri="{FF2B5EF4-FFF2-40B4-BE49-F238E27FC236}">
                    <a16:creationId xmlns:a16="http://schemas.microsoft.com/office/drawing/2014/main" id="{53CCDF50-1376-48AF-8DF8-2C9B2B5CF947}"/>
                  </a:ext>
                </a:extLst>
              </p:cNvPr>
              <p:cNvSpPr/>
              <p:nvPr/>
            </p:nvSpPr>
            <p:spPr>
              <a:xfrm>
                <a:off x="6442404" y="338780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75" name="Google Shape;2137;p18">
                <a:extLst>
                  <a:ext uri="{FF2B5EF4-FFF2-40B4-BE49-F238E27FC236}">
                    <a16:creationId xmlns:a16="http://schemas.microsoft.com/office/drawing/2014/main" id="{8AB44506-D6B5-45A8-9B7D-EBED87A834CE}"/>
                  </a:ext>
                </a:extLst>
              </p:cNvPr>
              <p:cNvSpPr/>
              <p:nvPr/>
            </p:nvSpPr>
            <p:spPr>
              <a:xfrm>
                <a:off x="6376740" y="3453855"/>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76" name="Google Shape;2138;p18">
                <a:extLst>
                  <a:ext uri="{FF2B5EF4-FFF2-40B4-BE49-F238E27FC236}">
                    <a16:creationId xmlns:a16="http://schemas.microsoft.com/office/drawing/2014/main" id="{C5E2A094-CFAC-49C0-A690-77DE48438E15}"/>
                  </a:ext>
                </a:extLst>
              </p:cNvPr>
              <p:cNvSpPr/>
              <p:nvPr/>
            </p:nvSpPr>
            <p:spPr>
              <a:xfrm>
                <a:off x="6449730" y="338780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77" name="Google Shape;2139;p18">
                <a:extLst>
                  <a:ext uri="{FF2B5EF4-FFF2-40B4-BE49-F238E27FC236}">
                    <a16:creationId xmlns:a16="http://schemas.microsoft.com/office/drawing/2014/main" id="{9DBF6986-6E9A-4DE5-A852-0B772490D18B}"/>
                  </a:ext>
                </a:extLst>
              </p:cNvPr>
              <p:cNvSpPr/>
              <p:nvPr/>
            </p:nvSpPr>
            <p:spPr>
              <a:xfrm>
                <a:off x="6384158" y="345385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78" name="Google Shape;2140;p18">
                <a:extLst>
                  <a:ext uri="{FF2B5EF4-FFF2-40B4-BE49-F238E27FC236}">
                    <a16:creationId xmlns:a16="http://schemas.microsoft.com/office/drawing/2014/main" id="{4EC25969-DF4B-47E2-B399-337A278F1D2C}"/>
                  </a:ext>
                </a:extLst>
              </p:cNvPr>
              <p:cNvSpPr/>
              <p:nvPr/>
            </p:nvSpPr>
            <p:spPr>
              <a:xfrm>
                <a:off x="6458431" y="3399047"/>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79" name="Google Shape;2141;p18">
                <a:extLst>
                  <a:ext uri="{FF2B5EF4-FFF2-40B4-BE49-F238E27FC236}">
                    <a16:creationId xmlns:a16="http://schemas.microsoft.com/office/drawing/2014/main" id="{51080C16-05D1-40E7-8ADE-E847CF2EC6D8}"/>
                  </a:ext>
                </a:extLst>
              </p:cNvPr>
              <p:cNvSpPr/>
              <p:nvPr/>
            </p:nvSpPr>
            <p:spPr>
              <a:xfrm>
                <a:off x="6392767" y="346509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80" name="Google Shape;2142;p18">
                <a:extLst>
                  <a:ext uri="{FF2B5EF4-FFF2-40B4-BE49-F238E27FC236}">
                    <a16:creationId xmlns:a16="http://schemas.microsoft.com/office/drawing/2014/main" id="{3D27FE74-08F9-4639-B3D4-F5BEFEE92C8A}"/>
                  </a:ext>
                </a:extLst>
              </p:cNvPr>
              <p:cNvSpPr/>
              <p:nvPr/>
            </p:nvSpPr>
            <p:spPr>
              <a:xfrm>
                <a:off x="6465025" y="3399047"/>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81" name="Google Shape;2143;p18">
                <a:extLst>
                  <a:ext uri="{FF2B5EF4-FFF2-40B4-BE49-F238E27FC236}">
                    <a16:creationId xmlns:a16="http://schemas.microsoft.com/office/drawing/2014/main" id="{E19BA855-D9D9-4E5A-939A-B8E30BF48B12}"/>
                  </a:ext>
                </a:extLst>
              </p:cNvPr>
              <p:cNvSpPr/>
              <p:nvPr/>
            </p:nvSpPr>
            <p:spPr>
              <a:xfrm>
                <a:off x="6399360" y="346509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82" name="Google Shape;2144;p18">
                <a:extLst>
                  <a:ext uri="{FF2B5EF4-FFF2-40B4-BE49-F238E27FC236}">
                    <a16:creationId xmlns:a16="http://schemas.microsoft.com/office/drawing/2014/main" id="{82652150-1524-44F8-A0AF-7372211C359C}"/>
                  </a:ext>
                </a:extLst>
              </p:cNvPr>
              <p:cNvSpPr/>
              <p:nvPr/>
            </p:nvSpPr>
            <p:spPr>
              <a:xfrm>
                <a:off x="6472168" y="341037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83" name="Google Shape;2145;p18">
                <a:extLst>
                  <a:ext uri="{FF2B5EF4-FFF2-40B4-BE49-F238E27FC236}">
                    <a16:creationId xmlns:a16="http://schemas.microsoft.com/office/drawing/2014/main" id="{975D9FD6-FD12-4E50-B3A7-F838B933D437}"/>
                  </a:ext>
                </a:extLst>
              </p:cNvPr>
              <p:cNvSpPr/>
              <p:nvPr/>
            </p:nvSpPr>
            <p:spPr>
              <a:xfrm>
                <a:off x="6406504" y="347642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84" name="Google Shape;2146;p18">
                <a:extLst>
                  <a:ext uri="{FF2B5EF4-FFF2-40B4-BE49-F238E27FC236}">
                    <a16:creationId xmlns:a16="http://schemas.microsoft.com/office/drawing/2014/main" id="{DA6D989C-60FA-472A-9778-81E764744303}"/>
                  </a:ext>
                </a:extLst>
              </p:cNvPr>
              <p:cNvSpPr/>
              <p:nvPr/>
            </p:nvSpPr>
            <p:spPr>
              <a:xfrm>
                <a:off x="6480777" y="342078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85" name="Google Shape;2147;p18">
                <a:extLst>
                  <a:ext uri="{FF2B5EF4-FFF2-40B4-BE49-F238E27FC236}">
                    <a16:creationId xmlns:a16="http://schemas.microsoft.com/office/drawing/2014/main" id="{F209D029-F4FC-48AD-9016-23489DA8261A}"/>
                  </a:ext>
                </a:extLst>
              </p:cNvPr>
              <p:cNvSpPr/>
              <p:nvPr/>
            </p:nvSpPr>
            <p:spPr>
              <a:xfrm>
                <a:off x="6415204" y="348674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86" name="Google Shape;2148;p18">
                <a:extLst>
                  <a:ext uri="{FF2B5EF4-FFF2-40B4-BE49-F238E27FC236}">
                    <a16:creationId xmlns:a16="http://schemas.microsoft.com/office/drawing/2014/main" id="{5994EE2F-B3EA-45BC-9B38-96EEB0D5DB38}"/>
                  </a:ext>
                </a:extLst>
              </p:cNvPr>
              <p:cNvSpPr/>
              <p:nvPr/>
            </p:nvSpPr>
            <p:spPr>
              <a:xfrm>
                <a:off x="6487188" y="342078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87" name="Google Shape;2149;p18">
                <a:extLst>
                  <a:ext uri="{FF2B5EF4-FFF2-40B4-BE49-F238E27FC236}">
                    <a16:creationId xmlns:a16="http://schemas.microsoft.com/office/drawing/2014/main" id="{BE8AEC12-3296-41A0-984C-E4F3B872D14E}"/>
                  </a:ext>
                </a:extLst>
              </p:cNvPr>
              <p:cNvSpPr/>
              <p:nvPr/>
            </p:nvSpPr>
            <p:spPr>
              <a:xfrm>
                <a:off x="6421523" y="348674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88" name="Google Shape;2150;p18">
                <a:extLst>
                  <a:ext uri="{FF2B5EF4-FFF2-40B4-BE49-F238E27FC236}">
                    <a16:creationId xmlns:a16="http://schemas.microsoft.com/office/drawing/2014/main" id="{195C1EA5-4F07-4081-AF1B-9865B18D020B}"/>
                  </a:ext>
                </a:extLst>
              </p:cNvPr>
              <p:cNvSpPr/>
              <p:nvPr/>
            </p:nvSpPr>
            <p:spPr>
              <a:xfrm>
                <a:off x="6497078" y="342078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89" name="Google Shape;2151;p18">
                <a:extLst>
                  <a:ext uri="{FF2B5EF4-FFF2-40B4-BE49-F238E27FC236}">
                    <a16:creationId xmlns:a16="http://schemas.microsoft.com/office/drawing/2014/main" id="{830C389C-5947-4C79-B8DF-AE4F0F2E38F7}"/>
                  </a:ext>
                </a:extLst>
              </p:cNvPr>
              <p:cNvSpPr/>
              <p:nvPr/>
            </p:nvSpPr>
            <p:spPr>
              <a:xfrm>
                <a:off x="6431414" y="3486740"/>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90" name="Google Shape;2152;p18">
                <a:extLst>
                  <a:ext uri="{FF2B5EF4-FFF2-40B4-BE49-F238E27FC236}">
                    <a16:creationId xmlns:a16="http://schemas.microsoft.com/office/drawing/2014/main" id="{FB7AC74E-52F7-451E-A011-BF64C733D1F8}"/>
                  </a:ext>
                </a:extLst>
              </p:cNvPr>
              <p:cNvSpPr/>
              <p:nvPr/>
            </p:nvSpPr>
            <p:spPr>
              <a:xfrm>
                <a:off x="6503764" y="342078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91" name="Google Shape;2153;p18">
                <a:extLst>
                  <a:ext uri="{FF2B5EF4-FFF2-40B4-BE49-F238E27FC236}">
                    <a16:creationId xmlns:a16="http://schemas.microsoft.com/office/drawing/2014/main" id="{1E0A3A27-6A90-4B38-821D-9E9E67D2A4C0}"/>
                  </a:ext>
                </a:extLst>
              </p:cNvPr>
              <p:cNvSpPr/>
              <p:nvPr/>
            </p:nvSpPr>
            <p:spPr>
              <a:xfrm>
                <a:off x="6438100" y="3486740"/>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92" name="Google Shape;2154;p18">
                <a:extLst>
                  <a:ext uri="{FF2B5EF4-FFF2-40B4-BE49-F238E27FC236}">
                    <a16:creationId xmlns:a16="http://schemas.microsoft.com/office/drawing/2014/main" id="{9D8DD3E7-19FF-490E-981F-258F73215A2F}"/>
                  </a:ext>
                </a:extLst>
              </p:cNvPr>
              <p:cNvSpPr/>
              <p:nvPr/>
            </p:nvSpPr>
            <p:spPr>
              <a:xfrm>
                <a:off x="6512831" y="342078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93" name="Google Shape;2155;p18">
                <a:extLst>
                  <a:ext uri="{FF2B5EF4-FFF2-40B4-BE49-F238E27FC236}">
                    <a16:creationId xmlns:a16="http://schemas.microsoft.com/office/drawing/2014/main" id="{E90516C3-0193-4CEB-88BA-2375C2412B14}"/>
                  </a:ext>
                </a:extLst>
              </p:cNvPr>
              <p:cNvSpPr/>
              <p:nvPr/>
            </p:nvSpPr>
            <p:spPr>
              <a:xfrm>
                <a:off x="6447258" y="348674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94" name="Google Shape;2156;p18">
                <a:extLst>
                  <a:ext uri="{FF2B5EF4-FFF2-40B4-BE49-F238E27FC236}">
                    <a16:creationId xmlns:a16="http://schemas.microsoft.com/office/drawing/2014/main" id="{D33AE603-A77F-46A1-8A41-0472431C8AA8}"/>
                  </a:ext>
                </a:extLst>
              </p:cNvPr>
              <p:cNvSpPr/>
              <p:nvPr/>
            </p:nvSpPr>
            <p:spPr>
              <a:xfrm>
                <a:off x="6518417" y="342078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95" name="Google Shape;2157;p18">
                <a:extLst>
                  <a:ext uri="{FF2B5EF4-FFF2-40B4-BE49-F238E27FC236}">
                    <a16:creationId xmlns:a16="http://schemas.microsoft.com/office/drawing/2014/main" id="{315E7FDD-8DB9-45AC-88A0-2B338D9B8632}"/>
                  </a:ext>
                </a:extLst>
              </p:cNvPr>
              <p:cNvSpPr/>
              <p:nvPr/>
            </p:nvSpPr>
            <p:spPr>
              <a:xfrm>
                <a:off x="6452844" y="348674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96" name="Google Shape;2158;p18">
                <a:extLst>
                  <a:ext uri="{FF2B5EF4-FFF2-40B4-BE49-F238E27FC236}">
                    <a16:creationId xmlns:a16="http://schemas.microsoft.com/office/drawing/2014/main" id="{1C6D959D-1CEE-44CE-A80A-38D03932CD50}"/>
                  </a:ext>
                </a:extLst>
              </p:cNvPr>
              <p:cNvSpPr/>
              <p:nvPr/>
            </p:nvSpPr>
            <p:spPr>
              <a:xfrm>
                <a:off x="6540122" y="34374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97" name="Google Shape;2159;p18">
                <a:extLst>
                  <a:ext uri="{FF2B5EF4-FFF2-40B4-BE49-F238E27FC236}">
                    <a16:creationId xmlns:a16="http://schemas.microsoft.com/office/drawing/2014/main" id="{69BD614C-03C7-4052-9C97-29F521E395FA}"/>
                  </a:ext>
                </a:extLst>
              </p:cNvPr>
              <p:cNvSpPr/>
              <p:nvPr/>
            </p:nvSpPr>
            <p:spPr>
              <a:xfrm>
                <a:off x="6474458" y="350350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98" name="Google Shape;2160;p18">
                <a:extLst>
                  <a:ext uri="{FF2B5EF4-FFF2-40B4-BE49-F238E27FC236}">
                    <a16:creationId xmlns:a16="http://schemas.microsoft.com/office/drawing/2014/main" id="{BE662019-FD2E-47FF-946D-461641F41EDD}"/>
                  </a:ext>
                </a:extLst>
              </p:cNvPr>
              <p:cNvSpPr/>
              <p:nvPr/>
            </p:nvSpPr>
            <p:spPr>
              <a:xfrm>
                <a:off x="6549921" y="34374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099" name="Google Shape;2161;p18">
                <a:extLst>
                  <a:ext uri="{FF2B5EF4-FFF2-40B4-BE49-F238E27FC236}">
                    <a16:creationId xmlns:a16="http://schemas.microsoft.com/office/drawing/2014/main" id="{7E791308-6D31-43A7-A752-1975DE1CBBBD}"/>
                  </a:ext>
                </a:extLst>
              </p:cNvPr>
              <p:cNvSpPr/>
              <p:nvPr/>
            </p:nvSpPr>
            <p:spPr>
              <a:xfrm>
                <a:off x="6484257" y="350350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00" name="Google Shape;2162;p18">
                <a:extLst>
                  <a:ext uri="{FF2B5EF4-FFF2-40B4-BE49-F238E27FC236}">
                    <a16:creationId xmlns:a16="http://schemas.microsoft.com/office/drawing/2014/main" id="{E3397A22-FE43-43B4-A1FF-D67DCD1C4A9F}"/>
                  </a:ext>
                </a:extLst>
              </p:cNvPr>
              <p:cNvSpPr/>
              <p:nvPr/>
            </p:nvSpPr>
            <p:spPr>
              <a:xfrm>
                <a:off x="6559630" y="3448697"/>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01" name="Google Shape;2163;p18">
                <a:extLst>
                  <a:ext uri="{FF2B5EF4-FFF2-40B4-BE49-F238E27FC236}">
                    <a16:creationId xmlns:a16="http://schemas.microsoft.com/office/drawing/2014/main" id="{5C082D23-3DB4-4D8F-BEC7-F540D1FC54ED}"/>
                  </a:ext>
                </a:extLst>
              </p:cNvPr>
              <p:cNvSpPr/>
              <p:nvPr/>
            </p:nvSpPr>
            <p:spPr>
              <a:xfrm>
                <a:off x="6494057" y="351474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02" name="Google Shape;2164;p18">
                <a:extLst>
                  <a:ext uri="{FF2B5EF4-FFF2-40B4-BE49-F238E27FC236}">
                    <a16:creationId xmlns:a16="http://schemas.microsoft.com/office/drawing/2014/main" id="{791C0F4D-206B-4362-8285-59A7FB2DFA3B}"/>
                  </a:ext>
                </a:extLst>
              </p:cNvPr>
              <p:cNvSpPr/>
              <p:nvPr/>
            </p:nvSpPr>
            <p:spPr>
              <a:xfrm>
                <a:off x="6569429" y="3448697"/>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03" name="Google Shape;2165;p18">
                <a:extLst>
                  <a:ext uri="{FF2B5EF4-FFF2-40B4-BE49-F238E27FC236}">
                    <a16:creationId xmlns:a16="http://schemas.microsoft.com/office/drawing/2014/main" id="{72BF89C3-6314-43A8-BD22-6F6AE861BF84}"/>
                  </a:ext>
                </a:extLst>
              </p:cNvPr>
              <p:cNvSpPr/>
              <p:nvPr/>
            </p:nvSpPr>
            <p:spPr>
              <a:xfrm>
                <a:off x="6503856" y="351474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04" name="Google Shape;2166;p18">
                <a:extLst>
                  <a:ext uri="{FF2B5EF4-FFF2-40B4-BE49-F238E27FC236}">
                    <a16:creationId xmlns:a16="http://schemas.microsoft.com/office/drawing/2014/main" id="{2E7CF81C-4D14-49E7-8E88-00FB272302A3}"/>
                  </a:ext>
                </a:extLst>
              </p:cNvPr>
              <p:cNvSpPr/>
              <p:nvPr/>
            </p:nvSpPr>
            <p:spPr>
              <a:xfrm>
                <a:off x="6579228" y="345385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05" name="Google Shape;2167;p18">
                <a:extLst>
                  <a:ext uri="{FF2B5EF4-FFF2-40B4-BE49-F238E27FC236}">
                    <a16:creationId xmlns:a16="http://schemas.microsoft.com/office/drawing/2014/main" id="{9DED4E38-7D24-4E3C-81A6-6745AA92DBCF}"/>
                  </a:ext>
                </a:extLst>
              </p:cNvPr>
              <p:cNvSpPr/>
              <p:nvPr/>
            </p:nvSpPr>
            <p:spPr>
              <a:xfrm>
                <a:off x="6513655" y="351980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06" name="Google Shape;2168;p18">
                <a:extLst>
                  <a:ext uri="{FF2B5EF4-FFF2-40B4-BE49-F238E27FC236}">
                    <a16:creationId xmlns:a16="http://schemas.microsoft.com/office/drawing/2014/main" id="{6815F75E-A511-4C61-A1D6-D586971B70E1}"/>
                  </a:ext>
                </a:extLst>
              </p:cNvPr>
              <p:cNvSpPr/>
              <p:nvPr/>
            </p:nvSpPr>
            <p:spPr>
              <a:xfrm>
                <a:off x="6589027" y="345385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07" name="Google Shape;2169;p18">
                <a:extLst>
                  <a:ext uri="{FF2B5EF4-FFF2-40B4-BE49-F238E27FC236}">
                    <a16:creationId xmlns:a16="http://schemas.microsoft.com/office/drawing/2014/main" id="{8E006CD5-B668-4783-976F-7760844E8E98}"/>
                  </a:ext>
                </a:extLst>
              </p:cNvPr>
              <p:cNvSpPr/>
              <p:nvPr/>
            </p:nvSpPr>
            <p:spPr>
              <a:xfrm>
                <a:off x="6523454" y="351980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08" name="Google Shape;2170;p18">
                <a:extLst>
                  <a:ext uri="{FF2B5EF4-FFF2-40B4-BE49-F238E27FC236}">
                    <a16:creationId xmlns:a16="http://schemas.microsoft.com/office/drawing/2014/main" id="{906DEC8A-0008-4E5B-A420-1EB940F4D9DE}"/>
                  </a:ext>
                </a:extLst>
              </p:cNvPr>
              <p:cNvSpPr/>
              <p:nvPr/>
            </p:nvSpPr>
            <p:spPr>
              <a:xfrm>
                <a:off x="6598827" y="346509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09" name="Google Shape;2171;p18">
                <a:extLst>
                  <a:ext uri="{FF2B5EF4-FFF2-40B4-BE49-F238E27FC236}">
                    <a16:creationId xmlns:a16="http://schemas.microsoft.com/office/drawing/2014/main" id="{48DD0D5C-B95F-47D8-823E-F926FE930323}"/>
                  </a:ext>
                </a:extLst>
              </p:cNvPr>
              <p:cNvSpPr/>
              <p:nvPr/>
            </p:nvSpPr>
            <p:spPr>
              <a:xfrm>
                <a:off x="6533254" y="353113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10" name="Google Shape;2172;p18">
                <a:extLst>
                  <a:ext uri="{FF2B5EF4-FFF2-40B4-BE49-F238E27FC236}">
                    <a16:creationId xmlns:a16="http://schemas.microsoft.com/office/drawing/2014/main" id="{767E6947-486D-4D30-9D9E-08CCE0F6A435}"/>
                  </a:ext>
                </a:extLst>
              </p:cNvPr>
              <p:cNvSpPr/>
              <p:nvPr/>
            </p:nvSpPr>
            <p:spPr>
              <a:xfrm>
                <a:off x="6608534" y="347126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11" name="Google Shape;2173;p18">
                <a:extLst>
                  <a:ext uri="{FF2B5EF4-FFF2-40B4-BE49-F238E27FC236}">
                    <a16:creationId xmlns:a16="http://schemas.microsoft.com/office/drawing/2014/main" id="{1EBF4B05-AC36-4AC0-89E9-4F56CD7FB5D0}"/>
                  </a:ext>
                </a:extLst>
              </p:cNvPr>
              <p:cNvSpPr/>
              <p:nvPr/>
            </p:nvSpPr>
            <p:spPr>
              <a:xfrm>
                <a:off x="6542870" y="353721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12" name="Google Shape;2174;p18">
                <a:extLst>
                  <a:ext uri="{FF2B5EF4-FFF2-40B4-BE49-F238E27FC236}">
                    <a16:creationId xmlns:a16="http://schemas.microsoft.com/office/drawing/2014/main" id="{7C4F4FEA-51B2-4DAD-A690-25FFDDCA01E0}"/>
                  </a:ext>
                </a:extLst>
              </p:cNvPr>
              <p:cNvSpPr/>
              <p:nvPr/>
            </p:nvSpPr>
            <p:spPr>
              <a:xfrm>
                <a:off x="6618425" y="347126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13" name="Google Shape;2175;p18">
                <a:extLst>
                  <a:ext uri="{FF2B5EF4-FFF2-40B4-BE49-F238E27FC236}">
                    <a16:creationId xmlns:a16="http://schemas.microsoft.com/office/drawing/2014/main" id="{3F57E655-B7E4-4884-A7BC-BC610AABFDDC}"/>
                  </a:ext>
                </a:extLst>
              </p:cNvPr>
              <p:cNvSpPr/>
              <p:nvPr/>
            </p:nvSpPr>
            <p:spPr>
              <a:xfrm>
                <a:off x="6552761" y="3537219"/>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14" name="Google Shape;2176;p18">
                <a:extLst>
                  <a:ext uri="{FF2B5EF4-FFF2-40B4-BE49-F238E27FC236}">
                    <a16:creationId xmlns:a16="http://schemas.microsoft.com/office/drawing/2014/main" id="{F30BF1AE-EDC1-440C-94CF-C5B04BA33344}"/>
                  </a:ext>
                </a:extLst>
              </p:cNvPr>
              <p:cNvSpPr/>
              <p:nvPr/>
            </p:nvSpPr>
            <p:spPr>
              <a:xfrm>
                <a:off x="6625294" y="347126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15" name="Google Shape;2177;p18">
                <a:extLst>
                  <a:ext uri="{FF2B5EF4-FFF2-40B4-BE49-F238E27FC236}">
                    <a16:creationId xmlns:a16="http://schemas.microsoft.com/office/drawing/2014/main" id="{D1A5552F-C81D-4C5D-9939-29BC911F313A}"/>
                  </a:ext>
                </a:extLst>
              </p:cNvPr>
              <p:cNvSpPr/>
              <p:nvPr/>
            </p:nvSpPr>
            <p:spPr>
              <a:xfrm>
                <a:off x="6559630" y="3537219"/>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16" name="Google Shape;2178;p18">
                <a:extLst>
                  <a:ext uri="{FF2B5EF4-FFF2-40B4-BE49-F238E27FC236}">
                    <a16:creationId xmlns:a16="http://schemas.microsoft.com/office/drawing/2014/main" id="{D47B0B34-AA50-44A2-A54C-B1C4200F39AD}"/>
                  </a:ext>
                </a:extLst>
              </p:cNvPr>
              <p:cNvSpPr/>
              <p:nvPr/>
            </p:nvSpPr>
            <p:spPr>
              <a:xfrm>
                <a:off x="6635093" y="3486740"/>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17" name="Google Shape;2179;p18">
                <a:extLst>
                  <a:ext uri="{FF2B5EF4-FFF2-40B4-BE49-F238E27FC236}">
                    <a16:creationId xmlns:a16="http://schemas.microsoft.com/office/drawing/2014/main" id="{775E46F6-7EFF-4C16-9D2A-8DD54A8246FF}"/>
                  </a:ext>
                </a:extLst>
              </p:cNvPr>
              <p:cNvSpPr/>
              <p:nvPr/>
            </p:nvSpPr>
            <p:spPr>
              <a:xfrm>
                <a:off x="6569429" y="3552786"/>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18" name="Google Shape;2180;p18">
                <a:extLst>
                  <a:ext uri="{FF2B5EF4-FFF2-40B4-BE49-F238E27FC236}">
                    <a16:creationId xmlns:a16="http://schemas.microsoft.com/office/drawing/2014/main" id="{AEF262AA-345A-409C-9973-F5B6C47429B7}"/>
                  </a:ext>
                </a:extLst>
              </p:cNvPr>
              <p:cNvSpPr/>
              <p:nvPr/>
            </p:nvSpPr>
            <p:spPr>
              <a:xfrm>
                <a:off x="6640313" y="3486740"/>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19" name="Google Shape;2181;p18">
                <a:extLst>
                  <a:ext uri="{FF2B5EF4-FFF2-40B4-BE49-F238E27FC236}">
                    <a16:creationId xmlns:a16="http://schemas.microsoft.com/office/drawing/2014/main" id="{AD553280-9082-4769-B5CE-E250F8881360}"/>
                  </a:ext>
                </a:extLst>
              </p:cNvPr>
              <p:cNvSpPr/>
              <p:nvPr/>
            </p:nvSpPr>
            <p:spPr>
              <a:xfrm>
                <a:off x="6574648" y="3552786"/>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20" name="Google Shape;2182;p18">
                <a:extLst>
                  <a:ext uri="{FF2B5EF4-FFF2-40B4-BE49-F238E27FC236}">
                    <a16:creationId xmlns:a16="http://schemas.microsoft.com/office/drawing/2014/main" id="{7BA50E16-E645-4AAF-BFEF-23357CF1B8A5}"/>
                  </a:ext>
                </a:extLst>
              </p:cNvPr>
              <p:cNvSpPr/>
              <p:nvPr/>
            </p:nvSpPr>
            <p:spPr>
              <a:xfrm>
                <a:off x="6644892" y="3486740"/>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21" name="Google Shape;2183;p18">
                <a:extLst>
                  <a:ext uri="{FF2B5EF4-FFF2-40B4-BE49-F238E27FC236}">
                    <a16:creationId xmlns:a16="http://schemas.microsoft.com/office/drawing/2014/main" id="{9707DE42-9DBD-474E-8AB6-436CC1A38D3F}"/>
                  </a:ext>
                </a:extLst>
              </p:cNvPr>
              <p:cNvSpPr/>
              <p:nvPr/>
            </p:nvSpPr>
            <p:spPr>
              <a:xfrm>
                <a:off x="6579228" y="3552786"/>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22" name="Google Shape;2184;p18">
                <a:extLst>
                  <a:ext uri="{FF2B5EF4-FFF2-40B4-BE49-F238E27FC236}">
                    <a16:creationId xmlns:a16="http://schemas.microsoft.com/office/drawing/2014/main" id="{67EF3612-9231-4752-9BAF-4D63B40E8709}"/>
                  </a:ext>
                </a:extLst>
              </p:cNvPr>
              <p:cNvSpPr/>
              <p:nvPr/>
            </p:nvSpPr>
            <p:spPr>
              <a:xfrm>
                <a:off x="6654691" y="3486740"/>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23" name="Google Shape;2185;p18">
                <a:extLst>
                  <a:ext uri="{FF2B5EF4-FFF2-40B4-BE49-F238E27FC236}">
                    <a16:creationId xmlns:a16="http://schemas.microsoft.com/office/drawing/2014/main" id="{8A93D63A-8732-4597-837A-590CA8C718F5}"/>
                  </a:ext>
                </a:extLst>
              </p:cNvPr>
              <p:cNvSpPr/>
              <p:nvPr/>
            </p:nvSpPr>
            <p:spPr>
              <a:xfrm>
                <a:off x="6589027" y="3552786"/>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24" name="Google Shape;2186;p18">
                <a:extLst>
                  <a:ext uri="{FF2B5EF4-FFF2-40B4-BE49-F238E27FC236}">
                    <a16:creationId xmlns:a16="http://schemas.microsoft.com/office/drawing/2014/main" id="{E2923B66-60AC-4196-8601-766CBA6D7931}"/>
                  </a:ext>
                </a:extLst>
              </p:cNvPr>
              <p:cNvSpPr/>
              <p:nvPr/>
            </p:nvSpPr>
            <p:spPr>
              <a:xfrm>
                <a:off x="6664491" y="3496781"/>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25" name="Google Shape;2187;p18">
                <a:extLst>
                  <a:ext uri="{FF2B5EF4-FFF2-40B4-BE49-F238E27FC236}">
                    <a16:creationId xmlns:a16="http://schemas.microsoft.com/office/drawing/2014/main" id="{39809DF1-B06E-4B30-9945-659CC21C4936}"/>
                  </a:ext>
                </a:extLst>
              </p:cNvPr>
              <p:cNvSpPr/>
              <p:nvPr/>
            </p:nvSpPr>
            <p:spPr>
              <a:xfrm>
                <a:off x="6598827" y="3562735"/>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26" name="Google Shape;2188;p18">
                <a:extLst>
                  <a:ext uri="{FF2B5EF4-FFF2-40B4-BE49-F238E27FC236}">
                    <a16:creationId xmlns:a16="http://schemas.microsoft.com/office/drawing/2014/main" id="{2A951182-74B3-4491-96F9-D8D36CC97DC7}"/>
                  </a:ext>
                </a:extLst>
              </p:cNvPr>
              <p:cNvSpPr/>
              <p:nvPr/>
            </p:nvSpPr>
            <p:spPr>
              <a:xfrm>
                <a:off x="6674107" y="3496781"/>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27" name="Google Shape;2189;p18">
                <a:extLst>
                  <a:ext uri="{FF2B5EF4-FFF2-40B4-BE49-F238E27FC236}">
                    <a16:creationId xmlns:a16="http://schemas.microsoft.com/office/drawing/2014/main" id="{F6E70839-3224-4DE5-AF7E-979ECEAB661C}"/>
                  </a:ext>
                </a:extLst>
              </p:cNvPr>
              <p:cNvSpPr/>
              <p:nvPr/>
            </p:nvSpPr>
            <p:spPr>
              <a:xfrm>
                <a:off x="6608534" y="356273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28" name="Google Shape;2190;p18">
                <a:extLst>
                  <a:ext uri="{FF2B5EF4-FFF2-40B4-BE49-F238E27FC236}">
                    <a16:creationId xmlns:a16="http://schemas.microsoft.com/office/drawing/2014/main" id="{588A16CA-F565-4C43-99E6-7925258A1476}"/>
                  </a:ext>
                </a:extLst>
              </p:cNvPr>
              <p:cNvSpPr/>
              <p:nvPr/>
            </p:nvSpPr>
            <p:spPr>
              <a:xfrm>
                <a:off x="6681159" y="3496781"/>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29" name="Google Shape;2191;p18">
                <a:extLst>
                  <a:ext uri="{FF2B5EF4-FFF2-40B4-BE49-F238E27FC236}">
                    <a16:creationId xmlns:a16="http://schemas.microsoft.com/office/drawing/2014/main" id="{C3138031-ACB5-468F-AE7A-CF35FE4631D3}"/>
                  </a:ext>
                </a:extLst>
              </p:cNvPr>
              <p:cNvSpPr/>
              <p:nvPr/>
            </p:nvSpPr>
            <p:spPr>
              <a:xfrm>
                <a:off x="6615494" y="3562735"/>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30" name="Google Shape;2192;p18">
                <a:extLst>
                  <a:ext uri="{FF2B5EF4-FFF2-40B4-BE49-F238E27FC236}">
                    <a16:creationId xmlns:a16="http://schemas.microsoft.com/office/drawing/2014/main" id="{A0DDD4C1-C163-42BA-9096-88F8E5826217}"/>
                  </a:ext>
                </a:extLst>
              </p:cNvPr>
              <p:cNvSpPr/>
              <p:nvPr/>
            </p:nvSpPr>
            <p:spPr>
              <a:xfrm>
                <a:off x="6700757" y="350875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31" name="Google Shape;2193;p18">
                <a:extLst>
                  <a:ext uri="{FF2B5EF4-FFF2-40B4-BE49-F238E27FC236}">
                    <a16:creationId xmlns:a16="http://schemas.microsoft.com/office/drawing/2014/main" id="{DB0D12A0-71B6-4AEA-81D1-6E68F25CC5D6}"/>
                  </a:ext>
                </a:extLst>
              </p:cNvPr>
              <p:cNvSpPr/>
              <p:nvPr/>
            </p:nvSpPr>
            <p:spPr>
              <a:xfrm>
                <a:off x="6635093" y="357480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32" name="Google Shape;2194;p18">
                <a:extLst>
                  <a:ext uri="{FF2B5EF4-FFF2-40B4-BE49-F238E27FC236}">
                    <a16:creationId xmlns:a16="http://schemas.microsoft.com/office/drawing/2014/main" id="{6F6807ED-9276-4EBF-AE38-171F8F943108}"/>
                  </a:ext>
                </a:extLst>
              </p:cNvPr>
              <p:cNvSpPr/>
              <p:nvPr/>
            </p:nvSpPr>
            <p:spPr>
              <a:xfrm>
                <a:off x="6705978" y="350875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33" name="Google Shape;2195;p18">
                <a:extLst>
                  <a:ext uri="{FF2B5EF4-FFF2-40B4-BE49-F238E27FC236}">
                    <a16:creationId xmlns:a16="http://schemas.microsoft.com/office/drawing/2014/main" id="{C0D66E47-C54C-43AC-BB74-B912A75A469B}"/>
                  </a:ext>
                </a:extLst>
              </p:cNvPr>
              <p:cNvSpPr/>
              <p:nvPr/>
            </p:nvSpPr>
            <p:spPr>
              <a:xfrm>
                <a:off x="6640313" y="357480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34" name="Google Shape;2196;p18">
                <a:extLst>
                  <a:ext uri="{FF2B5EF4-FFF2-40B4-BE49-F238E27FC236}">
                    <a16:creationId xmlns:a16="http://schemas.microsoft.com/office/drawing/2014/main" id="{B1330389-01B1-4991-AE81-D4C072EB023A}"/>
                  </a:ext>
                </a:extLst>
              </p:cNvPr>
              <p:cNvSpPr/>
              <p:nvPr/>
            </p:nvSpPr>
            <p:spPr>
              <a:xfrm>
                <a:off x="6715136" y="350875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35" name="Google Shape;2197;p18">
                <a:extLst>
                  <a:ext uri="{FF2B5EF4-FFF2-40B4-BE49-F238E27FC236}">
                    <a16:creationId xmlns:a16="http://schemas.microsoft.com/office/drawing/2014/main" id="{17BDE4CC-DEF4-44D8-8BC6-4CB0E2CFA0A3}"/>
                  </a:ext>
                </a:extLst>
              </p:cNvPr>
              <p:cNvSpPr/>
              <p:nvPr/>
            </p:nvSpPr>
            <p:spPr>
              <a:xfrm>
                <a:off x="6649471" y="357480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36" name="Google Shape;2198;p18">
                <a:extLst>
                  <a:ext uri="{FF2B5EF4-FFF2-40B4-BE49-F238E27FC236}">
                    <a16:creationId xmlns:a16="http://schemas.microsoft.com/office/drawing/2014/main" id="{9E6F5EED-9FA1-4E7D-9CA2-386A613E9FED}"/>
                  </a:ext>
                </a:extLst>
              </p:cNvPr>
              <p:cNvSpPr/>
              <p:nvPr/>
            </p:nvSpPr>
            <p:spPr>
              <a:xfrm>
                <a:off x="6720356" y="350875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37" name="Google Shape;2199;p18">
                <a:extLst>
                  <a:ext uri="{FF2B5EF4-FFF2-40B4-BE49-F238E27FC236}">
                    <a16:creationId xmlns:a16="http://schemas.microsoft.com/office/drawing/2014/main" id="{6FDB956F-649D-4790-883B-29B9EA0A968B}"/>
                  </a:ext>
                </a:extLst>
              </p:cNvPr>
              <p:cNvSpPr/>
              <p:nvPr/>
            </p:nvSpPr>
            <p:spPr>
              <a:xfrm>
                <a:off x="6654691" y="357480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38" name="Google Shape;2200;p18">
                <a:extLst>
                  <a:ext uri="{FF2B5EF4-FFF2-40B4-BE49-F238E27FC236}">
                    <a16:creationId xmlns:a16="http://schemas.microsoft.com/office/drawing/2014/main" id="{AEB9388D-DCC1-4C85-BA51-A6777A11F65D}"/>
                  </a:ext>
                </a:extLst>
              </p:cNvPr>
              <p:cNvSpPr/>
              <p:nvPr/>
            </p:nvSpPr>
            <p:spPr>
              <a:xfrm>
                <a:off x="6730155" y="350875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39" name="Google Shape;2201;p18">
                <a:extLst>
                  <a:ext uri="{FF2B5EF4-FFF2-40B4-BE49-F238E27FC236}">
                    <a16:creationId xmlns:a16="http://schemas.microsoft.com/office/drawing/2014/main" id="{172C52C9-8562-4735-9D27-46743ED81FA8}"/>
                  </a:ext>
                </a:extLst>
              </p:cNvPr>
              <p:cNvSpPr/>
              <p:nvPr/>
            </p:nvSpPr>
            <p:spPr>
              <a:xfrm>
                <a:off x="6664491" y="357480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40" name="Google Shape;2202;p18">
                <a:extLst>
                  <a:ext uri="{FF2B5EF4-FFF2-40B4-BE49-F238E27FC236}">
                    <a16:creationId xmlns:a16="http://schemas.microsoft.com/office/drawing/2014/main" id="{291F62FC-3DDD-4FE3-A99C-AD27A9BC2DB9}"/>
                  </a:ext>
                </a:extLst>
              </p:cNvPr>
              <p:cNvSpPr/>
              <p:nvPr/>
            </p:nvSpPr>
            <p:spPr>
              <a:xfrm>
                <a:off x="6739772" y="350875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41" name="Google Shape;2203;p18">
                <a:extLst>
                  <a:ext uri="{FF2B5EF4-FFF2-40B4-BE49-F238E27FC236}">
                    <a16:creationId xmlns:a16="http://schemas.microsoft.com/office/drawing/2014/main" id="{7C8A93F3-28C8-4134-9EDD-336561A134DB}"/>
                  </a:ext>
                </a:extLst>
              </p:cNvPr>
              <p:cNvSpPr/>
              <p:nvPr/>
            </p:nvSpPr>
            <p:spPr>
              <a:xfrm>
                <a:off x="6674107" y="3574802"/>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42" name="Google Shape;2204;p18">
                <a:extLst>
                  <a:ext uri="{FF2B5EF4-FFF2-40B4-BE49-F238E27FC236}">
                    <a16:creationId xmlns:a16="http://schemas.microsoft.com/office/drawing/2014/main" id="{6407E188-BD97-4B42-91F9-8A2D9940D28A}"/>
                  </a:ext>
                </a:extLst>
              </p:cNvPr>
              <p:cNvSpPr/>
              <p:nvPr/>
            </p:nvSpPr>
            <p:spPr>
              <a:xfrm>
                <a:off x="6746824" y="350875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43" name="Google Shape;2205;p18">
                <a:extLst>
                  <a:ext uri="{FF2B5EF4-FFF2-40B4-BE49-F238E27FC236}">
                    <a16:creationId xmlns:a16="http://schemas.microsoft.com/office/drawing/2014/main" id="{22EEFA3B-146D-449E-BCCF-991A07E6C5DF}"/>
                  </a:ext>
                </a:extLst>
              </p:cNvPr>
              <p:cNvSpPr/>
              <p:nvPr/>
            </p:nvSpPr>
            <p:spPr>
              <a:xfrm>
                <a:off x="6681159" y="357480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44" name="Google Shape;2206;p18">
                <a:extLst>
                  <a:ext uri="{FF2B5EF4-FFF2-40B4-BE49-F238E27FC236}">
                    <a16:creationId xmlns:a16="http://schemas.microsoft.com/office/drawing/2014/main" id="{A34642CC-1800-4DC7-BBA8-6BA3C77766C2}"/>
                  </a:ext>
                </a:extLst>
              </p:cNvPr>
              <p:cNvSpPr/>
              <p:nvPr/>
            </p:nvSpPr>
            <p:spPr>
              <a:xfrm>
                <a:off x="6771551" y="351474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45" name="Google Shape;2207;p18">
                <a:extLst>
                  <a:ext uri="{FF2B5EF4-FFF2-40B4-BE49-F238E27FC236}">
                    <a16:creationId xmlns:a16="http://schemas.microsoft.com/office/drawing/2014/main" id="{F9F4FC78-A0DF-4EA2-8523-8557B6F32486}"/>
                  </a:ext>
                </a:extLst>
              </p:cNvPr>
              <p:cNvSpPr/>
              <p:nvPr/>
            </p:nvSpPr>
            <p:spPr>
              <a:xfrm>
                <a:off x="6705978" y="358078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46" name="Google Shape;2208;p18">
                <a:extLst>
                  <a:ext uri="{FF2B5EF4-FFF2-40B4-BE49-F238E27FC236}">
                    <a16:creationId xmlns:a16="http://schemas.microsoft.com/office/drawing/2014/main" id="{B1DB5C54-01E1-4751-97E9-F1ADB693C877}"/>
                  </a:ext>
                </a:extLst>
              </p:cNvPr>
              <p:cNvSpPr/>
              <p:nvPr/>
            </p:nvSpPr>
            <p:spPr>
              <a:xfrm>
                <a:off x="6780709" y="351474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47" name="Google Shape;2209;p18">
                <a:extLst>
                  <a:ext uri="{FF2B5EF4-FFF2-40B4-BE49-F238E27FC236}">
                    <a16:creationId xmlns:a16="http://schemas.microsoft.com/office/drawing/2014/main" id="{2AFB5285-D91C-4B9C-A294-4A850F323AA0}"/>
                  </a:ext>
                </a:extLst>
              </p:cNvPr>
              <p:cNvSpPr/>
              <p:nvPr/>
            </p:nvSpPr>
            <p:spPr>
              <a:xfrm>
                <a:off x="6715136" y="358078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48" name="Google Shape;2210;p18">
                <a:extLst>
                  <a:ext uri="{FF2B5EF4-FFF2-40B4-BE49-F238E27FC236}">
                    <a16:creationId xmlns:a16="http://schemas.microsoft.com/office/drawing/2014/main" id="{961697CD-AB6E-45B4-9E84-54553751E020}"/>
                  </a:ext>
                </a:extLst>
              </p:cNvPr>
              <p:cNvSpPr/>
              <p:nvPr/>
            </p:nvSpPr>
            <p:spPr>
              <a:xfrm>
                <a:off x="6785929" y="351474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49" name="Google Shape;2211;p18">
                <a:extLst>
                  <a:ext uri="{FF2B5EF4-FFF2-40B4-BE49-F238E27FC236}">
                    <a16:creationId xmlns:a16="http://schemas.microsoft.com/office/drawing/2014/main" id="{DA422F04-8A1B-4CD9-B759-A4E03E1D0B91}"/>
                  </a:ext>
                </a:extLst>
              </p:cNvPr>
              <p:cNvSpPr/>
              <p:nvPr/>
            </p:nvSpPr>
            <p:spPr>
              <a:xfrm>
                <a:off x="6720356" y="358078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50" name="Google Shape;2212;p18">
                <a:extLst>
                  <a:ext uri="{FF2B5EF4-FFF2-40B4-BE49-F238E27FC236}">
                    <a16:creationId xmlns:a16="http://schemas.microsoft.com/office/drawing/2014/main" id="{81F27A1E-17AE-4A28-8F5F-9FF69726E5E0}"/>
                  </a:ext>
                </a:extLst>
              </p:cNvPr>
              <p:cNvSpPr/>
              <p:nvPr/>
            </p:nvSpPr>
            <p:spPr>
              <a:xfrm>
                <a:off x="6795728" y="351474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51" name="Google Shape;2213;p18">
                <a:extLst>
                  <a:ext uri="{FF2B5EF4-FFF2-40B4-BE49-F238E27FC236}">
                    <a16:creationId xmlns:a16="http://schemas.microsoft.com/office/drawing/2014/main" id="{D975F91F-37B0-4580-A460-AB06648D6E5C}"/>
                  </a:ext>
                </a:extLst>
              </p:cNvPr>
              <p:cNvSpPr/>
              <p:nvPr/>
            </p:nvSpPr>
            <p:spPr>
              <a:xfrm>
                <a:off x="6730155" y="358078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52" name="Google Shape;2214;p18">
                <a:extLst>
                  <a:ext uri="{FF2B5EF4-FFF2-40B4-BE49-F238E27FC236}">
                    <a16:creationId xmlns:a16="http://schemas.microsoft.com/office/drawing/2014/main" id="{98B3D412-D5F5-4AAB-9E9E-53AF911D1D8A}"/>
                  </a:ext>
                </a:extLst>
              </p:cNvPr>
              <p:cNvSpPr/>
              <p:nvPr/>
            </p:nvSpPr>
            <p:spPr>
              <a:xfrm>
                <a:off x="6805436" y="351474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53" name="Google Shape;2215;p18">
                <a:extLst>
                  <a:ext uri="{FF2B5EF4-FFF2-40B4-BE49-F238E27FC236}">
                    <a16:creationId xmlns:a16="http://schemas.microsoft.com/office/drawing/2014/main" id="{39143B6B-BC2E-44B5-8128-C66B9FB5967E}"/>
                  </a:ext>
                </a:extLst>
              </p:cNvPr>
              <p:cNvSpPr/>
              <p:nvPr/>
            </p:nvSpPr>
            <p:spPr>
              <a:xfrm>
                <a:off x="6739772" y="358078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54" name="Google Shape;2216;p18">
                <a:extLst>
                  <a:ext uri="{FF2B5EF4-FFF2-40B4-BE49-F238E27FC236}">
                    <a16:creationId xmlns:a16="http://schemas.microsoft.com/office/drawing/2014/main" id="{81DFDD92-96E1-4B61-AB06-220DC6214684}"/>
                  </a:ext>
                </a:extLst>
              </p:cNvPr>
              <p:cNvSpPr/>
              <p:nvPr/>
            </p:nvSpPr>
            <p:spPr>
              <a:xfrm>
                <a:off x="6812396" y="351474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55" name="Google Shape;2217;p18">
                <a:extLst>
                  <a:ext uri="{FF2B5EF4-FFF2-40B4-BE49-F238E27FC236}">
                    <a16:creationId xmlns:a16="http://schemas.microsoft.com/office/drawing/2014/main" id="{6FA34DFD-77BF-4FBA-97D0-7D306936196B}"/>
                  </a:ext>
                </a:extLst>
              </p:cNvPr>
              <p:cNvSpPr/>
              <p:nvPr/>
            </p:nvSpPr>
            <p:spPr>
              <a:xfrm>
                <a:off x="6746824" y="358078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56" name="Google Shape;2218;p18">
                <a:extLst>
                  <a:ext uri="{FF2B5EF4-FFF2-40B4-BE49-F238E27FC236}">
                    <a16:creationId xmlns:a16="http://schemas.microsoft.com/office/drawing/2014/main" id="{6D87AF4B-6C67-4D54-9806-5040D35BB1F9}"/>
                  </a:ext>
                </a:extLst>
              </p:cNvPr>
              <p:cNvSpPr/>
              <p:nvPr/>
            </p:nvSpPr>
            <p:spPr>
              <a:xfrm>
                <a:off x="6821188" y="351474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57" name="Google Shape;2219;p18">
                <a:extLst>
                  <a:ext uri="{FF2B5EF4-FFF2-40B4-BE49-F238E27FC236}">
                    <a16:creationId xmlns:a16="http://schemas.microsoft.com/office/drawing/2014/main" id="{2F491E38-AE42-4A56-ABD1-639B056A3CE9}"/>
                  </a:ext>
                </a:extLst>
              </p:cNvPr>
              <p:cNvSpPr/>
              <p:nvPr/>
            </p:nvSpPr>
            <p:spPr>
              <a:xfrm>
                <a:off x="6755523" y="3580789"/>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58" name="Google Shape;2220;p18">
                <a:extLst>
                  <a:ext uri="{FF2B5EF4-FFF2-40B4-BE49-F238E27FC236}">
                    <a16:creationId xmlns:a16="http://schemas.microsoft.com/office/drawing/2014/main" id="{EA18C50F-558C-487B-90A1-D80902F5A330}"/>
                  </a:ext>
                </a:extLst>
              </p:cNvPr>
              <p:cNvSpPr/>
              <p:nvPr/>
            </p:nvSpPr>
            <p:spPr>
              <a:xfrm>
                <a:off x="6841794" y="352321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59" name="Google Shape;2221;p18">
                <a:extLst>
                  <a:ext uri="{FF2B5EF4-FFF2-40B4-BE49-F238E27FC236}">
                    <a16:creationId xmlns:a16="http://schemas.microsoft.com/office/drawing/2014/main" id="{5FF2678C-F133-4609-832C-EF466E7332DE}"/>
                  </a:ext>
                </a:extLst>
              </p:cNvPr>
              <p:cNvSpPr/>
              <p:nvPr/>
            </p:nvSpPr>
            <p:spPr>
              <a:xfrm>
                <a:off x="6776129" y="3589171"/>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60" name="Google Shape;2222;p18">
                <a:extLst>
                  <a:ext uri="{FF2B5EF4-FFF2-40B4-BE49-F238E27FC236}">
                    <a16:creationId xmlns:a16="http://schemas.microsoft.com/office/drawing/2014/main" id="{218374CE-741D-400B-8B9F-6CCC222FB1C9}"/>
                  </a:ext>
                </a:extLst>
              </p:cNvPr>
              <p:cNvSpPr/>
              <p:nvPr/>
            </p:nvSpPr>
            <p:spPr>
              <a:xfrm>
                <a:off x="6851594" y="352321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61" name="Google Shape;2223;p18">
                <a:extLst>
                  <a:ext uri="{FF2B5EF4-FFF2-40B4-BE49-F238E27FC236}">
                    <a16:creationId xmlns:a16="http://schemas.microsoft.com/office/drawing/2014/main" id="{B4F5D736-4D48-408E-BC85-0027BD2C2E3D}"/>
                  </a:ext>
                </a:extLst>
              </p:cNvPr>
              <p:cNvSpPr/>
              <p:nvPr/>
            </p:nvSpPr>
            <p:spPr>
              <a:xfrm>
                <a:off x="6785929" y="3589171"/>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62" name="Google Shape;2224;p18">
                <a:extLst>
                  <a:ext uri="{FF2B5EF4-FFF2-40B4-BE49-F238E27FC236}">
                    <a16:creationId xmlns:a16="http://schemas.microsoft.com/office/drawing/2014/main" id="{B4231D56-1D00-43BC-B9F3-ACC6E4984E0B}"/>
                  </a:ext>
                </a:extLst>
              </p:cNvPr>
              <p:cNvSpPr/>
              <p:nvPr/>
            </p:nvSpPr>
            <p:spPr>
              <a:xfrm>
                <a:off x="6861393" y="352321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63" name="Google Shape;2225;p18">
                <a:extLst>
                  <a:ext uri="{FF2B5EF4-FFF2-40B4-BE49-F238E27FC236}">
                    <a16:creationId xmlns:a16="http://schemas.microsoft.com/office/drawing/2014/main" id="{CA85C87B-A690-4409-A840-681105BBBFF3}"/>
                  </a:ext>
                </a:extLst>
              </p:cNvPr>
              <p:cNvSpPr/>
              <p:nvPr/>
            </p:nvSpPr>
            <p:spPr>
              <a:xfrm>
                <a:off x="6795728" y="3589171"/>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64" name="Google Shape;2226;p18">
                <a:extLst>
                  <a:ext uri="{FF2B5EF4-FFF2-40B4-BE49-F238E27FC236}">
                    <a16:creationId xmlns:a16="http://schemas.microsoft.com/office/drawing/2014/main" id="{EE42E98E-A36E-4716-B2E9-34BD6A784A7E}"/>
                  </a:ext>
                </a:extLst>
              </p:cNvPr>
              <p:cNvSpPr/>
              <p:nvPr/>
            </p:nvSpPr>
            <p:spPr>
              <a:xfrm>
                <a:off x="6871009" y="3537219"/>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65" name="Google Shape;2227;p18">
                <a:extLst>
                  <a:ext uri="{FF2B5EF4-FFF2-40B4-BE49-F238E27FC236}">
                    <a16:creationId xmlns:a16="http://schemas.microsoft.com/office/drawing/2014/main" id="{685E0B02-1428-41C5-B2BD-49FEF0958D76}"/>
                  </a:ext>
                </a:extLst>
              </p:cNvPr>
              <p:cNvSpPr/>
              <p:nvPr/>
            </p:nvSpPr>
            <p:spPr>
              <a:xfrm>
                <a:off x="6805436" y="360326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66" name="Google Shape;2228;p18">
                <a:extLst>
                  <a:ext uri="{FF2B5EF4-FFF2-40B4-BE49-F238E27FC236}">
                    <a16:creationId xmlns:a16="http://schemas.microsoft.com/office/drawing/2014/main" id="{2CF6A1D4-E778-4EFA-9599-FB673B6A8B1C}"/>
                  </a:ext>
                </a:extLst>
              </p:cNvPr>
              <p:cNvSpPr/>
              <p:nvPr/>
            </p:nvSpPr>
            <p:spPr>
              <a:xfrm>
                <a:off x="6878061" y="3537219"/>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67" name="Google Shape;2229;p18">
                <a:extLst>
                  <a:ext uri="{FF2B5EF4-FFF2-40B4-BE49-F238E27FC236}">
                    <a16:creationId xmlns:a16="http://schemas.microsoft.com/office/drawing/2014/main" id="{7819CDB6-30F7-4C56-A49D-A155A3955AEC}"/>
                  </a:ext>
                </a:extLst>
              </p:cNvPr>
              <p:cNvSpPr/>
              <p:nvPr/>
            </p:nvSpPr>
            <p:spPr>
              <a:xfrm>
                <a:off x="6812396" y="3603265"/>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68" name="Google Shape;2230;p18">
                <a:extLst>
                  <a:ext uri="{FF2B5EF4-FFF2-40B4-BE49-F238E27FC236}">
                    <a16:creationId xmlns:a16="http://schemas.microsoft.com/office/drawing/2014/main" id="{CC2D3FCD-158B-4F50-ABD1-9C101A9073C6}"/>
                  </a:ext>
                </a:extLst>
              </p:cNvPr>
              <p:cNvSpPr/>
              <p:nvPr/>
            </p:nvSpPr>
            <p:spPr>
              <a:xfrm>
                <a:off x="6886853" y="3537219"/>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69" name="Google Shape;2231;p18">
                <a:extLst>
                  <a:ext uri="{FF2B5EF4-FFF2-40B4-BE49-F238E27FC236}">
                    <a16:creationId xmlns:a16="http://schemas.microsoft.com/office/drawing/2014/main" id="{A965B7E7-6FAE-4114-A2AE-7DCA9B28E990}"/>
                  </a:ext>
                </a:extLst>
              </p:cNvPr>
              <p:cNvSpPr/>
              <p:nvPr/>
            </p:nvSpPr>
            <p:spPr>
              <a:xfrm>
                <a:off x="6821188" y="360326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70" name="Google Shape;2232;p18">
                <a:extLst>
                  <a:ext uri="{FF2B5EF4-FFF2-40B4-BE49-F238E27FC236}">
                    <a16:creationId xmlns:a16="http://schemas.microsoft.com/office/drawing/2014/main" id="{48EC298C-5F30-4784-865B-F63996E93B73}"/>
                  </a:ext>
                </a:extLst>
              </p:cNvPr>
              <p:cNvSpPr/>
              <p:nvPr/>
            </p:nvSpPr>
            <p:spPr>
              <a:xfrm>
                <a:off x="6907458" y="3542377"/>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71" name="Google Shape;2233;p18">
                <a:extLst>
                  <a:ext uri="{FF2B5EF4-FFF2-40B4-BE49-F238E27FC236}">
                    <a16:creationId xmlns:a16="http://schemas.microsoft.com/office/drawing/2014/main" id="{CB94D913-4BD9-429D-959B-443A430D8AEC}"/>
                  </a:ext>
                </a:extLst>
              </p:cNvPr>
              <p:cNvSpPr/>
              <p:nvPr/>
            </p:nvSpPr>
            <p:spPr>
              <a:xfrm>
                <a:off x="6841794" y="360842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72" name="Google Shape;2234;p18">
                <a:extLst>
                  <a:ext uri="{FF2B5EF4-FFF2-40B4-BE49-F238E27FC236}">
                    <a16:creationId xmlns:a16="http://schemas.microsoft.com/office/drawing/2014/main" id="{616EE763-DB7C-4C16-8F06-3E7711EDBAEB}"/>
                  </a:ext>
                </a:extLst>
              </p:cNvPr>
              <p:cNvSpPr/>
              <p:nvPr/>
            </p:nvSpPr>
            <p:spPr>
              <a:xfrm>
                <a:off x="6914968" y="3542377"/>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73" name="Google Shape;2235;p18">
                <a:extLst>
                  <a:ext uri="{FF2B5EF4-FFF2-40B4-BE49-F238E27FC236}">
                    <a16:creationId xmlns:a16="http://schemas.microsoft.com/office/drawing/2014/main" id="{4E5B668C-AED9-493F-88E1-93DDA795985B}"/>
                  </a:ext>
                </a:extLst>
              </p:cNvPr>
              <p:cNvSpPr/>
              <p:nvPr/>
            </p:nvSpPr>
            <p:spPr>
              <a:xfrm>
                <a:off x="6849304" y="360842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74" name="Google Shape;2236;p18">
                <a:extLst>
                  <a:ext uri="{FF2B5EF4-FFF2-40B4-BE49-F238E27FC236}">
                    <a16:creationId xmlns:a16="http://schemas.microsoft.com/office/drawing/2014/main" id="{70984D73-56E6-4FEE-A4DF-EE7E3C4A3600}"/>
                  </a:ext>
                </a:extLst>
              </p:cNvPr>
              <p:cNvSpPr/>
              <p:nvPr/>
            </p:nvSpPr>
            <p:spPr>
              <a:xfrm>
                <a:off x="6922478" y="3542377"/>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75" name="Google Shape;2237;p18">
                <a:extLst>
                  <a:ext uri="{FF2B5EF4-FFF2-40B4-BE49-F238E27FC236}">
                    <a16:creationId xmlns:a16="http://schemas.microsoft.com/office/drawing/2014/main" id="{027A5F80-CA4A-46EC-AC70-551F0A70F4F8}"/>
                  </a:ext>
                </a:extLst>
              </p:cNvPr>
              <p:cNvSpPr/>
              <p:nvPr/>
            </p:nvSpPr>
            <p:spPr>
              <a:xfrm>
                <a:off x="6856813" y="360842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76" name="Google Shape;2238;p18">
                <a:extLst>
                  <a:ext uri="{FF2B5EF4-FFF2-40B4-BE49-F238E27FC236}">
                    <a16:creationId xmlns:a16="http://schemas.microsoft.com/office/drawing/2014/main" id="{9FC9B967-91F9-481C-BBE3-2EEC618FE34E}"/>
                  </a:ext>
                </a:extLst>
              </p:cNvPr>
              <p:cNvSpPr/>
              <p:nvPr/>
            </p:nvSpPr>
            <p:spPr>
              <a:xfrm>
                <a:off x="6929988" y="3542377"/>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77" name="Google Shape;2239;p18">
                <a:extLst>
                  <a:ext uri="{FF2B5EF4-FFF2-40B4-BE49-F238E27FC236}">
                    <a16:creationId xmlns:a16="http://schemas.microsoft.com/office/drawing/2014/main" id="{58478C1F-A989-4C5B-9313-4EC2DCADD6D2}"/>
                  </a:ext>
                </a:extLst>
              </p:cNvPr>
              <p:cNvSpPr/>
              <p:nvPr/>
            </p:nvSpPr>
            <p:spPr>
              <a:xfrm>
                <a:off x="6864324" y="360842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78" name="Google Shape;2240;p18">
                <a:extLst>
                  <a:ext uri="{FF2B5EF4-FFF2-40B4-BE49-F238E27FC236}">
                    <a16:creationId xmlns:a16="http://schemas.microsoft.com/office/drawing/2014/main" id="{6A373487-7B88-46EC-8564-BA09CBAFF282}"/>
                  </a:ext>
                </a:extLst>
              </p:cNvPr>
              <p:cNvSpPr/>
              <p:nvPr/>
            </p:nvSpPr>
            <p:spPr>
              <a:xfrm>
                <a:off x="6944915" y="3542377"/>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79" name="Google Shape;2241;p18">
                <a:extLst>
                  <a:ext uri="{FF2B5EF4-FFF2-40B4-BE49-F238E27FC236}">
                    <a16:creationId xmlns:a16="http://schemas.microsoft.com/office/drawing/2014/main" id="{F5C0E3BD-DE62-40A5-8890-01673846AAA7}"/>
                  </a:ext>
                </a:extLst>
              </p:cNvPr>
              <p:cNvSpPr/>
              <p:nvPr/>
            </p:nvSpPr>
            <p:spPr>
              <a:xfrm>
                <a:off x="6879342" y="360842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80" name="Google Shape;2242;p18">
                <a:extLst>
                  <a:ext uri="{FF2B5EF4-FFF2-40B4-BE49-F238E27FC236}">
                    <a16:creationId xmlns:a16="http://schemas.microsoft.com/office/drawing/2014/main" id="{4C6F297B-6FF8-475A-9E16-C74D59421E21}"/>
                  </a:ext>
                </a:extLst>
              </p:cNvPr>
              <p:cNvSpPr/>
              <p:nvPr/>
            </p:nvSpPr>
            <p:spPr>
              <a:xfrm>
                <a:off x="6952426" y="3542377"/>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81" name="Google Shape;2243;p18">
                <a:extLst>
                  <a:ext uri="{FF2B5EF4-FFF2-40B4-BE49-F238E27FC236}">
                    <a16:creationId xmlns:a16="http://schemas.microsoft.com/office/drawing/2014/main" id="{CC5CB473-265E-4F6C-94F9-287F0204BF6B}"/>
                  </a:ext>
                </a:extLst>
              </p:cNvPr>
              <p:cNvSpPr/>
              <p:nvPr/>
            </p:nvSpPr>
            <p:spPr>
              <a:xfrm>
                <a:off x="6886853" y="360842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82" name="Google Shape;2244;p18">
                <a:extLst>
                  <a:ext uri="{FF2B5EF4-FFF2-40B4-BE49-F238E27FC236}">
                    <a16:creationId xmlns:a16="http://schemas.microsoft.com/office/drawing/2014/main" id="{CEE02751-F21A-42CE-9AA7-E505C37040B9}"/>
                  </a:ext>
                </a:extLst>
              </p:cNvPr>
              <p:cNvSpPr/>
              <p:nvPr/>
            </p:nvSpPr>
            <p:spPr>
              <a:xfrm>
                <a:off x="6976877" y="3549102"/>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83" name="Google Shape;2245;p18">
                <a:extLst>
                  <a:ext uri="{FF2B5EF4-FFF2-40B4-BE49-F238E27FC236}">
                    <a16:creationId xmlns:a16="http://schemas.microsoft.com/office/drawing/2014/main" id="{034B41B7-C8BC-42A5-A95F-A799FDEC03C1}"/>
                  </a:ext>
                </a:extLst>
              </p:cNvPr>
              <p:cNvSpPr/>
              <p:nvPr/>
            </p:nvSpPr>
            <p:spPr>
              <a:xfrm>
                <a:off x="6911213" y="3615056"/>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84" name="Google Shape;2246;p18">
                <a:extLst>
                  <a:ext uri="{FF2B5EF4-FFF2-40B4-BE49-F238E27FC236}">
                    <a16:creationId xmlns:a16="http://schemas.microsoft.com/office/drawing/2014/main" id="{45E6D2A3-DFC8-4FA3-87E0-CB534FA07292}"/>
                  </a:ext>
                </a:extLst>
              </p:cNvPr>
              <p:cNvSpPr/>
              <p:nvPr/>
            </p:nvSpPr>
            <p:spPr>
              <a:xfrm>
                <a:off x="6980541" y="3549102"/>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85" name="Google Shape;2247;p18">
                <a:extLst>
                  <a:ext uri="{FF2B5EF4-FFF2-40B4-BE49-F238E27FC236}">
                    <a16:creationId xmlns:a16="http://schemas.microsoft.com/office/drawing/2014/main" id="{11753588-CB3F-4026-B383-8E744A0F2403}"/>
                  </a:ext>
                </a:extLst>
              </p:cNvPr>
              <p:cNvSpPr/>
              <p:nvPr/>
            </p:nvSpPr>
            <p:spPr>
              <a:xfrm>
                <a:off x="6914968" y="3615056"/>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86" name="Google Shape;2248;p18">
                <a:extLst>
                  <a:ext uri="{FF2B5EF4-FFF2-40B4-BE49-F238E27FC236}">
                    <a16:creationId xmlns:a16="http://schemas.microsoft.com/office/drawing/2014/main" id="{184A97A0-E44C-42EC-BAAF-FEDB82819BCC}"/>
                  </a:ext>
                </a:extLst>
              </p:cNvPr>
              <p:cNvSpPr/>
              <p:nvPr/>
            </p:nvSpPr>
            <p:spPr>
              <a:xfrm>
                <a:off x="6986036" y="3549102"/>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87" name="Google Shape;2249;p18">
                <a:extLst>
                  <a:ext uri="{FF2B5EF4-FFF2-40B4-BE49-F238E27FC236}">
                    <a16:creationId xmlns:a16="http://schemas.microsoft.com/office/drawing/2014/main" id="{ED86CD25-89F1-47F3-9AB3-9D4F25C07D5B}"/>
                  </a:ext>
                </a:extLst>
              </p:cNvPr>
              <p:cNvSpPr/>
              <p:nvPr/>
            </p:nvSpPr>
            <p:spPr>
              <a:xfrm>
                <a:off x="6920372" y="3615056"/>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88" name="Google Shape;2250;p18">
                <a:extLst>
                  <a:ext uri="{FF2B5EF4-FFF2-40B4-BE49-F238E27FC236}">
                    <a16:creationId xmlns:a16="http://schemas.microsoft.com/office/drawing/2014/main" id="{852E4C76-F707-43D3-B897-4148B6C4751C}"/>
                  </a:ext>
                </a:extLst>
              </p:cNvPr>
              <p:cNvSpPr/>
              <p:nvPr/>
            </p:nvSpPr>
            <p:spPr>
              <a:xfrm>
                <a:off x="6995561" y="355932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89" name="Google Shape;2251;p18">
                <a:extLst>
                  <a:ext uri="{FF2B5EF4-FFF2-40B4-BE49-F238E27FC236}">
                    <a16:creationId xmlns:a16="http://schemas.microsoft.com/office/drawing/2014/main" id="{31BF015E-4D03-4EB2-A454-E8A7F5D18068}"/>
                  </a:ext>
                </a:extLst>
              </p:cNvPr>
              <p:cNvSpPr/>
              <p:nvPr/>
            </p:nvSpPr>
            <p:spPr>
              <a:xfrm>
                <a:off x="6929988" y="362528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90" name="Google Shape;2252;p18">
                <a:extLst>
                  <a:ext uri="{FF2B5EF4-FFF2-40B4-BE49-F238E27FC236}">
                    <a16:creationId xmlns:a16="http://schemas.microsoft.com/office/drawing/2014/main" id="{BF55CC10-BE90-4CC1-B0C1-06EEF914419D}"/>
                  </a:ext>
                </a:extLst>
              </p:cNvPr>
              <p:cNvSpPr/>
              <p:nvPr/>
            </p:nvSpPr>
            <p:spPr>
              <a:xfrm>
                <a:off x="6999773" y="355932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91" name="Google Shape;2253;p18">
                <a:extLst>
                  <a:ext uri="{FF2B5EF4-FFF2-40B4-BE49-F238E27FC236}">
                    <a16:creationId xmlns:a16="http://schemas.microsoft.com/office/drawing/2014/main" id="{18FC9E25-734D-40D1-9ECF-57C520738781}"/>
                  </a:ext>
                </a:extLst>
              </p:cNvPr>
              <p:cNvSpPr/>
              <p:nvPr/>
            </p:nvSpPr>
            <p:spPr>
              <a:xfrm>
                <a:off x="6934109" y="3625280"/>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92" name="Google Shape;2254;p18">
                <a:extLst>
                  <a:ext uri="{FF2B5EF4-FFF2-40B4-BE49-F238E27FC236}">
                    <a16:creationId xmlns:a16="http://schemas.microsoft.com/office/drawing/2014/main" id="{59FB0079-3245-4508-B043-D38CEF1B41D1}"/>
                  </a:ext>
                </a:extLst>
              </p:cNvPr>
              <p:cNvSpPr/>
              <p:nvPr/>
            </p:nvSpPr>
            <p:spPr>
              <a:xfrm>
                <a:off x="7021112" y="355932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93" name="Google Shape;2255;p18">
                <a:extLst>
                  <a:ext uri="{FF2B5EF4-FFF2-40B4-BE49-F238E27FC236}">
                    <a16:creationId xmlns:a16="http://schemas.microsoft.com/office/drawing/2014/main" id="{6F4DFF4E-113F-4C64-AA70-15C3CDADCC82}"/>
                  </a:ext>
                </a:extLst>
              </p:cNvPr>
              <p:cNvSpPr/>
              <p:nvPr/>
            </p:nvSpPr>
            <p:spPr>
              <a:xfrm>
                <a:off x="6955539" y="362528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94" name="Google Shape;2256;p18">
                <a:extLst>
                  <a:ext uri="{FF2B5EF4-FFF2-40B4-BE49-F238E27FC236}">
                    <a16:creationId xmlns:a16="http://schemas.microsoft.com/office/drawing/2014/main" id="{4A4BE4D7-5676-474E-8B7D-18234A74C452}"/>
                  </a:ext>
                </a:extLst>
              </p:cNvPr>
              <p:cNvSpPr/>
              <p:nvPr/>
            </p:nvSpPr>
            <p:spPr>
              <a:xfrm>
                <a:off x="7029813" y="355932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95" name="Google Shape;2257;p18">
                <a:extLst>
                  <a:ext uri="{FF2B5EF4-FFF2-40B4-BE49-F238E27FC236}">
                    <a16:creationId xmlns:a16="http://schemas.microsoft.com/office/drawing/2014/main" id="{3BF31138-1BF7-4DFE-8EA1-6BF979FAA81B}"/>
                  </a:ext>
                </a:extLst>
              </p:cNvPr>
              <p:cNvSpPr/>
              <p:nvPr/>
            </p:nvSpPr>
            <p:spPr>
              <a:xfrm>
                <a:off x="6964147" y="362528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96" name="Google Shape;2258;p18">
                <a:extLst>
                  <a:ext uri="{FF2B5EF4-FFF2-40B4-BE49-F238E27FC236}">
                    <a16:creationId xmlns:a16="http://schemas.microsoft.com/office/drawing/2014/main" id="{3E3C20BC-C2F9-47FD-88D5-C93A3B1EFE4D}"/>
                  </a:ext>
                </a:extLst>
              </p:cNvPr>
              <p:cNvSpPr/>
              <p:nvPr/>
            </p:nvSpPr>
            <p:spPr>
              <a:xfrm>
                <a:off x="7033384" y="3559326"/>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97" name="Google Shape;2259;p18">
                <a:extLst>
                  <a:ext uri="{FF2B5EF4-FFF2-40B4-BE49-F238E27FC236}">
                    <a16:creationId xmlns:a16="http://schemas.microsoft.com/office/drawing/2014/main" id="{5272AB15-484B-49F2-BCC5-B6A632AF8E05}"/>
                  </a:ext>
                </a:extLst>
              </p:cNvPr>
              <p:cNvSpPr/>
              <p:nvPr/>
            </p:nvSpPr>
            <p:spPr>
              <a:xfrm>
                <a:off x="6967720" y="362528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98" name="Google Shape;2260;p18">
                <a:extLst>
                  <a:ext uri="{FF2B5EF4-FFF2-40B4-BE49-F238E27FC236}">
                    <a16:creationId xmlns:a16="http://schemas.microsoft.com/office/drawing/2014/main" id="{FC80E609-82DA-4E33-83FE-096D9DE8BEAD}"/>
                  </a:ext>
                </a:extLst>
              </p:cNvPr>
              <p:cNvSpPr/>
              <p:nvPr/>
            </p:nvSpPr>
            <p:spPr>
              <a:xfrm>
                <a:off x="7042542" y="356752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199" name="Google Shape;2261;p18">
                <a:extLst>
                  <a:ext uri="{FF2B5EF4-FFF2-40B4-BE49-F238E27FC236}">
                    <a16:creationId xmlns:a16="http://schemas.microsoft.com/office/drawing/2014/main" id="{CF574EE0-54C7-450E-954B-8CC06290C3CB}"/>
                  </a:ext>
                </a:extLst>
              </p:cNvPr>
              <p:cNvSpPr/>
              <p:nvPr/>
            </p:nvSpPr>
            <p:spPr>
              <a:xfrm>
                <a:off x="6976877" y="363347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00" name="Google Shape;2262;p18">
                <a:extLst>
                  <a:ext uri="{FF2B5EF4-FFF2-40B4-BE49-F238E27FC236}">
                    <a16:creationId xmlns:a16="http://schemas.microsoft.com/office/drawing/2014/main" id="{FA949C41-4BEF-4C56-B800-BB8A39E21C73}"/>
                  </a:ext>
                </a:extLst>
              </p:cNvPr>
              <p:cNvSpPr/>
              <p:nvPr/>
            </p:nvSpPr>
            <p:spPr>
              <a:xfrm>
                <a:off x="7051701" y="356752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01" name="Google Shape;2263;p18">
                <a:extLst>
                  <a:ext uri="{FF2B5EF4-FFF2-40B4-BE49-F238E27FC236}">
                    <a16:creationId xmlns:a16="http://schemas.microsoft.com/office/drawing/2014/main" id="{7D1629CD-2D0E-4F95-BC7E-1AC06D619128}"/>
                  </a:ext>
                </a:extLst>
              </p:cNvPr>
              <p:cNvSpPr/>
              <p:nvPr/>
            </p:nvSpPr>
            <p:spPr>
              <a:xfrm>
                <a:off x="6986036" y="363347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02" name="Google Shape;2264;p18">
                <a:extLst>
                  <a:ext uri="{FF2B5EF4-FFF2-40B4-BE49-F238E27FC236}">
                    <a16:creationId xmlns:a16="http://schemas.microsoft.com/office/drawing/2014/main" id="{4FE8AFBE-266F-4C91-81B1-578C14EF4117}"/>
                  </a:ext>
                </a:extLst>
              </p:cNvPr>
              <p:cNvSpPr/>
              <p:nvPr/>
            </p:nvSpPr>
            <p:spPr>
              <a:xfrm>
                <a:off x="7060858" y="356752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03" name="Google Shape;2265;p18">
                <a:extLst>
                  <a:ext uri="{FF2B5EF4-FFF2-40B4-BE49-F238E27FC236}">
                    <a16:creationId xmlns:a16="http://schemas.microsoft.com/office/drawing/2014/main" id="{BB2932C6-D98D-4F2A-B6C2-DCBF3DAA7F2C}"/>
                  </a:ext>
                </a:extLst>
              </p:cNvPr>
              <p:cNvSpPr/>
              <p:nvPr/>
            </p:nvSpPr>
            <p:spPr>
              <a:xfrm>
                <a:off x="6995194" y="363347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04" name="Google Shape;2266;p18">
                <a:extLst>
                  <a:ext uri="{FF2B5EF4-FFF2-40B4-BE49-F238E27FC236}">
                    <a16:creationId xmlns:a16="http://schemas.microsoft.com/office/drawing/2014/main" id="{1DA82D5A-4D21-413B-99C7-10BEE8780011}"/>
                  </a:ext>
                </a:extLst>
              </p:cNvPr>
              <p:cNvSpPr/>
              <p:nvPr/>
            </p:nvSpPr>
            <p:spPr>
              <a:xfrm>
                <a:off x="7070017" y="356752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05" name="Google Shape;2267;p18">
                <a:extLst>
                  <a:ext uri="{FF2B5EF4-FFF2-40B4-BE49-F238E27FC236}">
                    <a16:creationId xmlns:a16="http://schemas.microsoft.com/office/drawing/2014/main" id="{0C7ABDEF-E3AB-497F-8DD3-E4D2F5B98E95}"/>
                  </a:ext>
                </a:extLst>
              </p:cNvPr>
              <p:cNvSpPr/>
              <p:nvPr/>
            </p:nvSpPr>
            <p:spPr>
              <a:xfrm>
                <a:off x="7004353" y="363347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06" name="Google Shape;2268;p18">
                <a:extLst>
                  <a:ext uri="{FF2B5EF4-FFF2-40B4-BE49-F238E27FC236}">
                    <a16:creationId xmlns:a16="http://schemas.microsoft.com/office/drawing/2014/main" id="{FB24751C-4A4A-48A7-9D7E-A52B4D3416C4}"/>
                  </a:ext>
                </a:extLst>
              </p:cNvPr>
              <p:cNvSpPr/>
              <p:nvPr/>
            </p:nvSpPr>
            <p:spPr>
              <a:xfrm>
                <a:off x="7079175" y="356752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07" name="Google Shape;2269;p18">
                <a:extLst>
                  <a:ext uri="{FF2B5EF4-FFF2-40B4-BE49-F238E27FC236}">
                    <a16:creationId xmlns:a16="http://schemas.microsoft.com/office/drawing/2014/main" id="{769446FB-A96E-40A1-9F1D-5A87D13021DC}"/>
                  </a:ext>
                </a:extLst>
              </p:cNvPr>
              <p:cNvSpPr/>
              <p:nvPr/>
            </p:nvSpPr>
            <p:spPr>
              <a:xfrm>
                <a:off x="7013511" y="363347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08" name="Google Shape;2270;p18">
                <a:extLst>
                  <a:ext uri="{FF2B5EF4-FFF2-40B4-BE49-F238E27FC236}">
                    <a16:creationId xmlns:a16="http://schemas.microsoft.com/office/drawing/2014/main" id="{182BF9E4-E5BF-4A1E-9D34-119A4BA5C9B1}"/>
                  </a:ext>
                </a:extLst>
              </p:cNvPr>
              <p:cNvSpPr/>
              <p:nvPr/>
            </p:nvSpPr>
            <p:spPr>
              <a:xfrm>
                <a:off x="7087967" y="358078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09" name="Google Shape;2271;p18">
                <a:extLst>
                  <a:ext uri="{FF2B5EF4-FFF2-40B4-BE49-F238E27FC236}">
                    <a16:creationId xmlns:a16="http://schemas.microsoft.com/office/drawing/2014/main" id="{4C5BD6BE-78BC-49E8-8CCF-9A89AAE90883}"/>
                  </a:ext>
                </a:extLst>
              </p:cNvPr>
              <p:cNvSpPr/>
              <p:nvPr/>
            </p:nvSpPr>
            <p:spPr>
              <a:xfrm>
                <a:off x="7022394" y="364674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10" name="Google Shape;2272;p18">
                <a:extLst>
                  <a:ext uri="{FF2B5EF4-FFF2-40B4-BE49-F238E27FC236}">
                    <a16:creationId xmlns:a16="http://schemas.microsoft.com/office/drawing/2014/main" id="{EA9DAE06-CD8D-40A0-8461-2C4588DB5B65}"/>
                  </a:ext>
                </a:extLst>
              </p:cNvPr>
              <p:cNvSpPr/>
              <p:nvPr/>
            </p:nvSpPr>
            <p:spPr>
              <a:xfrm>
                <a:off x="7095386" y="358078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11" name="Google Shape;2273;p18">
                <a:extLst>
                  <a:ext uri="{FF2B5EF4-FFF2-40B4-BE49-F238E27FC236}">
                    <a16:creationId xmlns:a16="http://schemas.microsoft.com/office/drawing/2014/main" id="{37FF7809-5037-46CB-8276-BF5CF82FCBEF}"/>
                  </a:ext>
                </a:extLst>
              </p:cNvPr>
              <p:cNvSpPr/>
              <p:nvPr/>
            </p:nvSpPr>
            <p:spPr>
              <a:xfrm>
                <a:off x="7029813" y="364674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12" name="Google Shape;2274;p18">
                <a:extLst>
                  <a:ext uri="{FF2B5EF4-FFF2-40B4-BE49-F238E27FC236}">
                    <a16:creationId xmlns:a16="http://schemas.microsoft.com/office/drawing/2014/main" id="{49561DE2-A289-4019-8CE5-A88E9823F778}"/>
                  </a:ext>
                </a:extLst>
              </p:cNvPr>
              <p:cNvSpPr/>
              <p:nvPr/>
            </p:nvSpPr>
            <p:spPr>
              <a:xfrm>
                <a:off x="7102895" y="358078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13" name="Google Shape;2275;p18">
                <a:extLst>
                  <a:ext uri="{FF2B5EF4-FFF2-40B4-BE49-F238E27FC236}">
                    <a16:creationId xmlns:a16="http://schemas.microsoft.com/office/drawing/2014/main" id="{ECE3C8A9-468F-4036-821C-C5B4993F606D}"/>
                  </a:ext>
                </a:extLst>
              </p:cNvPr>
              <p:cNvSpPr/>
              <p:nvPr/>
            </p:nvSpPr>
            <p:spPr>
              <a:xfrm>
                <a:off x="7037231" y="364674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14" name="Google Shape;2276;p18">
                <a:extLst>
                  <a:ext uri="{FF2B5EF4-FFF2-40B4-BE49-F238E27FC236}">
                    <a16:creationId xmlns:a16="http://schemas.microsoft.com/office/drawing/2014/main" id="{CB15A10A-B70C-4D46-BC98-215CBE7FB135}"/>
                  </a:ext>
                </a:extLst>
              </p:cNvPr>
              <p:cNvSpPr/>
              <p:nvPr/>
            </p:nvSpPr>
            <p:spPr>
              <a:xfrm>
                <a:off x="7110313" y="358078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15" name="Google Shape;2277;p18">
                <a:extLst>
                  <a:ext uri="{FF2B5EF4-FFF2-40B4-BE49-F238E27FC236}">
                    <a16:creationId xmlns:a16="http://schemas.microsoft.com/office/drawing/2014/main" id="{21843AFE-469B-4A29-97B9-17C67FB2A01B}"/>
                  </a:ext>
                </a:extLst>
              </p:cNvPr>
              <p:cNvSpPr/>
              <p:nvPr/>
            </p:nvSpPr>
            <p:spPr>
              <a:xfrm>
                <a:off x="7044649" y="364674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16" name="Google Shape;2278;p18">
                <a:extLst>
                  <a:ext uri="{FF2B5EF4-FFF2-40B4-BE49-F238E27FC236}">
                    <a16:creationId xmlns:a16="http://schemas.microsoft.com/office/drawing/2014/main" id="{0CAAFC97-2473-404A-B7F6-97D96EC17256}"/>
                  </a:ext>
                </a:extLst>
              </p:cNvPr>
              <p:cNvSpPr/>
              <p:nvPr/>
            </p:nvSpPr>
            <p:spPr>
              <a:xfrm>
                <a:off x="7117731" y="358078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17" name="Google Shape;2279;p18">
                <a:extLst>
                  <a:ext uri="{FF2B5EF4-FFF2-40B4-BE49-F238E27FC236}">
                    <a16:creationId xmlns:a16="http://schemas.microsoft.com/office/drawing/2014/main" id="{701087BC-A35B-4A79-BDEB-094440E2E5B5}"/>
                  </a:ext>
                </a:extLst>
              </p:cNvPr>
              <p:cNvSpPr/>
              <p:nvPr/>
            </p:nvSpPr>
            <p:spPr>
              <a:xfrm>
                <a:off x="7052066" y="364674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18" name="Google Shape;2280;p18">
                <a:extLst>
                  <a:ext uri="{FF2B5EF4-FFF2-40B4-BE49-F238E27FC236}">
                    <a16:creationId xmlns:a16="http://schemas.microsoft.com/office/drawing/2014/main" id="{440C25F3-744B-4530-B384-81A0D88CC031}"/>
                  </a:ext>
                </a:extLst>
              </p:cNvPr>
              <p:cNvSpPr/>
              <p:nvPr/>
            </p:nvSpPr>
            <p:spPr>
              <a:xfrm>
                <a:off x="7125150" y="358078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19" name="Google Shape;2281;p18">
                <a:extLst>
                  <a:ext uri="{FF2B5EF4-FFF2-40B4-BE49-F238E27FC236}">
                    <a16:creationId xmlns:a16="http://schemas.microsoft.com/office/drawing/2014/main" id="{29B9420F-4AF0-4CFD-AC39-0E3D2183DC27}"/>
                  </a:ext>
                </a:extLst>
              </p:cNvPr>
              <p:cNvSpPr/>
              <p:nvPr/>
            </p:nvSpPr>
            <p:spPr>
              <a:xfrm>
                <a:off x="7059485" y="364674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20" name="Google Shape;2282;p18">
                <a:extLst>
                  <a:ext uri="{FF2B5EF4-FFF2-40B4-BE49-F238E27FC236}">
                    <a16:creationId xmlns:a16="http://schemas.microsoft.com/office/drawing/2014/main" id="{CFE89F3B-AE1E-4E35-B75D-75815D699D2E}"/>
                  </a:ext>
                </a:extLst>
              </p:cNvPr>
              <p:cNvSpPr/>
              <p:nvPr/>
            </p:nvSpPr>
            <p:spPr>
              <a:xfrm>
                <a:off x="7132568" y="358078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21" name="Google Shape;2283;p18">
                <a:extLst>
                  <a:ext uri="{FF2B5EF4-FFF2-40B4-BE49-F238E27FC236}">
                    <a16:creationId xmlns:a16="http://schemas.microsoft.com/office/drawing/2014/main" id="{987485EB-97EC-4F63-B142-B8A84240979B}"/>
                  </a:ext>
                </a:extLst>
              </p:cNvPr>
              <p:cNvSpPr/>
              <p:nvPr/>
            </p:nvSpPr>
            <p:spPr>
              <a:xfrm>
                <a:off x="7066903" y="364674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22" name="Google Shape;2284;p18">
                <a:extLst>
                  <a:ext uri="{FF2B5EF4-FFF2-40B4-BE49-F238E27FC236}">
                    <a16:creationId xmlns:a16="http://schemas.microsoft.com/office/drawing/2014/main" id="{B6937737-E834-487B-950D-9A97A19F6102}"/>
                  </a:ext>
                </a:extLst>
              </p:cNvPr>
              <p:cNvSpPr/>
              <p:nvPr/>
            </p:nvSpPr>
            <p:spPr>
              <a:xfrm>
                <a:off x="7139985" y="358078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23" name="Google Shape;2285;p18">
                <a:extLst>
                  <a:ext uri="{FF2B5EF4-FFF2-40B4-BE49-F238E27FC236}">
                    <a16:creationId xmlns:a16="http://schemas.microsoft.com/office/drawing/2014/main" id="{CF962D87-C559-4132-89DD-DA21FCF02E36}"/>
                  </a:ext>
                </a:extLst>
              </p:cNvPr>
              <p:cNvSpPr/>
              <p:nvPr/>
            </p:nvSpPr>
            <p:spPr>
              <a:xfrm>
                <a:off x="7074321" y="364674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24" name="Google Shape;2286;p18">
                <a:extLst>
                  <a:ext uri="{FF2B5EF4-FFF2-40B4-BE49-F238E27FC236}">
                    <a16:creationId xmlns:a16="http://schemas.microsoft.com/office/drawing/2014/main" id="{0DA93775-70B3-43BD-866D-AC7505E8278E}"/>
                  </a:ext>
                </a:extLst>
              </p:cNvPr>
              <p:cNvSpPr/>
              <p:nvPr/>
            </p:nvSpPr>
            <p:spPr>
              <a:xfrm>
                <a:off x="7147404" y="358078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25" name="Google Shape;2287;p18">
                <a:extLst>
                  <a:ext uri="{FF2B5EF4-FFF2-40B4-BE49-F238E27FC236}">
                    <a16:creationId xmlns:a16="http://schemas.microsoft.com/office/drawing/2014/main" id="{36D9399C-C8FD-4EA4-AE87-EAA97CD2ECEB}"/>
                  </a:ext>
                </a:extLst>
              </p:cNvPr>
              <p:cNvSpPr/>
              <p:nvPr/>
            </p:nvSpPr>
            <p:spPr>
              <a:xfrm>
                <a:off x="7081739" y="364674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26" name="Google Shape;2288;p18">
                <a:extLst>
                  <a:ext uri="{FF2B5EF4-FFF2-40B4-BE49-F238E27FC236}">
                    <a16:creationId xmlns:a16="http://schemas.microsoft.com/office/drawing/2014/main" id="{4DB09039-0655-4B37-A7DF-39A74FC4291D}"/>
                  </a:ext>
                </a:extLst>
              </p:cNvPr>
              <p:cNvSpPr/>
              <p:nvPr/>
            </p:nvSpPr>
            <p:spPr>
              <a:xfrm>
                <a:off x="7154822" y="358078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27" name="Google Shape;2289;p18">
                <a:extLst>
                  <a:ext uri="{FF2B5EF4-FFF2-40B4-BE49-F238E27FC236}">
                    <a16:creationId xmlns:a16="http://schemas.microsoft.com/office/drawing/2014/main" id="{45502F7B-AAFF-4689-AB33-9FF1A02BA399}"/>
                  </a:ext>
                </a:extLst>
              </p:cNvPr>
              <p:cNvSpPr/>
              <p:nvPr/>
            </p:nvSpPr>
            <p:spPr>
              <a:xfrm>
                <a:off x="7089158" y="364674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28" name="Google Shape;2290;p18">
                <a:extLst>
                  <a:ext uri="{FF2B5EF4-FFF2-40B4-BE49-F238E27FC236}">
                    <a16:creationId xmlns:a16="http://schemas.microsoft.com/office/drawing/2014/main" id="{89E4A105-6741-4D23-978F-79220F63E876}"/>
                  </a:ext>
                </a:extLst>
              </p:cNvPr>
              <p:cNvSpPr/>
              <p:nvPr/>
            </p:nvSpPr>
            <p:spPr>
              <a:xfrm>
                <a:off x="7162240" y="358078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29" name="Google Shape;2291;p18">
                <a:extLst>
                  <a:ext uri="{FF2B5EF4-FFF2-40B4-BE49-F238E27FC236}">
                    <a16:creationId xmlns:a16="http://schemas.microsoft.com/office/drawing/2014/main" id="{759DAD46-DFC1-418F-9470-37A2DDD60786}"/>
                  </a:ext>
                </a:extLst>
              </p:cNvPr>
              <p:cNvSpPr/>
              <p:nvPr/>
            </p:nvSpPr>
            <p:spPr>
              <a:xfrm>
                <a:off x="7096576" y="364674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30" name="Google Shape;2292;p18">
                <a:extLst>
                  <a:ext uri="{FF2B5EF4-FFF2-40B4-BE49-F238E27FC236}">
                    <a16:creationId xmlns:a16="http://schemas.microsoft.com/office/drawing/2014/main" id="{A74799CA-77EC-4293-9BB3-A564C85B51FA}"/>
                  </a:ext>
                </a:extLst>
              </p:cNvPr>
              <p:cNvSpPr/>
              <p:nvPr/>
            </p:nvSpPr>
            <p:spPr>
              <a:xfrm>
                <a:off x="7180374" y="358917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31" name="Google Shape;2293;p18">
                <a:extLst>
                  <a:ext uri="{FF2B5EF4-FFF2-40B4-BE49-F238E27FC236}">
                    <a16:creationId xmlns:a16="http://schemas.microsoft.com/office/drawing/2014/main" id="{6DD9F017-4C3D-470F-B152-570F85E3A2DA}"/>
                  </a:ext>
                </a:extLst>
              </p:cNvPr>
              <p:cNvSpPr/>
              <p:nvPr/>
            </p:nvSpPr>
            <p:spPr>
              <a:xfrm>
                <a:off x="7114801" y="365521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32" name="Google Shape;2294;p18">
                <a:extLst>
                  <a:ext uri="{FF2B5EF4-FFF2-40B4-BE49-F238E27FC236}">
                    <a16:creationId xmlns:a16="http://schemas.microsoft.com/office/drawing/2014/main" id="{E166AF6D-32E9-4DBF-8A2D-69F312AF96BD}"/>
                  </a:ext>
                </a:extLst>
              </p:cNvPr>
              <p:cNvSpPr/>
              <p:nvPr/>
            </p:nvSpPr>
            <p:spPr>
              <a:xfrm>
                <a:off x="7185960" y="358917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33" name="Google Shape;2295;p18">
                <a:extLst>
                  <a:ext uri="{FF2B5EF4-FFF2-40B4-BE49-F238E27FC236}">
                    <a16:creationId xmlns:a16="http://schemas.microsoft.com/office/drawing/2014/main" id="{5B6F3293-B46D-458E-9983-2B4E1FF0FC31}"/>
                  </a:ext>
                </a:extLst>
              </p:cNvPr>
              <p:cNvSpPr/>
              <p:nvPr/>
            </p:nvSpPr>
            <p:spPr>
              <a:xfrm>
                <a:off x="7120387" y="365521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34" name="Google Shape;2296;p18">
                <a:extLst>
                  <a:ext uri="{FF2B5EF4-FFF2-40B4-BE49-F238E27FC236}">
                    <a16:creationId xmlns:a16="http://schemas.microsoft.com/office/drawing/2014/main" id="{E858569D-D480-49B1-8FE8-621DED1BABD3}"/>
                  </a:ext>
                </a:extLst>
              </p:cNvPr>
              <p:cNvSpPr/>
              <p:nvPr/>
            </p:nvSpPr>
            <p:spPr>
              <a:xfrm>
                <a:off x="7191547" y="358917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35" name="Google Shape;2297;p18">
                <a:extLst>
                  <a:ext uri="{FF2B5EF4-FFF2-40B4-BE49-F238E27FC236}">
                    <a16:creationId xmlns:a16="http://schemas.microsoft.com/office/drawing/2014/main" id="{7C51B55C-7452-48CC-AC5E-C07DC32664DC}"/>
                  </a:ext>
                </a:extLst>
              </p:cNvPr>
              <p:cNvSpPr/>
              <p:nvPr/>
            </p:nvSpPr>
            <p:spPr>
              <a:xfrm>
                <a:off x="7125974" y="365521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36" name="Google Shape;2298;p18">
                <a:extLst>
                  <a:ext uri="{FF2B5EF4-FFF2-40B4-BE49-F238E27FC236}">
                    <a16:creationId xmlns:a16="http://schemas.microsoft.com/office/drawing/2014/main" id="{15587AFB-03AD-4C04-B46D-3C185ED3C156}"/>
                  </a:ext>
                </a:extLst>
              </p:cNvPr>
              <p:cNvSpPr/>
              <p:nvPr/>
            </p:nvSpPr>
            <p:spPr>
              <a:xfrm>
                <a:off x="7197225" y="358917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37" name="Google Shape;2299;p18">
                <a:extLst>
                  <a:ext uri="{FF2B5EF4-FFF2-40B4-BE49-F238E27FC236}">
                    <a16:creationId xmlns:a16="http://schemas.microsoft.com/office/drawing/2014/main" id="{1FAEB145-F221-4B4D-AA22-D024DECBAEDD}"/>
                  </a:ext>
                </a:extLst>
              </p:cNvPr>
              <p:cNvSpPr/>
              <p:nvPr/>
            </p:nvSpPr>
            <p:spPr>
              <a:xfrm>
                <a:off x="7131560" y="365521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38" name="Google Shape;2300;p18">
                <a:extLst>
                  <a:ext uri="{FF2B5EF4-FFF2-40B4-BE49-F238E27FC236}">
                    <a16:creationId xmlns:a16="http://schemas.microsoft.com/office/drawing/2014/main" id="{F08E4A5F-7E8B-4367-BEEC-6A620F15A0F0}"/>
                  </a:ext>
                </a:extLst>
              </p:cNvPr>
              <p:cNvSpPr/>
              <p:nvPr/>
            </p:nvSpPr>
            <p:spPr>
              <a:xfrm>
                <a:off x="7202811" y="358917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39" name="Google Shape;2301;p18">
                <a:extLst>
                  <a:ext uri="{FF2B5EF4-FFF2-40B4-BE49-F238E27FC236}">
                    <a16:creationId xmlns:a16="http://schemas.microsoft.com/office/drawing/2014/main" id="{AC8DEE19-67CD-4398-8A91-77BAE22183F4}"/>
                  </a:ext>
                </a:extLst>
              </p:cNvPr>
              <p:cNvSpPr/>
              <p:nvPr/>
            </p:nvSpPr>
            <p:spPr>
              <a:xfrm>
                <a:off x="7137147" y="365521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40" name="Google Shape;2302;p18">
                <a:extLst>
                  <a:ext uri="{FF2B5EF4-FFF2-40B4-BE49-F238E27FC236}">
                    <a16:creationId xmlns:a16="http://schemas.microsoft.com/office/drawing/2014/main" id="{4FC617C8-ECE6-4ED1-85E1-19465360CEF5}"/>
                  </a:ext>
                </a:extLst>
              </p:cNvPr>
              <p:cNvSpPr/>
              <p:nvPr/>
            </p:nvSpPr>
            <p:spPr>
              <a:xfrm>
                <a:off x="7215999" y="3595804"/>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41" name="Google Shape;2303;p18">
                <a:extLst>
                  <a:ext uri="{FF2B5EF4-FFF2-40B4-BE49-F238E27FC236}">
                    <a16:creationId xmlns:a16="http://schemas.microsoft.com/office/drawing/2014/main" id="{0C96733A-F6C5-4669-B51A-796DA6B35E9D}"/>
                  </a:ext>
                </a:extLst>
              </p:cNvPr>
              <p:cNvSpPr/>
              <p:nvPr/>
            </p:nvSpPr>
            <p:spPr>
              <a:xfrm>
                <a:off x="7150334" y="3661850"/>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42" name="Google Shape;2304;p18">
                <a:extLst>
                  <a:ext uri="{FF2B5EF4-FFF2-40B4-BE49-F238E27FC236}">
                    <a16:creationId xmlns:a16="http://schemas.microsoft.com/office/drawing/2014/main" id="{4782965C-2DCF-45E7-99F9-A6AFFB730924}"/>
                  </a:ext>
                </a:extLst>
              </p:cNvPr>
              <p:cNvSpPr/>
              <p:nvPr/>
            </p:nvSpPr>
            <p:spPr>
              <a:xfrm>
                <a:off x="7224058" y="3595804"/>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43" name="Google Shape;2305;p18">
                <a:extLst>
                  <a:ext uri="{FF2B5EF4-FFF2-40B4-BE49-F238E27FC236}">
                    <a16:creationId xmlns:a16="http://schemas.microsoft.com/office/drawing/2014/main" id="{48082164-D502-4EFC-B81F-C4131AC20294}"/>
                  </a:ext>
                </a:extLst>
              </p:cNvPr>
              <p:cNvSpPr/>
              <p:nvPr/>
            </p:nvSpPr>
            <p:spPr>
              <a:xfrm>
                <a:off x="7158393" y="366185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44" name="Google Shape;2306;p18">
                <a:extLst>
                  <a:ext uri="{FF2B5EF4-FFF2-40B4-BE49-F238E27FC236}">
                    <a16:creationId xmlns:a16="http://schemas.microsoft.com/office/drawing/2014/main" id="{569A2104-FCD1-47A8-BB22-80742E82B422}"/>
                  </a:ext>
                </a:extLst>
              </p:cNvPr>
              <p:cNvSpPr/>
              <p:nvPr/>
            </p:nvSpPr>
            <p:spPr>
              <a:xfrm>
                <a:off x="7232025" y="3595804"/>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45" name="Google Shape;2307;p18">
                <a:extLst>
                  <a:ext uri="{FF2B5EF4-FFF2-40B4-BE49-F238E27FC236}">
                    <a16:creationId xmlns:a16="http://schemas.microsoft.com/office/drawing/2014/main" id="{2FF2C34D-6CA3-44E5-9047-D13631AEC269}"/>
                  </a:ext>
                </a:extLst>
              </p:cNvPr>
              <p:cNvSpPr/>
              <p:nvPr/>
            </p:nvSpPr>
            <p:spPr>
              <a:xfrm>
                <a:off x="7166361" y="3661850"/>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46" name="Google Shape;2308;p18">
                <a:extLst>
                  <a:ext uri="{FF2B5EF4-FFF2-40B4-BE49-F238E27FC236}">
                    <a16:creationId xmlns:a16="http://schemas.microsoft.com/office/drawing/2014/main" id="{BEDD5483-3421-440E-84B2-740E30AA00C9}"/>
                  </a:ext>
                </a:extLst>
              </p:cNvPr>
              <p:cNvSpPr/>
              <p:nvPr/>
            </p:nvSpPr>
            <p:spPr>
              <a:xfrm>
                <a:off x="7248052" y="3595804"/>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47" name="Google Shape;2309;p18">
                <a:extLst>
                  <a:ext uri="{FF2B5EF4-FFF2-40B4-BE49-F238E27FC236}">
                    <a16:creationId xmlns:a16="http://schemas.microsoft.com/office/drawing/2014/main" id="{A9A20180-8CCA-4456-85EC-6368E4F31414}"/>
                  </a:ext>
                </a:extLst>
              </p:cNvPr>
              <p:cNvSpPr/>
              <p:nvPr/>
            </p:nvSpPr>
            <p:spPr>
              <a:xfrm>
                <a:off x="7182388" y="3661850"/>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48" name="Google Shape;2310;p18">
                <a:extLst>
                  <a:ext uri="{FF2B5EF4-FFF2-40B4-BE49-F238E27FC236}">
                    <a16:creationId xmlns:a16="http://schemas.microsoft.com/office/drawing/2014/main" id="{2C7208A5-1E0C-449C-A939-86E23C92AC18}"/>
                  </a:ext>
                </a:extLst>
              </p:cNvPr>
              <p:cNvSpPr/>
              <p:nvPr/>
            </p:nvSpPr>
            <p:spPr>
              <a:xfrm>
                <a:off x="7262798" y="361118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49" name="Google Shape;2311;p18">
                <a:extLst>
                  <a:ext uri="{FF2B5EF4-FFF2-40B4-BE49-F238E27FC236}">
                    <a16:creationId xmlns:a16="http://schemas.microsoft.com/office/drawing/2014/main" id="{44BAE0DE-E1EB-4596-BB84-8E40A275FD2D}"/>
                  </a:ext>
                </a:extLst>
              </p:cNvPr>
              <p:cNvSpPr/>
              <p:nvPr/>
            </p:nvSpPr>
            <p:spPr>
              <a:xfrm>
                <a:off x="7197225" y="367723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50" name="Google Shape;2312;p18">
                <a:extLst>
                  <a:ext uri="{FF2B5EF4-FFF2-40B4-BE49-F238E27FC236}">
                    <a16:creationId xmlns:a16="http://schemas.microsoft.com/office/drawing/2014/main" id="{F7DC7681-CAA8-435F-A89F-350FEDA61CCD}"/>
                  </a:ext>
                </a:extLst>
              </p:cNvPr>
              <p:cNvSpPr/>
              <p:nvPr/>
            </p:nvSpPr>
            <p:spPr>
              <a:xfrm>
                <a:off x="7270765" y="361118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51" name="Google Shape;2313;p18">
                <a:extLst>
                  <a:ext uri="{FF2B5EF4-FFF2-40B4-BE49-F238E27FC236}">
                    <a16:creationId xmlns:a16="http://schemas.microsoft.com/office/drawing/2014/main" id="{2331217E-7077-421A-B561-C3B637A7D035}"/>
                  </a:ext>
                </a:extLst>
              </p:cNvPr>
              <p:cNvSpPr/>
              <p:nvPr/>
            </p:nvSpPr>
            <p:spPr>
              <a:xfrm>
                <a:off x="7205101" y="367723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52" name="Google Shape;2314;p18">
                <a:extLst>
                  <a:ext uri="{FF2B5EF4-FFF2-40B4-BE49-F238E27FC236}">
                    <a16:creationId xmlns:a16="http://schemas.microsoft.com/office/drawing/2014/main" id="{D2278403-2030-4470-919D-9F30978A2960}"/>
                  </a:ext>
                </a:extLst>
              </p:cNvPr>
              <p:cNvSpPr/>
              <p:nvPr/>
            </p:nvSpPr>
            <p:spPr>
              <a:xfrm>
                <a:off x="7278641" y="361118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53" name="Google Shape;2315;p18">
                <a:extLst>
                  <a:ext uri="{FF2B5EF4-FFF2-40B4-BE49-F238E27FC236}">
                    <a16:creationId xmlns:a16="http://schemas.microsoft.com/office/drawing/2014/main" id="{87BD78FF-5BD7-49CA-B61E-849AC565B810}"/>
                  </a:ext>
                </a:extLst>
              </p:cNvPr>
              <p:cNvSpPr/>
              <p:nvPr/>
            </p:nvSpPr>
            <p:spPr>
              <a:xfrm>
                <a:off x="7213069" y="367723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54" name="Google Shape;2316;p18">
                <a:extLst>
                  <a:ext uri="{FF2B5EF4-FFF2-40B4-BE49-F238E27FC236}">
                    <a16:creationId xmlns:a16="http://schemas.microsoft.com/office/drawing/2014/main" id="{CF0B7935-4071-4046-9529-5943E3D52106}"/>
                  </a:ext>
                </a:extLst>
              </p:cNvPr>
              <p:cNvSpPr/>
              <p:nvPr/>
            </p:nvSpPr>
            <p:spPr>
              <a:xfrm>
                <a:off x="7286059" y="361118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55" name="Google Shape;2317;p18">
                <a:extLst>
                  <a:ext uri="{FF2B5EF4-FFF2-40B4-BE49-F238E27FC236}">
                    <a16:creationId xmlns:a16="http://schemas.microsoft.com/office/drawing/2014/main" id="{684E6580-F780-49C7-AEE9-98252FF499F3}"/>
                  </a:ext>
                </a:extLst>
              </p:cNvPr>
              <p:cNvSpPr/>
              <p:nvPr/>
            </p:nvSpPr>
            <p:spPr>
              <a:xfrm>
                <a:off x="7220486" y="367723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56" name="Google Shape;2318;p18">
                <a:extLst>
                  <a:ext uri="{FF2B5EF4-FFF2-40B4-BE49-F238E27FC236}">
                    <a16:creationId xmlns:a16="http://schemas.microsoft.com/office/drawing/2014/main" id="{CF43D0DE-77D1-4816-A284-5213EFA1BF78}"/>
                  </a:ext>
                </a:extLst>
              </p:cNvPr>
              <p:cNvSpPr/>
              <p:nvPr/>
            </p:nvSpPr>
            <p:spPr>
              <a:xfrm>
                <a:off x="7293477" y="3625280"/>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57" name="Google Shape;2319;p18">
                <a:extLst>
                  <a:ext uri="{FF2B5EF4-FFF2-40B4-BE49-F238E27FC236}">
                    <a16:creationId xmlns:a16="http://schemas.microsoft.com/office/drawing/2014/main" id="{39053F5A-AF4C-4837-8180-B3B80EE74346}"/>
                  </a:ext>
                </a:extLst>
              </p:cNvPr>
              <p:cNvSpPr/>
              <p:nvPr/>
            </p:nvSpPr>
            <p:spPr>
              <a:xfrm>
                <a:off x="7227904" y="3691326"/>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58" name="Google Shape;2320;p18">
                <a:extLst>
                  <a:ext uri="{FF2B5EF4-FFF2-40B4-BE49-F238E27FC236}">
                    <a16:creationId xmlns:a16="http://schemas.microsoft.com/office/drawing/2014/main" id="{9C7F178F-BCCB-490A-B8C2-5B27BF8F70E8}"/>
                  </a:ext>
                </a:extLst>
              </p:cNvPr>
              <p:cNvSpPr/>
              <p:nvPr/>
            </p:nvSpPr>
            <p:spPr>
              <a:xfrm>
                <a:off x="7300988" y="3625280"/>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59" name="Google Shape;2321;p18">
                <a:extLst>
                  <a:ext uri="{FF2B5EF4-FFF2-40B4-BE49-F238E27FC236}">
                    <a16:creationId xmlns:a16="http://schemas.microsoft.com/office/drawing/2014/main" id="{340745F9-8CAC-4B07-B678-793509C136C1}"/>
                  </a:ext>
                </a:extLst>
              </p:cNvPr>
              <p:cNvSpPr/>
              <p:nvPr/>
            </p:nvSpPr>
            <p:spPr>
              <a:xfrm>
                <a:off x="7235322" y="3691326"/>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60" name="Google Shape;2322;p18">
                <a:extLst>
                  <a:ext uri="{FF2B5EF4-FFF2-40B4-BE49-F238E27FC236}">
                    <a16:creationId xmlns:a16="http://schemas.microsoft.com/office/drawing/2014/main" id="{667F8C1E-A436-461C-A211-5382D35788BF}"/>
                  </a:ext>
                </a:extLst>
              </p:cNvPr>
              <p:cNvSpPr/>
              <p:nvPr/>
            </p:nvSpPr>
            <p:spPr>
              <a:xfrm>
                <a:off x="7308131" y="3625280"/>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61" name="Google Shape;2323;p18">
                <a:extLst>
                  <a:ext uri="{FF2B5EF4-FFF2-40B4-BE49-F238E27FC236}">
                    <a16:creationId xmlns:a16="http://schemas.microsoft.com/office/drawing/2014/main" id="{A16179E6-F414-4D23-858A-A74DDE0AE09B}"/>
                  </a:ext>
                </a:extLst>
              </p:cNvPr>
              <p:cNvSpPr/>
              <p:nvPr/>
            </p:nvSpPr>
            <p:spPr>
              <a:xfrm>
                <a:off x="7242466" y="3691326"/>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62" name="Google Shape;2324;p18">
                <a:extLst>
                  <a:ext uri="{FF2B5EF4-FFF2-40B4-BE49-F238E27FC236}">
                    <a16:creationId xmlns:a16="http://schemas.microsoft.com/office/drawing/2014/main" id="{CB8C592F-E863-4859-9FEA-E5EE73E39BEC}"/>
                  </a:ext>
                </a:extLst>
              </p:cNvPr>
              <p:cNvSpPr/>
              <p:nvPr/>
            </p:nvSpPr>
            <p:spPr>
              <a:xfrm>
                <a:off x="7344306" y="362325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63" name="Google Shape;2325;p18">
                <a:extLst>
                  <a:ext uri="{FF2B5EF4-FFF2-40B4-BE49-F238E27FC236}">
                    <a16:creationId xmlns:a16="http://schemas.microsoft.com/office/drawing/2014/main" id="{D1DE2732-3A7C-4DC8-9544-AEF18B97234F}"/>
                  </a:ext>
                </a:extLst>
              </p:cNvPr>
              <p:cNvSpPr/>
              <p:nvPr/>
            </p:nvSpPr>
            <p:spPr>
              <a:xfrm>
                <a:off x="7278641" y="3689300"/>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64" name="Google Shape;2326;p18">
                <a:extLst>
                  <a:ext uri="{FF2B5EF4-FFF2-40B4-BE49-F238E27FC236}">
                    <a16:creationId xmlns:a16="http://schemas.microsoft.com/office/drawing/2014/main" id="{315384CE-C1C8-475F-8EC4-5DFD77E5E4C2}"/>
                  </a:ext>
                </a:extLst>
              </p:cNvPr>
              <p:cNvSpPr/>
              <p:nvPr/>
            </p:nvSpPr>
            <p:spPr>
              <a:xfrm>
                <a:off x="7353739" y="362325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65" name="Google Shape;2327;p18">
                <a:extLst>
                  <a:ext uri="{FF2B5EF4-FFF2-40B4-BE49-F238E27FC236}">
                    <a16:creationId xmlns:a16="http://schemas.microsoft.com/office/drawing/2014/main" id="{0FF42A1A-89F2-43DD-B5E8-77CB19EBA260}"/>
                  </a:ext>
                </a:extLst>
              </p:cNvPr>
              <p:cNvSpPr/>
              <p:nvPr/>
            </p:nvSpPr>
            <p:spPr>
              <a:xfrm>
                <a:off x="7288074" y="368930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66" name="Google Shape;2328;p18">
                <a:extLst>
                  <a:ext uri="{FF2B5EF4-FFF2-40B4-BE49-F238E27FC236}">
                    <a16:creationId xmlns:a16="http://schemas.microsoft.com/office/drawing/2014/main" id="{1F34FEC1-A7EB-4FD4-9EB6-17F39F880DB9}"/>
                  </a:ext>
                </a:extLst>
              </p:cNvPr>
              <p:cNvSpPr/>
              <p:nvPr/>
            </p:nvSpPr>
            <p:spPr>
              <a:xfrm>
                <a:off x="7379290" y="362325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67" name="Google Shape;2329;p18">
                <a:extLst>
                  <a:ext uri="{FF2B5EF4-FFF2-40B4-BE49-F238E27FC236}">
                    <a16:creationId xmlns:a16="http://schemas.microsoft.com/office/drawing/2014/main" id="{955AEB52-C956-4AE7-9967-F7F4C8D884E1}"/>
                  </a:ext>
                </a:extLst>
              </p:cNvPr>
              <p:cNvSpPr/>
              <p:nvPr/>
            </p:nvSpPr>
            <p:spPr>
              <a:xfrm>
                <a:off x="7313718" y="368930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68" name="Google Shape;2330;p18">
                <a:extLst>
                  <a:ext uri="{FF2B5EF4-FFF2-40B4-BE49-F238E27FC236}">
                    <a16:creationId xmlns:a16="http://schemas.microsoft.com/office/drawing/2014/main" id="{FDC34364-8CD2-4890-8406-C71496D2A726}"/>
                  </a:ext>
                </a:extLst>
              </p:cNvPr>
              <p:cNvSpPr/>
              <p:nvPr/>
            </p:nvSpPr>
            <p:spPr>
              <a:xfrm>
                <a:off x="7386983" y="362325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69" name="Google Shape;2331;p18">
                <a:extLst>
                  <a:ext uri="{FF2B5EF4-FFF2-40B4-BE49-F238E27FC236}">
                    <a16:creationId xmlns:a16="http://schemas.microsoft.com/office/drawing/2014/main" id="{2DE9BED7-F079-46C6-A0AD-D271D028A2DF}"/>
                  </a:ext>
                </a:extLst>
              </p:cNvPr>
              <p:cNvSpPr/>
              <p:nvPr/>
            </p:nvSpPr>
            <p:spPr>
              <a:xfrm>
                <a:off x="7321318" y="368930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70" name="Google Shape;2332;p18">
                <a:extLst>
                  <a:ext uri="{FF2B5EF4-FFF2-40B4-BE49-F238E27FC236}">
                    <a16:creationId xmlns:a16="http://schemas.microsoft.com/office/drawing/2014/main" id="{7F65243A-7FAB-4B67-9E00-98527EEBF7B3}"/>
                  </a:ext>
                </a:extLst>
              </p:cNvPr>
              <p:cNvSpPr/>
              <p:nvPr/>
            </p:nvSpPr>
            <p:spPr>
              <a:xfrm>
                <a:off x="7394126" y="3628412"/>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71" name="Google Shape;2333;p18">
                <a:extLst>
                  <a:ext uri="{FF2B5EF4-FFF2-40B4-BE49-F238E27FC236}">
                    <a16:creationId xmlns:a16="http://schemas.microsoft.com/office/drawing/2014/main" id="{975B47F1-472F-47E4-AD8F-2DC8A7B777F7}"/>
                  </a:ext>
                </a:extLst>
              </p:cNvPr>
              <p:cNvSpPr/>
              <p:nvPr/>
            </p:nvSpPr>
            <p:spPr>
              <a:xfrm>
                <a:off x="7328462" y="3694366"/>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72" name="Google Shape;2334;p18">
                <a:extLst>
                  <a:ext uri="{FF2B5EF4-FFF2-40B4-BE49-F238E27FC236}">
                    <a16:creationId xmlns:a16="http://schemas.microsoft.com/office/drawing/2014/main" id="{35025DBB-9E02-4D45-829E-5D959F9BB10D}"/>
                  </a:ext>
                </a:extLst>
              </p:cNvPr>
              <p:cNvSpPr/>
              <p:nvPr/>
            </p:nvSpPr>
            <p:spPr>
              <a:xfrm>
                <a:off x="7402002" y="3628412"/>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73" name="Google Shape;2335;p18">
                <a:extLst>
                  <a:ext uri="{FF2B5EF4-FFF2-40B4-BE49-F238E27FC236}">
                    <a16:creationId xmlns:a16="http://schemas.microsoft.com/office/drawing/2014/main" id="{612400C5-BFF2-4A3A-8C12-8A96143EF05D}"/>
                  </a:ext>
                </a:extLst>
              </p:cNvPr>
              <p:cNvSpPr/>
              <p:nvPr/>
            </p:nvSpPr>
            <p:spPr>
              <a:xfrm>
                <a:off x="7336338" y="3694366"/>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74" name="Google Shape;2336;p18">
                <a:extLst>
                  <a:ext uri="{FF2B5EF4-FFF2-40B4-BE49-F238E27FC236}">
                    <a16:creationId xmlns:a16="http://schemas.microsoft.com/office/drawing/2014/main" id="{B0D312FC-044A-4EA3-8200-06675ADDEFF0}"/>
                  </a:ext>
                </a:extLst>
              </p:cNvPr>
              <p:cNvSpPr/>
              <p:nvPr/>
            </p:nvSpPr>
            <p:spPr>
              <a:xfrm>
                <a:off x="7409970" y="3628412"/>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75" name="Google Shape;2337;p18">
                <a:extLst>
                  <a:ext uri="{FF2B5EF4-FFF2-40B4-BE49-F238E27FC236}">
                    <a16:creationId xmlns:a16="http://schemas.microsoft.com/office/drawing/2014/main" id="{A4344D0A-B16A-4A64-82EC-A081E540382E}"/>
                  </a:ext>
                </a:extLst>
              </p:cNvPr>
              <p:cNvSpPr/>
              <p:nvPr/>
            </p:nvSpPr>
            <p:spPr>
              <a:xfrm>
                <a:off x="7344306" y="3694366"/>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76" name="Google Shape;2338;p18">
                <a:extLst>
                  <a:ext uri="{FF2B5EF4-FFF2-40B4-BE49-F238E27FC236}">
                    <a16:creationId xmlns:a16="http://schemas.microsoft.com/office/drawing/2014/main" id="{2A0597DC-0313-45E4-8A99-7B5DC6F716EF}"/>
                  </a:ext>
                </a:extLst>
              </p:cNvPr>
              <p:cNvSpPr/>
              <p:nvPr/>
            </p:nvSpPr>
            <p:spPr>
              <a:xfrm>
                <a:off x="7419312" y="3633478"/>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77" name="Google Shape;2339;p18">
                <a:extLst>
                  <a:ext uri="{FF2B5EF4-FFF2-40B4-BE49-F238E27FC236}">
                    <a16:creationId xmlns:a16="http://schemas.microsoft.com/office/drawing/2014/main" id="{85FA3908-0979-4602-A590-23047EC77CFE}"/>
                  </a:ext>
                </a:extLst>
              </p:cNvPr>
              <p:cNvSpPr/>
              <p:nvPr/>
            </p:nvSpPr>
            <p:spPr>
              <a:xfrm>
                <a:off x="7353739" y="369952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78" name="Google Shape;2340;p18">
                <a:extLst>
                  <a:ext uri="{FF2B5EF4-FFF2-40B4-BE49-F238E27FC236}">
                    <a16:creationId xmlns:a16="http://schemas.microsoft.com/office/drawing/2014/main" id="{591A3FCF-13AC-4C80-A164-9B3A4C544C9F}"/>
                  </a:ext>
                </a:extLst>
              </p:cNvPr>
              <p:cNvSpPr/>
              <p:nvPr/>
            </p:nvSpPr>
            <p:spPr>
              <a:xfrm>
                <a:off x="7424806" y="3633478"/>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79" name="Google Shape;2341;p18">
                <a:extLst>
                  <a:ext uri="{FF2B5EF4-FFF2-40B4-BE49-F238E27FC236}">
                    <a16:creationId xmlns:a16="http://schemas.microsoft.com/office/drawing/2014/main" id="{E3BEAA74-DF49-40E1-B68B-B0E439D4C530}"/>
                  </a:ext>
                </a:extLst>
              </p:cNvPr>
              <p:cNvSpPr/>
              <p:nvPr/>
            </p:nvSpPr>
            <p:spPr>
              <a:xfrm>
                <a:off x="7359142" y="369952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80" name="Google Shape;2342;p18">
                <a:extLst>
                  <a:ext uri="{FF2B5EF4-FFF2-40B4-BE49-F238E27FC236}">
                    <a16:creationId xmlns:a16="http://schemas.microsoft.com/office/drawing/2014/main" id="{58FD4C87-B2F1-4B47-A5EB-C3A46B6B43BD}"/>
                  </a:ext>
                </a:extLst>
              </p:cNvPr>
              <p:cNvSpPr/>
              <p:nvPr/>
            </p:nvSpPr>
            <p:spPr>
              <a:xfrm>
                <a:off x="7432225" y="3633478"/>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81" name="Google Shape;2343;p18">
                <a:extLst>
                  <a:ext uri="{FF2B5EF4-FFF2-40B4-BE49-F238E27FC236}">
                    <a16:creationId xmlns:a16="http://schemas.microsoft.com/office/drawing/2014/main" id="{C008686A-68CD-4112-9C54-752BC4D07C36}"/>
                  </a:ext>
                </a:extLst>
              </p:cNvPr>
              <p:cNvSpPr/>
              <p:nvPr/>
            </p:nvSpPr>
            <p:spPr>
              <a:xfrm>
                <a:off x="7366652" y="369952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82" name="Google Shape;2344;p18">
                <a:extLst>
                  <a:ext uri="{FF2B5EF4-FFF2-40B4-BE49-F238E27FC236}">
                    <a16:creationId xmlns:a16="http://schemas.microsoft.com/office/drawing/2014/main" id="{F58E5419-DEA5-45D4-8C9C-479FF075B7A0}"/>
                  </a:ext>
                </a:extLst>
              </p:cNvPr>
              <p:cNvSpPr/>
              <p:nvPr/>
            </p:nvSpPr>
            <p:spPr>
              <a:xfrm>
                <a:off x="7459699" y="3633478"/>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83" name="Google Shape;2345;p18">
                <a:extLst>
                  <a:ext uri="{FF2B5EF4-FFF2-40B4-BE49-F238E27FC236}">
                    <a16:creationId xmlns:a16="http://schemas.microsoft.com/office/drawing/2014/main" id="{963DBF60-D72E-40F0-B5F8-4C26BDA93F4C}"/>
                  </a:ext>
                </a:extLst>
              </p:cNvPr>
              <p:cNvSpPr/>
              <p:nvPr/>
            </p:nvSpPr>
            <p:spPr>
              <a:xfrm>
                <a:off x="7394126" y="369952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84" name="Google Shape;2346;p18">
                <a:extLst>
                  <a:ext uri="{FF2B5EF4-FFF2-40B4-BE49-F238E27FC236}">
                    <a16:creationId xmlns:a16="http://schemas.microsoft.com/office/drawing/2014/main" id="{61BC1073-4319-4AC8-9B7A-30267C8CF9B7}"/>
                  </a:ext>
                </a:extLst>
              </p:cNvPr>
              <p:cNvSpPr/>
              <p:nvPr/>
            </p:nvSpPr>
            <p:spPr>
              <a:xfrm>
                <a:off x="7467667" y="3633478"/>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85" name="Google Shape;2347;p18">
                <a:extLst>
                  <a:ext uri="{FF2B5EF4-FFF2-40B4-BE49-F238E27FC236}">
                    <a16:creationId xmlns:a16="http://schemas.microsoft.com/office/drawing/2014/main" id="{1F8B7AB8-B271-4B76-8BEA-0F2943F08349}"/>
                  </a:ext>
                </a:extLst>
              </p:cNvPr>
              <p:cNvSpPr/>
              <p:nvPr/>
            </p:nvSpPr>
            <p:spPr>
              <a:xfrm>
                <a:off x="7402002" y="369952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86" name="Google Shape;2348;p18">
                <a:extLst>
                  <a:ext uri="{FF2B5EF4-FFF2-40B4-BE49-F238E27FC236}">
                    <a16:creationId xmlns:a16="http://schemas.microsoft.com/office/drawing/2014/main" id="{B388FAEE-9CB9-42E3-A8EE-28FD220098B0}"/>
                  </a:ext>
                </a:extLst>
              </p:cNvPr>
              <p:cNvSpPr/>
              <p:nvPr/>
            </p:nvSpPr>
            <p:spPr>
              <a:xfrm>
                <a:off x="7475543" y="3633478"/>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87" name="Google Shape;2349;p18">
                <a:extLst>
                  <a:ext uri="{FF2B5EF4-FFF2-40B4-BE49-F238E27FC236}">
                    <a16:creationId xmlns:a16="http://schemas.microsoft.com/office/drawing/2014/main" id="{85EE20DA-9DFE-45C6-B710-ADC56A1D3550}"/>
                  </a:ext>
                </a:extLst>
              </p:cNvPr>
              <p:cNvSpPr/>
              <p:nvPr/>
            </p:nvSpPr>
            <p:spPr>
              <a:xfrm>
                <a:off x="7409970" y="369952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88" name="Google Shape;2350;p18">
                <a:extLst>
                  <a:ext uri="{FF2B5EF4-FFF2-40B4-BE49-F238E27FC236}">
                    <a16:creationId xmlns:a16="http://schemas.microsoft.com/office/drawing/2014/main" id="{12FBF91F-3216-4775-888C-1F8C22F9B48D}"/>
                  </a:ext>
                </a:extLst>
              </p:cNvPr>
              <p:cNvSpPr/>
              <p:nvPr/>
            </p:nvSpPr>
            <p:spPr>
              <a:xfrm>
                <a:off x="7480031" y="3633478"/>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89" name="Google Shape;2351;p18">
                <a:extLst>
                  <a:ext uri="{FF2B5EF4-FFF2-40B4-BE49-F238E27FC236}">
                    <a16:creationId xmlns:a16="http://schemas.microsoft.com/office/drawing/2014/main" id="{A1F6835D-6AFC-4E1E-94CA-E19D6BAFD7D9}"/>
                  </a:ext>
                </a:extLst>
              </p:cNvPr>
              <p:cNvSpPr/>
              <p:nvPr/>
            </p:nvSpPr>
            <p:spPr>
              <a:xfrm>
                <a:off x="7414458" y="369952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90" name="Google Shape;2352;p18">
                <a:extLst>
                  <a:ext uri="{FF2B5EF4-FFF2-40B4-BE49-F238E27FC236}">
                    <a16:creationId xmlns:a16="http://schemas.microsoft.com/office/drawing/2014/main" id="{832E9213-1630-4B98-BCDA-5320F0A23CBA}"/>
                  </a:ext>
                </a:extLst>
              </p:cNvPr>
              <p:cNvSpPr/>
              <p:nvPr/>
            </p:nvSpPr>
            <p:spPr>
              <a:xfrm>
                <a:off x="7487723" y="364932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91" name="Google Shape;2353;p18">
                <a:extLst>
                  <a:ext uri="{FF2B5EF4-FFF2-40B4-BE49-F238E27FC236}">
                    <a16:creationId xmlns:a16="http://schemas.microsoft.com/office/drawing/2014/main" id="{B425CE8E-F13B-4BC0-8EED-192419DA975D}"/>
                  </a:ext>
                </a:extLst>
              </p:cNvPr>
              <p:cNvSpPr/>
              <p:nvPr/>
            </p:nvSpPr>
            <p:spPr>
              <a:xfrm>
                <a:off x="7422059" y="371536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92" name="Google Shape;2354;p18">
                <a:extLst>
                  <a:ext uri="{FF2B5EF4-FFF2-40B4-BE49-F238E27FC236}">
                    <a16:creationId xmlns:a16="http://schemas.microsoft.com/office/drawing/2014/main" id="{2E78912C-EC4C-4387-8E24-232290244188}"/>
                  </a:ext>
                </a:extLst>
              </p:cNvPr>
              <p:cNvSpPr/>
              <p:nvPr/>
            </p:nvSpPr>
            <p:spPr>
              <a:xfrm>
                <a:off x="7497889" y="364932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93" name="Google Shape;2355;p18">
                <a:extLst>
                  <a:ext uri="{FF2B5EF4-FFF2-40B4-BE49-F238E27FC236}">
                    <a16:creationId xmlns:a16="http://schemas.microsoft.com/office/drawing/2014/main" id="{24A9A010-DEF9-4636-8BBB-5A32816FA6A6}"/>
                  </a:ext>
                </a:extLst>
              </p:cNvPr>
              <p:cNvSpPr/>
              <p:nvPr/>
            </p:nvSpPr>
            <p:spPr>
              <a:xfrm>
                <a:off x="7432225" y="3715368"/>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94" name="Google Shape;2356;p18">
                <a:extLst>
                  <a:ext uri="{FF2B5EF4-FFF2-40B4-BE49-F238E27FC236}">
                    <a16:creationId xmlns:a16="http://schemas.microsoft.com/office/drawing/2014/main" id="{2BA63BBC-705B-4371-B8B2-07AAF65A9E74}"/>
                  </a:ext>
                </a:extLst>
              </p:cNvPr>
              <p:cNvSpPr/>
              <p:nvPr/>
            </p:nvSpPr>
            <p:spPr>
              <a:xfrm>
                <a:off x="7508055" y="364932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95" name="Google Shape;2357;p18">
                <a:extLst>
                  <a:ext uri="{FF2B5EF4-FFF2-40B4-BE49-F238E27FC236}">
                    <a16:creationId xmlns:a16="http://schemas.microsoft.com/office/drawing/2014/main" id="{0392C58E-5069-4188-92A6-292945B6F4D7}"/>
                  </a:ext>
                </a:extLst>
              </p:cNvPr>
              <p:cNvSpPr/>
              <p:nvPr/>
            </p:nvSpPr>
            <p:spPr>
              <a:xfrm>
                <a:off x="7442390" y="3715368"/>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96" name="Google Shape;2358;p18">
                <a:extLst>
                  <a:ext uri="{FF2B5EF4-FFF2-40B4-BE49-F238E27FC236}">
                    <a16:creationId xmlns:a16="http://schemas.microsoft.com/office/drawing/2014/main" id="{586F9D19-AE0E-4A12-8D40-1C6C888FABE5}"/>
                  </a:ext>
                </a:extLst>
              </p:cNvPr>
              <p:cNvSpPr/>
              <p:nvPr/>
            </p:nvSpPr>
            <p:spPr>
              <a:xfrm>
                <a:off x="7516206" y="364932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97" name="Google Shape;2359;p18">
                <a:extLst>
                  <a:ext uri="{FF2B5EF4-FFF2-40B4-BE49-F238E27FC236}">
                    <a16:creationId xmlns:a16="http://schemas.microsoft.com/office/drawing/2014/main" id="{87C22E51-5BB6-4F8C-B8FC-F34E56549B78}"/>
                  </a:ext>
                </a:extLst>
              </p:cNvPr>
              <p:cNvSpPr/>
              <p:nvPr/>
            </p:nvSpPr>
            <p:spPr>
              <a:xfrm>
                <a:off x="7450541" y="3715368"/>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98" name="Google Shape;2360;p18">
                <a:extLst>
                  <a:ext uri="{FF2B5EF4-FFF2-40B4-BE49-F238E27FC236}">
                    <a16:creationId xmlns:a16="http://schemas.microsoft.com/office/drawing/2014/main" id="{64FE9926-AE7D-4A05-88AE-917E902265AD}"/>
                  </a:ext>
                </a:extLst>
              </p:cNvPr>
              <p:cNvSpPr/>
              <p:nvPr/>
            </p:nvSpPr>
            <p:spPr>
              <a:xfrm>
                <a:off x="7525363" y="364932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299" name="Google Shape;2361;p18">
                <a:extLst>
                  <a:ext uri="{FF2B5EF4-FFF2-40B4-BE49-F238E27FC236}">
                    <a16:creationId xmlns:a16="http://schemas.microsoft.com/office/drawing/2014/main" id="{999F01A5-77D4-4D20-82B2-288C17B2C52C}"/>
                  </a:ext>
                </a:extLst>
              </p:cNvPr>
              <p:cNvSpPr/>
              <p:nvPr/>
            </p:nvSpPr>
            <p:spPr>
              <a:xfrm>
                <a:off x="7459699" y="3715368"/>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00" name="Google Shape;2362;p18">
                <a:extLst>
                  <a:ext uri="{FF2B5EF4-FFF2-40B4-BE49-F238E27FC236}">
                    <a16:creationId xmlns:a16="http://schemas.microsoft.com/office/drawing/2014/main" id="{DA4B7167-ACC2-491B-9216-B627F7D487EC}"/>
                  </a:ext>
                </a:extLst>
              </p:cNvPr>
              <p:cNvSpPr/>
              <p:nvPr/>
            </p:nvSpPr>
            <p:spPr>
              <a:xfrm>
                <a:off x="7534522" y="364932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01" name="Google Shape;2363;p18">
                <a:extLst>
                  <a:ext uri="{FF2B5EF4-FFF2-40B4-BE49-F238E27FC236}">
                    <a16:creationId xmlns:a16="http://schemas.microsoft.com/office/drawing/2014/main" id="{4082C901-3007-4CA9-9F37-491CBC45EF86}"/>
                  </a:ext>
                </a:extLst>
              </p:cNvPr>
              <p:cNvSpPr/>
              <p:nvPr/>
            </p:nvSpPr>
            <p:spPr>
              <a:xfrm>
                <a:off x="7468858" y="3715368"/>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02" name="Google Shape;2364;p18">
                <a:extLst>
                  <a:ext uri="{FF2B5EF4-FFF2-40B4-BE49-F238E27FC236}">
                    <a16:creationId xmlns:a16="http://schemas.microsoft.com/office/drawing/2014/main" id="{19993173-2BC4-4E94-B1AE-F46F3FF79A0D}"/>
                  </a:ext>
                </a:extLst>
              </p:cNvPr>
              <p:cNvSpPr/>
              <p:nvPr/>
            </p:nvSpPr>
            <p:spPr>
              <a:xfrm>
                <a:off x="7543680" y="364932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03" name="Google Shape;2365;p18">
                <a:extLst>
                  <a:ext uri="{FF2B5EF4-FFF2-40B4-BE49-F238E27FC236}">
                    <a16:creationId xmlns:a16="http://schemas.microsoft.com/office/drawing/2014/main" id="{0C6BA014-230B-4F71-950F-0DD4728B90C6}"/>
                  </a:ext>
                </a:extLst>
              </p:cNvPr>
              <p:cNvSpPr/>
              <p:nvPr/>
            </p:nvSpPr>
            <p:spPr>
              <a:xfrm>
                <a:off x="7478016" y="3715368"/>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04" name="Google Shape;2366;p18">
                <a:extLst>
                  <a:ext uri="{FF2B5EF4-FFF2-40B4-BE49-F238E27FC236}">
                    <a16:creationId xmlns:a16="http://schemas.microsoft.com/office/drawing/2014/main" id="{3266F267-28FA-4AB3-A2B5-101C44D4DD3E}"/>
                  </a:ext>
                </a:extLst>
              </p:cNvPr>
              <p:cNvSpPr/>
              <p:nvPr/>
            </p:nvSpPr>
            <p:spPr>
              <a:xfrm>
                <a:off x="7552839" y="364932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05" name="Google Shape;2367;p18">
                <a:extLst>
                  <a:ext uri="{FF2B5EF4-FFF2-40B4-BE49-F238E27FC236}">
                    <a16:creationId xmlns:a16="http://schemas.microsoft.com/office/drawing/2014/main" id="{5426E9FF-20D2-418A-A08C-2C7E316E0A86}"/>
                  </a:ext>
                </a:extLst>
              </p:cNvPr>
              <p:cNvSpPr/>
              <p:nvPr/>
            </p:nvSpPr>
            <p:spPr>
              <a:xfrm>
                <a:off x="7487173" y="3715368"/>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06" name="Google Shape;2368;p18">
                <a:extLst>
                  <a:ext uri="{FF2B5EF4-FFF2-40B4-BE49-F238E27FC236}">
                    <a16:creationId xmlns:a16="http://schemas.microsoft.com/office/drawing/2014/main" id="{27B0B8D2-98EC-4F7B-8F5D-3F4547B0BB0C}"/>
                  </a:ext>
                </a:extLst>
              </p:cNvPr>
              <p:cNvSpPr/>
              <p:nvPr/>
            </p:nvSpPr>
            <p:spPr>
              <a:xfrm>
                <a:off x="7561996" y="364932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07" name="Google Shape;2369;p18">
                <a:extLst>
                  <a:ext uri="{FF2B5EF4-FFF2-40B4-BE49-F238E27FC236}">
                    <a16:creationId xmlns:a16="http://schemas.microsoft.com/office/drawing/2014/main" id="{822E5892-10FF-40B2-B3FF-2680E14304C1}"/>
                  </a:ext>
                </a:extLst>
              </p:cNvPr>
              <p:cNvSpPr/>
              <p:nvPr/>
            </p:nvSpPr>
            <p:spPr>
              <a:xfrm>
                <a:off x="7496332" y="3715368"/>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08" name="Google Shape;2370;p18">
                <a:extLst>
                  <a:ext uri="{FF2B5EF4-FFF2-40B4-BE49-F238E27FC236}">
                    <a16:creationId xmlns:a16="http://schemas.microsoft.com/office/drawing/2014/main" id="{EBDA99DA-FEA6-480D-B3B4-62290A37FA49}"/>
                  </a:ext>
                </a:extLst>
              </p:cNvPr>
              <p:cNvSpPr/>
              <p:nvPr/>
            </p:nvSpPr>
            <p:spPr>
              <a:xfrm>
                <a:off x="7571154" y="364932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09" name="Google Shape;2371;p18">
                <a:extLst>
                  <a:ext uri="{FF2B5EF4-FFF2-40B4-BE49-F238E27FC236}">
                    <a16:creationId xmlns:a16="http://schemas.microsoft.com/office/drawing/2014/main" id="{CD394992-C570-488F-BA5F-84C9506FD118}"/>
                  </a:ext>
                </a:extLst>
              </p:cNvPr>
              <p:cNvSpPr/>
              <p:nvPr/>
            </p:nvSpPr>
            <p:spPr>
              <a:xfrm>
                <a:off x="7505490" y="3715368"/>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10" name="Google Shape;2372;p18">
                <a:extLst>
                  <a:ext uri="{FF2B5EF4-FFF2-40B4-BE49-F238E27FC236}">
                    <a16:creationId xmlns:a16="http://schemas.microsoft.com/office/drawing/2014/main" id="{B9BC5727-A9BA-408E-A8B2-2CE791E55BA1}"/>
                  </a:ext>
                </a:extLst>
              </p:cNvPr>
              <p:cNvSpPr/>
              <p:nvPr/>
            </p:nvSpPr>
            <p:spPr>
              <a:xfrm>
                <a:off x="7595057" y="364932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11" name="Google Shape;2373;p18">
                <a:extLst>
                  <a:ext uri="{FF2B5EF4-FFF2-40B4-BE49-F238E27FC236}">
                    <a16:creationId xmlns:a16="http://schemas.microsoft.com/office/drawing/2014/main" id="{9155513F-6BFF-40C3-84CA-4928FC8EABFA}"/>
                  </a:ext>
                </a:extLst>
              </p:cNvPr>
              <p:cNvSpPr/>
              <p:nvPr/>
            </p:nvSpPr>
            <p:spPr>
              <a:xfrm>
                <a:off x="7529393" y="3715368"/>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12" name="Google Shape;2374;p18">
                <a:extLst>
                  <a:ext uri="{FF2B5EF4-FFF2-40B4-BE49-F238E27FC236}">
                    <a16:creationId xmlns:a16="http://schemas.microsoft.com/office/drawing/2014/main" id="{8E0C806D-C394-4615-ABFD-23D245719326}"/>
                  </a:ext>
                </a:extLst>
              </p:cNvPr>
              <p:cNvSpPr/>
              <p:nvPr/>
            </p:nvSpPr>
            <p:spPr>
              <a:xfrm>
                <a:off x="7602659" y="364932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13" name="Google Shape;2375;p18">
                <a:extLst>
                  <a:ext uri="{FF2B5EF4-FFF2-40B4-BE49-F238E27FC236}">
                    <a16:creationId xmlns:a16="http://schemas.microsoft.com/office/drawing/2014/main" id="{3909F2E1-8525-4EEB-8912-29E64EAF9A3F}"/>
                  </a:ext>
                </a:extLst>
              </p:cNvPr>
              <p:cNvSpPr/>
              <p:nvPr/>
            </p:nvSpPr>
            <p:spPr>
              <a:xfrm>
                <a:off x="7537086" y="371536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14" name="Google Shape;2376;p18">
                <a:extLst>
                  <a:ext uri="{FF2B5EF4-FFF2-40B4-BE49-F238E27FC236}">
                    <a16:creationId xmlns:a16="http://schemas.microsoft.com/office/drawing/2014/main" id="{11C8BA78-F9DC-4C86-89F3-D23ED28DC40B}"/>
                  </a:ext>
                </a:extLst>
              </p:cNvPr>
              <p:cNvSpPr/>
              <p:nvPr/>
            </p:nvSpPr>
            <p:spPr>
              <a:xfrm>
                <a:off x="7609344" y="364932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15" name="Google Shape;2377;p18">
                <a:extLst>
                  <a:ext uri="{FF2B5EF4-FFF2-40B4-BE49-F238E27FC236}">
                    <a16:creationId xmlns:a16="http://schemas.microsoft.com/office/drawing/2014/main" id="{61B3E951-0627-49C9-9C49-0AFFBA7D3E3A}"/>
                  </a:ext>
                </a:extLst>
              </p:cNvPr>
              <p:cNvSpPr/>
              <p:nvPr/>
            </p:nvSpPr>
            <p:spPr>
              <a:xfrm>
                <a:off x="7543680" y="371536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16" name="Google Shape;2378;p18">
                <a:extLst>
                  <a:ext uri="{FF2B5EF4-FFF2-40B4-BE49-F238E27FC236}">
                    <a16:creationId xmlns:a16="http://schemas.microsoft.com/office/drawing/2014/main" id="{30F4E94C-9433-48AB-B231-CBD67B7E19BB}"/>
                  </a:ext>
                </a:extLst>
              </p:cNvPr>
              <p:cNvSpPr/>
              <p:nvPr/>
            </p:nvSpPr>
            <p:spPr>
              <a:xfrm>
                <a:off x="7614382" y="365807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17" name="Google Shape;2379;p18">
                <a:extLst>
                  <a:ext uri="{FF2B5EF4-FFF2-40B4-BE49-F238E27FC236}">
                    <a16:creationId xmlns:a16="http://schemas.microsoft.com/office/drawing/2014/main" id="{030CC7F2-D707-4298-9DF8-A0297EAF14D6}"/>
                  </a:ext>
                </a:extLst>
              </p:cNvPr>
              <p:cNvSpPr/>
              <p:nvPr/>
            </p:nvSpPr>
            <p:spPr>
              <a:xfrm>
                <a:off x="7548717" y="3724119"/>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18" name="Google Shape;2380;p18">
                <a:extLst>
                  <a:ext uri="{FF2B5EF4-FFF2-40B4-BE49-F238E27FC236}">
                    <a16:creationId xmlns:a16="http://schemas.microsoft.com/office/drawing/2014/main" id="{7ECBF3CA-5BA7-4BD2-B683-8B1D418955BC}"/>
                  </a:ext>
                </a:extLst>
              </p:cNvPr>
              <p:cNvSpPr/>
              <p:nvPr/>
            </p:nvSpPr>
            <p:spPr>
              <a:xfrm>
                <a:off x="7618503" y="365807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19" name="Google Shape;2381;p18">
                <a:extLst>
                  <a:ext uri="{FF2B5EF4-FFF2-40B4-BE49-F238E27FC236}">
                    <a16:creationId xmlns:a16="http://schemas.microsoft.com/office/drawing/2014/main" id="{350285AC-36BC-4A22-B9C0-F2164967EA70}"/>
                  </a:ext>
                </a:extLst>
              </p:cNvPr>
              <p:cNvSpPr/>
              <p:nvPr/>
            </p:nvSpPr>
            <p:spPr>
              <a:xfrm>
                <a:off x="7552839" y="372411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20" name="Google Shape;2382;p18">
                <a:extLst>
                  <a:ext uri="{FF2B5EF4-FFF2-40B4-BE49-F238E27FC236}">
                    <a16:creationId xmlns:a16="http://schemas.microsoft.com/office/drawing/2014/main" id="{97864393-CDF2-43CA-9445-F11082ED18B2}"/>
                  </a:ext>
                </a:extLst>
              </p:cNvPr>
              <p:cNvSpPr/>
              <p:nvPr/>
            </p:nvSpPr>
            <p:spPr>
              <a:xfrm>
                <a:off x="7627661" y="365807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21" name="Google Shape;2383;p18">
                <a:extLst>
                  <a:ext uri="{FF2B5EF4-FFF2-40B4-BE49-F238E27FC236}">
                    <a16:creationId xmlns:a16="http://schemas.microsoft.com/office/drawing/2014/main" id="{5841D268-3C58-4C86-9BE7-3D4D0437AA08}"/>
                  </a:ext>
                </a:extLst>
              </p:cNvPr>
              <p:cNvSpPr/>
              <p:nvPr/>
            </p:nvSpPr>
            <p:spPr>
              <a:xfrm>
                <a:off x="7561996" y="372411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22" name="Google Shape;2384;p18">
                <a:extLst>
                  <a:ext uri="{FF2B5EF4-FFF2-40B4-BE49-F238E27FC236}">
                    <a16:creationId xmlns:a16="http://schemas.microsoft.com/office/drawing/2014/main" id="{6AF14D94-B609-4341-A17D-1387F26C10A7}"/>
                  </a:ext>
                </a:extLst>
              </p:cNvPr>
              <p:cNvSpPr/>
              <p:nvPr/>
            </p:nvSpPr>
            <p:spPr>
              <a:xfrm>
                <a:off x="7650007" y="365807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23" name="Google Shape;2385;p18">
                <a:extLst>
                  <a:ext uri="{FF2B5EF4-FFF2-40B4-BE49-F238E27FC236}">
                    <a16:creationId xmlns:a16="http://schemas.microsoft.com/office/drawing/2014/main" id="{31E5233E-32A8-4893-A4BC-4458EF868E6B}"/>
                  </a:ext>
                </a:extLst>
              </p:cNvPr>
              <p:cNvSpPr/>
              <p:nvPr/>
            </p:nvSpPr>
            <p:spPr>
              <a:xfrm>
                <a:off x="7584343" y="3724119"/>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24" name="Google Shape;2386;p18">
                <a:extLst>
                  <a:ext uri="{FF2B5EF4-FFF2-40B4-BE49-F238E27FC236}">
                    <a16:creationId xmlns:a16="http://schemas.microsoft.com/office/drawing/2014/main" id="{5091050E-BEFF-4CB1-BC0A-264ED6191C35}"/>
                  </a:ext>
                </a:extLst>
              </p:cNvPr>
              <p:cNvSpPr/>
              <p:nvPr/>
            </p:nvSpPr>
            <p:spPr>
              <a:xfrm>
                <a:off x="7654586" y="365807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25" name="Google Shape;2387;p18">
                <a:extLst>
                  <a:ext uri="{FF2B5EF4-FFF2-40B4-BE49-F238E27FC236}">
                    <a16:creationId xmlns:a16="http://schemas.microsoft.com/office/drawing/2014/main" id="{99DB6228-1679-472F-B286-881646910B93}"/>
                  </a:ext>
                </a:extLst>
              </p:cNvPr>
              <p:cNvSpPr/>
              <p:nvPr/>
            </p:nvSpPr>
            <p:spPr>
              <a:xfrm>
                <a:off x="7588922" y="3724119"/>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26" name="Google Shape;2388;p18">
                <a:extLst>
                  <a:ext uri="{FF2B5EF4-FFF2-40B4-BE49-F238E27FC236}">
                    <a16:creationId xmlns:a16="http://schemas.microsoft.com/office/drawing/2014/main" id="{7E0E1931-05D5-487B-8C3C-C8C7D2D9C813}"/>
                  </a:ext>
                </a:extLst>
              </p:cNvPr>
              <p:cNvSpPr/>
              <p:nvPr/>
            </p:nvSpPr>
            <p:spPr>
              <a:xfrm>
                <a:off x="7660722" y="365807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27" name="Google Shape;2389;p18">
                <a:extLst>
                  <a:ext uri="{FF2B5EF4-FFF2-40B4-BE49-F238E27FC236}">
                    <a16:creationId xmlns:a16="http://schemas.microsoft.com/office/drawing/2014/main" id="{17DF0CDA-47F4-4DE4-9122-63725005B5A8}"/>
                  </a:ext>
                </a:extLst>
              </p:cNvPr>
              <p:cNvSpPr/>
              <p:nvPr/>
            </p:nvSpPr>
            <p:spPr>
              <a:xfrm>
                <a:off x="7595057" y="372411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28" name="Google Shape;2390;p18">
                <a:extLst>
                  <a:ext uri="{FF2B5EF4-FFF2-40B4-BE49-F238E27FC236}">
                    <a16:creationId xmlns:a16="http://schemas.microsoft.com/office/drawing/2014/main" id="{CF228FCB-6354-4EC7-8118-F3655D4DF259}"/>
                  </a:ext>
                </a:extLst>
              </p:cNvPr>
              <p:cNvSpPr/>
              <p:nvPr/>
            </p:nvSpPr>
            <p:spPr>
              <a:xfrm>
                <a:off x="7666767" y="365807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29" name="Google Shape;2391;p18">
                <a:extLst>
                  <a:ext uri="{FF2B5EF4-FFF2-40B4-BE49-F238E27FC236}">
                    <a16:creationId xmlns:a16="http://schemas.microsoft.com/office/drawing/2014/main" id="{5F83698D-DFD0-4DD9-AEC6-3B9FA63E4651}"/>
                  </a:ext>
                </a:extLst>
              </p:cNvPr>
              <p:cNvSpPr/>
              <p:nvPr/>
            </p:nvSpPr>
            <p:spPr>
              <a:xfrm>
                <a:off x="7601194" y="372411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30" name="Google Shape;2392;p18">
                <a:extLst>
                  <a:ext uri="{FF2B5EF4-FFF2-40B4-BE49-F238E27FC236}">
                    <a16:creationId xmlns:a16="http://schemas.microsoft.com/office/drawing/2014/main" id="{BF9CAE41-1E25-4364-97BD-496D20CB48B7}"/>
                  </a:ext>
                </a:extLst>
              </p:cNvPr>
              <p:cNvSpPr/>
              <p:nvPr/>
            </p:nvSpPr>
            <p:spPr>
              <a:xfrm>
                <a:off x="7672903" y="365807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31" name="Google Shape;2393;p18">
                <a:extLst>
                  <a:ext uri="{FF2B5EF4-FFF2-40B4-BE49-F238E27FC236}">
                    <a16:creationId xmlns:a16="http://schemas.microsoft.com/office/drawing/2014/main" id="{7276AC62-8167-4FAD-ACA7-A741D3B27FB2}"/>
                  </a:ext>
                </a:extLst>
              </p:cNvPr>
              <p:cNvSpPr/>
              <p:nvPr/>
            </p:nvSpPr>
            <p:spPr>
              <a:xfrm>
                <a:off x="7607239" y="3724119"/>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32" name="Google Shape;2394;p18">
                <a:extLst>
                  <a:ext uri="{FF2B5EF4-FFF2-40B4-BE49-F238E27FC236}">
                    <a16:creationId xmlns:a16="http://schemas.microsoft.com/office/drawing/2014/main" id="{EFD2502E-D827-4F72-A394-3D6249FB297C}"/>
                  </a:ext>
                </a:extLst>
              </p:cNvPr>
              <p:cNvSpPr/>
              <p:nvPr/>
            </p:nvSpPr>
            <p:spPr>
              <a:xfrm>
                <a:off x="7679038" y="365807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33" name="Google Shape;2395;p18">
                <a:extLst>
                  <a:ext uri="{FF2B5EF4-FFF2-40B4-BE49-F238E27FC236}">
                    <a16:creationId xmlns:a16="http://schemas.microsoft.com/office/drawing/2014/main" id="{C6711A9F-F7F7-4731-B3B7-59D397AF2360}"/>
                  </a:ext>
                </a:extLst>
              </p:cNvPr>
              <p:cNvSpPr/>
              <p:nvPr/>
            </p:nvSpPr>
            <p:spPr>
              <a:xfrm>
                <a:off x="7613374" y="372411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34" name="Google Shape;2396;p18">
                <a:extLst>
                  <a:ext uri="{FF2B5EF4-FFF2-40B4-BE49-F238E27FC236}">
                    <a16:creationId xmlns:a16="http://schemas.microsoft.com/office/drawing/2014/main" id="{BA7D5A42-4980-4B35-B9FB-EE4DE4497B94}"/>
                  </a:ext>
                </a:extLst>
              </p:cNvPr>
              <p:cNvSpPr/>
              <p:nvPr/>
            </p:nvSpPr>
            <p:spPr>
              <a:xfrm>
                <a:off x="7685083" y="365807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35" name="Google Shape;2397;p18">
                <a:extLst>
                  <a:ext uri="{FF2B5EF4-FFF2-40B4-BE49-F238E27FC236}">
                    <a16:creationId xmlns:a16="http://schemas.microsoft.com/office/drawing/2014/main" id="{9DA65BC9-1669-4D19-B45C-1232FFF8780A}"/>
                  </a:ext>
                </a:extLst>
              </p:cNvPr>
              <p:cNvSpPr/>
              <p:nvPr/>
            </p:nvSpPr>
            <p:spPr>
              <a:xfrm>
                <a:off x="7619510" y="372411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36" name="Google Shape;2398;p18">
                <a:extLst>
                  <a:ext uri="{FF2B5EF4-FFF2-40B4-BE49-F238E27FC236}">
                    <a16:creationId xmlns:a16="http://schemas.microsoft.com/office/drawing/2014/main" id="{4E52BAE0-FE59-41D1-911F-36DAF19A14D2}"/>
                  </a:ext>
                </a:extLst>
              </p:cNvPr>
              <p:cNvSpPr/>
              <p:nvPr/>
            </p:nvSpPr>
            <p:spPr>
              <a:xfrm>
                <a:off x="7691219" y="365807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37" name="Google Shape;2399;p18">
                <a:extLst>
                  <a:ext uri="{FF2B5EF4-FFF2-40B4-BE49-F238E27FC236}">
                    <a16:creationId xmlns:a16="http://schemas.microsoft.com/office/drawing/2014/main" id="{F2A5000D-4738-4DE7-9B3C-0F50124B207E}"/>
                  </a:ext>
                </a:extLst>
              </p:cNvPr>
              <p:cNvSpPr/>
              <p:nvPr/>
            </p:nvSpPr>
            <p:spPr>
              <a:xfrm>
                <a:off x="7625554" y="3724119"/>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38" name="Google Shape;2400;p18">
                <a:extLst>
                  <a:ext uri="{FF2B5EF4-FFF2-40B4-BE49-F238E27FC236}">
                    <a16:creationId xmlns:a16="http://schemas.microsoft.com/office/drawing/2014/main" id="{E856C833-81B5-4589-AFD9-B884847A9880}"/>
                  </a:ext>
                </a:extLst>
              </p:cNvPr>
              <p:cNvSpPr/>
              <p:nvPr/>
            </p:nvSpPr>
            <p:spPr>
              <a:xfrm>
                <a:off x="7697355" y="365807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39" name="Google Shape;2401;p18">
                <a:extLst>
                  <a:ext uri="{FF2B5EF4-FFF2-40B4-BE49-F238E27FC236}">
                    <a16:creationId xmlns:a16="http://schemas.microsoft.com/office/drawing/2014/main" id="{7241D5AE-890A-4CE4-8E4E-234F6C28B289}"/>
                  </a:ext>
                </a:extLst>
              </p:cNvPr>
              <p:cNvSpPr/>
              <p:nvPr/>
            </p:nvSpPr>
            <p:spPr>
              <a:xfrm>
                <a:off x="7631690" y="372411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40" name="Google Shape;2402;p18">
                <a:extLst>
                  <a:ext uri="{FF2B5EF4-FFF2-40B4-BE49-F238E27FC236}">
                    <a16:creationId xmlns:a16="http://schemas.microsoft.com/office/drawing/2014/main" id="{956C1DFC-EEDE-46BA-A1E2-C5A25905ED7A}"/>
                  </a:ext>
                </a:extLst>
              </p:cNvPr>
              <p:cNvSpPr/>
              <p:nvPr/>
            </p:nvSpPr>
            <p:spPr>
              <a:xfrm>
                <a:off x="7720251" y="365807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41" name="Google Shape;2403;p18">
                <a:extLst>
                  <a:ext uri="{FF2B5EF4-FFF2-40B4-BE49-F238E27FC236}">
                    <a16:creationId xmlns:a16="http://schemas.microsoft.com/office/drawing/2014/main" id="{16AEA1C6-0E43-4A6A-ACF3-CC79508185BE}"/>
                  </a:ext>
                </a:extLst>
              </p:cNvPr>
              <p:cNvSpPr/>
              <p:nvPr/>
            </p:nvSpPr>
            <p:spPr>
              <a:xfrm>
                <a:off x="7654586" y="372411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42" name="Google Shape;2404;p18">
                <a:extLst>
                  <a:ext uri="{FF2B5EF4-FFF2-40B4-BE49-F238E27FC236}">
                    <a16:creationId xmlns:a16="http://schemas.microsoft.com/office/drawing/2014/main" id="{88B6ADE6-1701-4BE9-9DE3-F1357FC780C4}"/>
                  </a:ext>
                </a:extLst>
              </p:cNvPr>
              <p:cNvSpPr/>
              <p:nvPr/>
            </p:nvSpPr>
            <p:spPr>
              <a:xfrm>
                <a:off x="7728860" y="3658073"/>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43" name="Google Shape;2405;p18">
                <a:extLst>
                  <a:ext uri="{FF2B5EF4-FFF2-40B4-BE49-F238E27FC236}">
                    <a16:creationId xmlns:a16="http://schemas.microsoft.com/office/drawing/2014/main" id="{DB6C02BD-B609-4F31-A024-6ECB8A536100}"/>
                  </a:ext>
                </a:extLst>
              </p:cNvPr>
              <p:cNvSpPr/>
              <p:nvPr/>
            </p:nvSpPr>
            <p:spPr>
              <a:xfrm>
                <a:off x="7663195" y="3724119"/>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44" name="Google Shape;2406;p18">
                <a:extLst>
                  <a:ext uri="{FF2B5EF4-FFF2-40B4-BE49-F238E27FC236}">
                    <a16:creationId xmlns:a16="http://schemas.microsoft.com/office/drawing/2014/main" id="{E11D5FD4-B6D3-4189-8639-03B39A0CB1FD}"/>
                  </a:ext>
                </a:extLst>
              </p:cNvPr>
              <p:cNvSpPr/>
              <p:nvPr/>
            </p:nvSpPr>
            <p:spPr>
              <a:xfrm>
                <a:off x="7738567" y="366452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45" name="Google Shape;2407;p18">
                <a:extLst>
                  <a:ext uri="{FF2B5EF4-FFF2-40B4-BE49-F238E27FC236}">
                    <a16:creationId xmlns:a16="http://schemas.microsoft.com/office/drawing/2014/main" id="{AE8BEC68-C58E-4C16-825D-8555F92FB744}"/>
                  </a:ext>
                </a:extLst>
              </p:cNvPr>
              <p:cNvSpPr/>
              <p:nvPr/>
            </p:nvSpPr>
            <p:spPr>
              <a:xfrm>
                <a:off x="7672903" y="373056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46" name="Google Shape;2408;p18">
                <a:extLst>
                  <a:ext uri="{FF2B5EF4-FFF2-40B4-BE49-F238E27FC236}">
                    <a16:creationId xmlns:a16="http://schemas.microsoft.com/office/drawing/2014/main" id="{77B01078-AA8B-42FB-924F-2E7E99611335}"/>
                  </a:ext>
                </a:extLst>
              </p:cNvPr>
              <p:cNvSpPr/>
              <p:nvPr/>
            </p:nvSpPr>
            <p:spPr>
              <a:xfrm>
                <a:off x="7744611" y="366452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47" name="Google Shape;2409;p18">
                <a:extLst>
                  <a:ext uri="{FF2B5EF4-FFF2-40B4-BE49-F238E27FC236}">
                    <a16:creationId xmlns:a16="http://schemas.microsoft.com/office/drawing/2014/main" id="{DD025667-C95E-492A-9F93-BC7BFCEA2679}"/>
                  </a:ext>
                </a:extLst>
              </p:cNvPr>
              <p:cNvSpPr/>
              <p:nvPr/>
            </p:nvSpPr>
            <p:spPr>
              <a:xfrm>
                <a:off x="7679038" y="373056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48" name="Google Shape;2410;p18">
                <a:extLst>
                  <a:ext uri="{FF2B5EF4-FFF2-40B4-BE49-F238E27FC236}">
                    <a16:creationId xmlns:a16="http://schemas.microsoft.com/office/drawing/2014/main" id="{4796090A-7A2D-4B2D-899E-249C513C3143}"/>
                  </a:ext>
                </a:extLst>
              </p:cNvPr>
              <p:cNvSpPr/>
              <p:nvPr/>
            </p:nvSpPr>
            <p:spPr>
              <a:xfrm>
                <a:off x="7750747" y="366452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49" name="Google Shape;2411;p18">
                <a:extLst>
                  <a:ext uri="{FF2B5EF4-FFF2-40B4-BE49-F238E27FC236}">
                    <a16:creationId xmlns:a16="http://schemas.microsoft.com/office/drawing/2014/main" id="{25224ABE-DF00-4B81-9BE0-B8770589CBF2}"/>
                  </a:ext>
                </a:extLst>
              </p:cNvPr>
              <p:cNvSpPr/>
              <p:nvPr/>
            </p:nvSpPr>
            <p:spPr>
              <a:xfrm>
                <a:off x="7685083" y="3730567"/>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50" name="Google Shape;2412;p18">
                <a:extLst>
                  <a:ext uri="{FF2B5EF4-FFF2-40B4-BE49-F238E27FC236}">
                    <a16:creationId xmlns:a16="http://schemas.microsoft.com/office/drawing/2014/main" id="{40CA499A-CA1C-4587-A180-2C9E0AFD1181}"/>
                  </a:ext>
                </a:extLst>
              </p:cNvPr>
              <p:cNvSpPr/>
              <p:nvPr/>
            </p:nvSpPr>
            <p:spPr>
              <a:xfrm>
                <a:off x="7756884" y="366452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51" name="Google Shape;2413;p18">
                <a:extLst>
                  <a:ext uri="{FF2B5EF4-FFF2-40B4-BE49-F238E27FC236}">
                    <a16:creationId xmlns:a16="http://schemas.microsoft.com/office/drawing/2014/main" id="{47E26669-7C0B-474B-9CC1-74C5C129C907}"/>
                  </a:ext>
                </a:extLst>
              </p:cNvPr>
              <p:cNvSpPr/>
              <p:nvPr/>
            </p:nvSpPr>
            <p:spPr>
              <a:xfrm>
                <a:off x="7691219" y="373056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52" name="Google Shape;2414;p18">
                <a:extLst>
                  <a:ext uri="{FF2B5EF4-FFF2-40B4-BE49-F238E27FC236}">
                    <a16:creationId xmlns:a16="http://schemas.microsoft.com/office/drawing/2014/main" id="{78AB648A-78CD-405C-B94D-024F3ED5BC49}"/>
                  </a:ext>
                </a:extLst>
              </p:cNvPr>
              <p:cNvSpPr/>
              <p:nvPr/>
            </p:nvSpPr>
            <p:spPr>
              <a:xfrm>
                <a:off x="7762928" y="366452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53" name="Google Shape;2415;p18">
                <a:extLst>
                  <a:ext uri="{FF2B5EF4-FFF2-40B4-BE49-F238E27FC236}">
                    <a16:creationId xmlns:a16="http://schemas.microsoft.com/office/drawing/2014/main" id="{7367BF82-E3F8-4F3E-B4FE-0B4660E3EE7D}"/>
                  </a:ext>
                </a:extLst>
              </p:cNvPr>
              <p:cNvSpPr/>
              <p:nvPr/>
            </p:nvSpPr>
            <p:spPr>
              <a:xfrm>
                <a:off x="7697355" y="373056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54" name="Google Shape;2416;p18">
                <a:extLst>
                  <a:ext uri="{FF2B5EF4-FFF2-40B4-BE49-F238E27FC236}">
                    <a16:creationId xmlns:a16="http://schemas.microsoft.com/office/drawing/2014/main" id="{68CC5BE4-2B14-4160-B733-273671745F15}"/>
                  </a:ext>
                </a:extLst>
              </p:cNvPr>
              <p:cNvSpPr/>
              <p:nvPr/>
            </p:nvSpPr>
            <p:spPr>
              <a:xfrm>
                <a:off x="7769064" y="366452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55" name="Google Shape;2417;p18">
                <a:extLst>
                  <a:ext uri="{FF2B5EF4-FFF2-40B4-BE49-F238E27FC236}">
                    <a16:creationId xmlns:a16="http://schemas.microsoft.com/office/drawing/2014/main" id="{B3DE1D61-BAC1-4B6D-BE71-DFE1ED7E4B29}"/>
                  </a:ext>
                </a:extLst>
              </p:cNvPr>
              <p:cNvSpPr/>
              <p:nvPr/>
            </p:nvSpPr>
            <p:spPr>
              <a:xfrm>
                <a:off x="7703400" y="3730567"/>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56" name="Google Shape;2418;p18">
                <a:extLst>
                  <a:ext uri="{FF2B5EF4-FFF2-40B4-BE49-F238E27FC236}">
                    <a16:creationId xmlns:a16="http://schemas.microsoft.com/office/drawing/2014/main" id="{245C4898-D87D-426A-9961-13BDFF4D701F}"/>
                  </a:ext>
                </a:extLst>
              </p:cNvPr>
              <p:cNvSpPr/>
              <p:nvPr/>
            </p:nvSpPr>
            <p:spPr>
              <a:xfrm>
                <a:off x="7785824" y="367935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57" name="Google Shape;2419;p18">
                <a:extLst>
                  <a:ext uri="{FF2B5EF4-FFF2-40B4-BE49-F238E27FC236}">
                    <a16:creationId xmlns:a16="http://schemas.microsoft.com/office/drawing/2014/main" id="{693045F4-F50E-4C20-BEDC-05141301A9F9}"/>
                  </a:ext>
                </a:extLst>
              </p:cNvPr>
              <p:cNvSpPr/>
              <p:nvPr/>
            </p:nvSpPr>
            <p:spPr>
              <a:xfrm>
                <a:off x="7720251" y="374539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58" name="Google Shape;2420;p18">
                <a:extLst>
                  <a:ext uri="{FF2B5EF4-FFF2-40B4-BE49-F238E27FC236}">
                    <a16:creationId xmlns:a16="http://schemas.microsoft.com/office/drawing/2014/main" id="{6A1C1C63-1F66-4169-BF4A-B1C64D2B5C16}"/>
                  </a:ext>
                </a:extLst>
              </p:cNvPr>
              <p:cNvSpPr/>
              <p:nvPr/>
            </p:nvSpPr>
            <p:spPr>
              <a:xfrm>
                <a:off x="7794524" y="367935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59" name="Google Shape;2421;p18">
                <a:extLst>
                  <a:ext uri="{FF2B5EF4-FFF2-40B4-BE49-F238E27FC236}">
                    <a16:creationId xmlns:a16="http://schemas.microsoft.com/office/drawing/2014/main" id="{2E7D7DE7-FEE0-40F6-9057-1C8B9C2C1E1B}"/>
                  </a:ext>
                </a:extLst>
              </p:cNvPr>
              <p:cNvSpPr/>
              <p:nvPr/>
            </p:nvSpPr>
            <p:spPr>
              <a:xfrm>
                <a:off x="7728860" y="374539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60" name="Google Shape;2422;p18">
                <a:extLst>
                  <a:ext uri="{FF2B5EF4-FFF2-40B4-BE49-F238E27FC236}">
                    <a16:creationId xmlns:a16="http://schemas.microsoft.com/office/drawing/2014/main" id="{73F160D7-A6CD-46F6-A482-6FA85C734B17}"/>
                  </a:ext>
                </a:extLst>
              </p:cNvPr>
              <p:cNvSpPr/>
              <p:nvPr/>
            </p:nvSpPr>
            <p:spPr>
              <a:xfrm>
                <a:off x="7803133" y="367935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61" name="Google Shape;2423;p18">
                <a:extLst>
                  <a:ext uri="{FF2B5EF4-FFF2-40B4-BE49-F238E27FC236}">
                    <a16:creationId xmlns:a16="http://schemas.microsoft.com/office/drawing/2014/main" id="{111123A0-2FF6-478C-B901-67BC0E1FD2C1}"/>
                  </a:ext>
                </a:extLst>
              </p:cNvPr>
              <p:cNvSpPr/>
              <p:nvPr/>
            </p:nvSpPr>
            <p:spPr>
              <a:xfrm>
                <a:off x="7737560" y="374539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62" name="Google Shape;2424;p18">
                <a:extLst>
                  <a:ext uri="{FF2B5EF4-FFF2-40B4-BE49-F238E27FC236}">
                    <a16:creationId xmlns:a16="http://schemas.microsoft.com/office/drawing/2014/main" id="{FA2F8014-E03A-45BE-8839-4D434E19381B}"/>
                  </a:ext>
                </a:extLst>
              </p:cNvPr>
              <p:cNvSpPr/>
              <p:nvPr/>
            </p:nvSpPr>
            <p:spPr>
              <a:xfrm>
                <a:off x="7811832" y="367935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63" name="Google Shape;2425;p18">
                <a:extLst>
                  <a:ext uri="{FF2B5EF4-FFF2-40B4-BE49-F238E27FC236}">
                    <a16:creationId xmlns:a16="http://schemas.microsoft.com/office/drawing/2014/main" id="{75B149F6-B362-4188-B922-F0EF337C9414}"/>
                  </a:ext>
                </a:extLst>
              </p:cNvPr>
              <p:cNvSpPr/>
              <p:nvPr/>
            </p:nvSpPr>
            <p:spPr>
              <a:xfrm>
                <a:off x="7746168" y="374539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64" name="Google Shape;2426;p18">
                <a:extLst>
                  <a:ext uri="{FF2B5EF4-FFF2-40B4-BE49-F238E27FC236}">
                    <a16:creationId xmlns:a16="http://schemas.microsoft.com/office/drawing/2014/main" id="{785A30A0-13BF-42BC-8111-265F571F960F}"/>
                  </a:ext>
                </a:extLst>
              </p:cNvPr>
              <p:cNvSpPr/>
              <p:nvPr/>
            </p:nvSpPr>
            <p:spPr>
              <a:xfrm>
                <a:off x="7820441" y="367935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65" name="Google Shape;2427;p18">
                <a:extLst>
                  <a:ext uri="{FF2B5EF4-FFF2-40B4-BE49-F238E27FC236}">
                    <a16:creationId xmlns:a16="http://schemas.microsoft.com/office/drawing/2014/main" id="{AD28EFEF-145F-4C86-BF2F-06C0890DCEDC}"/>
                  </a:ext>
                </a:extLst>
              </p:cNvPr>
              <p:cNvSpPr/>
              <p:nvPr/>
            </p:nvSpPr>
            <p:spPr>
              <a:xfrm>
                <a:off x="7754777" y="3745398"/>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66" name="Google Shape;2428;p18">
                <a:extLst>
                  <a:ext uri="{FF2B5EF4-FFF2-40B4-BE49-F238E27FC236}">
                    <a16:creationId xmlns:a16="http://schemas.microsoft.com/office/drawing/2014/main" id="{DDB19740-93DF-495D-9F86-40CB48870B1B}"/>
                  </a:ext>
                </a:extLst>
              </p:cNvPr>
              <p:cNvSpPr/>
              <p:nvPr/>
            </p:nvSpPr>
            <p:spPr>
              <a:xfrm>
                <a:off x="7829142" y="367935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67" name="Google Shape;2429;p18">
                <a:extLst>
                  <a:ext uri="{FF2B5EF4-FFF2-40B4-BE49-F238E27FC236}">
                    <a16:creationId xmlns:a16="http://schemas.microsoft.com/office/drawing/2014/main" id="{9497BBA8-3A52-4367-B035-0DEE5330E9C1}"/>
                  </a:ext>
                </a:extLst>
              </p:cNvPr>
              <p:cNvSpPr/>
              <p:nvPr/>
            </p:nvSpPr>
            <p:spPr>
              <a:xfrm>
                <a:off x="7763477" y="3745398"/>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68" name="Google Shape;2430;p18">
                <a:extLst>
                  <a:ext uri="{FF2B5EF4-FFF2-40B4-BE49-F238E27FC236}">
                    <a16:creationId xmlns:a16="http://schemas.microsoft.com/office/drawing/2014/main" id="{941D824C-1046-4EF6-852C-754D61B4F9B4}"/>
                  </a:ext>
                </a:extLst>
              </p:cNvPr>
              <p:cNvSpPr/>
              <p:nvPr/>
            </p:nvSpPr>
            <p:spPr>
              <a:xfrm>
                <a:off x="7837751" y="3679352"/>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69" name="Google Shape;2431;p18">
                <a:extLst>
                  <a:ext uri="{FF2B5EF4-FFF2-40B4-BE49-F238E27FC236}">
                    <a16:creationId xmlns:a16="http://schemas.microsoft.com/office/drawing/2014/main" id="{E7B4310E-490D-4CBA-BFE5-371581C6331F}"/>
                  </a:ext>
                </a:extLst>
              </p:cNvPr>
              <p:cNvSpPr/>
              <p:nvPr/>
            </p:nvSpPr>
            <p:spPr>
              <a:xfrm>
                <a:off x="7772086" y="3745398"/>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70" name="Google Shape;2432;p18">
                <a:extLst>
                  <a:ext uri="{FF2B5EF4-FFF2-40B4-BE49-F238E27FC236}">
                    <a16:creationId xmlns:a16="http://schemas.microsoft.com/office/drawing/2014/main" id="{EE75DA2A-0AA1-491F-92F7-D705F2905383}"/>
                  </a:ext>
                </a:extLst>
              </p:cNvPr>
              <p:cNvSpPr/>
              <p:nvPr/>
            </p:nvSpPr>
            <p:spPr>
              <a:xfrm>
                <a:off x="7883816" y="369952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71" name="Google Shape;2433;p18">
                <a:extLst>
                  <a:ext uri="{FF2B5EF4-FFF2-40B4-BE49-F238E27FC236}">
                    <a16:creationId xmlns:a16="http://schemas.microsoft.com/office/drawing/2014/main" id="{A0405D8D-247B-4E3F-BBDC-50DC475BEF46}"/>
                  </a:ext>
                </a:extLst>
              </p:cNvPr>
              <p:cNvSpPr/>
              <p:nvPr/>
            </p:nvSpPr>
            <p:spPr>
              <a:xfrm>
                <a:off x="7818152" y="3765571"/>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72" name="Google Shape;2434;p18">
                <a:extLst>
                  <a:ext uri="{FF2B5EF4-FFF2-40B4-BE49-F238E27FC236}">
                    <a16:creationId xmlns:a16="http://schemas.microsoft.com/office/drawing/2014/main" id="{4F0E7267-4CFE-449C-9F2C-2606EF787006}"/>
                  </a:ext>
                </a:extLst>
              </p:cNvPr>
              <p:cNvSpPr/>
              <p:nvPr/>
            </p:nvSpPr>
            <p:spPr>
              <a:xfrm>
                <a:off x="7891418" y="3706710"/>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73" name="Google Shape;2435;p18">
                <a:extLst>
                  <a:ext uri="{FF2B5EF4-FFF2-40B4-BE49-F238E27FC236}">
                    <a16:creationId xmlns:a16="http://schemas.microsoft.com/office/drawing/2014/main" id="{6C4864DB-B97A-4C8C-811E-37E0027C91B8}"/>
                  </a:ext>
                </a:extLst>
              </p:cNvPr>
              <p:cNvSpPr/>
              <p:nvPr/>
            </p:nvSpPr>
            <p:spPr>
              <a:xfrm>
                <a:off x="7825753" y="3772664"/>
                <a:ext cx="128215" cy="9211"/>
              </a:xfrm>
              <a:custGeom>
                <a:avLst/>
                <a:gdLst/>
                <a:ahLst/>
                <a:cxnLst/>
                <a:rect l="l" t="t" r="r" b="b"/>
                <a:pathLst>
                  <a:path w="128960" h="120000" extrusionOk="0">
                    <a:moveTo>
                      <a:pt x="132093"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74" name="Google Shape;2436;p18">
                <a:extLst>
                  <a:ext uri="{FF2B5EF4-FFF2-40B4-BE49-F238E27FC236}">
                    <a16:creationId xmlns:a16="http://schemas.microsoft.com/office/drawing/2014/main" id="{084DBF77-51D4-4E44-BE1E-88B98CC025A5}"/>
                  </a:ext>
                </a:extLst>
              </p:cNvPr>
              <p:cNvSpPr/>
              <p:nvPr/>
            </p:nvSpPr>
            <p:spPr>
              <a:xfrm>
                <a:off x="7900301" y="3711776"/>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75" name="Google Shape;2437;p18">
                <a:extLst>
                  <a:ext uri="{FF2B5EF4-FFF2-40B4-BE49-F238E27FC236}">
                    <a16:creationId xmlns:a16="http://schemas.microsoft.com/office/drawing/2014/main" id="{5AA8AEF6-B643-4836-A2F4-1A0776573417}"/>
                  </a:ext>
                </a:extLst>
              </p:cNvPr>
              <p:cNvSpPr/>
              <p:nvPr/>
            </p:nvSpPr>
            <p:spPr>
              <a:xfrm>
                <a:off x="7834728" y="377782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76" name="Google Shape;2438;p18">
                <a:extLst>
                  <a:ext uri="{FF2B5EF4-FFF2-40B4-BE49-F238E27FC236}">
                    <a16:creationId xmlns:a16="http://schemas.microsoft.com/office/drawing/2014/main" id="{4046C0F1-31C6-42A3-B9C8-D8EF4B6F55EC}"/>
                  </a:ext>
                </a:extLst>
              </p:cNvPr>
              <p:cNvSpPr/>
              <p:nvPr/>
            </p:nvSpPr>
            <p:spPr>
              <a:xfrm>
                <a:off x="7905888" y="3711776"/>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77" name="Google Shape;2439;p18">
                <a:extLst>
                  <a:ext uri="{FF2B5EF4-FFF2-40B4-BE49-F238E27FC236}">
                    <a16:creationId xmlns:a16="http://schemas.microsoft.com/office/drawing/2014/main" id="{5DD83B42-19F0-4540-BB9B-F0E73D830D6E}"/>
                  </a:ext>
                </a:extLst>
              </p:cNvPr>
              <p:cNvSpPr/>
              <p:nvPr/>
            </p:nvSpPr>
            <p:spPr>
              <a:xfrm>
                <a:off x="7840315" y="377782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78" name="Google Shape;2440;p18">
                <a:extLst>
                  <a:ext uri="{FF2B5EF4-FFF2-40B4-BE49-F238E27FC236}">
                    <a16:creationId xmlns:a16="http://schemas.microsoft.com/office/drawing/2014/main" id="{B71CC93B-7461-4DCE-8047-38368EE2B00F}"/>
                  </a:ext>
                </a:extLst>
              </p:cNvPr>
              <p:cNvSpPr/>
              <p:nvPr/>
            </p:nvSpPr>
            <p:spPr>
              <a:xfrm>
                <a:off x="7922739" y="3726606"/>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79" name="Google Shape;2441;p18">
                <a:extLst>
                  <a:ext uri="{FF2B5EF4-FFF2-40B4-BE49-F238E27FC236}">
                    <a16:creationId xmlns:a16="http://schemas.microsoft.com/office/drawing/2014/main" id="{8B2E0F93-61EC-493E-9EB6-7B33F217DAEC}"/>
                  </a:ext>
                </a:extLst>
              </p:cNvPr>
              <p:cNvSpPr/>
              <p:nvPr/>
            </p:nvSpPr>
            <p:spPr>
              <a:xfrm>
                <a:off x="7857074" y="379265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80" name="Google Shape;2442;p18">
                <a:extLst>
                  <a:ext uri="{FF2B5EF4-FFF2-40B4-BE49-F238E27FC236}">
                    <a16:creationId xmlns:a16="http://schemas.microsoft.com/office/drawing/2014/main" id="{20DA6EC8-5C24-4D4F-B72B-C7487EA70E6A}"/>
                  </a:ext>
                </a:extLst>
              </p:cNvPr>
              <p:cNvSpPr/>
              <p:nvPr/>
            </p:nvSpPr>
            <p:spPr>
              <a:xfrm>
                <a:off x="7929332" y="3726606"/>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81" name="Google Shape;2443;p18">
                <a:extLst>
                  <a:ext uri="{FF2B5EF4-FFF2-40B4-BE49-F238E27FC236}">
                    <a16:creationId xmlns:a16="http://schemas.microsoft.com/office/drawing/2014/main" id="{57FE2D7B-5662-4FDB-BF36-F2CB3188020F}"/>
                  </a:ext>
                </a:extLst>
              </p:cNvPr>
              <p:cNvSpPr/>
              <p:nvPr/>
            </p:nvSpPr>
            <p:spPr>
              <a:xfrm>
                <a:off x="7863668" y="3792652"/>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82" name="Google Shape;2444;p18">
                <a:extLst>
                  <a:ext uri="{FF2B5EF4-FFF2-40B4-BE49-F238E27FC236}">
                    <a16:creationId xmlns:a16="http://schemas.microsoft.com/office/drawing/2014/main" id="{63FD358F-AD37-422F-A9EA-4B1AB90E60BA}"/>
                  </a:ext>
                </a:extLst>
              </p:cNvPr>
              <p:cNvSpPr/>
              <p:nvPr/>
            </p:nvSpPr>
            <p:spPr>
              <a:xfrm>
                <a:off x="7937941" y="3726606"/>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83" name="Google Shape;2445;p18">
                <a:extLst>
                  <a:ext uri="{FF2B5EF4-FFF2-40B4-BE49-F238E27FC236}">
                    <a16:creationId xmlns:a16="http://schemas.microsoft.com/office/drawing/2014/main" id="{0B281A56-B22B-47B4-813C-DD2EC060AC51}"/>
                  </a:ext>
                </a:extLst>
              </p:cNvPr>
              <p:cNvSpPr/>
              <p:nvPr/>
            </p:nvSpPr>
            <p:spPr>
              <a:xfrm>
                <a:off x="7872368" y="379265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84" name="Google Shape;2446;p18">
                <a:extLst>
                  <a:ext uri="{FF2B5EF4-FFF2-40B4-BE49-F238E27FC236}">
                    <a16:creationId xmlns:a16="http://schemas.microsoft.com/office/drawing/2014/main" id="{FBEAAAE7-A48E-4E74-9FEA-FA9FF2F0271D}"/>
                  </a:ext>
                </a:extLst>
              </p:cNvPr>
              <p:cNvSpPr/>
              <p:nvPr/>
            </p:nvSpPr>
            <p:spPr>
              <a:xfrm>
                <a:off x="7960379" y="3726606"/>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85" name="Google Shape;2447;p18">
                <a:extLst>
                  <a:ext uri="{FF2B5EF4-FFF2-40B4-BE49-F238E27FC236}">
                    <a16:creationId xmlns:a16="http://schemas.microsoft.com/office/drawing/2014/main" id="{368B688E-56DB-4CAA-B679-B330BC45C0A3}"/>
                  </a:ext>
                </a:extLst>
              </p:cNvPr>
              <p:cNvSpPr/>
              <p:nvPr/>
            </p:nvSpPr>
            <p:spPr>
              <a:xfrm>
                <a:off x="7894715" y="3792652"/>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86" name="Google Shape;2448;p18">
                <a:extLst>
                  <a:ext uri="{FF2B5EF4-FFF2-40B4-BE49-F238E27FC236}">
                    <a16:creationId xmlns:a16="http://schemas.microsoft.com/office/drawing/2014/main" id="{1D9377C5-3559-46DB-8869-D3BA23281C81}"/>
                  </a:ext>
                </a:extLst>
              </p:cNvPr>
              <p:cNvSpPr/>
              <p:nvPr/>
            </p:nvSpPr>
            <p:spPr>
              <a:xfrm>
                <a:off x="7981718" y="373535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87" name="Google Shape;2449;p18">
                <a:extLst>
                  <a:ext uri="{FF2B5EF4-FFF2-40B4-BE49-F238E27FC236}">
                    <a16:creationId xmlns:a16="http://schemas.microsoft.com/office/drawing/2014/main" id="{A14A3C7C-71B1-4651-9F33-7FEBB986FDE9}"/>
                  </a:ext>
                </a:extLst>
              </p:cNvPr>
              <p:cNvSpPr/>
              <p:nvPr/>
            </p:nvSpPr>
            <p:spPr>
              <a:xfrm>
                <a:off x="7916145" y="3801311"/>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88" name="Google Shape;2450;p18">
                <a:extLst>
                  <a:ext uri="{FF2B5EF4-FFF2-40B4-BE49-F238E27FC236}">
                    <a16:creationId xmlns:a16="http://schemas.microsoft.com/office/drawing/2014/main" id="{6D10FA1D-EB08-4569-9284-D2B19968272F}"/>
                  </a:ext>
                </a:extLst>
              </p:cNvPr>
              <p:cNvSpPr/>
              <p:nvPr/>
            </p:nvSpPr>
            <p:spPr>
              <a:xfrm>
                <a:off x="7988312" y="373535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89" name="Google Shape;2451;p18">
                <a:extLst>
                  <a:ext uri="{FF2B5EF4-FFF2-40B4-BE49-F238E27FC236}">
                    <a16:creationId xmlns:a16="http://schemas.microsoft.com/office/drawing/2014/main" id="{243E0A67-D115-4F04-AFE6-39A739A2BA09}"/>
                  </a:ext>
                </a:extLst>
              </p:cNvPr>
              <p:cNvSpPr/>
              <p:nvPr/>
            </p:nvSpPr>
            <p:spPr>
              <a:xfrm>
                <a:off x="7922739" y="3801311"/>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90" name="Google Shape;2452;p18">
                <a:extLst>
                  <a:ext uri="{FF2B5EF4-FFF2-40B4-BE49-F238E27FC236}">
                    <a16:creationId xmlns:a16="http://schemas.microsoft.com/office/drawing/2014/main" id="{D7936E6E-72A1-4B99-A9D0-4E9BB5169811}"/>
                  </a:ext>
                </a:extLst>
              </p:cNvPr>
              <p:cNvSpPr/>
              <p:nvPr/>
            </p:nvSpPr>
            <p:spPr>
              <a:xfrm>
                <a:off x="7994997" y="373535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91" name="Google Shape;2453;p18">
                <a:extLst>
                  <a:ext uri="{FF2B5EF4-FFF2-40B4-BE49-F238E27FC236}">
                    <a16:creationId xmlns:a16="http://schemas.microsoft.com/office/drawing/2014/main" id="{A248A9EA-8EC8-4139-BB70-083976902E4E}"/>
                  </a:ext>
                </a:extLst>
              </p:cNvPr>
              <p:cNvSpPr/>
              <p:nvPr/>
            </p:nvSpPr>
            <p:spPr>
              <a:xfrm>
                <a:off x="7929332" y="3801311"/>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92" name="Google Shape;2454;p18">
                <a:extLst>
                  <a:ext uri="{FF2B5EF4-FFF2-40B4-BE49-F238E27FC236}">
                    <a16:creationId xmlns:a16="http://schemas.microsoft.com/office/drawing/2014/main" id="{14A59B2F-D270-4483-A9F2-A4EA224E6BAE}"/>
                  </a:ext>
                </a:extLst>
              </p:cNvPr>
              <p:cNvSpPr/>
              <p:nvPr/>
            </p:nvSpPr>
            <p:spPr>
              <a:xfrm>
                <a:off x="8001591" y="373535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93" name="Google Shape;2455;p18">
                <a:extLst>
                  <a:ext uri="{FF2B5EF4-FFF2-40B4-BE49-F238E27FC236}">
                    <a16:creationId xmlns:a16="http://schemas.microsoft.com/office/drawing/2014/main" id="{8B6145E2-ED43-408B-8D97-968AAE0DE335}"/>
                  </a:ext>
                </a:extLst>
              </p:cNvPr>
              <p:cNvSpPr/>
              <p:nvPr/>
            </p:nvSpPr>
            <p:spPr>
              <a:xfrm>
                <a:off x="7935927" y="3801311"/>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94" name="Google Shape;2456;p18">
                <a:extLst>
                  <a:ext uri="{FF2B5EF4-FFF2-40B4-BE49-F238E27FC236}">
                    <a16:creationId xmlns:a16="http://schemas.microsoft.com/office/drawing/2014/main" id="{6402B79E-BCBD-497E-867A-F2F6C863A484}"/>
                  </a:ext>
                </a:extLst>
              </p:cNvPr>
              <p:cNvSpPr/>
              <p:nvPr/>
            </p:nvSpPr>
            <p:spPr>
              <a:xfrm>
                <a:off x="8008185" y="373535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95" name="Google Shape;2457;p18">
                <a:extLst>
                  <a:ext uri="{FF2B5EF4-FFF2-40B4-BE49-F238E27FC236}">
                    <a16:creationId xmlns:a16="http://schemas.microsoft.com/office/drawing/2014/main" id="{A898A420-EE90-4FA3-8236-D6297092D5E2}"/>
                  </a:ext>
                </a:extLst>
              </p:cNvPr>
              <p:cNvSpPr/>
              <p:nvPr/>
            </p:nvSpPr>
            <p:spPr>
              <a:xfrm>
                <a:off x="7942521" y="3801311"/>
                <a:ext cx="128215" cy="9211"/>
              </a:xfrm>
              <a:custGeom>
                <a:avLst/>
                <a:gdLst/>
                <a:ahLst/>
                <a:cxnLst/>
                <a:rect l="l" t="t" r="r" b="b"/>
                <a:pathLst>
                  <a:path w="128960" h="120000" extrusionOk="0">
                    <a:moveTo>
                      <a:pt x="132093"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96" name="Google Shape;2458;p18">
                <a:extLst>
                  <a:ext uri="{FF2B5EF4-FFF2-40B4-BE49-F238E27FC236}">
                    <a16:creationId xmlns:a16="http://schemas.microsoft.com/office/drawing/2014/main" id="{FD9A709E-99DF-4F54-973B-C3CC1AB13D65}"/>
                  </a:ext>
                </a:extLst>
              </p:cNvPr>
              <p:cNvSpPr/>
              <p:nvPr/>
            </p:nvSpPr>
            <p:spPr>
              <a:xfrm>
                <a:off x="8014779" y="373535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97" name="Google Shape;2459;p18">
                <a:extLst>
                  <a:ext uri="{FF2B5EF4-FFF2-40B4-BE49-F238E27FC236}">
                    <a16:creationId xmlns:a16="http://schemas.microsoft.com/office/drawing/2014/main" id="{CBC44741-6EF4-476F-8D90-E4493F2BC4DF}"/>
                  </a:ext>
                </a:extLst>
              </p:cNvPr>
              <p:cNvSpPr/>
              <p:nvPr/>
            </p:nvSpPr>
            <p:spPr>
              <a:xfrm>
                <a:off x="7949206" y="3801311"/>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98" name="Google Shape;2460;p18">
                <a:extLst>
                  <a:ext uri="{FF2B5EF4-FFF2-40B4-BE49-F238E27FC236}">
                    <a16:creationId xmlns:a16="http://schemas.microsoft.com/office/drawing/2014/main" id="{3E1DD48E-083C-4620-803F-50606878DB10}"/>
                  </a:ext>
                </a:extLst>
              </p:cNvPr>
              <p:cNvSpPr/>
              <p:nvPr/>
            </p:nvSpPr>
            <p:spPr>
              <a:xfrm>
                <a:off x="8021465" y="373535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399" name="Google Shape;2461;p18">
                <a:extLst>
                  <a:ext uri="{FF2B5EF4-FFF2-40B4-BE49-F238E27FC236}">
                    <a16:creationId xmlns:a16="http://schemas.microsoft.com/office/drawing/2014/main" id="{E36955E7-6DF8-45B9-B553-4D985542CAC1}"/>
                  </a:ext>
                </a:extLst>
              </p:cNvPr>
              <p:cNvSpPr/>
              <p:nvPr/>
            </p:nvSpPr>
            <p:spPr>
              <a:xfrm>
                <a:off x="7955800" y="3801311"/>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00" name="Google Shape;2462;p18">
                <a:extLst>
                  <a:ext uri="{FF2B5EF4-FFF2-40B4-BE49-F238E27FC236}">
                    <a16:creationId xmlns:a16="http://schemas.microsoft.com/office/drawing/2014/main" id="{3356833F-4CB4-4FD4-BDD6-BA20D3539975}"/>
                  </a:ext>
                </a:extLst>
              </p:cNvPr>
              <p:cNvSpPr/>
              <p:nvPr/>
            </p:nvSpPr>
            <p:spPr>
              <a:xfrm>
                <a:off x="8028059" y="373535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01" name="Google Shape;2463;p18">
                <a:extLst>
                  <a:ext uri="{FF2B5EF4-FFF2-40B4-BE49-F238E27FC236}">
                    <a16:creationId xmlns:a16="http://schemas.microsoft.com/office/drawing/2014/main" id="{BF8D3808-4AE5-473B-9887-8CD22DB67199}"/>
                  </a:ext>
                </a:extLst>
              </p:cNvPr>
              <p:cNvSpPr/>
              <p:nvPr/>
            </p:nvSpPr>
            <p:spPr>
              <a:xfrm>
                <a:off x="7962394" y="3801311"/>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02" name="Google Shape;2464;p18">
                <a:extLst>
                  <a:ext uri="{FF2B5EF4-FFF2-40B4-BE49-F238E27FC236}">
                    <a16:creationId xmlns:a16="http://schemas.microsoft.com/office/drawing/2014/main" id="{4B19F5D0-4D27-4F9B-8490-3755E996E8AE}"/>
                  </a:ext>
                </a:extLst>
              </p:cNvPr>
              <p:cNvSpPr/>
              <p:nvPr/>
            </p:nvSpPr>
            <p:spPr>
              <a:xfrm>
                <a:off x="8034652" y="373535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03" name="Google Shape;2465;p18">
                <a:extLst>
                  <a:ext uri="{FF2B5EF4-FFF2-40B4-BE49-F238E27FC236}">
                    <a16:creationId xmlns:a16="http://schemas.microsoft.com/office/drawing/2014/main" id="{2AD3CE20-3166-4AF9-96AB-DB573416ED4B}"/>
                  </a:ext>
                </a:extLst>
              </p:cNvPr>
              <p:cNvSpPr/>
              <p:nvPr/>
            </p:nvSpPr>
            <p:spPr>
              <a:xfrm>
                <a:off x="7968988" y="3801311"/>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04" name="Google Shape;2466;p18">
                <a:extLst>
                  <a:ext uri="{FF2B5EF4-FFF2-40B4-BE49-F238E27FC236}">
                    <a16:creationId xmlns:a16="http://schemas.microsoft.com/office/drawing/2014/main" id="{EF3E04CE-48E7-4F93-AE2D-324919A15765}"/>
                  </a:ext>
                </a:extLst>
              </p:cNvPr>
              <p:cNvSpPr/>
              <p:nvPr/>
            </p:nvSpPr>
            <p:spPr>
              <a:xfrm>
                <a:off x="8060570"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05" name="Google Shape;2467;p18">
                <a:extLst>
                  <a:ext uri="{FF2B5EF4-FFF2-40B4-BE49-F238E27FC236}">
                    <a16:creationId xmlns:a16="http://schemas.microsoft.com/office/drawing/2014/main" id="{D7C89C2F-01FE-4706-AD74-145913F24FF5}"/>
                  </a:ext>
                </a:extLst>
              </p:cNvPr>
              <p:cNvSpPr/>
              <p:nvPr/>
            </p:nvSpPr>
            <p:spPr>
              <a:xfrm>
                <a:off x="7994997" y="38223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06" name="Google Shape;2468;p18">
                <a:extLst>
                  <a:ext uri="{FF2B5EF4-FFF2-40B4-BE49-F238E27FC236}">
                    <a16:creationId xmlns:a16="http://schemas.microsoft.com/office/drawing/2014/main" id="{42C83453-F139-40D4-B5B1-CB6AD608AAEB}"/>
                  </a:ext>
                </a:extLst>
              </p:cNvPr>
              <p:cNvSpPr/>
              <p:nvPr/>
            </p:nvSpPr>
            <p:spPr>
              <a:xfrm>
                <a:off x="8067256"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07" name="Google Shape;2469;p18">
                <a:extLst>
                  <a:ext uri="{FF2B5EF4-FFF2-40B4-BE49-F238E27FC236}">
                    <a16:creationId xmlns:a16="http://schemas.microsoft.com/office/drawing/2014/main" id="{BD4CF89D-2C29-42D3-8C11-6DDE7B963FE6}"/>
                  </a:ext>
                </a:extLst>
              </p:cNvPr>
              <p:cNvSpPr/>
              <p:nvPr/>
            </p:nvSpPr>
            <p:spPr>
              <a:xfrm>
                <a:off x="8001591" y="38223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08" name="Google Shape;2470;p18">
                <a:extLst>
                  <a:ext uri="{FF2B5EF4-FFF2-40B4-BE49-F238E27FC236}">
                    <a16:creationId xmlns:a16="http://schemas.microsoft.com/office/drawing/2014/main" id="{31CF57FF-BC9C-49B5-AF32-D89B22093A0B}"/>
                  </a:ext>
                </a:extLst>
              </p:cNvPr>
              <p:cNvSpPr/>
              <p:nvPr/>
            </p:nvSpPr>
            <p:spPr>
              <a:xfrm>
                <a:off x="8071835"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09" name="Google Shape;2471;p18">
                <a:extLst>
                  <a:ext uri="{FF2B5EF4-FFF2-40B4-BE49-F238E27FC236}">
                    <a16:creationId xmlns:a16="http://schemas.microsoft.com/office/drawing/2014/main" id="{F116BEF2-F0ED-4F80-85C3-1D7A430BDF68}"/>
                  </a:ext>
                </a:extLst>
              </p:cNvPr>
              <p:cNvSpPr/>
              <p:nvPr/>
            </p:nvSpPr>
            <p:spPr>
              <a:xfrm>
                <a:off x="8006170" y="38223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10" name="Google Shape;2472;p18">
                <a:extLst>
                  <a:ext uri="{FF2B5EF4-FFF2-40B4-BE49-F238E27FC236}">
                    <a16:creationId xmlns:a16="http://schemas.microsoft.com/office/drawing/2014/main" id="{CC5B4996-8E9C-4321-A861-AC0D939C9A35}"/>
                  </a:ext>
                </a:extLst>
              </p:cNvPr>
              <p:cNvSpPr/>
              <p:nvPr/>
            </p:nvSpPr>
            <p:spPr>
              <a:xfrm>
                <a:off x="8093631"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11" name="Google Shape;2473;p18">
                <a:extLst>
                  <a:ext uri="{FF2B5EF4-FFF2-40B4-BE49-F238E27FC236}">
                    <a16:creationId xmlns:a16="http://schemas.microsoft.com/office/drawing/2014/main" id="{5BD37A04-D1C4-4EC1-8AB5-4F84963D036B}"/>
                  </a:ext>
                </a:extLst>
              </p:cNvPr>
              <p:cNvSpPr/>
              <p:nvPr/>
            </p:nvSpPr>
            <p:spPr>
              <a:xfrm>
                <a:off x="8028059" y="38223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12" name="Google Shape;2474;p18">
                <a:extLst>
                  <a:ext uri="{FF2B5EF4-FFF2-40B4-BE49-F238E27FC236}">
                    <a16:creationId xmlns:a16="http://schemas.microsoft.com/office/drawing/2014/main" id="{02D71D29-CF0D-40A8-8142-8A8A59336E23}"/>
                  </a:ext>
                </a:extLst>
              </p:cNvPr>
              <p:cNvSpPr/>
              <p:nvPr/>
            </p:nvSpPr>
            <p:spPr>
              <a:xfrm>
                <a:off x="8100317"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13" name="Google Shape;2475;p18">
                <a:extLst>
                  <a:ext uri="{FF2B5EF4-FFF2-40B4-BE49-F238E27FC236}">
                    <a16:creationId xmlns:a16="http://schemas.microsoft.com/office/drawing/2014/main" id="{6E14C647-D8DA-426C-A940-2E2F2012E64F}"/>
                  </a:ext>
                </a:extLst>
              </p:cNvPr>
              <p:cNvSpPr/>
              <p:nvPr/>
            </p:nvSpPr>
            <p:spPr>
              <a:xfrm>
                <a:off x="8034652" y="38223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14" name="Google Shape;2476;p18">
                <a:extLst>
                  <a:ext uri="{FF2B5EF4-FFF2-40B4-BE49-F238E27FC236}">
                    <a16:creationId xmlns:a16="http://schemas.microsoft.com/office/drawing/2014/main" id="{731E9819-AC3D-4D3D-9F12-356FB4D926E1}"/>
                  </a:ext>
                </a:extLst>
              </p:cNvPr>
              <p:cNvSpPr/>
              <p:nvPr/>
            </p:nvSpPr>
            <p:spPr>
              <a:xfrm>
                <a:off x="8106910"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15" name="Google Shape;2477;p18">
                <a:extLst>
                  <a:ext uri="{FF2B5EF4-FFF2-40B4-BE49-F238E27FC236}">
                    <a16:creationId xmlns:a16="http://schemas.microsoft.com/office/drawing/2014/main" id="{8B2D96CC-E54D-45E8-AD4F-C45A28C50939}"/>
                  </a:ext>
                </a:extLst>
              </p:cNvPr>
              <p:cNvSpPr/>
              <p:nvPr/>
            </p:nvSpPr>
            <p:spPr>
              <a:xfrm>
                <a:off x="8041246" y="382231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16" name="Google Shape;2478;p18">
                <a:extLst>
                  <a:ext uri="{FF2B5EF4-FFF2-40B4-BE49-F238E27FC236}">
                    <a16:creationId xmlns:a16="http://schemas.microsoft.com/office/drawing/2014/main" id="{00E168BA-767C-48D5-8F1E-A6565310FC4D}"/>
                  </a:ext>
                </a:extLst>
              </p:cNvPr>
              <p:cNvSpPr/>
              <p:nvPr/>
            </p:nvSpPr>
            <p:spPr>
              <a:xfrm>
                <a:off x="8113505"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17" name="Google Shape;2479;p18">
                <a:extLst>
                  <a:ext uri="{FF2B5EF4-FFF2-40B4-BE49-F238E27FC236}">
                    <a16:creationId xmlns:a16="http://schemas.microsoft.com/office/drawing/2014/main" id="{0FA1FBB0-4D76-45C0-9656-7F9EDC488239}"/>
                  </a:ext>
                </a:extLst>
              </p:cNvPr>
              <p:cNvSpPr/>
              <p:nvPr/>
            </p:nvSpPr>
            <p:spPr>
              <a:xfrm>
                <a:off x="8047841" y="3822313"/>
                <a:ext cx="128215" cy="9211"/>
              </a:xfrm>
              <a:custGeom>
                <a:avLst/>
                <a:gdLst/>
                <a:ahLst/>
                <a:cxnLst/>
                <a:rect l="l" t="t" r="r" b="b"/>
                <a:pathLst>
                  <a:path w="128960" h="120000" extrusionOk="0">
                    <a:moveTo>
                      <a:pt x="132093"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18" name="Google Shape;2480;p18">
                <a:extLst>
                  <a:ext uri="{FF2B5EF4-FFF2-40B4-BE49-F238E27FC236}">
                    <a16:creationId xmlns:a16="http://schemas.microsoft.com/office/drawing/2014/main" id="{3412C843-B99C-4CD4-B64F-3C7CCA5A50D2}"/>
                  </a:ext>
                </a:extLst>
              </p:cNvPr>
              <p:cNvSpPr/>
              <p:nvPr/>
            </p:nvSpPr>
            <p:spPr>
              <a:xfrm>
                <a:off x="8120099"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19" name="Google Shape;2481;p18">
                <a:extLst>
                  <a:ext uri="{FF2B5EF4-FFF2-40B4-BE49-F238E27FC236}">
                    <a16:creationId xmlns:a16="http://schemas.microsoft.com/office/drawing/2014/main" id="{886400E0-67AF-41BB-9FC1-7879F1BDA389}"/>
                  </a:ext>
                </a:extLst>
              </p:cNvPr>
              <p:cNvSpPr/>
              <p:nvPr/>
            </p:nvSpPr>
            <p:spPr>
              <a:xfrm>
                <a:off x="8054526" y="38223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20" name="Google Shape;2482;p18">
                <a:extLst>
                  <a:ext uri="{FF2B5EF4-FFF2-40B4-BE49-F238E27FC236}">
                    <a16:creationId xmlns:a16="http://schemas.microsoft.com/office/drawing/2014/main" id="{3E6AD0F3-00E3-487A-934A-4258C95F5E94}"/>
                  </a:ext>
                </a:extLst>
              </p:cNvPr>
              <p:cNvSpPr/>
              <p:nvPr/>
            </p:nvSpPr>
            <p:spPr>
              <a:xfrm>
                <a:off x="8139422"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21" name="Google Shape;2483;p18">
                <a:extLst>
                  <a:ext uri="{FF2B5EF4-FFF2-40B4-BE49-F238E27FC236}">
                    <a16:creationId xmlns:a16="http://schemas.microsoft.com/office/drawing/2014/main" id="{932119F9-5C2C-497A-9A7E-17C59B094A28}"/>
                  </a:ext>
                </a:extLst>
              </p:cNvPr>
              <p:cNvSpPr/>
              <p:nvPr/>
            </p:nvSpPr>
            <p:spPr>
              <a:xfrm>
                <a:off x="8073849" y="38223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22" name="Google Shape;2484;p18">
                <a:extLst>
                  <a:ext uri="{FF2B5EF4-FFF2-40B4-BE49-F238E27FC236}">
                    <a16:creationId xmlns:a16="http://schemas.microsoft.com/office/drawing/2014/main" id="{B75E2A49-7D5C-4470-AA7C-07945FF3D693}"/>
                  </a:ext>
                </a:extLst>
              </p:cNvPr>
              <p:cNvSpPr/>
              <p:nvPr/>
            </p:nvSpPr>
            <p:spPr>
              <a:xfrm>
                <a:off x="8146107"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23" name="Google Shape;2485;p18">
                <a:extLst>
                  <a:ext uri="{FF2B5EF4-FFF2-40B4-BE49-F238E27FC236}">
                    <a16:creationId xmlns:a16="http://schemas.microsoft.com/office/drawing/2014/main" id="{F47678FF-5884-4535-8A27-C1635148E416}"/>
                  </a:ext>
                </a:extLst>
              </p:cNvPr>
              <p:cNvSpPr/>
              <p:nvPr/>
            </p:nvSpPr>
            <p:spPr>
              <a:xfrm>
                <a:off x="8080443" y="38223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24" name="Google Shape;2486;p18">
                <a:extLst>
                  <a:ext uri="{FF2B5EF4-FFF2-40B4-BE49-F238E27FC236}">
                    <a16:creationId xmlns:a16="http://schemas.microsoft.com/office/drawing/2014/main" id="{70096887-8121-455A-8F76-DF226CDCB8C9}"/>
                  </a:ext>
                </a:extLst>
              </p:cNvPr>
              <p:cNvSpPr/>
              <p:nvPr/>
            </p:nvSpPr>
            <p:spPr>
              <a:xfrm>
                <a:off x="8152702"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25" name="Google Shape;2487;p18">
                <a:extLst>
                  <a:ext uri="{FF2B5EF4-FFF2-40B4-BE49-F238E27FC236}">
                    <a16:creationId xmlns:a16="http://schemas.microsoft.com/office/drawing/2014/main" id="{58F0F607-F336-48E6-8B38-E6F52CDE62BB}"/>
                  </a:ext>
                </a:extLst>
              </p:cNvPr>
              <p:cNvSpPr/>
              <p:nvPr/>
            </p:nvSpPr>
            <p:spPr>
              <a:xfrm>
                <a:off x="8087038" y="382231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26" name="Google Shape;2488;p18">
                <a:extLst>
                  <a:ext uri="{FF2B5EF4-FFF2-40B4-BE49-F238E27FC236}">
                    <a16:creationId xmlns:a16="http://schemas.microsoft.com/office/drawing/2014/main" id="{A58BBED9-DE15-4707-85AA-A35E0B7AB206}"/>
                  </a:ext>
                </a:extLst>
              </p:cNvPr>
              <p:cNvSpPr/>
              <p:nvPr/>
            </p:nvSpPr>
            <p:spPr>
              <a:xfrm>
                <a:off x="8189335"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27" name="Google Shape;2489;p18">
                <a:extLst>
                  <a:ext uri="{FF2B5EF4-FFF2-40B4-BE49-F238E27FC236}">
                    <a16:creationId xmlns:a16="http://schemas.microsoft.com/office/drawing/2014/main" id="{61CB2509-AC06-457E-A5D7-422823E7797B}"/>
                  </a:ext>
                </a:extLst>
              </p:cNvPr>
              <p:cNvSpPr/>
              <p:nvPr/>
            </p:nvSpPr>
            <p:spPr>
              <a:xfrm>
                <a:off x="8123670" y="382231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28" name="Google Shape;2490;p18">
                <a:extLst>
                  <a:ext uri="{FF2B5EF4-FFF2-40B4-BE49-F238E27FC236}">
                    <a16:creationId xmlns:a16="http://schemas.microsoft.com/office/drawing/2014/main" id="{505153C4-7A66-481B-9861-1CDF0832A351}"/>
                  </a:ext>
                </a:extLst>
              </p:cNvPr>
              <p:cNvSpPr/>
              <p:nvPr/>
            </p:nvSpPr>
            <p:spPr>
              <a:xfrm>
                <a:off x="8220839"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29" name="Google Shape;2491;p18">
                <a:extLst>
                  <a:ext uri="{FF2B5EF4-FFF2-40B4-BE49-F238E27FC236}">
                    <a16:creationId xmlns:a16="http://schemas.microsoft.com/office/drawing/2014/main" id="{4DBEF391-6A2F-4BE0-9E3B-F9CB05371C7D}"/>
                  </a:ext>
                </a:extLst>
              </p:cNvPr>
              <p:cNvSpPr/>
              <p:nvPr/>
            </p:nvSpPr>
            <p:spPr>
              <a:xfrm>
                <a:off x="8155266" y="38223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30" name="Google Shape;2492;p18">
                <a:extLst>
                  <a:ext uri="{FF2B5EF4-FFF2-40B4-BE49-F238E27FC236}">
                    <a16:creationId xmlns:a16="http://schemas.microsoft.com/office/drawing/2014/main" id="{0E191A81-6ED6-4288-AA23-63030D464D7C}"/>
                  </a:ext>
                </a:extLst>
              </p:cNvPr>
              <p:cNvSpPr/>
              <p:nvPr/>
            </p:nvSpPr>
            <p:spPr>
              <a:xfrm>
                <a:off x="8228990"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31" name="Google Shape;2493;p18">
                <a:extLst>
                  <a:ext uri="{FF2B5EF4-FFF2-40B4-BE49-F238E27FC236}">
                    <a16:creationId xmlns:a16="http://schemas.microsoft.com/office/drawing/2014/main" id="{2E368D80-D0ED-410B-BCFB-D64CDF000E42}"/>
                  </a:ext>
                </a:extLst>
              </p:cNvPr>
              <p:cNvSpPr/>
              <p:nvPr/>
            </p:nvSpPr>
            <p:spPr>
              <a:xfrm>
                <a:off x="8163417" y="38223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32" name="Google Shape;2494;p18">
                <a:extLst>
                  <a:ext uri="{FF2B5EF4-FFF2-40B4-BE49-F238E27FC236}">
                    <a16:creationId xmlns:a16="http://schemas.microsoft.com/office/drawing/2014/main" id="{0D879CB6-7FF5-46CB-A5B7-F66EE2B0A8A9}"/>
                  </a:ext>
                </a:extLst>
              </p:cNvPr>
              <p:cNvSpPr/>
              <p:nvPr/>
            </p:nvSpPr>
            <p:spPr>
              <a:xfrm>
                <a:off x="8231554"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33" name="Google Shape;2495;p18">
                <a:extLst>
                  <a:ext uri="{FF2B5EF4-FFF2-40B4-BE49-F238E27FC236}">
                    <a16:creationId xmlns:a16="http://schemas.microsoft.com/office/drawing/2014/main" id="{D5C4D6F5-2193-41A3-9092-3A56DC0877EF}"/>
                  </a:ext>
                </a:extLst>
              </p:cNvPr>
              <p:cNvSpPr/>
              <p:nvPr/>
            </p:nvSpPr>
            <p:spPr>
              <a:xfrm>
                <a:off x="8165889" y="382231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34" name="Google Shape;2496;p18">
                <a:extLst>
                  <a:ext uri="{FF2B5EF4-FFF2-40B4-BE49-F238E27FC236}">
                    <a16:creationId xmlns:a16="http://schemas.microsoft.com/office/drawing/2014/main" id="{FBEB031A-6E7F-45F9-A990-38BC27FC3560}"/>
                  </a:ext>
                </a:extLst>
              </p:cNvPr>
              <p:cNvSpPr/>
              <p:nvPr/>
            </p:nvSpPr>
            <p:spPr>
              <a:xfrm>
                <a:off x="8302256"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35" name="Google Shape;2497;p18">
                <a:extLst>
                  <a:ext uri="{FF2B5EF4-FFF2-40B4-BE49-F238E27FC236}">
                    <a16:creationId xmlns:a16="http://schemas.microsoft.com/office/drawing/2014/main" id="{BE7CCEA5-6717-4C3C-962B-1E78BFCF73B1}"/>
                  </a:ext>
                </a:extLst>
              </p:cNvPr>
              <p:cNvSpPr/>
              <p:nvPr/>
            </p:nvSpPr>
            <p:spPr>
              <a:xfrm>
                <a:off x="8236683" y="38223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36" name="Google Shape;2498;p18">
                <a:extLst>
                  <a:ext uri="{FF2B5EF4-FFF2-40B4-BE49-F238E27FC236}">
                    <a16:creationId xmlns:a16="http://schemas.microsoft.com/office/drawing/2014/main" id="{86A5CB3B-DC73-41CB-AD7C-285EAD63458F}"/>
                  </a:ext>
                </a:extLst>
              </p:cNvPr>
              <p:cNvSpPr/>
              <p:nvPr/>
            </p:nvSpPr>
            <p:spPr>
              <a:xfrm>
                <a:off x="8348047"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37" name="Google Shape;2499;p18">
                <a:extLst>
                  <a:ext uri="{FF2B5EF4-FFF2-40B4-BE49-F238E27FC236}">
                    <a16:creationId xmlns:a16="http://schemas.microsoft.com/office/drawing/2014/main" id="{E1CB0E08-34F0-4ACF-87D1-DA9FBADC4284}"/>
                  </a:ext>
                </a:extLst>
              </p:cNvPr>
              <p:cNvSpPr/>
              <p:nvPr/>
            </p:nvSpPr>
            <p:spPr>
              <a:xfrm>
                <a:off x="8282474" y="38223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38" name="Google Shape;2500;p18">
                <a:extLst>
                  <a:ext uri="{FF2B5EF4-FFF2-40B4-BE49-F238E27FC236}">
                    <a16:creationId xmlns:a16="http://schemas.microsoft.com/office/drawing/2014/main" id="{E19BD000-D05D-454A-B994-85F4C8ECA210}"/>
                  </a:ext>
                </a:extLst>
              </p:cNvPr>
              <p:cNvSpPr/>
              <p:nvPr/>
            </p:nvSpPr>
            <p:spPr>
              <a:xfrm>
                <a:off x="8427907"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39" name="Google Shape;2501;p18">
                <a:extLst>
                  <a:ext uri="{FF2B5EF4-FFF2-40B4-BE49-F238E27FC236}">
                    <a16:creationId xmlns:a16="http://schemas.microsoft.com/office/drawing/2014/main" id="{E6153633-9DEF-47C8-A3D4-8F545E3FF698}"/>
                  </a:ext>
                </a:extLst>
              </p:cNvPr>
              <p:cNvSpPr/>
              <p:nvPr/>
            </p:nvSpPr>
            <p:spPr>
              <a:xfrm>
                <a:off x="8362334" y="38223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40" name="Google Shape;2502;p18">
                <a:extLst>
                  <a:ext uri="{FF2B5EF4-FFF2-40B4-BE49-F238E27FC236}">
                    <a16:creationId xmlns:a16="http://schemas.microsoft.com/office/drawing/2014/main" id="{124409FF-E2F0-4999-AC4B-EBAA8FC0410B}"/>
                  </a:ext>
                </a:extLst>
              </p:cNvPr>
              <p:cNvSpPr/>
              <p:nvPr/>
            </p:nvSpPr>
            <p:spPr>
              <a:xfrm>
                <a:off x="8433584"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41" name="Google Shape;2503;p18">
                <a:extLst>
                  <a:ext uri="{FF2B5EF4-FFF2-40B4-BE49-F238E27FC236}">
                    <a16:creationId xmlns:a16="http://schemas.microsoft.com/office/drawing/2014/main" id="{1121A30A-5BE9-4698-B7BA-3D33E8087B99}"/>
                  </a:ext>
                </a:extLst>
              </p:cNvPr>
              <p:cNvSpPr/>
              <p:nvPr/>
            </p:nvSpPr>
            <p:spPr>
              <a:xfrm>
                <a:off x="8367920" y="38223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42" name="Google Shape;2504;p18">
                <a:extLst>
                  <a:ext uri="{FF2B5EF4-FFF2-40B4-BE49-F238E27FC236}">
                    <a16:creationId xmlns:a16="http://schemas.microsoft.com/office/drawing/2014/main" id="{4F80E0EE-B12F-4533-8809-4F03A37F1A6B}"/>
                  </a:ext>
                </a:extLst>
              </p:cNvPr>
              <p:cNvSpPr/>
              <p:nvPr/>
            </p:nvSpPr>
            <p:spPr>
              <a:xfrm>
                <a:off x="8442742"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43" name="Google Shape;2505;p18">
                <a:extLst>
                  <a:ext uri="{FF2B5EF4-FFF2-40B4-BE49-F238E27FC236}">
                    <a16:creationId xmlns:a16="http://schemas.microsoft.com/office/drawing/2014/main" id="{5E00D70B-2E47-4FAD-8182-10D1B2C2C4FF}"/>
                  </a:ext>
                </a:extLst>
              </p:cNvPr>
              <p:cNvSpPr/>
              <p:nvPr/>
            </p:nvSpPr>
            <p:spPr>
              <a:xfrm>
                <a:off x="8377078" y="38223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44" name="Google Shape;2506;p18">
                <a:extLst>
                  <a:ext uri="{FF2B5EF4-FFF2-40B4-BE49-F238E27FC236}">
                    <a16:creationId xmlns:a16="http://schemas.microsoft.com/office/drawing/2014/main" id="{5C4DCB24-9518-47C5-B2E3-C4644AAB8519}"/>
                  </a:ext>
                </a:extLst>
              </p:cNvPr>
              <p:cNvSpPr/>
              <p:nvPr/>
            </p:nvSpPr>
            <p:spPr>
              <a:xfrm>
                <a:off x="8496502" y="3756359"/>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45" name="Google Shape;2507;p18">
                <a:extLst>
                  <a:ext uri="{FF2B5EF4-FFF2-40B4-BE49-F238E27FC236}">
                    <a16:creationId xmlns:a16="http://schemas.microsoft.com/office/drawing/2014/main" id="{3C3F57CE-89AF-4605-B81E-D223D2C1B7B6}"/>
                  </a:ext>
                </a:extLst>
              </p:cNvPr>
              <p:cNvSpPr/>
              <p:nvPr/>
            </p:nvSpPr>
            <p:spPr>
              <a:xfrm>
                <a:off x="8430929" y="382231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46" name="Google Shape;2508;p18">
                <a:extLst>
                  <a:ext uri="{FF2B5EF4-FFF2-40B4-BE49-F238E27FC236}">
                    <a16:creationId xmlns:a16="http://schemas.microsoft.com/office/drawing/2014/main" id="{2C3710ED-BB38-4FAE-A7D9-D50F2567DC41}"/>
                  </a:ext>
                </a:extLst>
              </p:cNvPr>
              <p:cNvSpPr/>
              <p:nvPr/>
            </p:nvSpPr>
            <p:spPr>
              <a:xfrm>
                <a:off x="8567386" y="376096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47" name="Google Shape;2509;p18">
                <a:extLst>
                  <a:ext uri="{FF2B5EF4-FFF2-40B4-BE49-F238E27FC236}">
                    <a16:creationId xmlns:a16="http://schemas.microsoft.com/office/drawing/2014/main" id="{077B0E8D-7C90-4FF9-ADF5-6CFC5B1669E8}"/>
                  </a:ext>
                </a:extLst>
              </p:cNvPr>
              <p:cNvSpPr/>
              <p:nvPr/>
            </p:nvSpPr>
            <p:spPr>
              <a:xfrm>
                <a:off x="8501721" y="382691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48" name="Google Shape;2510;p18">
                <a:extLst>
                  <a:ext uri="{FF2B5EF4-FFF2-40B4-BE49-F238E27FC236}">
                    <a16:creationId xmlns:a16="http://schemas.microsoft.com/office/drawing/2014/main" id="{6FD5851C-201F-4C54-89B2-3C3D9F1984B1}"/>
                  </a:ext>
                </a:extLst>
              </p:cNvPr>
              <p:cNvSpPr/>
              <p:nvPr/>
            </p:nvSpPr>
            <p:spPr>
              <a:xfrm>
                <a:off x="8612169" y="3760965"/>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49" name="Google Shape;2511;p18">
                <a:extLst>
                  <a:ext uri="{FF2B5EF4-FFF2-40B4-BE49-F238E27FC236}">
                    <a16:creationId xmlns:a16="http://schemas.microsoft.com/office/drawing/2014/main" id="{7B18F084-49D1-410F-9FA3-D8A679895D3E}"/>
                  </a:ext>
                </a:extLst>
              </p:cNvPr>
              <p:cNvSpPr/>
              <p:nvPr/>
            </p:nvSpPr>
            <p:spPr>
              <a:xfrm>
                <a:off x="8546505" y="3826919"/>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50" name="Google Shape;2512;p18">
                <a:extLst>
                  <a:ext uri="{FF2B5EF4-FFF2-40B4-BE49-F238E27FC236}">
                    <a16:creationId xmlns:a16="http://schemas.microsoft.com/office/drawing/2014/main" id="{A4EDAA55-1242-489E-81E3-90D674094A9A}"/>
                  </a:ext>
                </a:extLst>
              </p:cNvPr>
              <p:cNvSpPr/>
              <p:nvPr/>
            </p:nvSpPr>
            <p:spPr>
              <a:xfrm>
                <a:off x="8656404" y="380131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51" name="Google Shape;2513;p18">
                <a:extLst>
                  <a:ext uri="{FF2B5EF4-FFF2-40B4-BE49-F238E27FC236}">
                    <a16:creationId xmlns:a16="http://schemas.microsoft.com/office/drawing/2014/main" id="{B5FAF48B-B5D5-471D-B2EA-59A8B78B1FCB}"/>
                  </a:ext>
                </a:extLst>
              </p:cNvPr>
              <p:cNvSpPr/>
              <p:nvPr/>
            </p:nvSpPr>
            <p:spPr>
              <a:xfrm>
                <a:off x="8590739" y="3867357"/>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52" name="Google Shape;2514;p18">
                <a:extLst>
                  <a:ext uri="{FF2B5EF4-FFF2-40B4-BE49-F238E27FC236}">
                    <a16:creationId xmlns:a16="http://schemas.microsoft.com/office/drawing/2014/main" id="{AA0CEFC3-7985-4AB7-8CBB-BA13282FF833}"/>
                  </a:ext>
                </a:extLst>
              </p:cNvPr>
              <p:cNvSpPr/>
              <p:nvPr/>
            </p:nvSpPr>
            <p:spPr>
              <a:xfrm>
                <a:off x="8715383" y="380131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53" name="Google Shape;2515;p18">
                <a:extLst>
                  <a:ext uri="{FF2B5EF4-FFF2-40B4-BE49-F238E27FC236}">
                    <a16:creationId xmlns:a16="http://schemas.microsoft.com/office/drawing/2014/main" id="{481DD050-51A2-4F9A-9415-5066B40019E9}"/>
                  </a:ext>
                </a:extLst>
              </p:cNvPr>
              <p:cNvSpPr/>
              <p:nvPr/>
            </p:nvSpPr>
            <p:spPr>
              <a:xfrm>
                <a:off x="8649810" y="386735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54" name="Google Shape;2516;p18">
                <a:extLst>
                  <a:ext uri="{FF2B5EF4-FFF2-40B4-BE49-F238E27FC236}">
                    <a16:creationId xmlns:a16="http://schemas.microsoft.com/office/drawing/2014/main" id="{03066828-4B51-4432-B3D6-FBF4D4C496BC}"/>
                  </a:ext>
                </a:extLst>
              </p:cNvPr>
              <p:cNvSpPr/>
              <p:nvPr/>
            </p:nvSpPr>
            <p:spPr>
              <a:xfrm>
                <a:off x="8736263" y="380131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55" name="Google Shape;2517;p18">
                <a:extLst>
                  <a:ext uri="{FF2B5EF4-FFF2-40B4-BE49-F238E27FC236}">
                    <a16:creationId xmlns:a16="http://schemas.microsoft.com/office/drawing/2014/main" id="{2F7C9E84-148B-441B-898A-BED6C7C4C249}"/>
                  </a:ext>
                </a:extLst>
              </p:cNvPr>
              <p:cNvSpPr/>
              <p:nvPr/>
            </p:nvSpPr>
            <p:spPr>
              <a:xfrm>
                <a:off x="8670599" y="3867357"/>
                <a:ext cx="128215" cy="9211"/>
              </a:xfrm>
              <a:custGeom>
                <a:avLst/>
                <a:gdLst/>
                <a:ahLst/>
                <a:cxnLst/>
                <a:rect l="l" t="t" r="r" b="b"/>
                <a:pathLst>
                  <a:path w="128960" h="120000" extrusionOk="0">
                    <a:moveTo>
                      <a:pt x="132093"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56" name="Google Shape;2518;p18">
                <a:extLst>
                  <a:ext uri="{FF2B5EF4-FFF2-40B4-BE49-F238E27FC236}">
                    <a16:creationId xmlns:a16="http://schemas.microsoft.com/office/drawing/2014/main" id="{FD925AC4-E253-4E1B-8963-FE97237B80A6}"/>
                  </a:ext>
                </a:extLst>
              </p:cNvPr>
              <p:cNvSpPr/>
              <p:nvPr/>
            </p:nvSpPr>
            <p:spPr>
              <a:xfrm>
                <a:off x="8757602" y="380131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57" name="Google Shape;2519;p18">
                <a:extLst>
                  <a:ext uri="{FF2B5EF4-FFF2-40B4-BE49-F238E27FC236}">
                    <a16:creationId xmlns:a16="http://schemas.microsoft.com/office/drawing/2014/main" id="{BCCAB66A-0773-4BDE-8EFD-92026C3511CC}"/>
                  </a:ext>
                </a:extLst>
              </p:cNvPr>
              <p:cNvSpPr/>
              <p:nvPr/>
            </p:nvSpPr>
            <p:spPr>
              <a:xfrm>
                <a:off x="8692029" y="386735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58" name="Google Shape;2520;p18">
                <a:extLst>
                  <a:ext uri="{FF2B5EF4-FFF2-40B4-BE49-F238E27FC236}">
                    <a16:creationId xmlns:a16="http://schemas.microsoft.com/office/drawing/2014/main" id="{F727BE22-55A5-4ABB-8FC3-CC91F563F79E}"/>
                  </a:ext>
                </a:extLst>
              </p:cNvPr>
              <p:cNvSpPr/>
              <p:nvPr/>
            </p:nvSpPr>
            <p:spPr>
              <a:xfrm>
                <a:off x="8783062" y="380131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59" name="Google Shape;2521;p18">
                <a:extLst>
                  <a:ext uri="{FF2B5EF4-FFF2-40B4-BE49-F238E27FC236}">
                    <a16:creationId xmlns:a16="http://schemas.microsoft.com/office/drawing/2014/main" id="{90E0A089-AC64-40BA-959A-AE502DC2BDFF}"/>
                  </a:ext>
                </a:extLst>
              </p:cNvPr>
              <p:cNvSpPr/>
              <p:nvPr/>
            </p:nvSpPr>
            <p:spPr>
              <a:xfrm>
                <a:off x="8717489" y="386735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60" name="Google Shape;2522;p18">
                <a:extLst>
                  <a:ext uri="{FF2B5EF4-FFF2-40B4-BE49-F238E27FC236}">
                    <a16:creationId xmlns:a16="http://schemas.microsoft.com/office/drawing/2014/main" id="{2D5A6680-1687-4667-A51B-96B7A0A3C0DA}"/>
                  </a:ext>
                </a:extLst>
              </p:cNvPr>
              <p:cNvSpPr/>
              <p:nvPr/>
            </p:nvSpPr>
            <p:spPr>
              <a:xfrm>
                <a:off x="8851475" y="380131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61" name="Google Shape;2523;p18">
                <a:extLst>
                  <a:ext uri="{FF2B5EF4-FFF2-40B4-BE49-F238E27FC236}">
                    <a16:creationId xmlns:a16="http://schemas.microsoft.com/office/drawing/2014/main" id="{BCB9EA33-BB06-4C30-A943-73C238670C80}"/>
                  </a:ext>
                </a:extLst>
              </p:cNvPr>
              <p:cNvSpPr/>
              <p:nvPr/>
            </p:nvSpPr>
            <p:spPr>
              <a:xfrm>
                <a:off x="8785809" y="3867357"/>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62" name="Google Shape;2524;p18">
                <a:extLst>
                  <a:ext uri="{FF2B5EF4-FFF2-40B4-BE49-F238E27FC236}">
                    <a16:creationId xmlns:a16="http://schemas.microsoft.com/office/drawing/2014/main" id="{6EBD4C00-EBDE-4BFA-99EA-D52A2948544D}"/>
                  </a:ext>
                </a:extLst>
              </p:cNvPr>
              <p:cNvSpPr/>
              <p:nvPr/>
            </p:nvSpPr>
            <p:spPr>
              <a:xfrm>
                <a:off x="8897082" y="3801311"/>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63" name="Google Shape;2525;p18">
                <a:extLst>
                  <a:ext uri="{FF2B5EF4-FFF2-40B4-BE49-F238E27FC236}">
                    <a16:creationId xmlns:a16="http://schemas.microsoft.com/office/drawing/2014/main" id="{172C2BB7-13D2-4C30-A4BB-6C096B04CB9D}"/>
                  </a:ext>
                </a:extLst>
              </p:cNvPr>
              <p:cNvSpPr/>
              <p:nvPr/>
            </p:nvSpPr>
            <p:spPr>
              <a:xfrm>
                <a:off x="8831417" y="3867357"/>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64" name="Google Shape;2526;p18">
                <a:extLst>
                  <a:ext uri="{FF2B5EF4-FFF2-40B4-BE49-F238E27FC236}">
                    <a16:creationId xmlns:a16="http://schemas.microsoft.com/office/drawing/2014/main" id="{8D2A49D6-D572-4F9A-9EB3-2BE65EAB4677}"/>
                  </a:ext>
                </a:extLst>
              </p:cNvPr>
              <p:cNvSpPr/>
              <p:nvPr/>
            </p:nvSpPr>
            <p:spPr>
              <a:xfrm>
                <a:off x="8906240" y="3841749"/>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65" name="Google Shape;2527;p18">
                <a:extLst>
                  <a:ext uri="{FF2B5EF4-FFF2-40B4-BE49-F238E27FC236}">
                    <a16:creationId xmlns:a16="http://schemas.microsoft.com/office/drawing/2014/main" id="{B6D0EF5D-9D30-4B79-B071-D264D4CCB046}"/>
                  </a:ext>
                </a:extLst>
              </p:cNvPr>
              <p:cNvSpPr/>
              <p:nvPr/>
            </p:nvSpPr>
            <p:spPr>
              <a:xfrm>
                <a:off x="8840576" y="390779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66" name="Google Shape;2528;p18">
                <a:extLst>
                  <a:ext uri="{FF2B5EF4-FFF2-40B4-BE49-F238E27FC236}">
                    <a16:creationId xmlns:a16="http://schemas.microsoft.com/office/drawing/2014/main" id="{44A0A249-4741-4DA7-A75E-8128A5C8CF1C}"/>
                  </a:ext>
                </a:extLst>
              </p:cNvPr>
              <p:cNvSpPr/>
              <p:nvPr/>
            </p:nvSpPr>
            <p:spPr>
              <a:xfrm>
                <a:off x="8914391" y="3841749"/>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67" name="Google Shape;2529;p18">
                <a:extLst>
                  <a:ext uri="{FF2B5EF4-FFF2-40B4-BE49-F238E27FC236}">
                    <a16:creationId xmlns:a16="http://schemas.microsoft.com/office/drawing/2014/main" id="{BD6BEF02-6B48-4A7D-B9F6-F71679BD194D}"/>
                  </a:ext>
                </a:extLst>
              </p:cNvPr>
              <p:cNvSpPr/>
              <p:nvPr/>
            </p:nvSpPr>
            <p:spPr>
              <a:xfrm>
                <a:off x="8848727" y="390779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68" name="Google Shape;2530;p18">
                <a:extLst>
                  <a:ext uri="{FF2B5EF4-FFF2-40B4-BE49-F238E27FC236}">
                    <a16:creationId xmlns:a16="http://schemas.microsoft.com/office/drawing/2014/main" id="{6C174BC3-39B9-4DDB-B531-B760E8373298}"/>
                  </a:ext>
                </a:extLst>
              </p:cNvPr>
              <p:cNvSpPr/>
              <p:nvPr/>
            </p:nvSpPr>
            <p:spPr>
              <a:xfrm>
                <a:off x="8922450" y="3841749"/>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69" name="Google Shape;2531;p18">
                <a:extLst>
                  <a:ext uri="{FF2B5EF4-FFF2-40B4-BE49-F238E27FC236}">
                    <a16:creationId xmlns:a16="http://schemas.microsoft.com/office/drawing/2014/main" id="{D62C603F-A168-457F-BB42-E1DC83F95A10}"/>
                  </a:ext>
                </a:extLst>
              </p:cNvPr>
              <p:cNvSpPr/>
              <p:nvPr/>
            </p:nvSpPr>
            <p:spPr>
              <a:xfrm>
                <a:off x="8856877" y="390779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70" name="Google Shape;2532;p18">
                <a:extLst>
                  <a:ext uri="{FF2B5EF4-FFF2-40B4-BE49-F238E27FC236}">
                    <a16:creationId xmlns:a16="http://schemas.microsoft.com/office/drawing/2014/main" id="{22F4C144-7C33-4F28-B7B3-20A4D07B428F}"/>
                  </a:ext>
                </a:extLst>
              </p:cNvPr>
              <p:cNvSpPr/>
              <p:nvPr/>
            </p:nvSpPr>
            <p:spPr>
              <a:xfrm>
                <a:off x="8977949" y="3841749"/>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71" name="Google Shape;2533;p18">
                <a:extLst>
                  <a:ext uri="{FF2B5EF4-FFF2-40B4-BE49-F238E27FC236}">
                    <a16:creationId xmlns:a16="http://schemas.microsoft.com/office/drawing/2014/main" id="{0BB37F37-0777-4C63-BECA-4DA6ACD05DF7}"/>
                  </a:ext>
                </a:extLst>
              </p:cNvPr>
              <p:cNvSpPr/>
              <p:nvPr/>
            </p:nvSpPr>
            <p:spPr>
              <a:xfrm>
                <a:off x="8912285" y="3907795"/>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72" name="Google Shape;2534;p18">
                <a:extLst>
                  <a:ext uri="{FF2B5EF4-FFF2-40B4-BE49-F238E27FC236}">
                    <a16:creationId xmlns:a16="http://schemas.microsoft.com/office/drawing/2014/main" id="{DF333A52-24EC-4E4A-870C-CF1A59FFC266}"/>
                  </a:ext>
                </a:extLst>
              </p:cNvPr>
              <p:cNvSpPr/>
              <p:nvPr/>
            </p:nvSpPr>
            <p:spPr>
              <a:xfrm>
                <a:off x="8999837" y="3841749"/>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73" name="Google Shape;2535;p18">
                <a:extLst>
                  <a:ext uri="{FF2B5EF4-FFF2-40B4-BE49-F238E27FC236}">
                    <a16:creationId xmlns:a16="http://schemas.microsoft.com/office/drawing/2014/main" id="{FA58C89A-433B-44B2-81C8-3E2BA3D13903}"/>
                  </a:ext>
                </a:extLst>
              </p:cNvPr>
              <p:cNvSpPr/>
              <p:nvPr/>
            </p:nvSpPr>
            <p:spPr>
              <a:xfrm>
                <a:off x="8934173" y="3907795"/>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74" name="Google Shape;2536;p18">
                <a:extLst>
                  <a:ext uri="{FF2B5EF4-FFF2-40B4-BE49-F238E27FC236}">
                    <a16:creationId xmlns:a16="http://schemas.microsoft.com/office/drawing/2014/main" id="{E9F41C97-CA52-44DC-AAFB-2FBF1096AE62}"/>
                  </a:ext>
                </a:extLst>
              </p:cNvPr>
              <p:cNvSpPr/>
              <p:nvPr/>
            </p:nvSpPr>
            <p:spPr>
              <a:xfrm>
                <a:off x="9032898" y="3841749"/>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75" name="Google Shape;2537;p18">
                <a:extLst>
                  <a:ext uri="{FF2B5EF4-FFF2-40B4-BE49-F238E27FC236}">
                    <a16:creationId xmlns:a16="http://schemas.microsoft.com/office/drawing/2014/main" id="{2B39B8C6-4FED-48E1-92B8-65A802B96A26}"/>
                  </a:ext>
                </a:extLst>
              </p:cNvPr>
              <p:cNvSpPr/>
              <p:nvPr/>
            </p:nvSpPr>
            <p:spPr>
              <a:xfrm>
                <a:off x="8967234" y="3907795"/>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76" name="Google Shape;2538;p18">
                <a:extLst>
                  <a:ext uri="{FF2B5EF4-FFF2-40B4-BE49-F238E27FC236}">
                    <a16:creationId xmlns:a16="http://schemas.microsoft.com/office/drawing/2014/main" id="{E84F8174-4DEA-4277-A744-5726A41672E4}"/>
                  </a:ext>
                </a:extLst>
              </p:cNvPr>
              <p:cNvSpPr/>
              <p:nvPr/>
            </p:nvSpPr>
            <p:spPr>
              <a:xfrm>
                <a:off x="9040042" y="3841749"/>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77" name="Google Shape;2539;p18">
                <a:extLst>
                  <a:ext uri="{FF2B5EF4-FFF2-40B4-BE49-F238E27FC236}">
                    <a16:creationId xmlns:a16="http://schemas.microsoft.com/office/drawing/2014/main" id="{2747A423-0DA1-4887-9688-CD0DFBEE611A}"/>
                  </a:ext>
                </a:extLst>
              </p:cNvPr>
              <p:cNvSpPr/>
              <p:nvPr/>
            </p:nvSpPr>
            <p:spPr>
              <a:xfrm>
                <a:off x="8974377" y="390779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78" name="Google Shape;2540;p18">
                <a:extLst>
                  <a:ext uri="{FF2B5EF4-FFF2-40B4-BE49-F238E27FC236}">
                    <a16:creationId xmlns:a16="http://schemas.microsoft.com/office/drawing/2014/main" id="{D1E8481C-BD25-4E43-AFC3-D196800C1E24}"/>
                  </a:ext>
                </a:extLst>
              </p:cNvPr>
              <p:cNvSpPr/>
              <p:nvPr/>
            </p:nvSpPr>
            <p:spPr>
              <a:xfrm>
                <a:off x="9043614" y="3841749"/>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79" name="Google Shape;2541;p18">
                <a:extLst>
                  <a:ext uri="{FF2B5EF4-FFF2-40B4-BE49-F238E27FC236}">
                    <a16:creationId xmlns:a16="http://schemas.microsoft.com/office/drawing/2014/main" id="{1AD5B123-B264-47CC-84E9-6FA3C56FD452}"/>
                  </a:ext>
                </a:extLst>
              </p:cNvPr>
              <p:cNvSpPr/>
              <p:nvPr/>
            </p:nvSpPr>
            <p:spPr>
              <a:xfrm>
                <a:off x="8977949" y="3907795"/>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80" name="Google Shape;2542;p18">
                <a:extLst>
                  <a:ext uri="{FF2B5EF4-FFF2-40B4-BE49-F238E27FC236}">
                    <a16:creationId xmlns:a16="http://schemas.microsoft.com/office/drawing/2014/main" id="{67D850C5-F328-42EC-849E-03F7F11670B6}"/>
                  </a:ext>
                </a:extLst>
              </p:cNvPr>
              <p:cNvSpPr/>
              <p:nvPr/>
            </p:nvSpPr>
            <p:spPr>
              <a:xfrm>
                <a:off x="9112301" y="3856488"/>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81" name="Google Shape;2543;p18">
                <a:extLst>
                  <a:ext uri="{FF2B5EF4-FFF2-40B4-BE49-F238E27FC236}">
                    <a16:creationId xmlns:a16="http://schemas.microsoft.com/office/drawing/2014/main" id="{EFD62D15-E84D-41A1-B631-E18B2A06FCDD}"/>
                  </a:ext>
                </a:extLst>
              </p:cNvPr>
              <p:cNvSpPr/>
              <p:nvPr/>
            </p:nvSpPr>
            <p:spPr>
              <a:xfrm>
                <a:off x="9046636" y="3922534"/>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82" name="Google Shape;2544;p18">
                <a:extLst>
                  <a:ext uri="{FF2B5EF4-FFF2-40B4-BE49-F238E27FC236}">
                    <a16:creationId xmlns:a16="http://schemas.microsoft.com/office/drawing/2014/main" id="{E63CC463-41A0-4C56-B0C3-62F792B87926}"/>
                  </a:ext>
                </a:extLst>
              </p:cNvPr>
              <p:cNvSpPr/>
              <p:nvPr/>
            </p:nvSpPr>
            <p:spPr>
              <a:xfrm>
                <a:off x="9158091" y="3856488"/>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83" name="Google Shape;2545;p18">
                <a:extLst>
                  <a:ext uri="{FF2B5EF4-FFF2-40B4-BE49-F238E27FC236}">
                    <a16:creationId xmlns:a16="http://schemas.microsoft.com/office/drawing/2014/main" id="{BC309A1A-56E9-44FA-BE1E-2B6F20475DA5}"/>
                  </a:ext>
                </a:extLst>
              </p:cNvPr>
              <p:cNvSpPr/>
              <p:nvPr/>
            </p:nvSpPr>
            <p:spPr>
              <a:xfrm>
                <a:off x="9092427" y="3922534"/>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84" name="Google Shape;2546;p18">
                <a:extLst>
                  <a:ext uri="{FF2B5EF4-FFF2-40B4-BE49-F238E27FC236}">
                    <a16:creationId xmlns:a16="http://schemas.microsoft.com/office/drawing/2014/main" id="{E7FDE9E6-056F-4E56-8FE2-09DBD02D689F}"/>
                  </a:ext>
                </a:extLst>
              </p:cNvPr>
              <p:cNvSpPr/>
              <p:nvPr/>
            </p:nvSpPr>
            <p:spPr>
              <a:xfrm>
                <a:off x="9192618" y="394141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85" name="Google Shape;2547;p18">
                <a:extLst>
                  <a:ext uri="{FF2B5EF4-FFF2-40B4-BE49-F238E27FC236}">
                    <a16:creationId xmlns:a16="http://schemas.microsoft.com/office/drawing/2014/main" id="{2E59AA24-8BF3-4130-B560-B34D661892DC}"/>
                  </a:ext>
                </a:extLst>
              </p:cNvPr>
              <p:cNvSpPr/>
              <p:nvPr/>
            </p:nvSpPr>
            <p:spPr>
              <a:xfrm>
                <a:off x="9127045" y="400746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86" name="Google Shape;2548;p18">
                <a:extLst>
                  <a:ext uri="{FF2B5EF4-FFF2-40B4-BE49-F238E27FC236}">
                    <a16:creationId xmlns:a16="http://schemas.microsoft.com/office/drawing/2014/main" id="{972D26D4-E895-4497-A5EF-980C15FF034D}"/>
                  </a:ext>
                </a:extLst>
              </p:cNvPr>
              <p:cNvSpPr/>
              <p:nvPr/>
            </p:nvSpPr>
            <p:spPr>
              <a:xfrm>
                <a:off x="9215055" y="394141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87" name="Google Shape;2549;p18">
                <a:extLst>
                  <a:ext uri="{FF2B5EF4-FFF2-40B4-BE49-F238E27FC236}">
                    <a16:creationId xmlns:a16="http://schemas.microsoft.com/office/drawing/2014/main" id="{0C848C43-40AF-495F-BC5D-624BBBB7C9A6}"/>
                  </a:ext>
                </a:extLst>
              </p:cNvPr>
              <p:cNvSpPr/>
              <p:nvPr/>
            </p:nvSpPr>
            <p:spPr>
              <a:xfrm>
                <a:off x="9149391" y="400746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88" name="Google Shape;2550;p18">
                <a:extLst>
                  <a:ext uri="{FF2B5EF4-FFF2-40B4-BE49-F238E27FC236}">
                    <a16:creationId xmlns:a16="http://schemas.microsoft.com/office/drawing/2014/main" id="{2125B840-C99E-4D63-99C5-2352E6098FB5}"/>
                  </a:ext>
                </a:extLst>
              </p:cNvPr>
              <p:cNvSpPr/>
              <p:nvPr/>
            </p:nvSpPr>
            <p:spPr>
              <a:xfrm>
                <a:off x="9272569" y="394141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89" name="Google Shape;2551;p18">
                <a:extLst>
                  <a:ext uri="{FF2B5EF4-FFF2-40B4-BE49-F238E27FC236}">
                    <a16:creationId xmlns:a16="http://schemas.microsoft.com/office/drawing/2014/main" id="{B38BA9A1-E3F0-40C2-9526-B550C24345C4}"/>
                  </a:ext>
                </a:extLst>
              </p:cNvPr>
              <p:cNvSpPr/>
              <p:nvPr/>
            </p:nvSpPr>
            <p:spPr>
              <a:xfrm>
                <a:off x="9206905" y="400746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90" name="Google Shape;2552;p18">
                <a:extLst>
                  <a:ext uri="{FF2B5EF4-FFF2-40B4-BE49-F238E27FC236}">
                    <a16:creationId xmlns:a16="http://schemas.microsoft.com/office/drawing/2014/main" id="{79AEFE82-D9C1-4CD4-97E1-F72739D44894}"/>
                  </a:ext>
                </a:extLst>
              </p:cNvPr>
              <p:cNvSpPr/>
              <p:nvPr/>
            </p:nvSpPr>
            <p:spPr>
              <a:xfrm>
                <a:off x="9710607" y="394141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91" name="Google Shape;2553;p18">
                <a:extLst>
                  <a:ext uri="{FF2B5EF4-FFF2-40B4-BE49-F238E27FC236}">
                    <a16:creationId xmlns:a16="http://schemas.microsoft.com/office/drawing/2014/main" id="{8F6AC44E-A1FC-4C6D-BC46-402839BB7921}"/>
                  </a:ext>
                </a:extLst>
              </p:cNvPr>
              <p:cNvSpPr/>
              <p:nvPr/>
            </p:nvSpPr>
            <p:spPr>
              <a:xfrm>
                <a:off x="9644943" y="4007463"/>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92" name="Google Shape;2554;p18">
                <a:extLst>
                  <a:ext uri="{FF2B5EF4-FFF2-40B4-BE49-F238E27FC236}">
                    <a16:creationId xmlns:a16="http://schemas.microsoft.com/office/drawing/2014/main" id="{1A259757-77F5-4C0D-A3CE-36F7753F7C58}"/>
                  </a:ext>
                </a:extLst>
              </p:cNvPr>
              <p:cNvSpPr/>
              <p:nvPr/>
            </p:nvSpPr>
            <p:spPr>
              <a:xfrm>
                <a:off x="9902380" y="394141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93" name="Google Shape;2555;p18">
                <a:extLst>
                  <a:ext uri="{FF2B5EF4-FFF2-40B4-BE49-F238E27FC236}">
                    <a16:creationId xmlns:a16="http://schemas.microsoft.com/office/drawing/2014/main" id="{23F7134C-65D3-40E2-B333-AC83176E410C}"/>
                  </a:ext>
                </a:extLst>
              </p:cNvPr>
              <p:cNvSpPr/>
              <p:nvPr/>
            </p:nvSpPr>
            <p:spPr>
              <a:xfrm>
                <a:off x="9836807" y="400746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94" name="Google Shape;2556;p18">
                <a:extLst>
                  <a:ext uri="{FF2B5EF4-FFF2-40B4-BE49-F238E27FC236}">
                    <a16:creationId xmlns:a16="http://schemas.microsoft.com/office/drawing/2014/main" id="{A6056AEA-13F9-46A1-951F-08449C2B5C25}"/>
                  </a:ext>
                </a:extLst>
              </p:cNvPr>
              <p:cNvSpPr/>
              <p:nvPr/>
            </p:nvSpPr>
            <p:spPr>
              <a:xfrm>
                <a:off x="10632565" y="394141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95" name="Google Shape;2557;p18">
                <a:extLst>
                  <a:ext uri="{FF2B5EF4-FFF2-40B4-BE49-F238E27FC236}">
                    <a16:creationId xmlns:a16="http://schemas.microsoft.com/office/drawing/2014/main" id="{379B062E-CE91-41D9-ABEC-16BA11B10547}"/>
                  </a:ext>
                </a:extLst>
              </p:cNvPr>
              <p:cNvSpPr/>
              <p:nvPr/>
            </p:nvSpPr>
            <p:spPr>
              <a:xfrm>
                <a:off x="10566901" y="400746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96" name="Google Shape;2558;p18">
                <a:extLst>
                  <a:ext uri="{FF2B5EF4-FFF2-40B4-BE49-F238E27FC236}">
                    <a16:creationId xmlns:a16="http://schemas.microsoft.com/office/drawing/2014/main" id="{36825341-A89E-45E5-9BD1-B4DB60078530}"/>
                  </a:ext>
                </a:extLst>
              </p:cNvPr>
              <p:cNvSpPr/>
              <p:nvPr/>
            </p:nvSpPr>
            <p:spPr>
              <a:xfrm>
                <a:off x="10930207" y="394141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97" name="Google Shape;2559;p18">
                <a:extLst>
                  <a:ext uri="{FF2B5EF4-FFF2-40B4-BE49-F238E27FC236}">
                    <a16:creationId xmlns:a16="http://schemas.microsoft.com/office/drawing/2014/main" id="{72D023B5-41AD-449B-86D6-5EB931A152A3}"/>
                  </a:ext>
                </a:extLst>
              </p:cNvPr>
              <p:cNvSpPr/>
              <p:nvPr/>
            </p:nvSpPr>
            <p:spPr>
              <a:xfrm>
                <a:off x="10864543" y="400746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98" name="Google Shape;2560;p18">
                <a:extLst>
                  <a:ext uri="{FF2B5EF4-FFF2-40B4-BE49-F238E27FC236}">
                    <a16:creationId xmlns:a16="http://schemas.microsoft.com/office/drawing/2014/main" id="{BED575C0-4431-4C3C-BD74-5488AF825701}"/>
                  </a:ext>
                </a:extLst>
              </p:cNvPr>
              <p:cNvSpPr/>
              <p:nvPr/>
            </p:nvSpPr>
            <p:spPr>
              <a:xfrm>
                <a:off x="8041246" y="373535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499" name="Google Shape;2561;p18">
                <a:extLst>
                  <a:ext uri="{FF2B5EF4-FFF2-40B4-BE49-F238E27FC236}">
                    <a16:creationId xmlns:a16="http://schemas.microsoft.com/office/drawing/2014/main" id="{EAC05126-C913-4F37-BD13-F7FF3883AA22}"/>
                  </a:ext>
                </a:extLst>
              </p:cNvPr>
              <p:cNvSpPr/>
              <p:nvPr/>
            </p:nvSpPr>
            <p:spPr>
              <a:xfrm>
                <a:off x="7975673" y="3801311"/>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500" name="Google Shape;2562;p18">
                <a:extLst>
                  <a:ext uri="{FF2B5EF4-FFF2-40B4-BE49-F238E27FC236}">
                    <a16:creationId xmlns:a16="http://schemas.microsoft.com/office/drawing/2014/main" id="{0CD00DDA-70E7-4027-AFB9-392F1307BAD1}"/>
                  </a:ext>
                </a:extLst>
              </p:cNvPr>
              <p:cNvSpPr/>
              <p:nvPr/>
            </p:nvSpPr>
            <p:spPr>
              <a:xfrm>
                <a:off x="7363263" y="362325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501" name="Google Shape;2563;p18">
                <a:extLst>
                  <a:ext uri="{FF2B5EF4-FFF2-40B4-BE49-F238E27FC236}">
                    <a16:creationId xmlns:a16="http://schemas.microsoft.com/office/drawing/2014/main" id="{EC1F67F5-EDB0-4D9B-8CF6-221626783C5C}"/>
                  </a:ext>
                </a:extLst>
              </p:cNvPr>
              <p:cNvSpPr/>
              <p:nvPr/>
            </p:nvSpPr>
            <p:spPr>
              <a:xfrm>
                <a:off x="7297690" y="368930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502" name="Google Shape;2564;p18">
                <a:extLst>
                  <a:ext uri="{FF2B5EF4-FFF2-40B4-BE49-F238E27FC236}">
                    <a16:creationId xmlns:a16="http://schemas.microsoft.com/office/drawing/2014/main" id="{76C137BC-A301-4620-9800-AA739C2E7D55}"/>
                  </a:ext>
                </a:extLst>
              </p:cNvPr>
              <p:cNvSpPr/>
              <p:nvPr/>
            </p:nvSpPr>
            <p:spPr>
              <a:xfrm>
                <a:off x="7373704" y="3623254"/>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503" name="Google Shape;2565;p18">
                <a:extLst>
                  <a:ext uri="{FF2B5EF4-FFF2-40B4-BE49-F238E27FC236}">
                    <a16:creationId xmlns:a16="http://schemas.microsoft.com/office/drawing/2014/main" id="{D3C76C67-4E20-4A79-B9A2-927B174569EE}"/>
                  </a:ext>
                </a:extLst>
              </p:cNvPr>
              <p:cNvSpPr/>
              <p:nvPr/>
            </p:nvSpPr>
            <p:spPr>
              <a:xfrm>
                <a:off x="7308131" y="368930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504" name="Google Shape;2566;p18">
                <a:extLst>
                  <a:ext uri="{FF2B5EF4-FFF2-40B4-BE49-F238E27FC236}">
                    <a16:creationId xmlns:a16="http://schemas.microsoft.com/office/drawing/2014/main" id="{14270CA5-D414-4F69-9A46-FFBE0AA617E2}"/>
                  </a:ext>
                </a:extLst>
              </p:cNvPr>
              <p:cNvSpPr/>
              <p:nvPr/>
            </p:nvSpPr>
            <p:spPr>
              <a:xfrm>
                <a:off x="7240085" y="3595804"/>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505" name="Google Shape;2567;p18">
                <a:extLst>
                  <a:ext uri="{FF2B5EF4-FFF2-40B4-BE49-F238E27FC236}">
                    <a16:creationId xmlns:a16="http://schemas.microsoft.com/office/drawing/2014/main" id="{FE86217C-CE2A-4B89-AD14-DE82D07C7522}"/>
                  </a:ext>
                </a:extLst>
              </p:cNvPr>
              <p:cNvSpPr/>
              <p:nvPr/>
            </p:nvSpPr>
            <p:spPr>
              <a:xfrm>
                <a:off x="7174420" y="3661850"/>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506" name="Google Shape;2568;p18">
                <a:extLst>
                  <a:ext uri="{FF2B5EF4-FFF2-40B4-BE49-F238E27FC236}">
                    <a16:creationId xmlns:a16="http://schemas.microsoft.com/office/drawing/2014/main" id="{E58ECFDD-F9CE-4779-B957-57441E37A916}"/>
                  </a:ext>
                </a:extLst>
              </p:cNvPr>
              <p:cNvSpPr/>
              <p:nvPr/>
            </p:nvSpPr>
            <p:spPr>
              <a:xfrm>
                <a:off x="6937406" y="3542377"/>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507" name="Google Shape;2569;p18">
                <a:extLst>
                  <a:ext uri="{FF2B5EF4-FFF2-40B4-BE49-F238E27FC236}">
                    <a16:creationId xmlns:a16="http://schemas.microsoft.com/office/drawing/2014/main" id="{835CFBA3-D1DD-435A-B3B2-1F52FE1D42F2}"/>
                  </a:ext>
                </a:extLst>
              </p:cNvPr>
              <p:cNvSpPr/>
              <p:nvPr/>
            </p:nvSpPr>
            <p:spPr>
              <a:xfrm>
                <a:off x="6871833" y="360842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508" name="Google Shape;2570;p18">
                <a:extLst>
                  <a:ext uri="{FF2B5EF4-FFF2-40B4-BE49-F238E27FC236}">
                    <a16:creationId xmlns:a16="http://schemas.microsoft.com/office/drawing/2014/main" id="{AAE07434-B8FA-4685-8BB4-C30F58D8A33E}"/>
                  </a:ext>
                </a:extLst>
              </p:cNvPr>
              <p:cNvSpPr/>
              <p:nvPr/>
            </p:nvSpPr>
            <p:spPr>
              <a:xfrm>
                <a:off x="4203219" y="2389748"/>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509" name="Google Shape;2571;p18">
                <a:extLst>
                  <a:ext uri="{FF2B5EF4-FFF2-40B4-BE49-F238E27FC236}">
                    <a16:creationId xmlns:a16="http://schemas.microsoft.com/office/drawing/2014/main" id="{39DB9BA3-3397-4198-8FE0-921BE61B7730}"/>
                  </a:ext>
                </a:extLst>
              </p:cNvPr>
              <p:cNvSpPr/>
              <p:nvPr/>
            </p:nvSpPr>
            <p:spPr>
              <a:xfrm>
                <a:off x="4137555" y="2455702"/>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510" name="Google Shape;2572;p18">
                <a:extLst>
                  <a:ext uri="{FF2B5EF4-FFF2-40B4-BE49-F238E27FC236}">
                    <a16:creationId xmlns:a16="http://schemas.microsoft.com/office/drawing/2014/main" id="{CB11474F-ADB2-4E48-900F-6F7FE8559188}"/>
                  </a:ext>
                </a:extLst>
              </p:cNvPr>
              <p:cNvSpPr/>
              <p:nvPr/>
            </p:nvSpPr>
            <p:spPr>
              <a:xfrm>
                <a:off x="4005768" y="2223758"/>
                <a:ext cx="9158" cy="128960"/>
              </a:xfrm>
              <a:custGeom>
                <a:avLst/>
                <a:gdLst/>
                <a:ahLst/>
                <a:cxnLst/>
                <a:rect l="l" t="t" r="r" b="b"/>
                <a:pathLst>
                  <a:path w="120000" h="128960" extrusionOk="0">
                    <a:moveTo>
                      <a:pt x="0" y="0"/>
                    </a:moveTo>
                    <a:lnTo>
                      <a:pt x="0" y="132092"/>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511" name="Google Shape;2573;p18">
                <a:extLst>
                  <a:ext uri="{FF2B5EF4-FFF2-40B4-BE49-F238E27FC236}">
                    <a16:creationId xmlns:a16="http://schemas.microsoft.com/office/drawing/2014/main" id="{8A925288-488A-40D4-94FA-3B0E6BCC1136}"/>
                  </a:ext>
                </a:extLst>
              </p:cNvPr>
              <p:cNvSpPr/>
              <p:nvPr/>
            </p:nvSpPr>
            <p:spPr>
              <a:xfrm>
                <a:off x="3940195" y="2289804"/>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512" name="Google Shape;2574;p18">
                <a:extLst>
                  <a:ext uri="{FF2B5EF4-FFF2-40B4-BE49-F238E27FC236}">
                    <a16:creationId xmlns:a16="http://schemas.microsoft.com/office/drawing/2014/main" id="{6A96C8FF-6D07-4952-A01E-D8286DCC57DE}"/>
                  </a:ext>
                </a:extLst>
              </p:cNvPr>
              <p:cNvSpPr/>
              <p:nvPr/>
            </p:nvSpPr>
            <p:spPr>
              <a:xfrm>
                <a:off x="3790366" y="199632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513" name="Google Shape;2575;p18">
                <a:extLst>
                  <a:ext uri="{FF2B5EF4-FFF2-40B4-BE49-F238E27FC236}">
                    <a16:creationId xmlns:a16="http://schemas.microsoft.com/office/drawing/2014/main" id="{D860B703-457A-4D72-9BFE-994CAA8825FA}"/>
                  </a:ext>
                </a:extLst>
              </p:cNvPr>
              <p:cNvSpPr/>
              <p:nvPr/>
            </p:nvSpPr>
            <p:spPr>
              <a:xfrm>
                <a:off x="3724701" y="2062373"/>
                <a:ext cx="128215" cy="9211"/>
              </a:xfrm>
              <a:custGeom>
                <a:avLst/>
                <a:gdLst/>
                <a:ahLst/>
                <a:cxnLst/>
                <a:rect l="l" t="t" r="r" b="b"/>
                <a:pathLst>
                  <a:path w="128960" h="120000" extrusionOk="0">
                    <a:moveTo>
                      <a:pt x="132000"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514" name="Google Shape;2576;p18">
                <a:extLst>
                  <a:ext uri="{FF2B5EF4-FFF2-40B4-BE49-F238E27FC236}">
                    <a16:creationId xmlns:a16="http://schemas.microsoft.com/office/drawing/2014/main" id="{B853E4D7-CB03-498A-93C7-AE28249E94B7}"/>
                  </a:ext>
                </a:extLst>
              </p:cNvPr>
              <p:cNvSpPr/>
              <p:nvPr/>
            </p:nvSpPr>
            <p:spPr>
              <a:xfrm>
                <a:off x="3765914" y="1986287"/>
                <a:ext cx="9158" cy="128960"/>
              </a:xfrm>
              <a:custGeom>
                <a:avLst/>
                <a:gdLst/>
                <a:ahLst/>
                <a:cxnLst/>
                <a:rect l="l" t="t" r="r" b="b"/>
                <a:pathLst>
                  <a:path w="120000" h="128960" extrusionOk="0">
                    <a:moveTo>
                      <a:pt x="0" y="0"/>
                    </a:moveTo>
                    <a:lnTo>
                      <a:pt x="0" y="13200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sp>
            <p:nvSpPr>
              <p:cNvPr id="1515" name="Google Shape;2577;p18">
                <a:extLst>
                  <a:ext uri="{FF2B5EF4-FFF2-40B4-BE49-F238E27FC236}">
                    <a16:creationId xmlns:a16="http://schemas.microsoft.com/office/drawing/2014/main" id="{553ADA09-C646-4E1F-8C3A-AE278B7C8FA8}"/>
                  </a:ext>
                </a:extLst>
              </p:cNvPr>
              <p:cNvSpPr/>
              <p:nvPr/>
            </p:nvSpPr>
            <p:spPr>
              <a:xfrm>
                <a:off x="3700249" y="2052241"/>
                <a:ext cx="128215" cy="9211"/>
              </a:xfrm>
              <a:custGeom>
                <a:avLst/>
                <a:gdLst/>
                <a:ahLst/>
                <a:cxnLst/>
                <a:rect l="l" t="t" r="r" b="b"/>
                <a:pathLst>
                  <a:path w="128960" h="120000" extrusionOk="0">
                    <a:moveTo>
                      <a:pt x="132092" y="0"/>
                    </a:moveTo>
                    <a:lnTo>
                      <a:pt x="0" y="0"/>
                    </a:lnTo>
                  </a:path>
                </a:pathLst>
              </a:custGeom>
              <a:noFill/>
              <a:ln w="19050" cap="flat" cmpd="sng">
                <a:solidFill>
                  <a:schemeClr val="accent5"/>
                </a:solidFill>
                <a:prstDash val="solid"/>
                <a:miter lim="8000"/>
                <a:headEnd type="none" w="sm" len="sm"/>
                <a:tailEnd type="none" w="sm" len="sm"/>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Gene Sans" panose="00000500000000000000" pitchFamily="50" charset="0"/>
                  <a:cs typeface="Arial"/>
                  <a:sym typeface="Arial"/>
                </a:endParaRPr>
              </a:p>
            </p:txBody>
          </p:sp>
        </p:grpSp>
      </p:grpSp>
      <p:sp>
        <p:nvSpPr>
          <p:cNvPr id="1516" name="Google Shape;1434;p18">
            <a:extLst>
              <a:ext uri="{FF2B5EF4-FFF2-40B4-BE49-F238E27FC236}">
                <a16:creationId xmlns:a16="http://schemas.microsoft.com/office/drawing/2014/main" id="{10F7F294-6A8D-498A-A962-2B2D9EFD3794}"/>
              </a:ext>
            </a:extLst>
          </p:cNvPr>
          <p:cNvSpPr txBox="1"/>
          <p:nvPr/>
        </p:nvSpPr>
        <p:spPr>
          <a:xfrm>
            <a:off x="4410534" y="3809132"/>
            <a:ext cx="830356" cy="153888"/>
          </a:xfrm>
          <a:prstGeom prst="rect">
            <a:avLst/>
          </a:prstGeom>
          <a:noFill/>
          <a:ln>
            <a:noFill/>
          </a:ln>
        </p:spPr>
        <p:txBody>
          <a:bodyPr spcFirstLastPara="1" wrap="none" lIns="0" tIns="0" rIns="0" bIns="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a:ln>
                  <a:noFill/>
                </a:ln>
                <a:solidFill>
                  <a:srgbClr val="004677"/>
                </a:solidFill>
                <a:effectLst/>
                <a:uLnTx/>
                <a:uFillTx/>
                <a:latin typeface="Gene Sans" panose="00000500000000000000" pitchFamily="50" charset="0"/>
                <a:cs typeface="Arial"/>
                <a:sym typeface="Arial"/>
              </a:rPr>
              <a:t>Time (months)</a:t>
            </a:r>
          </a:p>
        </p:txBody>
      </p:sp>
      <p:graphicFrame>
        <p:nvGraphicFramePr>
          <p:cNvPr id="8" name="Table 7">
            <a:extLst>
              <a:ext uri="{FF2B5EF4-FFF2-40B4-BE49-F238E27FC236}">
                <a16:creationId xmlns:a16="http://schemas.microsoft.com/office/drawing/2014/main" id="{8ED51BAF-1786-4982-ACA4-8B93B5CB67A2}"/>
              </a:ext>
            </a:extLst>
          </p:cNvPr>
          <p:cNvGraphicFramePr>
            <a:graphicFrameLocks noGrp="1"/>
          </p:cNvGraphicFramePr>
          <p:nvPr/>
        </p:nvGraphicFramePr>
        <p:xfrm>
          <a:off x="380998" y="4009035"/>
          <a:ext cx="8381357" cy="640120"/>
        </p:xfrm>
        <a:graphic>
          <a:graphicData uri="http://schemas.openxmlformats.org/drawingml/2006/table">
            <a:tbl>
              <a:tblPr firstRow="1" bandRow="1">
                <a:noFill/>
              </a:tblPr>
              <a:tblGrid>
                <a:gridCol w="1078847">
                  <a:extLst>
                    <a:ext uri="{9D8B030D-6E8A-4147-A177-3AD203B41FA5}">
                      <a16:colId xmlns:a16="http://schemas.microsoft.com/office/drawing/2014/main" val="4254733816"/>
                    </a:ext>
                  </a:extLst>
                </a:gridCol>
                <a:gridCol w="1217085">
                  <a:extLst>
                    <a:ext uri="{9D8B030D-6E8A-4147-A177-3AD203B41FA5}">
                      <a16:colId xmlns:a16="http://schemas.microsoft.com/office/drawing/2014/main" val="463396021"/>
                    </a:ext>
                  </a:extLst>
                </a:gridCol>
                <a:gridCol w="1217085">
                  <a:extLst>
                    <a:ext uri="{9D8B030D-6E8A-4147-A177-3AD203B41FA5}">
                      <a16:colId xmlns:a16="http://schemas.microsoft.com/office/drawing/2014/main" val="3358357413"/>
                    </a:ext>
                  </a:extLst>
                </a:gridCol>
                <a:gridCol w="1217085">
                  <a:extLst>
                    <a:ext uri="{9D8B030D-6E8A-4147-A177-3AD203B41FA5}">
                      <a16:colId xmlns:a16="http://schemas.microsoft.com/office/drawing/2014/main" val="2812929157"/>
                    </a:ext>
                  </a:extLst>
                </a:gridCol>
                <a:gridCol w="1217085">
                  <a:extLst>
                    <a:ext uri="{9D8B030D-6E8A-4147-A177-3AD203B41FA5}">
                      <a16:colId xmlns:a16="http://schemas.microsoft.com/office/drawing/2014/main" val="3323039409"/>
                    </a:ext>
                  </a:extLst>
                </a:gridCol>
                <a:gridCol w="1217085">
                  <a:extLst>
                    <a:ext uri="{9D8B030D-6E8A-4147-A177-3AD203B41FA5}">
                      <a16:colId xmlns:a16="http://schemas.microsoft.com/office/drawing/2014/main" val="873487201"/>
                    </a:ext>
                  </a:extLst>
                </a:gridCol>
                <a:gridCol w="1217085">
                  <a:extLst>
                    <a:ext uri="{9D8B030D-6E8A-4147-A177-3AD203B41FA5}">
                      <a16:colId xmlns:a16="http://schemas.microsoft.com/office/drawing/2014/main" val="3571667136"/>
                    </a:ext>
                  </a:extLst>
                </a:gridCol>
              </a:tblGrid>
              <a:tr h="226626">
                <a:tc>
                  <a:txBody>
                    <a:bodyPr/>
                    <a:lstStyle/>
                    <a:p>
                      <a:pPr marL="0" marR="0" lvl="0" indent="0" algn="l" rtl="0">
                        <a:lnSpc>
                          <a:spcPct val="100000"/>
                        </a:lnSpc>
                        <a:spcBef>
                          <a:spcPts val="0"/>
                        </a:spcBef>
                        <a:spcAft>
                          <a:spcPts val="0"/>
                        </a:spcAft>
                        <a:buClr>
                          <a:schemeClr val="accent1"/>
                        </a:buClr>
                        <a:buSzPts val="1400"/>
                        <a:buFont typeface="Arial"/>
                        <a:buNone/>
                      </a:pPr>
                      <a:r>
                        <a:rPr lang="en-US" sz="900" b="1" dirty="0">
                          <a:solidFill>
                            <a:schemeClr val="tx1"/>
                          </a:solidFill>
                          <a:latin typeface="Gene Sans" panose="00000500000000000000" pitchFamily="50" charset="0"/>
                        </a:rPr>
                        <a:t>No </a:t>
                      </a:r>
                      <a:r>
                        <a:rPr lang="en-US" sz="900" b="1" dirty="0" err="1">
                          <a:solidFill>
                            <a:schemeClr val="tx1"/>
                          </a:solidFill>
                          <a:latin typeface="Gene Sans" panose="00000500000000000000" pitchFamily="50" charset="0"/>
                        </a:rPr>
                        <a:t>irAEs</a:t>
                      </a:r>
                      <a:endParaRPr sz="900" b="1" dirty="0">
                        <a:solidFill>
                          <a:schemeClr val="tx1"/>
                        </a:solidFill>
                        <a:latin typeface="Gene Sans" panose="00000500000000000000" pitchFamily="50" charset="0"/>
                      </a:endParaRPr>
                    </a:p>
                  </a:txBody>
                  <a:tcPr marL="320040" marR="91450" marT="0" marB="0" anchor="ctr">
                    <a:lnL w="6350" cap="flat" cmpd="sng" algn="ctr">
                      <a:no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900" dirty="0">
                          <a:solidFill>
                            <a:schemeClr val="tx1"/>
                          </a:solidFill>
                          <a:latin typeface="Gene Sans Light" panose="00000400000000000000" pitchFamily="50" charset="0"/>
                        </a:rPr>
                        <a:t>1479 (0)</a:t>
                      </a:r>
                      <a:endParaRPr sz="900" dirty="0">
                        <a:solidFill>
                          <a:schemeClr val="tx1"/>
                        </a:solidFill>
                        <a:latin typeface="Gene Sans Light" panose="00000400000000000000" pitchFamily="50" charset="0"/>
                      </a:endParaRPr>
                    </a:p>
                  </a:txBody>
                  <a:tcPr marL="91450" marR="91450" marT="0" marB="0" anchor="ctr">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900" dirty="0">
                          <a:solidFill>
                            <a:schemeClr val="tx1"/>
                          </a:solidFill>
                          <a:latin typeface="Gene Sans Light" panose="00000400000000000000" pitchFamily="50" charset="0"/>
                        </a:rPr>
                        <a:t>814 (136)</a:t>
                      </a:r>
                      <a:endParaRPr sz="900" dirty="0">
                        <a:solidFill>
                          <a:schemeClr val="tx1"/>
                        </a:solidFill>
                        <a:latin typeface="Gene Sans Light" panose="00000400000000000000" pitchFamily="50" charset="0"/>
                      </a:endParaRPr>
                    </a:p>
                  </a:txBody>
                  <a:tcPr marL="91450" marR="91450" marT="0" marB="0" anchor="ctr">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900" dirty="0">
                          <a:solidFill>
                            <a:schemeClr val="tx1"/>
                          </a:solidFill>
                          <a:latin typeface="Gene Sans Light" panose="00000400000000000000" pitchFamily="50" charset="0"/>
                        </a:rPr>
                        <a:t>461 (287)</a:t>
                      </a:r>
                      <a:endParaRPr sz="900" dirty="0">
                        <a:solidFill>
                          <a:schemeClr val="tx1"/>
                        </a:solidFill>
                        <a:latin typeface="Gene Sans Light" panose="00000400000000000000" pitchFamily="50" charset="0"/>
                      </a:endParaRPr>
                    </a:p>
                  </a:txBody>
                  <a:tcPr marL="91450" marR="91450" marT="0" marB="0" anchor="ctr">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900" dirty="0">
                          <a:solidFill>
                            <a:schemeClr val="tx1"/>
                          </a:solidFill>
                          <a:latin typeface="Gene Sans Light" panose="00000400000000000000" pitchFamily="50" charset="0"/>
                        </a:rPr>
                        <a:t>111 (560)</a:t>
                      </a:r>
                      <a:endParaRPr sz="900" dirty="0">
                        <a:solidFill>
                          <a:schemeClr val="tx1"/>
                        </a:solidFill>
                        <a:latin typeface="Gene Sans Light" panose="00000400000000000000" pitchFamily="50" charset="0"/>
                      </a:endParaRPr>
                    </a:p>
                  </a:txBody>
                  <a:tcPr marL="91450" marR="91450" marT="0" marB="0" anchor="ctr">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900" dirty="0">
                          <a:solidFill>
                            <a:schemeClr val="tx1"/>
                          </a:solidFill>
                          <a:latin typeface="Gene Sans Light" panose="00000400000000000000" pitchFamily="50" charset="0"/>
                        </a:rPr>
                        <a:t>8 (653)</a:t>
                      </a:r>
                      <a:endParaRPr sz="900" dirty="0">
                        <a:solidFill>
                          <a:schemeClr val="tx1"/>
                        </a:solidFill>
                        <a:latin typeface="Gene Sans Light" panose="00000400000000000000" pitchFamily="50" charset="0"/>
                      </a:endParaRPr>
                    </a:p>
                  </a:txBody>
                  <a:tcPr marL="91450" marR="91450" marT="91450" marB="91450" anchor="ctr">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900">
                          <a:solidFill>
                            <a:schemeClr val="tx1"/>
                          </a:solidFill>
                          <a:latin typeface="Gene Sans Light" panose="00000400000000000000" pitchFamily="50" charset="0"/>
                        </a:rPr>
                        <a:t>1 (660)</a:t>
                      </a:r>
                      <a:endParaRPr sz="900">
                        <a:solidFill>
                          <a:schemeClr val="tx1"/>
                        </a:solidFill>
                        <a:latin typeface="Gene Sans Light" panose="00000400000000000000" pitchFamily="50" charset="0"/>
                      </a:endParaRPr>
                    </a:p>
                  </a:txBody>
                  <a:tcPr marL="91450" marR="91450" marT="91450" marB="91450" anchor="ctr">
                    <a:lnL w="6350" cap="flat" cmpd="sng" algn="ctr">
                      <a:solidFill>
                        <a:schemeClr val="accent6"/>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47688342"/>
                  </a:ext>
                </a:extLst>
              </a:tr>
              <a:tr h="226626">
                <a:tc>
                  <a:txBody>
                    <a:bodyPr/>
                    <a:lstStyle/>
                    <a:p>
                      <a:pPr marL="0" marR="0" lvl="0" indent="0" algn="l" rtl="0">
                        <a:lnSpc>
                          <a:spcPct val="100000"/>
                        </a:lnSpc>
                        <a:spcBef>
                          <a:spcPts val="0"/>
                        </a:spcBef>
                        <a:spcAft>
                          <a:spcPts val="0"/>
                        </a:spcAft>
                        <a:buClr>
                          <a:schemeClr val="dk2"/>
                        </a:buClr>
                        <a:buSzPts val="1400"/>
                        <a:buFont typeface="Arial"/>
                        <a:buNone/>
                      </a:pPr>
                      <a:r>
                        <a:rPr lang="en-US" sz="900" b="1" dirty="0" err="1">
                          <a:solidFill>
                            <a:schemeClr val="tx1"/>
                          </a:solidFill>
                          <a:latin typeface="Gene Sans" panose="00000500000000000000" pitchFamily="50" charset="0"/>
                        </a:rPr>
                        <a:t>irAEs</a:t>
                      </a:r>
                      <a:endParaRPr sz="900" b="1" dirty="0">
                        <a:solidFill>
                          <a:schemeClr val="tx1"/>
                        </a:solidFill>
                        <a:latin typeface="Gene Sans" panose="00000500000000000000" pitchFamily="50" charset="0"/>
                      </a:endParaRPr>
                    </a:p>
                  </a:txBody>
                  <a:tcPr marL="320040" marR="91450" marT="0" marB="0" anchor="ctr">
                    <a:lnL w="6350" cap="flat" cmpd="sng" algn="ctr">
                      <a:no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900" dirty="0">
                          <a:solidFill>
                            <a:schemeClr val="tx1"/>
                          </a:solidFill>
                          <a:latin typeface="Gene Sans Light" panose="00000400000000000000" pitchFamily="50" charset="0"/>
                        </a:rPr>
                        <a:t>268 (0)</a:t>
                      </a:r>
                      <a:endParaRPr sz="900" dirty="0">
                        <a:solidFill>
                          <a:schemeClr val="tx1"/>
                        </a:solidFill>
                        <a:latin typeface="Gene Sans Light" panose="00000400000000000000" pitchFamily="50" charset="0"/>
                      </a:endParaRPr>
                    </a:p>
                  </a:txBody>
                  <a:tcPr marL="91450" marR="91450" marT="0" marB="0" anchor="ctr">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900">
                          <a:solidFill>
                            <a:schemeClr val="tx1"/>
                          </a:solidFill>
                          <a:latin typeface="Gene Sans Light" panose="00000400000000000000" pitchFamily="50" charset="0"/>
                        </a:rPr>
                        <a:t>195 (24)</a:t>
                      </a:r>
                      <a:endParaRPr sz="900">
                        <a:solidFill>
                          <a:schemeClr val="tx1"/>
                        </a:solidFill>
                        <a:latin typeface="Gene Sans Light" panose="00000400000000000000" pitchFamily="50" charset="0"/>
                      </a:endParaRPr>
                    </a:p>
                  </a:txBody>
                  <a:tcPr marL="91450" marR="91450" marT="0" marB="0" anchor="ctr">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900" dirty="0">
                          <a:solidFill>
                            <a:schemeClr val="tx1"/>
                          </a:solidFill>
                          <a:latin typeface="Gene Sans Light" panose="00000400000000000000" pitchFamily="50" charset="0"/>
                        </a:rPr>
                        <a:t>139 (50)</a:t>
                      </a:r>
                      <a:endParaRPr sz="900" dirty="0">
                        <a:solidFill>
                          <a:schemeClr val="tx1"/>
                        </a:solidFill>
                        <a:latin typeface="Gene Sans Light" panose="00000400000000000000" pitchFamily="50" charset="0"/>
                      </a:endParaRPr>
                    </a:p>
                  </a:txBody>
                  <a:tcPr marL="91450" marR="91450" marT="0" marB="0" anchor="ctr">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900" dirty="0">
                          <a:solidFill>
                            <a:schemeClr val="tx1"/>
                          </a:solidFill>
                          <a:latin typeface="Gene Sans Light" panose="00000400000000000000" pitchFamily="50" charset="0"/>
                        </a:rPr>
                        <a:t>33 (139)</a:t>
                      </a:r>
                      <a:endParaRPr sz="900" dirty="0">
                        <a:solidFill>
                          <a:schemeClr val="tx1"/>
                        </a:solidFill>
                        <a:latin typeface="Gene Sans Light" panose="00000400000000000000" pitchFamily="50" charset="0"/>
                      </a:endParaRPr>
                    </a:p>
                  </a:txBody>
                  <a:tcPr marL="91450" marR="91450" marT="0" marB="0" anchor="ctr">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chemeClr val="dk2"/>
                        </a:buClr>
                        <a:buSzPts val="1400"/>
                        <a:buFont typeface="Arial"/>
                        <a:buNone/>
                      </a:pPr>
                      <a:r>
                        <a:rPr lang="en-US" sz="900" dirty="0">
                          <a:solidFill>
                            <a:schemeClr val="tx1"/>
                          </a:solidFill>
                          <a:latin typeface="Gene Sans Light" panose="00000400000000000000" pitchFamily="50" charset="0"/>
                        </a:rPr>
                        <a:t>3 (168)</a:t>
                      </a:r>
                      <a:endParaRPr sz="900" dirty="0">
                        <a:solidFill>
                          <a:schemeClr val="tx1"/>
                        </a:solidFill>
                        <a:latin typeface="Gene Sans Light" panose="00000400000000000000" pitchFamily="50" charset="0"/>
                      </a:endParaRPr>
                    </a:p>
                  </a:txBody>
                  <a:tcPr marL="91450" marR="91450" marT="91450" marB="91450" anchor="ctr">
                    <a:lnL w="6350" cap="flat" cmpd="sng" algn="ctr">
                      <a:solidFill>
                        <a:schemeClr val="accent6"/>
                      </a:solidFill>
                      <a:prstDash val="solid"/>
                      <a:round/>
                      <a:headEnd type="none" w="med" len="med"/>
                      <a:tailEnd type="none" w="med" len="med"/>
                    </a:lnL>
                    <a:lnR w="6350" cap="flat" cmpd="sng" algn="ctr">
                      <a:solidFill>
                        <a:schemeClr val="accent6"/>
                      </a:solid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900" dirty="0">
                          <a:solidFill>
                            <a:schemeClr val="tx1"/>
                          </a:solidFill>
                          <a:latin typeface="Gene Sans Light" panose="00000400000000000000" pitchFamily="50" charset="0"/>
                        </a:rPr>
                        <a:t>0 (171)</a:t>
                      </a:r>
                      <a:endParaRPr sz="900" dirty="0">
                        <a:solidFill>
                          <a:schemeClr val="tx1"/>
                        </a:solidFill>
                        <a:latin typeface="Gene Sans Light" panose="00000400000000000000" pitchFamily="50" charset="0"/>
                      </a:endParaRPr>
                    </a:p>
                  </a:txBody>
                  <a:tcPr marL="91450" marR="91450" marT="91450" marB="91450" anchor="ctr">
                    <a:lnL w="6350" cap="flat" cmpd="sng" algn="ctr">
                      <a:solidFill>
                        <a:schemeClr val="accent6"/>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accent6"/>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4209067079"/>
                  </a:ext>
                </a:extLst>
              </a:tr>
            </a:tbl>
          </a:graphicData>
        </a:graphic>
      </p:graphicFrame>
      <p:sp>
        <p:nvSpPr>
          <p:cNvPr id="1517" name="Google Shape;1434;p18">
            <a:extLst>
              <a:ext uri="{FF2B5EF4-FFF2-40B4-BE49-F238E27FC236}">
                <a16:creationId xmlns:a16="http://schemas.microsoft.com/office/drawing/2014/main" id="{E0C69BAA-8F43-49AC-9665-612AD6D56838}"/>
              </a:ext>
            </a:extLst>
          </p:cNvPr>
          <p:cNvSpPr txBox="1"/>
          <p:nvPr/>
        </p:nvSpPr>
        <p:spPr>
          <a:xfrm>
            <a:off x="380998" y="3809132"/>
            <a:ext cx="1498808" cy="153888"/>
          </a:xfrm>
          <a:prstGeom prst="rect">
            <a:avLst/>
          </a:prstGeom>
          <a:noFill/>
          <a:ln>
            <a:noFill/>
          </a:ln>
        </p:spPr>
        <p:txBody>
          <a:bodyPr spcFirstLastPara="1" wrap="non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1" i="0" u="none" strike="noStrike" kern="0" cap="none" spc="0" normalizeH="0" baseline="0" noProof="0" dirty="0">
                <a:ln>
                  <a:noFill/>
                </a:ln>
                <a:solidFill>
                  <a:srgbClr val="004677"/>
                </a:solidFill>
                <a:effectLst/>
                <a:uLnTx/>
                <a:uFillTx/>
                <a:latin typeface="Gene Sans" panose="00000500000000000000" pitchFamily="50" charset="0"/>
                <a:cs typeface="Arial"/>
                <a:sym typeface="Arial"/>
              </a:rPr>
              <a:t>No. at risk (No. censored)</a:t>
            </a:r>
          </a:p>
        </p:txBody>
      </p:sp>
      <p:sp>
        <p:nvSpPr>
          <p:cNvPr id="9" name="Rectangle 8">
            <a:extLst>
              <a:ext uri="{FF2B5EF4-FFF2-40B4-BE49-F238E27FC236}">
                <a16:creationId xmlns:a16="http://schemas.microsoft.com/office/drawing/2014/main" id="{F2CB2229-07CC-4AB2-ABF5-6A08ABE760A3}"/>
              </a:ext>
            </a:extLst>
          </p:cNvPr>
          <p:cNvSpPr/>
          <p:nvPr/>
        </p:nvSpPr>
        <p:spPr>
          <a:xfrm>
            <a:off x="473331" y="4110635"/>
            <a:ext cx="120650" cy="1206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521" name="Rectangle 1520">
            <a:extLst>
              <a:ext uri="{FF2B5EF4-FFF2-40B4-BE49-F238E27FC236}">
                <a16:creationId xmlns:a16="http://schemas.microsoft.com/office/drawing/2014/main" id="{CDEEFE9C-F24A-4469-BE67-7CFB94B98176}"/>
              </a:ext>
            </a:extLst>
          </p:cNvPr>
          <p:cNvSpPr/>
          <p:nvPr/>
        </p:nvSpPr>
        <p:spPr>
          <a:xfrm>
            <a:off x="473331" y="4430695"/>
            <a:ext cx="120650" cy="1206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296410249"/>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D0803DFC-51F5-4113-8DCB-3A70796E6F95}"/>
              </a:ext>
            </a:extLst>
          </p:cNvPr>
          <p:cNvSpPr txBox="1"/>
          <p:nvPr/>
        </p:nvSpPr>
        <p:spPr>
          <a:xfrm>
            <a:off x="380998" y="1253973"/>
            <a:ext cx="8381351" cy="276999"/>
          </a:xfrm>
          <a:prstGeom prst="rect">
            <a:avLst/>
          </a:prstGeom>
          <a:solidFill>
            <a:schemeClr val="accent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dirty="0">
              <a:ln>
                <a:noFill/>
              </a:ln>
              <a:solidFill>
                <a:srgbClr val="FFFFFF"/>
              </a:solidFill>
              <a:effectLst/>
              <a:uLnTx/>
              <a:uFillTx/>
              <a:latin typeface="Gene Sans" panose="00000500000000000000" pitchFamily="50" charset="0"/>
              <a:cs typeface="Arial"/>
              <a:sym typeface="Arial"/>
            </a:endParaRPr>
          </a:p>
        </p:txBody>
      </p:sp>
      <p:sp>
        <p:nvSpPr>
          <p:cNvPr id="2" name="Text Placeholder 1"/>
          <p:cNvSpPr>
            <a:spLocks noGrp="1"/>
          </p:cNvSpPr>
          <p:nvPr>
            <p:ph type="body" idx="1"/>
          </p:nvPr>
        </p:nvSpPr>
        <p:spPr/>
        <p:txBody>
          <a:bodyPr/>
          <a:lstStyle/>
          <a:p>
            <a:endParaRPr lang="en-US"/>
          </a:p>
        </p:txBody>
      </p:sp>
      <p:sp>
        <p:nvSpPr>
          <p:cNvPr id="3" name="Text Placeholder 2"/>
          <p:cNvSpPr>
            <a:spLocks noGrp="1"/>
          </p:cNvSpPr>
          <p:nvPr>
            <p:ph type="body" idx="2"/>
          </p:nvPr>
        </p:nvSpPr>
        <p:spPr>
          <a:xfrm>
            <a:off x="381000" y="4474751"/>
            <a:ext cx="8385048" cy="470274"/>
          </a:xfrm>
        </p:spPr>
        <p:txBody>
          <a:bodyPr/>
          <a:lstStyle/>
          <a:p>
            <a:pPr marL="0">
              <a:spcBef>
                <a:spcPts val="0"/>
              </a:spcBef>
            </a:pPr>
            <a:r>
              <a:rPr lang="en-US" dirty="0">
                <a:latin typeface="Gene Sans Light" panose="00000400000000000000" pitchFamily="50" charset="0"/>
              </a:rPr>
              <a:t>Notes: *Six and 12 months landmark analyses were also performed. No </a:t>
            </a:r>
            <a:r>
              <a:rPr lang="en-US" dirty="0" err="1">
                <a:latin typeface="Gene Sans Light" panose="00000400000000000000" pitchFamily="50" charset="0"/>
              </a:rPr>
              <a:t>irAE</a:t>
            </a:r>
            <a:r>
              <a:rPr lang="en-US" dirty="0">
                <a:latin typeface="Gene Sans Light" panose="00000400000000000000" pitchFamily="50" charset="0"/>
              </a:rPr>
              <a:t> vs </a:t>
            </a:r>
            <a:r>
              <a:rPr lang="en-US" dirty="0" err="1">
                <a:latin typeface="Gene Sans Light" panose="00000400000000000000" pitchFamily="50" charset="0"/>
              </a:rPr>
              <a:t>irAEs</a:t>
            </a:r>
            <a:r>
              <a:rPr lang="en-US" dirty="0">
                <a:latin typeface="Gene Sans Light" panose="00000400000000000000" pitchFamily="50" charset="0"/>
              </a:rPr>
              <a:t>: 12.9 months vs. 28.2 months (HR 0.39; 95% CI, 0.25–0.61; p &lt; 0.001), and 19.6 months vs. not reached (HR 0.33; 95% CI, 0.17–0.64; p = 0.001). </a:t>
            </a:r>
          </a:p>
          <a:p>
            <a:pPr marL="0">
              <a:spcBef>
                <a:spcPts val="0"/>
              </a:spcBef>
            </a:pPr>
            <a:r>
              <a:rPr lang="en-US" dirty="0">
                <a:latin typeface="Gene Sans Light" panose="00000400000000000000" pitchFamily="50" charset="0"/>
              </a:rPr>
              <a:t>1. </a:t>
            </a:r>
            <a:r>
              <a:rPr lang="en-US" dirty="0" err="1">
                <a:latin typeface="Gene Sans Light" panose="00000400000000000000" pitchFamily="50" charset="0"/>
              </a:rPr>
              <a:t>Riudavets</a:t>
            </a:r>
            <a:r>
              <a:rPr lang="en-US" dirty="0">
                <a:latin typeface="Gene Sans Light" panose="00000400000000000000" pitchFamily="50" charset="0"/>
              </a:rPr>
              <a:t>, M et al. Front </a:t>
            </a:r>
            <a:r>
              <a:rPr lang="en-US" dirty="0" err="1">
                <a:latin typeface="Gene Sans Light" panose="00000400000000000000" pitchFamily="50" charset="0"/>
              </a:rPr>
              <a:t>Oncol</a:t>
            </a:r>
            <a:r>
              <a:rPr lang="en-US" dirty="0">
                <a:latin typeface="Gene Sans Light" panose="00000400000000000000" pitchFamily="50" charset="0"/>
              </a:rPr>
              <a:t>. 2020;10:1677</a:t>
            </a:r>
            <a:r>
              <a:rPr lang="en-US" dirty="0">
                <a:latin typeface="Gene Sans Light" panose="00000400000000000000" pitchFamily="2" charset="0"/>
              </a:rPr>
              <a:t>.</a:t>
            </a:r>
            <a:endParaRPr lang="en-US" dirty="0"/>
          </a:p>
        </p:txBody>
      </p:sp>
      <p:sp>
        <p:nvSpPr>
          <p:cNvPr id="4" name="Text Placeholder 3"/>
          <p:cNvSpPr>
            <a:spLocks noGrp="1"/>
          </p:cNvSpPr>
          <p:nvPr>
            <p:ph type="body" idx="3"/>
          </p:nvPr>
        </p:nvSpPr>
        <p:spPr>
          <a:xfrm>
            <a:off x="381648" y="1283549"/>
            <a:ext cx="8380704" cy="215090"/>
          </a:xfrm>
        </p:spPr>
        <p:txBody>
          <a:bodyPr/>
          <a:lstStyle/>
          <a:p>
            <a:pPr marL="127000" indent="0" algn="ctr">
              <a:buNone/>
            </a:pPr>
            <a:r>
              <a:rPr lang="en-US" sz="1200" b="1" dirty="0">
                <a:solidFill>
                  <a:schemeClr val="bg1"/>
                </a:solidFill>
              </a:rPr>
              <a:t>Anti-PD-(L)1 therapy in advanced NSCLC patients  (N=267)</a:t>
            </a:r>
            <a:r>
              <a:rPr lang="en-US" sz="1200" b="1" baseline="30000" dirty="0">
                <a:solidFill>
                  <a:schemeClr val="bg1"/>
                </a:solidFill>
              </a:rPr>
              <a:t>1</a:t>
            </a:r>
          </a:p>
        </p:txBody>
      </p:sp>
      <p:sp>
        <p:nvSpPr>
          <p:cNvPr id="8" name="Title 4">
            <a:extLst>
              <a:ext uri="{FF2B5EF4-FFF2-40B4-BE49-F238E27FC236}">
                <a16:creationId xmlns:a16="http://schemas.microsoft.com/office/drawing/2014/main" id="{F01D18BE-0443-4628-94BF-FCFDC3C196C3}"/>
              </a:ext>
            </a:extLst>
          </p:cNvPr>
          <p:cNvSpPr>
            <a:spLocks noGrp="1"/>
          </p:cNvSpPr>
          <p:nvPr>
            <p:ph type="title"/>
          </p:nvPr>
        </p:nvSpPr>
        <p:spPr>
          <a:xfrm>
            <a:off x="381648" y="585795"/>
            <a:ext cx="8384400" cy="652455"/>
          </a:xfrm>
        </p:spPr>
        <p:txBody>
          <a:bodyPr/>
          <a:lstStyle/>
          <a:p>
            <a:r>
              <a:rPr lang="en-US" dirty="0"/>
              <a:t>Association Between </a:t>
            </a:r>
            <a:r>
              <a:rPr lang="en-US" dirty="0" err="1"/>
              <a:t>irAEs</a:t>
            </a:r>
            <a:r>
              <a:rPr lang="en-US" dirty="0"/>
              <a:t> and Outcomes</a:t>
            </a:r>
          </a:p>
        </p:txBody>
      </p:sp>
      <p:sp>
        <p:nvSpPr>
          <p:cNvPr id="9" name="Google Shape;122;p3">
            <a:extLst>
              <a:ext uri="{FF2B5EF4-FFF2-40B4-BE49-F238E27FC236}">
                <a16:creationId xmlns:a16="http://schemas.microsoft.com/office/drawing/2014/main" id="{E471B720-21C1-4494-8635-9FEBD8B63980}"/>
              </a:ext>
            </a:extLst>
          </p:cNvPr>
          <p:cNvSpPr txBox="1">
            <a:spLocks/>
          </p:cNvSpPr>
          <p:nvPr/>
        </p:nvSpPr>
        <p:spPr>
          <a:xfrm>
            <a:off x="381000" y="94526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
        <p:nvSpPr>
          <p:cNvPr id="12" name="TextBox 11"/>
          <p:cNvSpPr txBox="1"/>
          <p:nvPr/>
        </p:nvSpPr>
        <p:spPr>
          <a:xfrm>
            <a:off x="2322414" y="1822749"/>
            <a:ext cx="221469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900" b="1" i="0" u="sng"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Median O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9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rPr>
              <a:t>No irAE: 12.5 mo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900" b="0" i="0" u="none" strike="noStrike" kern="0" cap="none" spc="0" normalizeH="0" baseline="0" noProof="0" dirty="0">
                <a:ln>
                  <a:noFill/>
                </a:ln>
                <a:solidFill>
                  <a:srgbClr val="004677"/>
                </a:solidFill>
                <a:effectLst/>
                <a:uLnTx/>
                <a:uFillTx/>
                <a:latin typeface="Gene Sans Light" panose="00000400000000000000" pitchFamily="50" charset="0"/>
                <a:cs typeface="Arial"/>
                <a:sym typeface="Arial"/>
              </a:rPr>
              <a:t>irAE: 28.2 mo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HR 0.38; 95% CI, 0.24-0.59; </a:t>
            </a:r>
            <a:r>
              <a:rPr kumimoji="0" lang="it-IT" sz="900" b="0" i="1"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p</a:t>
            </a:r>
            <a:r>
              <a:rPr kumimoji="0" lang="it-IT"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lt; 0.001</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15" name="TextBox 14"/>
          <p:cNvSpPr txBox="1"/>
          <p:nvPr/>
        </p:nvSpPr>
        <p:spPr>
          <a:xfrm>
            <a:off x="6566082" y="1849284"/>
            <a:ext cx="227109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900" b="1" i="0" u="sng"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Median PF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900" b="0" i="0" u="none" strike="noStrike" kern="0" cap="none" spc="0" normalizeH="0" baseline="0" noProof="0" dirty="0">
                <a:ln>
                  <a:noFill/>
                </a:ln>
                <a:solidFill>
                  <a:srgbClr val="00A3E0"/>
                </a:solidFill>
                <a:effectLst/>
                <a:uLnTx/>
                <a:uFillTx/>
                <a:latin typeface="Gene Sans Light" panose="00000400000000000000" pitchFamily="50" charset="0"/>
                <a:cs typeface="Arial"/>
                <a:sym typeface="Arial"/>
              </a:rPr>
              <a:t>No irAE:4.1 mo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900" b="0" i="0" u="none" strike="noStrike" kern="0" cap="none" spc="0" normalizeH="0" baseline="0" noProof="0" dirty="0">
                <a:ln>
                  <a:noFill/>
                </a:ln>
                <a:solidFill>
                  <a:srgbClr val="004677"/>
                </a:solidFill>
                <a:effectLst/>
                <a:uLnTx/>
                <a:uFillTx/>
                <a:latin typeface="Gene Sans Light" panose="00000400000000000000" pitchFamily="50" charset="0"/>
                <a:cs typeface="Arial"/>
                <a:sym typeface="Arial"/>
              </a:rPr>
              <a:t>irAE: 12.4 mo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it-IT"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HR 0.43; 95% CI, 0.28–0.64; </a:t>
            </a:r>
            <a:r>
              <a:rPr kumimoji="0" lang="it-IT" sz="900" b="0" i="1"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p</a:t>
            </a:r>
            <a:r>
              <a:rPr kumimoji="0" lang="it-IT"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lt; 0.001</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grpSp>
        <p:nvGrpSpPr>
          <p:cNvPr id="39" name="Group 38">
            <a:extLst>
              <a:ext uri="{FF2B5EF4-FFF2-40B4-BE49-F238E27FC236}">
                <a16:creationId xmlns:a16="http://schemas.microsoft.com/office/drawing/2014/main" id="{38A729DB-276C-493E-B50A-891CFA3CCCA9}"/>
              </a:ext>
            </a:extLst>
          </p:cNvPr>
          <p:cNvGrpSpPr/>
          <p:nvPr/>
        </p:nvGrpSpPr>
        <p:grpSpPr>
          <a:xfrm>
            <a:off x="427163" y="1706880"/>
            <a:ext cx="3870517" cy="2828806"/>
            <a:chOff x="427163" y="1706880"/>
            <a:chExt cx="3870517" cy="2828806"/>
          </a:xfrm>
        </p:grpSpPr>
        <p:grpSp>
          <p:nvGrpSpPr>
            <p:cNvPr id="13" name="Group 12">
              <a:extLst>
                <a:ext uri="{FF2B5EF4-FFF2-40B4-BE49-F238E27FC236}">
                  <a16:creationId xmlns:a16="http://schemas.microsoft.com/office/drawing/2014/main" id="{10D979C2-4507-4CBF-AE27-D8BE2B1C5C04}"/>
                </a:ext>
              </a:extLst>
            </p:cNvPr>
            <p:cNvGrpSpPr/>
            <p:nvPr/>
          </p:nvGrpSpPr>
          <p:grpSpPr>
            <a:xfrm>
              <a:off x="841248" y="1706880"/>
              <a:ext cx="3456432" cy="2473065"/>
              <a:chOff x="841248" y="1706880"/>
              <a:chExt cx="3456432" cy="2491353"/>
            </a:xfrm>
          </p:grpSpPr>
          <p:cxnSp>
            <p:nvCxnSpPr>
              <p:cNvPr id="6" name="Straight Connector 5">
                <a:extLst>
                  <a:ext uri="{FF2B5EF4-FFF2-40B4-BE49-F238E27FC236}">
                    <a16:creationId xmlns:a16="http://schemas.microsoft.com/office/drawing/2014/main" id="{66F61375-E747-4F9E-AFB5-A0BCD909786B}"/>
                  </a:ext>
                </a:extLst>
              </p:cNvPr>
              <p:cNvCxnSpPr/>
              <p:nvPr/>
            </p:nvCxnSpPr>
            <p:spPr>
              <a:xfrm>
                <a:off x="841248" y="1706880"/>
                <a:ext cx="0" cy="2491353"/>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1750ADE-3F8E-49A3-AD22-381AB74122AB}"/>
                  </a:ext>
                </a:extLst>
              </p:cNvPr>
              <p:cNvCxnSpPr>
                <a:cxnSpLocks/>
              </p:cNvCxnSpPr>
              <p:nvPr/>
            </p:nvCxnSpPr>
            <p:spPr>
              <a:xfrm flipH="1" flipV="1">
                <a:off x="841248" y="4198233"/>
                <a:ext cx="3456432"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B49B8BD0-7613-4054-800A-76BEC1274983}"/>
                </a:ext>
              </a:extLst>
            </p:cNvPr>
            <p:cNvSpPr txBox="1"/>
            <p:nvPr/>
          </p:nvSpPr>
          <p:spPr>
            <a:xfrm rot="16200000">
              <a:off x="-22960" y="2910092"/>
              <a:ext cx="1038746"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Overall Survival*, %</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19" name="TextBox 18">
              <a:extLst>
                <a:ext uri="{FF2B5EF4-FFF2-40B4-BE49-F238E27FC236}">
                  <a16:creationId xmlns:a16="http://schemas.microsoft.com/office/drawing/2014/main" id="{E98F6C3A-EEB6-4C81-B05A-B71F514C4224}"/>
                </a:ext>
              </a:extLst>
            </p:cNvPr>
            <p:cNvSpPr txBox="1"/>
            <p:nvPr/>
          </p:nvSpPr>
          <p:spPr>
            <a:xfrm>
              <a:off x="2211994" y="4397187"/>
              <a:ext cx="714939"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Time, months</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1" name="TextBox 20">
              <a:extLst>
                <a:ext uri="{FF2B5EF4-FFF2-40B4-BE49-F238E27FC236}">
                  <a16:creationId xmlns:a16="http://schemas.microsoft.com/office/drawing/2014/main" id="{60D33E89-6CCD-4F4D-A440-82F6B31F7FDD}"/>
                </a:ext>
              </a:extLst>
            </p:cNvPr>
            <p:cNvSpPr txBox="1"/>
            <p:nvPr/>
          </p:nvSpPr>
          <p:spPr>
            <a:xfrm>
              <a:off x="868461" y="4219387"/>
              <a:ext cx="303205"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0</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2" name="TextBox 21">
              <a:extLst>
                <a:ext uri="{FF2B5EF4-FFF2-40B4-BE49-F238E27FC236}">
                  <a16:creationId xmlns:a16="http://schemas.microsoft.com/office/drawing/2014/main" id="{C53F4424-6722-42FF-BCE2-3D36328E21F9}"/>
                </a:ext>
              </a:extLst>
            </p:cNvPr>
            <p:cNvSpPr txBox="1"/>
            <p:nvPr/>
          </p:nvSpPr>
          <p:spPr>
            <a:xfrm>
              <a:off x="1490253" y="4219387"/>
              <a:ext cx="303205"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12</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3" name="TextBox 22">
              <a:extLst>
                <a:ext uri="{FF2B5EF4-FFF2-40B4-BE49-F238E27FC236}">
                  <a16:creationId xmlns:a16="http://schemas.microsoft.com/office/drawing/2014/main" id="{31D15F0B-F0B5-4201-B580-0BC5AB2EAE88}"/>
                </a:ext>
              </a:extLst>
            </p:cNvPr>
            <p:cNvSpPr txBox="1"/>
            <p:nvPr/>
          </p:nvSpPr>
          <p:spPr>
            <a:xfrm>
              <a:off x="2112045" y="4219387"/>
              <a:ext cx="303205"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24</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4" name="TextBox 23">
              <a:extLst>
                <a:ext uri="{FF2B5EF4-FFF2-40B4-BE49-F238E27FC236}">
                  <a16:creationId xmlns:a16="http://schemas.microsoft.com/office/drawing/2014/main" id="{4710E302-0180-4184-A91C-5AE5632CDCBC}"/>
                </a:ext>
              </a:extLst>
            </p:cNvPr>
            <p:cNvSpPr txBox="1"/>
            <p:nvPr/>
          </p:nvSpPr>
          <p:spPr>
            <a:xfrm>
              <a:off x="2733837" y="4219387"/>
              <a:ext cx="303205"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36</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5" name="TextBox 24">
              <a:extLst>
                <a:ext uri="{FF2B5EF4-FFF2-40B4-BE49-F238E27FC236}">
                  <a16:creationId xmlns:a16="http://schemas.microsoft.com/office/drawing/2014/main" id="{1DC0721F-323C-44EA-8ACA-7118F5A02079}"/>
                </a:ext>
              </a:extLst>
            </p:cNvPr>
            <p:cNvSpPr txBox="1"/>
            <p:nvPr/>
          </p:nvSpPr>
          <p:spPr>
            <a:xfrm>
              <a:off x="3355629" y="4219387"/>
              <a:ext cx="303205"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48</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6" name="TextBox 25">
              <a:extLst>
                <a:ext uri="{FF2B5EF4-FFF2-40B4-BE49-F238E27FC236}">
                  <a16:creationId xmlns:a16="http://schemas.microsoft.com/office/drawing/2014/main" id="{452D6EEA-10A9-41BD-81A4-2FFF0291C58F}"/>
                </a:ext>
              </a:extLst>
            </p:cNvPr>
            <p:cNvSpPr txBox="1"/>
            <p:nvPr/>
          </p:nvSpPr>
          <p:spPr>
            <a:xfrm>
              <a:off x="3977421" y="4219387"/>
              <a:ext cx="303205"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60</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7" name="TextBox 26">
              <a:extLst>
                <a:ext uri="{FF2B5EF4-FFF2-40B4-BE49-F238E27FC236}">
                  <a16:creationId xmlns:a16="http://schemas.microsoft.com/office/drawing/2014/main" id="{E2EDD8E8-AFD4-435E-A1CE-255BC170ADA2}"/>
                </a:ext>
              </a:extLst>
            </p:cNvPr>
            <p:cNvSpPr txBox="1"/>
            <p:nvPr/>
          </p:nvSpPr>
          <p:spPr>
            <a:xfrm>
              <a:off x="512063" y="1761743"/>
              <a:ext cx="303205" cy="138499"/>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100</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8" name="TextBox 27">
              <a:extLst>
                <a:ext uri="{FF2B5EF4-FFF2-40B4-BE49-F238E27FC236}">
                  <a16:creationId xmlns:a16="http://schemas.microsoft.com/office/drawing/2014/main" id="{9AE01CE5-E6AA-4DC8-9D19-BA7653235DB2}"/>
                </a:ext>
              </a:extLst>
            </p:cNvPr>
            <p:cNvSpPr txBox="1"/>
            <p:nvPr/>
          </p:nvSpPr>
          <p:spPr>
            <a:xfrm>
              <a:off x="512063" y="2205735"/>
              <a:ext cx="303205" cy="138499"/>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80</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9" name="TextBox 28">
              <a:extLst>
                <a:ext uri="{FF2B5EF4-FFF2-40B4-BE49-F238E27FC236}">
                  <a16:creationId xmlns:a16="http://schemas.microsoft.com/office/drawing/2014/main" id="{F4C3802E-BB3E-488C-97E0-9F34A2FD33D5}"/>
                </a:ext>
              </a:extLst>
            </p:cNvPr>
            <p:cNvSpPr txBox="1"/>
            <p:nvPr/>
          </p:nvSpPr>
          <p:spPr>
            <a:xfrm>
              <a:off x="512063" y="2649727"/>
              <a:ext cx="303205" cy="138499"/>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60</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30" name="TextBox 29">
              <a:extLst>
                <a:ext uri="{FF2B5EF4-FFF2-40B4-BE49-F238E27FC236}">
                  <a16:creationId xmlns:a16="http://schemas.microsoft.com/office/drawing/2014/main" id="{78D19750-2197-4601-8F75-76ED8AF049C6}"/>
                </a:ext>
              </a:extLst>
            </p:cNvPr>
            <p:cNvSpPr txBox="1"/>
            <p:nvPr/>
          </p:nvSpPr>
          <p:spPr>
            <a:xfrm>
              <a:off x="512063" y="3093719"/>
              <a:ext cx="303205" cy="138499"/>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40</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31" name="TextBox 30">
              <a:extLst>
                <a:ext uri="{FF2B5EF4-FFF2-40B4-BE49-F238E27FC236}">
                  <a16:creationId xmlns:a16="http://schemas.microsoft.com/office/drawing/2014/main" id="{5F765053-4020-441C-8E38-B92053FE148B}"/>
                </a:ext>
              </a:extLst>
            </p:cNvPr>
            <p:cNvSpPr txBox="1"/>
            <p:nvPr/>
          </p:nvSpPr>
          <p:spPr>
            <a:xfrm>
              <a:off x="512063" y="3537711"/>
              <a:ext cx="303205" cy="138499"/>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20</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32" name="TextBox 31">
              <a:extLst>
                <a:ext uri="{FF2B5EF4-FFF2-40B4-BE49-F238E27FC236}">
                  <a16:creationId xmlns:a16="http://schemas.microsoft.com/office/drawing/2014/main" id="{617880EC-96B5-415D-A151-555B0AC66545}"/>
                </a:ext>
              </a:extLst>
            </p:cNvPr>
            <p:cNvSpPr txBox="1"/>
            <p:nvPr/>
          </p:nvSpPr>
          <p:spPr>
            <a:xfrm>
              <a:off x="512063" y="3981703"/>
              <a:ext cx="303205" cy="138499"/>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0</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grpSp>
      <p:grpSp>
        <p:nvGrpSpPr>
          <p:cNvPr id="40" name="Group 39">
            <a:extLst>
              <a:ext uri="{FF2B5EF4-FFF2-40B4-BE49-F238E27FC236}">
                <a16:creationId xmlns:a16="http://schemas.microsoft.com/office/drawing/2014/main" id="{FBAC4E4D-7990-4DB8-9CC7-BE679020F4AE}"/>
              </a:ext>
            </a:extLst>
          </p:cNvPr>
          <p:cNvGrpSpPr/>
          <p:nvPr/>
        </p:nvGrpSpPr>
        <p:grpSpPr>
          <a:xfrm>
            <a:off x="4583877" y="1956816"/>
            <a:ext cx="3828603" cy="2578870"/>
            <a:chOff x="469077" y="1956816"/>
            <a:chExt cx="3828603" cy="2578870"/>
          </a:xfrm>
        </p:grpSpPr>
        <p:grpSp>
          <p:nvGrpSpPr>
            <p:cNvPr id="41" name="Group 40">
              <a:extLst>
                <a:ext uri="{FF2B5EF4-FFF2-40B4-BE49-F238E27FC236}">
                  <a16:creationId xmlns:a16="http://schemas.microsoft.com/office/drawing/2014/main" id="{0BCF0F67-7194-4B9E-B5B0-E8EA5439D214}"/>
                </a:ext>
              </a:extLst>
            </p:cNvPr>
            <p:cNvGrpSpPr/>
            <p:nvPr/>
          </p:nvGrpSpPr>
          <p:grpSpPr>
            <a:xfrm>
              <a:off x="841248" y="1956816"/>
              <a:ext cx="3456432" cy="2223129"/>
              <a:chOff x="841248" y="1958664"/>
              <a:chExt cx="3456432" cy="2239569"/>
            </a:xfrm>
          </p:grpSpPr>
          <p:cxnSp>
            <p:nvCxnSpPr>
              <p:cNvPr id="56" name="Straight Connector 55">
                <a:extLst>
                  <a:ext uri="{FF2B5EF4-FFF2-40B4-BE49-F238E27FC236}">
                    <a16:creationId xmlns:a16="http://schemas.microsoft.com/office/drawing/2014/main" id="{CF5B043D-A3B7-47BA-9E78-CF23DA2CB56F}"/>
                  </a:ext>
                </a:extLst>
              </p:cNvPr>
              <p:cNvCxnSpPr>
                <a:cxnSpLocks/>
              </p:cNvCxnSpPr>
              <p:nvPr/>
            </p:nvCxnSpPr>
            <p:spPr>
              <a:xfrm>
                <a:off x="841248" y="1958664"/>
                <a:ext cx="0" cy="2239569"/>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98367C6-FF1B-4B52-A6AF-F3F7A566C350}"/>
                  </a:ext>
                </a:extLst>
              </p:cNvPr>
              <p:cNvCxnSpPr>
                <a:cxnSpLocks/>
              </p:cNvCxnSpPr>
              <p:nvPr/>
            </p:nvCxnSpPr>
            <p:spPr>
              <a:xfrm flipH="1" flipV="1">
                <a:off x="841248" y="4198233"/>
                <a:ext cx="3456432"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2" name="TextBox 41">
              <a:extLst>
                <a:ext uri="{FF2B5EF4-FFF2-40B4-BE49-F238E27FC236}">
                  <a16:creationId xmlns:a16="http://schemas.microsoft.com/office/drawing/2014/main" id="{E4C85BBA-092D-407E-ABBD-6056FB205AED}"/>
                </a:ext>
              </a:extLst>
            </p:cNvPr>
            <p:cNvSpPr txBox="1"/>
            <p:nvPr/>
          </p:nvSpPr>
          <p:spPr>
            <a:xfrm rot="16200000">
              <a:off x="-235280" y="2910092"/>
              <a:ext cx="1547214"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Progression-Free Survival, %</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43" name="TextBox 42">
              <a:extLst>
                <a:ext uri="{FF2B5EF4-FFF2-40B4-BE49-F238E27FC236}">
                  <a16:creationId xmlns:a16="http://schemas.microsoft.com/office/drawing/2014/main" id="{6059B59E-D243-4C04-B0E8-F666B4125247}"/>
                </a:ext>
              </a:extLst>
            </p:cNvPr>
            <p:cNvSpPr txBox="1"/>
            <p:nvPr/>
          </p:nvSpPr>
          <p:spPr>
            <a:xfrm>
              <a:off x="2211994" y="4397187"/>
              <a:ext cx="714939"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Time, months</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44" name="TextBox 43">
              <a:extLst>
                <a:ext uri="{FF2B5EF4-FFF2-40B4-BE49-F238E27FC236}">
                  <a16:creationId xmlns:a16="http://schemas.microsoft.com/office/drawing/2014/main" id="{4FC2EA1A-C63C-493D-B39D-13F9EC86D746}"/>
                </a:ext>
              </a:extLst>
            </p:cNvPr>
            <p:cNvSpPr txBox="1"/>
            <p:nvPr/>
          </p:nvSpPr>
          <p:spPr>
            <a:xfrm>
              <a:off x="868461" y="4219387"/>
              <a:ext cx="303205"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0</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45" name="TextBox 44">
              <a:extLst>
                <a:ext uri="{FF2B5EF4-FFF2-40B4-BE49-F238E27FC236}">
                  <a16:creationId xmlns:a16="http://schemas.microsoft.com/office/drawing/2014/main" id="{CC82172A-C86C-4358-A5C1-0F84E7A77345}"/>
                </a:ext>
              </a:extLst>
            </p:cNvPr>
            <p:cNvSpPr txBox="1"/>
            <p:nvPr/>
          </p:nvSpPr>
          <p:spPr>
            <a:xfrm>
              <a:off x="1490253" y="4219387"/>
              <a:ext cx="303205"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12</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46" name="TextBox 45">
              <a:extLst>
                <a:ext uri="{FF2B5EF4-FFF2-40B4-BE49-F238E27FC236}">
                  <a16:creationId xmlns:a16="http://schemas.microsoft.com/office/drawing/2014/main" id="{EBC39181-5715-43B1-8DAD-FFBF0E36AFC2}"/>
                </a:ext>
              </a:extLst>
            </p:cNvPr>
            <p:cNvSpPr txBox="1"/>
            <p:nvPr/>
          </p:nvSpPr>
          <p:spPr>
            <a:xfrm>
              <a:off x="2112045" y="4219387"/>
              <a:ext cx="303205"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24</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47" name="TextBox 46">
              <a:extLst>
                <a:ext uri="{FF2B5EF4-FFF2-40B4-BE49-F238E27FC236}">
                  <a16:creationId xmlns:a16="http://schemas.microsoft.com/office/drawing/2014/main" id="{AEA1E009-C751-4E02-88E6-2C1C7A34C012}"/>
                </a:ext>
              </a:extLst>
            </p:cNvPr>
            <p:cNvSpPr txBox="1"/>
            <p:nvPr/>
          </p:nvSpPr>
          <p:spPr>
            <a:xfrm>
              <a:off x="2733837" y="4219387"/>
              <a:ext cx="303205"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36</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48" name="TextBox 47">
              <a:extLst>
                <a:ext uri="{FF2B5EF4-FFF2-40B4-BE49-F238E27FC236}">
                  <a16:creationId xmlns:a16="http://schemas.microsoft.com/office/drawing/2014/main" id="{93EA9C05-12F2-4FFF-AE6B-65007CD469E1}"/>
                </a:ext>
              </a:extLst>
            </p:cNvPr>
            <p:cNvSpPr txBox="1"/>
            <p:nvPr/>
          </p:nvSpPr>
          <p:spPr>
            <a:xfrm>
              <a:off x="3355629" y="4219387"/>
              <a:ext cx="303205"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48</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49" name="TextBox 48">
              <a:extLst>
                <a:ext uri="{FF2B5EF4-FFF2-40B4-BE49-F238E27FC236}">
                  <a16:creationId xmlns:a16="http://schemas.microsoft.com/office/drawing/2014/main" id="{9323C130-EF3A-4B27-AFE0-AA13309D129D}"/>
                </a:ext>
              </a:extLst>
            </p:cNvPr>
            <p:cNvSpPr txBox="1"/>
            <p:nvPr/>
          </p:nvSpPr>
          <p:spPr>
            <a:xfrm>
              <a:off x="3977421" y="4219387"/>
              <a:ext cx="303205" cy="1384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60</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51" name="TextBox 50">
              <a:extLst>
                <a:ext uri="{FF2B5EF4-FFF2-40B4-BE49-F238E27FC236}">
                  <a16:creationId xmlns:a16="http://schemas.microsoft.com/office/drawing/2014/main" id="{F996332F-ED4D-4664-97AD-792155EE8446}"/>
                </a:ext>
              </a:extLst>
            </p:cNvPr>
            <p:cNvSpPr txBox="1"/>
            <p:nvPr/>
          </p:nvSpPr>
          <p:spPr>
            <a:xfrm>
              <a:off x="512063" y="2205735"/>
              <a:ext cx="303205" cy="138499"/>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80</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52" name="TextBox 51">
              <a:extLst>
                <a:ext uri="{FF2B5EF4-FFF2-40B4-BE49-F238E27FC236}">
                  <a16:creationId xmlns:a16="http://schemas.microsoft.com/office/drawing/2014/main" id="{F424CCE5-AD96-40AC-A362-D7B97AEB5701}"/>
                </a:ext>
              </a:extLst>
            </p:cNvPr>
            <p:cNvSpPr txBox="1"/>
            <p:nvPr/>
          </p:nvSpPr>
          <p:spPr>
            <a:xfrm>
              <a:off x="512063" y="2649727"/>
              <a:ext cx="303205" cy="138499"/>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60</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53" name="TextBox 52">
              <a:extLst>
                <a:ext uri="{FF2B5EF4-FFF2-40B4-BE49-F238E27FC236}">
                  <a16:creationId xmlns:a16="http://schemas.microsoft.com/office/drawing/2014/main" id="{3F7A6BC2-D2B8-4B5E-AC88-6B0788429495}"/>
                </a:ext>
              </a:extLst>
            </p:cNvPr>
            <p:cNvSpPr txBox="1"/>
            <p:nvPr/>
          </p:nvSpPr>
          <p:spPr>
            <a:xfrm>
              <a:off x="512063" y="3093719"/>
              <a:ext cx="303205" cy="138499"/>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40</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54" name="TextBox 53">
              <a:extLst>
                <a:ext uri="{FF2B5EF4-FFF2-40B4-BE49-F238E27FC236}">
                  <a16:creationId xmlns:a16="http://schemas.microsoft.com/office/drawing/2014/main" id="{65E52601-D238-4229-A4A9-0E14CFCC5990}"/>
                </a:ext>
              </a:extLst>
            </p:cNvPr>
            <p:cNvSpPr txBox="1"/>
            <p:nvPr/>
          </p:nvSpPr>
          <p:spPr>
            <a:xfrm>
              <a:off x="512063" y="3537711"/>
              <a:ext cx="303205" cy="138499"/>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20</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55" name="TextBox 54">
              <a:extLst>
                <a:ext uri="{FF2B5EF4-FFF2-40B4-BE49-F238E27FC236}">
                  <a16:creationId xmlns:a16="http://schemas.microsoft.com/office/drawing/2014/main" id="{7D82049B-A4E8-478E-BBC1-E32CC458DB69}"/>
                </a:ext>
              </a:extLst>
            </p:cNvPr>
            <p:cNvSpPr txBox="1"/>
            <p:nvPr/>
          </p:nvSpPr>
          <p:spPr>
            <a:xfrm>
              <a:off x="512063" y="3981703"/>
              <a:ext cx="303205" cy="138499"/>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0</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grpSp>
      <p:sp>
        <p:nvSpPr>
          <p:cNvPr id="63" name="Shape2_20211201_120544">
            <a:extLst>
              <a:ext uri="{FF2B5EF4-FFF2-40B4-BE49-F238E27FC236}">
                <a16:creationId xmlns:a16="http://schemas.microsoft.com/office/drawing/2014/main" id="{470F6315-A234-495B-987F-7D6624E4A3CE}"/>
              </a:ext>
            </a:extLst>
          </p:cNvPr>
          <p:cNvSpPr>
            <a:spLocks/>
          </p:cNvSpPr>
          <p:nvPr/>
        </p:nvSpPr>
        <p:spPr bwMode="auto">
          <a:xfrm>
            <a:off x="5259712" y="1950720"/>
            <a:ext cx="2576952" cy="1499505"/>
          </a:xfrm>
          <a:custGeom>
            <a:avLst/>
            <a:gdLst>
              <a:gd name="T0" fmla="*/ 0 w 3319"/>
              <a:gd name="T1" fmla="*/ 34 h 1933"/>
              <a:gd name="T2" fmla="*/ 11 w 3319"/>
              <a:gd name="T3" fmla="*/ 102 h 1933"/>
              <a:gd name="T4" fmla="*/ 24 w 3319"/>
              <a:gd name="T5" fmla="*/ 133 h 1933"/>
              <a:gd name="T6" fmla="*/ 30 w 3319"/>
              <a:gd name="T7" fmla="*/ 166 h 1933"/>
              <a:gd name="T8" fmla="*/ 36 w 3319"/>
              <a:gd name="T9" fmla="*/ 253 h 1933"/>
              <a:gd name="T10" fmla="*/ 47 w 3319"/>
              <a:gd name="T11" fmla="*/ 264 h 1933"/>
              <a:gd name="T12" fmla="*/ 52 w 3319"/>
              <a:gd name="T13" fmla="*/ 274 h 1933"/>
              <a:gd name="T14" fmla="*/ 57 w 3319"/>
              <a:gd name="T15" fmla="*/ 289 h 1933"/>
              <a:gd name="T16" fmla="*/ 66 w 3319"/>
              <a:gd name="T17" fmla="*/ 331 h 1933"/>
              <a:gd name="T18" fmla="*/ 72 w 3319"/>
              <a:gd name="T19" fmla="*/ 441 h 1933"/>
              <a:gd name="T20" fmla="*/ 86 w 3319"/>
              <a:gd name="T21" fmla="*/ 456 h 1933"/>
              <a:gd name="T22" fmla="*/ 93 w 3319"/>
              <a:gd name="T23" fmla="*/ 503 h 1933"/>
              <a:gd name="T24" fmla="*/ 99 w 3319"/>
              <a:gd name="T25" fmla="*/ 535 h 1933"/>
              <a:gd name="T26" fmla="*/ 111 w 3319"/>
              <a:gd name="T27" fmla="*/ 539 h 1933"/>
              <a:gd name="T28" fmla="*/ 125 w 3319"/>
              <a:gd name="T29" fmla="*/ 555 h 1933"/>
              <a:gd name="T30" fmla="*/ 133 w 3319"/>
              <a:gd name="T31" fmla="*/ 586 h 1933"/>
              <a:gd name="T32" fmla="*/ 175 w 3319"/>
              <a:gd name="T33" fmla="*/ 606 h 1933"/>
              <a:gd name="T34" fmla="*/ 182 w 3319"/>
              <a:gd name="T35" fmla="*/ 649 h 1933"/>
              <a:gd name="T36" fmla="*/ 186 w 3319"/>
              <a:gd name="T37" fmla="*/ 677 h 1933"/>
              <a:gd name="T38" fmla="*/ 194 w 3319"/>
              <a:gd name="T39" fmla="*/ 714 h 1933"/>
              <a:gd name="T40" fmla="*/ 208 w 3319"/>
              <a:gd name="T41" fmla="*/ 758 h 1933"/>
              <a:gd name="T42" fmla="*/ 219 w 3319"/>
              <a:gd name="T43" fmla="*/ 771 h 1933"/>
              <a:gd name="T44" fmla="*/ 227 w 3319"/>
              <a:gd name="T45" fmla="*/ 791 h 1933"/>
              <a:gd name="T46" fmla="*/ 236 w 3319"/>
              <a:gd name="T47" fmla="*/ 821 h 1933"/>
              <a:gd name="T48" fmla="*/ 252 w 3319"/>
              <a:gd name="T49" fmla="*/ 875 h 1933"/>
              <a:gd name="T50" fmla="*/ 268 w 3319"/>
              <a:gd name="T51" fmla="*/ 927 h 1933"/>
              <a:gd name="T52" fmla="*/ 308 w 3319"/>
              <a:gd name="T53" fmla="*/ 957 h 1933"/>
              <a:gd name="T54" fmla="*/ 330 w 3319"/>
              <a:gd name="T55" fmla="*/ 982 h 1933"/>
              <a:gd name="T56" fmla="*/ 338 w 3319"/>
              <a:gd name="T57" fmla="*/ 1011 h 1933"/>
              <a:gd name="T58" fmla="*/ 385 w 3319"/>
              <a:gd name="T59" fmla="*/ 1041 h 1933"/>
              <a:gd name="T60" fmla="*/ 394 w 3319"/>
              <a:gd name="T61" fmla="*/ 1071 h 1933"/>
              <a:gd name="T62" fmla="*/ 433 w 3319"/>
              <a:gd name="T63" fmla="*/ 1100 h 1933"/>
              <a:gd name="T64" fmla="*/ 472 w 3319"/>
              <a:gd name="T65" fmla="*/ 1125 h 1933"/>
              <a:gd name="T66" fmla="*/ 510 w 3319"/>
              <a:gd name="T67" fmla="*/ 1158 h 1933"/>
              <a:gd name="T68" fmla="*/ 541 w 3319"/>
              <a:gd name="T69" fmla="*/ 1188 h 1933"/>
              <a:gd name="T70" fmla="*/ 622 w 3319"/>
              <a:gd name="T71" fmla="*/ 1224 h 1933"/>
              <a:gd name="T72" fmla="*/ 638 w 3319"/>
              <a:gd name="T73" fmla="*/ 1255 h 1933"/>
              <a:gd name="T74" fmla="*/ 647 w 3319"/>
              <a:gd name="T75" fmla="*/ 1288 h 1933"/>
              <a:gd name="T76" fmla="*/ 830 w 3319"/>
              <a:gd name="T77" fmla="*/ 1372 h 1933"/>
              <a:gd name="T78" fmla="*/ 868 w 3319"/>
              <a:gd name="T79" fmla="*/ 1418 h 1933"/>
              <a:gd name="T80" fmla="*/ 1387 w 3319"/>
              <a:gd name="T81" fmla="*/ 1483 h 1933"/>
              <a:gd name="T82" fmla="*/ 1417 w 3319"/>
              <a:gd name="T83" fmla="*/ 1546 h 1933"/>
              <a:gd name="T84" fmla="*/ 1679 w 3319"/>
              <a:gd name="T85" fmla="*/ 1624 h 1933"/>
              <a:gd name="T86" fmla="*/ 1817 w 3319"/>
              <a:gd name="T87" fmla="*/ 1697 h 1933"/>
              <a:gd name="T88" fmla="*/ 1881 w 3319"/>
              <a:gd name="T89" fmla="*/ 1774 h 1933"/>
              <a:gd name="T90" fmla="*/ 1909 w 3319"/>
              <a:gd name="T91" fmla="*/ 1855 h 1933"/>
              <a:gd name="T92" fmla="*/ 2017 w 3319"/>
              <a:gd name="T93" fmla="*/ 1933 h 1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19" h="1933">
                <a:moveTo>
                  <a:pt x="0" y="0"/>
                </a:moveTo>
                <a:lnTo>
                  <a:pt x="0" y="34"/>
                </a:lnTo>
                <a:lnTo>
                  <a:pt x="11" y="34"/>
                </a:lnTo>
                <a:lnTo>
                  <a:pt x="11" y="102"/>
                </a:lnTo>
                <a:lnTo>
                  <a:pt x="24" y="102"/>
                </a:lnTo>
                <a:lnTo>
                  <a:pt x="24" y="133"/>
                </a:lnTo>
                <a:lnTo>
                  <a:pt x="30" y="133"/>
                </a:lnTo>
                <a:lnTo>
                  <a:pt x="30" y="166"/>
                </a:lnTo>
                <a:lnTo>
                  <a:pt x="36" y="166"/>
                </a:lnTo>
                <a:lnTo>
                  <a:pt x="36" y="253"/>
                </a:lnTo>
                <a:lnTo>
                  <a:pt x="47" y="253"/>
                </a:lnTo>
                <a:lnTo>
                  <a:pt x="47" y="264"/>
                </a:lnTo>
                <a:lnTo>
                  <a:pt x="52" y="264"/>
                </a:lnTo>
                <a:lnTo>
                  <a:pt x="52" y="274"/>
                </a:lnTo>
                <a:lnTo>
                  <a:pt x="57" y="274"/>
                </a:lnTo>
                <a:lnTo>
                  <a:pt x="57" y="289"/>
                </a:lnTo>
                <a:lnTo>
                  <a:pt x="66" y="289"/>
                </a:lnTo>
                <a:lnTo>
                  <a:pt x="66" y="331"/>
                </a:lnTo>
                <a:lnTo>
                  <a:pt x="72" y="331"/>
                </a:lnTo>
                <a:lnTo>
                  <a:pt x="72" y="441"/>
                </a:lnTo>
                <a:lnTo>
                  <a:pt x="86" y="441"/>
                </a:lnTo>
                <a:lnTo>
                  <a:pt x="86" y="456"/>
                </a:lnTo>
                <a:lnTo>
                  <a:pt x="93" y="456"/>
                </a:lnTo>
                <a:lnTo>
                  <a:pt x="93" y="503"/>
                </a:lnTo>
                <a:lnTo>
                  <a:pt x="99" y="503"/>
                </a:lnTo>
                <a:lnTo>
                  <a:pt x="99" y="535"/>
                </a:lnTo>
                <a:lnTo>
                  <a:pt x="111" y="535"/>
                </a:lnTo>
                <a:lnTo>
                  <a:pt x="111" y="539"/>
                </a:lnTo>
                <a:lnTo>
                  <a:pt x="125" y="539"/>
                </a:lnTo>
                <a:lnTo>
                  <a:pt x="125" y="555"/>
                </a:lnTo>
                <a:lnTo>
                  <a:pt x="133" y="555"/>
                </a:lnTo>
                <a:lnTo>
                  <a:pt x="133" y="586"/>
                </a:lnTo>
                <a:lnTo>
                  <a:pt x="175" y="586"/>
                </a:lnTo>
                <a:lnTo>
                  <a:pt x="175" y="606"/>
                </a:lnTo>
                <a:lnTo>
                  <a:pt x="182" y="606"/>
                </a:lnTo>
                <a:lnTo>
                  <a:pt x="182" y="649"/>
                </a:lnTo>
                <a:lnTo>
                  <a:pt x="186" y="649"/>
                </a:lnTo>
                <a:lnTo>
                  <a:pt x="186" y="677"/>
                </a:lnTo>
                <a:lnTo>
                  <a:pt x="194" y="677"/>
                </a:lnTo>
                <a:lnTo>
                  <a:pt x="194" y="714"/>
                </a:lnTo>
                <a:lnTo>
                  <a:pt x="208" y="714"/>
                </a:lnTo>
                <a:lnTo>
                  <a:pt x="208" y="758"/>
                </a:lnTo>
                <a:lnTo>
                  <a:pt x="219" y="758"/>
                </a:lnTo>
                <a:lnTo>
                  <a:pt x="219" y="771"/>
                </a:lnTo>
                <a:lnTo>
                  <a:pt x="227" y="771"/>
                </a:lnTo>
                <a:lnTo>
                  <a:pt x="227" y="791"/>
                </a:lnTo>
                <a:lnTo>
                  <a:pt x="236" y="791"/>
                </a:lnTo>
                <a:lnTo>
                  <a:pt x="236" y="821"/>
                </a:lnTo>
                <a:lnTo>
                  <a:pt x="252" y="821"/>
                </a:lnTo>
                <a:lnTo>
                  <a:pt x="252" y="875"/>
                </a:lnTo>
                <a:lnTo>
                  <a:pt x="268" y="875"/>
                </a:lnTo>
                <a:lnTo>
                  <a:pt x="268" y="927"/>
                </a:lnTo>
                <a:lnTo>
                  <a:pt x="308" y="927"/>
                </a:lnTo>
                <a:lnTo>
                  <a:pt x="308" y="957"/>
                </a:lnTo>
                <a:lnTo>
                  <a:pt x="330" y="957"/>
                </a:lnTo>
                <a:lnTo>
                  <a:pt x="330" y="982"/>
                </a:lnTo>
                <a:lnTo>
                  <a:pt x="338" y="982"/>
                </a:lnTo>
                <a:lnTo>
                  <a:pt x="338" y="1011"/>
                </a:lnTo>
                <a:lnTo>
                  <a:pt x="385" y="1011"/>
                </a:lnTo>
                <a:lnTo>
                  <a:pt x="385" y="1041"/>
                </a:lnTo>
                <a:lnTo>
                  <a:pt x="394" y="1041"/>
                </a:lnTo>
                <a:lnTo>
                  <a:pt x="394" y="1071"/>
                </a:lnTo>
                <a:lnTo>
                  <a:pt x="433" y="1071"/>
                </a:lnTo>
                <a:lnTo>
                  <a:pt x="433" y="1100"/>
                </a:lnTo>
                <a:lnTo>
                  <a:pt x="472" y="1100"/>
                </a:lnTo>
                <a:lnTo>
                  <a:pt x="472" y="1125"/>
                </a:lnTo>
                <a:lnTo>
                  <a:pt x="510" y="1125"/>
                </a:lnTo>
                <a:lnTo>
                  <a:pt x="510" y="1158"/>
                </a:lnTo>
                <a:lnTo>
                  <a:pt x="541" y="1158"/>
                </a:lnTo>
                <a:lnTo>
                  <a:pt x="541" y="1188"/>
                </a:lnTo>
                <a:lnTo>
                  <a:pt x="622" y="1188"/>
                </a:lnTo>
                <a:lnTo>
                  <a:pt x="622" y="1224"/>
                </a:lnTo>
                <a:lnTo>
                  <a:pt x="638" y="1224"/>
                </a:lnTo>
                <a:lnTo>
                  <a:pt x="638" y="1255"/>
                </a:lnTo>
                <a:lnTo>
                  <a:pt x="647" y="1255"/>
                </a:lnTo>
                <a:lnTo>
                  <a:pt x="647" y="1288"/>
                </a:lnTo>
                <a:lnTo>
                  <a:pt x="830" y="1288"/>
                </a:lnTo>
                <a:lnTo>
                  <a:pt x="830" y="1372"/>
                </a:lnTo>
                <a:lnTo>
                  <a:pt x="868" y="1372"/>
                </a:lnTo>
                <a:lnTo>
                  <a:pt x="868" y="1418"/>
                </a:lnTo>
                <a:lnTo>
                  <a:pt x="1387" y="1418"/>
                </a:lnTo>
                <a:lnTo>
                  <a:pt x="1387" y="1483"/>
                </a:lnTo>
                <a:lnTo>
                  <a:pt x="1417" y="1483"/>
                </a:lnTo>
                <a:lnTo>
                  <a:pt x="1417" y="1546"/>
                </a:lnTo>
                <a:lnTo>
                  <a:pt x="1679" y="1546"/>
                </a:lnTo>
                <a:lnTo>
                  <a:pt x="1679" y="1624"/>
                </a:lnTo>
                <a:lnTo>
                  <a:pt x="1817" y="1624"/>
                </a:lnTo>
                <a:lnTo>
                  <a:pt x="1817" y="1697"/>
                </a:lnTo>
                <a:lnTo>
                  <a:pt x="1881" y="1697"/>
                </a:lnTo>
                <a:lnTo>
                  <a:pt x="1881" y="1774"/>
                </a:lnTo>
                <a:lnTo>
                  <a:pt x="1909" y="1774"/>
                </a:lnTo>
                <a:lnTo>
                  <a:pt x="1909" y="1855"/>
                </a:lnTo>
                <a:lnTo>
                  <a:pt x="2017" y="1855"/>
                </a:lnTo>
                <a:lnTo>
                  <a:pt x="2017" y="1933"/>
                </a:lnTo>
                <a:lnTo>
                  <a:pt x="3319" y="1933"/>
                </a:ln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nvGrpSpPr>
          <p:cNvPr id="115" name="Group 114">
            <a:extLst>
              <a:ext uri="{FF2B5EF4-FFF2-40B4-BE49-F238E27FC236}">
                <a16:creationId xmlns:a16="http://schemas.microsoft.com/office/drawing/2014/main" id="{FFD45442-D1B2-4AE9-A8E3-655F3A6B81F4}"/>
              </a:ext>
            </a:extLst>
          </p:cNvPr>
          <p:cNvGrpSpPr/>
          <p:nvPr/>
        </p:nvGrpSpPr>
        <p:grpSpPr>
          <a:xfrm>
            <a:off x="1021081" y="1843548"/>
            <a:ext cx="2921590" cy="1879457"/>
            <a:chOff x="1021081" y="1843548"/>
            <a:chExt cx="2921590" cy="1879457"/>
          </a:xfrm>
        </p:grpSpPr>
        <p:sp>
          <p:nvSpPr>
            <p:cNvPr id="36" name="Freeform 5">
              <a:extLst>
                <a:ext uri="{FF2B5EF4-FFF2-40B4-BE49-F238E27FC236}">
                  <a16:creationId xmlns:a16="http://schemas.microsoft.com/office/drawing/2014/main" id="{886EDDD9-05DD-4276-B5E5-51C30F70D61A}"/>
                </a:ext>
              </a:extLst>
            </p:cNvPr>
            <p:cNvSpPr>
              <a:spLocks/>
            </p:cNvSpPr>
            <p:nvPr/>
          </p:nvSpPr>
          <p:spPr bwMode="auto">
            <a:xfrm>
              <a:off x="1021081" y="1843548"/>
              <a:ext cx="2913651" cy="1849612"/>
            </a:xfrm>
            <a:custGeom>
              <a:avLst/>
              <a:gdLst>
                <a:gd name="T0" fmla="*/ 424 w 4045"/>
                <a:gd name="T1" fmla="*/ 0 h 2587"/>
                <a:gd name="T2" fmla="*/ 431 w 4045"/>
                <a:gd name="T3" fmla="*/ 110 h 2587"/>
                <a:gd name="T4" fmla="*/ 448 w 4045"/>
                <a:gd name="T5" fmla="*/ 162 h 2587"/>
                <a:gd name="T6" fmla="*/ 457 w 4045"/>
                <a:gd name="T7" fmla="*/ 167 h 2587"/>
                <a:gd name="T8" fmla="*/ 470 w 4045"/>
                <a:gd name="T9" fmla="*/ 214 h 2587"/>
                <a:gd name="T10" fmla="*/ 477 w 4045"/>
                <a:gd name="T11" fmla="*/ 221 h 2587"/>
                <a:gd name="T12" fmla="*/ 485 w 4045"/>
                <a:gd name="T13" fmla="*/ 268 h 2587"/>
                <a:gd name="T14" fmla="*/ 490 w 4045"/>
                <a:gd name="T15" fmla="*/ 318 h 2587"/>
                <a:gd name="T16" fmla="*/ 515 w 4045"/>
                <a:gd name="T17" fmla="*/ 323 h 2587"/>
                <a:gd name="T18" fmla="*/ 526 w 4045"/>
                <a:gd name="T19" fmla="*/ 374 h 2587"/>
                <a:gd name="T20" fmla="*/ 533 w 4045"/>
                <a:gd name="T21" fmla="*/ 379 h 2587"/>
                <a:gd name="T22" fmla="*/ 539 w 4045"/>
                <a:gd name="T23" fmla="*/ 442 h 2587"/>
                <a:gd name="T24" fmla="*/ 550 w 4045"/>
                <a:gd name="T25" fmla="*/ 489 h 2587"/>
                <a:gd name="T26" fmla="*/ 557 w 4045"/>
                <a:gd name="T27" fmla="*/ 558 h 2587"/>
                <a:gd name="T28" fmla="*/ 561 w 4045"/>
                <a:gd name="T29" fmla="*/ 608 h 2587"/>
                <a:gd name="T30" fmla="*/ 567 w 4045"/>
                <a:gd name="T31" fmla="*/ 658 h 2587"/>
                <a:gd name="T32" fmla="*/ 574 w 4045"/>
                <a:gd name="T33" fmla="*/ 710 h 2587"/>
                <a:gd name="T34" fmla="*/ 580 w 4045"/>
                <a:gd name="T35" fmla="*/ 756 h 2587"/>
                <a:gd name="T36" fmla="*/ 587 w 4045"/>
                <a:gd name="T37" fmla="*/ 768 h 2587"/>
                <a:gd name="T38" fmla="*/ 598 w 4045"/>
                <a:gd name="T39" fmla="*/ 771 h 2587"/>
                <a:gd name="T40" fmla="*/ 630 w 4045"/>
                <a:gd name="T41" fmla="*/ 820 h 2587"/>
                <a:gd name="T42" fmla="*/ 633 w 4045"/>
                <a:gd name="T43" fmla="*/ 877 h 2587"/>
                <a:gd name="T44" fmla="*/ 650 w 4045"/>
                <a:gd name="T45" fmla="*/ 1045 h 2587"/>
                <a:gd name="T46" fmla="*/ 669 w 4045"/>
                <a:gd name="T47" fmla="*/ 1052 h 2587"/>
                <a:gd name="T48" fmla="*/ 719 w 4045"/>
                <a:gd name="T49" fmla="*/ 1108 h 2587"/>
                <a:gd name="T50" fmla="*/ 725 w 4045"/>
                <a:gd name="T51" fmla="*/ 1182 h 2587"/>
                <a:gd name="T52" fmla="*/ 845 w 4045"/>
                <a:gd name="T53" fmla="*/ 1230 h 2587"/>
                <a:gd name="T54" fmla="*/ 851 w 4045"/>
                <a:gd name="T55" fmla="*/ 1244 h 2587"/>
                <a:gd name="T56" fmla="*/ 855 w 4045"/>
                <a:gd name="T57" fmla="*/ 1301 h 2587"/>
                <a:gd name="T58" fmla="*/ 858 w 4045"/>
                <a:gd name="T59" fmla="*/ 1305 h 2587"/>
                <a:gd name="T60" fmla="*/ 869 w 4045"/>
                <a:gd name="T61" fmla="*/ 1364 h 2587"/>
                <a:gd name="T62" fmla="*/ 877 w 4045"/>
                <a:gd name="T63" fmla="*/ 1372 h 2587"/>
                <a:gd name="T64" fmla="*/ 894 w 4045"/>
                <a:gd name="T65" fmla="*/ 1372 h 2587"/>
                <a:gd name="T66" fmla="*/ 897 w 4045"/>
                <a:gd name="T67" fmla="*/ 1431 h 2587"/>
                <a:gd name="T68" fmla="*/ 923 w 4045"/>
                <a:gd name="T69" fmla="*/ 1561 h 2587"/>
                <a:gd name="T70" fmla="*/ 931 w 4045"/>
                <a:gd name="T71" fmla="*/ 1571 h 2587"/>
                <a:gd name="T72" fmla="*/ 951 w 4045"/>
                <a:gd name="T73" fmla="*/ 1630 h 2587"/>
                <a:gd name="T74" fmla="*/ 957 w 4045"/>
                <a:gd name="T75" fmla="*/ 1638 h 2587"/>
                <a:gd name="T76" fmla="*/ 966 w 4045"/>
                <a:gd name="T77" fmla="*/ 1690 h 2587"/>
                <a:gd name="T78" fmla="*/ 1003 w 4045"/>
                <a:gd name="T79" fmla="*/ 1699 h 2587"/>
                <a:gd name="T80" fmla="*/ 1014 w 4045"/>
                <a:gd name="T81" fmla="*/ 1827 h 2587"/>
                <a:gd name="T82" fmla="*/ 1024 w 4045"/>
                <a:gd name="T83" fmla="*/ 1835 h 2587"/>
                <a:gd name="T84" fmla="*/ 1063 w 4045"/>
                <a:gd name="T85" fmla="*/ 1896 h 2587"/>
                <a:gd name="T86" fmla="*/ 1193 w 4045"/>
                <a:gd name="T87" fmla="*/ 1961 h 2587"/>
                <a:gd name="T88" fmla="*/ 1217 w 4045"/>
                <a:gd name="T89" fmla="*/ 2037 h 2587"/>
                <a:gd name="T90" fmla="*/ 1403 w 4045"/>
                <a:gd name="T91" fmla="*/ 2112 h 2587"/>
                <a:gd name="T92" fmla="*/ 1408 w 4045"/>
                <a:gd name="T93" fmla="*/ 2191 h 2587"/>
                <a:gd name="T94" fmla="*/ 1479 w 4045"/>
                <a:gd name="T95" fmla="*/ 2275 h 2587"/>
                <a:gd name="T96" fmla="*/ 1921 w 4045"/>
                <a:gd name="T97" fmla="*/ 2357 h 2587"/>
                <a:gd name="T98" fmla="*/ 2077 w 4045"/>
                <a:gd name="T99" fmla="*/ 2461 h 2587"/>
                <a:gd name="T100" fmla="*/ 4045 w 4045"/>
                <a:gd name="T101" fmla="*/ 2587 h 2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45" h="2587">
                  <a:moveTo>
                    <a:pt x="0" y="0"/>
                  </a:moveTo>
                  <a:lnTo>
                    <a:pt x="424" y="0"/>
                  </a:lnTo>
                  <a:lnTo>
                    <a:pt x="424" y="110"/>
                  </a:lnTo>
                  <a:lnTo>
                    <a:pt x="431" y="110"/>
                  </a:lnTo>
                  <a:lnTo>
                    <a:pt x="431" y="162"/>
                  </a:lnTo>
                  <a:lnTo>
                    <a:pt x="448" y="162"/>
                  </a:lnTo>
                  <a:lnTo>
                    <a:pt x="448" y="167"/>
                  </a:lnTo>
                  <a:lnTo>
                    <a:pt x="457" y="167"/>
                  </a:lnTo>
                  <a:lnTo>
                    <a:pt x="457" y="214"/>
                  </a:lnTo>
                  <a:lnTo>
                    <a:pt x="470" y="214"/>
                  </a:lnTo>
                  <a:lnTo>
                    <a:pt x="470" y="221"/>
                  </a:lnTo>
                  <a:lnTo>
                    <a:pt x="477" y="221"/>
                  </a:lnTo>
                  <a:lnTo>
                    <a:pt x="477" y="268"/>
                  </a:lnTo>
                  <a:lnTo>
                    <a:pt x="485" y="268"/>
                  </a:lnTo>
                  <a:lnTo>
                    <a:pt x="485" y="318"/>
                  </a:lnTo>
                  <a:lnTo>
                    <a:pt x="490" y="318"/>
                  </a:lnTo>
                  <a:lnTo>
                    <a:pt x="490" y="323"/>
                  </a:lnTo>
                  <a:lnTo>
                    <a:pt x="515" y="323"/>
                  </a:lnTo>
                  <a:lnTo>
                    <a:pt x="515" y="374"/>
                  </a:lnTo>
                  <a:lnTo>
                    <a:pt x="526" y="374"/>
                  </a:lnTo>
                  <a:lnTo>
                    <a:pt x="526" y="379"/>
                  </a:lnTo>
                  <a:lnTo>
                    <a:pt x="533" y="379"/>
                  </a:lnTo>
                  <a:lnTo>
                    <a:pt x="533" y="442"/>
                  </a:lnTo>
                  <a:lnTo>
                    <a:pt x="539" y="442"/>
                  </a:lnTo>
                  <a:lnTo>
                    <a:pt x="539" y="489"/>
                  </a:lnTo>
                  <a:lnTo>
                    <a:pt x="550" y="489"/>
                  </a:lnTo>
                  <a:lnTo>
                    <a:pt x="550" y="558"/>
                  </a:lnTo>
                  <a:lnTo>
                    <a:pt x="557" y="558"/>
                  </a:lnTo>
                  <a:lnTo>
                    <a:pt x="557" y="608"/>
                  </a:lnTo>
                  <a:lnTo>
                    <a:pt x="561" y="608"/>
                  </a:lnTo>
                  <a:lnTo>
                    <a:pt x="561" y="658"/>
                  </a:lnTo>
                  <a:lnTo>
                    <a:pt x="567" y="658"/>
                  </a:lnTo>
                  <a:lnTo>
                    <a:pt x="567" y="710"/>
                  </a:lnTo>
                  <a:lnTo>
                    <a:pt x="574" y="710"/>
                  </a:lnTo>
                  <a:lnTo>
                    <a:pt x="574" y="756"/>
                  </a:lnTo>
                  <a:lnTo>
                    <a:pt x="580" y="756"/>
                  </a:lnTo>
                  <a:lnTo>
                    <a:pt x="580" y="768"/>
                  </a:lnTo>
                  <a:lnTo>
                    <a:pt x="587" y="768"/>
                  </a:lnTo>
                  <a:lnTo>
                    <a:pt x="587" y="771"/>
                  </a:lnTo>
                  <a:lnTo>
                    <a:pt x="598" y="771"/>
                  </a:lnTo>
                  <a:lnTo>
                    <a:pt x="598" y="820"/>
                  </a:lnTo>
                  <a:lnTo>
                    <a:pt x="630" y="820"/>
                  </a:lnTo>
                  <a:lnTo>
                    <a:pt x="630" y="877"/>
                  </a:lnTo>
                  <a:lnTo>
                    <a:pt x="633" y="877"/>
                  </a:lnTo>
                  <a:lnTo>
                    <a:pt x="633" y="1045"/>
                  </a:lnTo>
                  <a:lnTo>
                    <a:pt x="650" y="1045"/>
                  </a:lnTo>
                  <a:lnTo>
                    <a:pt x="650" y="1052"/>
                  </a:lnTo>
                  <a:lnTo>
                    <a:pt x="669" y="1052"/>
                  </a:lnTo>
                  <a:lnTo>
                    <a:pt x="669" y="1108"/>
                  </a:lnTo>
                  <a:lnTo>
                    <a:pt x="719" y="1108"/>
                  </a:lnTo>
                  <a:lnTo>
                    <a:pt x="719" y="1182"/>
                  </a:lnTo>
                  <a:lnTo>
                    <a:pt x="725" y="1182"/>
                  </a:lnTo>
                  <a:lnTo>
                    <a:pt x="725" y="1230"/>
                  </a:lnTo>
                  <a:lnTo>
                    <a:pt x="845" y="1230"/>
                  </a:lnTo>
                  <a:lnTo>
                    <a:pt x="845" y="1244"/>
                  </a:lnTo>
                  <a:lnTo>
                    <a:pt x="851" y="1244"/>
                  </a:lnTo>
                  <a:lnTo>
                    <a:pt x="851" y="1301"/>
                  </a:lnTo>
                  <a:lnTo>
                    <a:pt x="855" y="1301"/>
                  </a:lnTo>
                  <a:lnTo>
                    <a:pt x="858" y="1301"/>
                  </a:lnTo>
                  <a:lnTo>
                    <a:pt x="858" y="1305"/>
                  </a:lnTo>
                  <a:lnTo>
                    <a:pt x="869" y="1305"/>
                  </a:lnTo>
                  <a:lnTo>
                    <a:pt x="869" y="1364"/>
                  </a:lnTo>
                  <a:lnTo>
                    <a:pt x="877" y="1364"/>
                  </a:lnTo>
                  <a:lnTo>
                    <a:pt x="877" y="1372"/>
                  </a:lnTo>
                  <a:lnTo>
                    <a:pt x="888" y="1372"/>
                  </a:lnTo>
                  <a:lnTo>
                    <a:pt x="894" y="1372"/>
                  </a:lnTo>
                  <a:lnTo>
                    <a:pt x="894" y="1431"/>
                  </a:lnTo>
                  <a:lnTo>
                    <a:pt x="897" y="1431"/>
                  </a:lnTo>
                  <a:lnTo>
                    <a:pt x="897" y="1561"/>
                  </a:lnTo>
                  <a:lnTo>
                    <a:pt x="923" y="1561"/>
                  </a:lnTo>
                  <a:lnTo>
                    <a:pt x="923" y="1571"/>
                  </a:lnTo>
                  <a:lnTo>
                    <a:pt x="931" y="1571"/>
                  </a:lnTo>
                  <a:lnTo>
                    <a:pt x="931" y="1630"/>
                  </a:lnTo>
                  <a:lnTo>
                    <a:pt x="951" y="1630"/>
                  </a:lnTo>
                  <a:lnTo>
                    <a:pt x="951" y="1638"/>
                  </a:lnTo>
                  <a:lnTo>
                    <a:pt x="957" y="1638"/>
                  </a:lnTo>
                  <a:lnTo>
                    <a:pt x="957" y="1690"/>
                  </a:lnTo>
                  <a:lnTo>
                    <a:pt x="966" y="1690"/>
                  </a:lnTo>
                  <a:lnTo>
                    <a:pt x="966" y="1699"/>
                  </a:lnTo>
                  <a:lnTo>
                    <a:pt x="1003" y="1699"/>
                  </a:lnTo>
                  <a:lnTo>
                    <a:pt x="1003" y="1827"/>
                  </a:lnTo>
                  <a:lnTo>
                    <a:pt x="1014" y="1827"/>
                  </a:lnTo>
                  <a:lnTo>
                    <a:pt x="1014" y="1835"/>
                  </a:lnTo>
                  <a:lnTo>
                    <a:pt x="1024" y="1835"/>
                  </a:lnTo>
                  <a:lnTo>
                    <a:pt x="1024" y="1896"/>
                  </a:lnTo>
                  <a:lnTo>
                    <a:pt x="1063" y="1896"/>
                  </a:lnTo>
                  <a:lnTo>
                    <a:pt x="1063" y="1961"/>
                  </a:lnTo>
                  <a:lnTo>
                    <a:pt x="1193" y="1961"/>
                  </a:lnTo>
                  <a:lnTo>
                    <a:pt x="1193" y="2037"/>
                  </a:lnTo>
                  <a:lnTo>
                    <a:pt x="1217" y="2037"/>
                  </a:lnTo>
                  <a:lnTo>
                    <a:pt x="1217" y="2112"/>
                  </a:lnTo>
                  <a:lnTo>
                    <a:pt x="1403" y="2112"/>
                  </a:lnTo>
                  <a:lnTo>
                    <a:pt x="1403" y="2191"/>
                  </a:lnTo>
                  <a:lnTo>
                    <a:pt x="1408" y="2191"/>
                  </a:lnTo>
                  <a:lnTo>
                    <a:pt x="1408" y="2275"/>
                  </a:lnTo>
                  <a:lnTo>
                    <a:pt x="1479" y="2275"/>
                  </a:lnTo>
                  <a:lnTo>
                    <a:pt x="1479" y="2357"/>
                  </a:lnTo>
                  <a:lnTo>
                    <a:pt x="1921" y="2357"/>
                  </a:lnTo>
                  <a:lnTo>
                    <a:pt x="1921" y="2461"/>
                  </a:lnTo>
                  <a:lnTo>
                    <a:pt x="2077" y="2461"/>
                  </a:lnTo>
                  <a:lnTo>
                    <a:pt x="2077" y="2587"/>
                  </a:lnTo>
                  <a:lnTo>
                    <a:pt x="4045" y="2587"/>
                  </a:ln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nvGrpSpPr>
            <p:cNvPr id="114" name="Group 113">
              <a:extLst>
                <a:ext uri="{FF2B5EF4-FFF2-40B4-BE49-F238E27FC236}">
                  <a16:creationId xmlns:a16="http://schemas.microsoft.com/office/drawing/2014/main" id="{594812A5-5983-4C94-BEBA-274E8A9275BA}"/>
                </a:ext>
              </a:extLst>
            </p:cNvPr>
            <p:cNvGrpSpPr/>
            <p:nvPr/>
          </p:nvGrpSpPr>
          <p:grpSpPr>
            <a:xfrm>
              <a:off x="1311501" y="1930035"/>
              <a:ext cx="2631170" cy="1792970"/>
              <a:chOff x="1311501" y="1930035"/>
              <a:chExt cx="2631170" cy="1792970"/>
            </a:xfrm>
          </p:grpSpPr>
          <p:grpSp>
            <p:nvGrpSpPr>
              <p:cNvPr id="68" name="Shape1_20211201_120347">
                <a:extLst>
                  <a:ext uri="{FF2B5EF4-FFF2-40B4-BE49-F238E27FC236}">
                    <a16:creationId xmlns:a16="http://schemas.microsoft.com/office/drawing/2014/main" id="{6B27BD9D-5FB4-45E3-B3CA-C3D623AAF0A0}"/>
                  </a:ext>
                </a:extLst>
              </p:cNvPr>
              <p:cNvGrpSpPr/>
              <p:nvPr/>
            </p:nvGrpSpPr>
            <p:grpSpPr>
              <a:xfrm>
                <a:off x="3885156" y="3665490"/>
                <a:ext cx="57515" cy="57515"/>
                <a:chOff x="4001361" y="3450225"/>
                <a:chExt cx="57515" cy="57515"/>
              </a:xfrm>
            </p:grpSpPr>
            <p:cxnSp>
              <p:nvCxnSpPr>
                <p:cNvPr id="66" name="Straight Connector 65">
                  <a:extLst>
                    <a:ext uri="{FF2B5EF4-FFF2-40B4-BE49-F238E27FC236}">
                      <a16:creationId xmlns:a16="http://schemas.microsoft.com/office/drawing/2014/main" id="{A79CB8F3-6873-4A80-B625-BED5CAAE4D60}"/>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5EA0D055-937E-47D0-8354-828AF47480C9}"/>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9" name="Shape2_20211201_120347">
                <a:extLst>
                  <a:ext uri="{FF2B5EF4-FFF2-40B4-BE49-F238E27FC236}">
                    <a16:creationId xmlns:a16="http://schemas.microsoft.com/office/drawing/2014/main" id="{021507A3-A508-4B7B-BDF7-41FAF50525DC}"/>
                  </a:ext>
                </a:extLst>
              </p:cNvPr>
              <p:cNvGrpSpPr/>
              <p:nvPr/>
            </p:nvGrpSpPr>
            <p:grpSpPr>
              <a:xfrm>
                <a:off x="3862296" y="3665490"/>
                <a:ext cx="57515" cy="57515"/>
                <a:chOff x="4001361" y="3450225"/>
                <a:chExt cx="57515" cy="57515"/>
              </a:xfrm>
            </p:grpSpPr>
            <p:cxnSp>
              <p:nvCxnSpPr>
                <p:cNvPr id="70" name="Straight Connector 69">
                  <a:extLst>
                    <a:ext uri="{FF2B5EF4-FFF2-40B4-BE49-F238E27FC236}">
                      <a16:creationId xmlns:a16="http://schemas.microsoft.com/office/drawing/2014/main" id="{66F1ECF3-547B-4E7E-87AC-9369E7E1F1D1}"/>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8202F74-0DEE-43DD-82E1-EF31410247F0}"/>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2" name="Shape3_20211201_120347">
                <a:extLst>
                  <a:ext uri="{FF2B5EF4-FFF2-40B4-BE49-F238E27FC236}">
                    <a16:creationId xmlns:a16="http://schemas.microsoft.com/office/drawing/2014/main" id="{22CA32AA-E8CE-4426-8B2F-9CB941860AFC}"/>
                  </a:ext>
                </a:extLst>
              </p:cNvPr>
              <p:cNvGrpSpPr/>
              <p:nvPr/>
            </p:nvGrpSpPr>
            <p:grpSpPr>
              <a:xfrm>
                <a:off x="3389856" y="3665490"/>
                <a:ext cx="57515" cy="57515"/>
                <a:chOff x="4001361" y="3450225"/>
                <a:chExt cx="57515" cy="57515"/>
              </a:xfrm>
            </p:grpSpPr>
            <p:cxnSp>
              <p:nvCxnSpPr>
                <p:cNvPr id="73" name="Straight Connector 72">
                  <a:extLst>
                    <a:ext uri="{FF2B5EF4-FFF2-40B4-BE49-F238E27FC236}">
                      <a16:creationId xmlns:a16="http://schemas.microsoft.com/office/drawing/2014/main" id="{D65E7F18-D7FF-4574-AED2-49005D657430}"/>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612A516-4C59-4CD2-8C77-BEF7F39F51B7}"/>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5" name="Shape4_20211201_120347">
                <a:extLst>
                  <a:ext uri="{FF2B5EF4-FFF2-40B4-BE49-F238E27FC236}">
                    <a16:creationId xmlns:a16="http://schemas.microsoft.com/office/drawing/2014/main" id="{23DC1180-3B3E-4E2E-9720-DFE331EAAC9B}"/>
                  </a:ext>
                </a:extLst>
              </p:cNvPr>
              <p:cNvGrpSpPr/>
              <p:nvPr/>
            </p:nvGrpSpPr>
            <p:grpSpPr>
              <a:xfrm>
                <a:off x="2492601" y="3665490"/>
                <a:ext cx="57515" cy="57515"/>
                <a:chOff x="4001361" y="3450225"/>
                <a:chExt cx="57515" cy="57515"/>
              </a:xfrm>
            </p:grpSpPr>
            <p:cxnSp>
              <p:nvCxnSpPr>
                <p:cNvPr id="76" name="Straight Connector 75">
                  <a:extLst>
                    <a:ext uri="{FF2B5EF4-FFF2-40B4-BE49-F238E27FC236}">
                      <a16:creationId xmlns:a16="http://schemas.microsoft.com/office/drawing/2014/main" id="{01E79DD6-1CBD-4BA8-873B-71358C04C359}"/>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FCA74D3A-D51C-457D-B804-0ED404D85854}"/>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8" name="Shape5_20211201_120347">
                <a:extLst>
                  <a:ext uri="{FF2B5EF4-FFF2-40B4-BE49-F238E27FC236}">
                    <a16:creationId xmlns:a16="http://schemas.microsoft.com/office/drawing/2014/main" id="{BBDD2930-DAFB-4484-A278-C90BD241E3AC}"/>
                  </a:ext>
                </a:extLst>
              </p:cNvPr>
              <p:cNvGrpSpPr/>
              <p:nvPr/>
            </p:nvGrpSpPr>
            <p:grpSpPr>
              <a:xfrm>
                <a:off x="2380206" y="3575955"/>
                <a:ext cx="57515" cy="57515"/>
                <a:chOff x="4001361" y="3450225"/>
                <a:chExt cx="57515" cy="57515"/>
              </a:xfrm>
            </p:grpSpPr>
            <p:cxnSp>
              <p:nvCxnSpPr>
                <p:cNvPr id="79" name="Straight Connector 78">
                  <a:extLst>
                    <a:ext uri="{FF2B5EF4-FFF2-40B4-BE49-F238E27FC236}">
                      <a16:creationId xmlns:a16="http://schemas.microsoft.com/office/drawing/2014/main" id="{15620531-EDF3-4A73-A659-89938F8789A1}"/>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F7AECC5B-C1E1-4B50-98CD-356A0BC1B0B5}"/>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1" name="Shape6_20211201_120347">
                <a:extLst>
                  <a:ext uri="{FF2B5EF4-FFF2-40B4-BE49-F238E27FC236}">
                    <a16:creationId xmlns:a16="http://schemas.microsoft.com/office/drawing/2014/main" id="{62FBD6B3-0FEA-4724-8C61-7F627D89DBA6}"/>
                  </a:ext>
                </a:extLst>
              </p:cNvPr>
              <p:cNvGrpSpPr/>
              <p:nvPr/>
            </p:nvGrpSpPr>
            <p:grpSpPr>
              <a:xfrm>
                <a:off x="2157321" y="3499755"/>
                <a:ext cx="57515" cy="57515"/>
                <a:chOff x="4001361" y="3450225"/>
                <a:chExt cx="57515" cy="57515"/>
              </a:xfrm>
            </p:grpSpPr>
            <p:cxnSp>
              <p:nvCxnSpPr>
                <p:cNvPr id="82" name="Straight Connector 81">
                  <a:extLst>
                    <a:ext uri="{FF2B5EF4-FFF2-40B4-BE49-F238E27FC236}">
                      <a16:creationId xmlns:a16="http://schemas.microsoft.com/office/drawing/2014/main" id="{936184FE-FE8B-4C8E-9950-1BB4A6EB62BC}"/>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20EE1E9-A4D8-4E0D-894B-6A28FBFBD80F}"/>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4" name="Shape7_20211201_120347">
                <a:extLst>
                  <a:ext uri="{FF2B5EF4-FFF2-40B4-BE49-F238E27FC236}">
                    <a16:creationId xmlns:a16="http://schemas.microsoft.com/office/drawing/2014/main" id="{71799254-9AFE-42EB-9FB1-4595E9E7DF8C}"/>
                  </a:ext>
                </a:extLst>
              </p:cNvPr>
              <p:cNvGrpSpPr/>
              <p:nvPr/>
            </p:nvGrpSpPr>
            <p:grpSpPr>
              <a:xfrm>
                <a:off x="2145891" y="3499755"/>
                <a:ext cx="57515" cy="57515"/>
                <a:chOff x="4001361" y="3450225"/>
                <a:chExt cx="57515" cy="57515"/>
              </a:xfrm>
            </p:grpSpPr>
            <p:cxnSp>
              <p:nvCxnSpPr>
                <p:cNvPr id="85" name="Straight Connector 84">
                  <a:extLst>
                    <a:ext uri="{FF2B5EF4-FFF2-40B4-BE49-F238E27FC236}">
                      <a16:creationId xmlns:a16="http://schemas.microsoft.com/office/drawing/2014/main" id="{C33C16EE-55C5-4C39-83BD-E4B5F4695DBE}"/>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4A42E85-555D-4282-A04B-9282703343D6}"/>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7" name="Shape8_20211201_120347">
                <a:extLst>
                  <a:ext uri="{FF2B5EF4-FFF2-40B4-BE49-F238E27FC236}">
                    <a16:creationId xmlns:a16="http://schemas.microsoft.com/office/drawing/2014/main" id="{2FC8CAAB-87F6-48FC-A65A-7290540A7C2C}"/>
                  </a:ext>
                </a:extLst>
              </p:cNvPr>
              <p:cNvGrpSpPr/>
              <p:nvPr/>
            </p:nvGrpSpPr>
            <p:grpSpPr>
              <a:xfrm>
                <a:off x="1932531" y="3326400"/>
                <a:ext cx="57515" cy="57515"/>
                <a:chOff x="4001361" y="3450225"/>
                <a:chExt cx="57515" cy="57515"/>
              </a:xfrm>
            </p:grpSpPr>
            <p:cxnSp>
              <p:nvCxnSpPr>
                <p:cNvPr id="88" name="Straight Connector 87">
                  <a:extLst>
                    <a:ext uri="{FF2B5EF4-FFF2-40B4-BE49-F238E27FC236}">
                      <a16:creationId xmlns:a16="http://schemas.microsoft.com/office/drawing/2014/main" id="{C7A0AADD-7B35-4E4B-B91A-9682272D2528}"/>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0968CC1-ED8C-40EB-90AD-8C3787CE06AE}"/>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90" name="Shape9_20211201_120347">
                <a:extLst>
                  <a:ext uri="{FF2B5EF4-FFF2-40B4-BE49-F238E27FC236}">
                    <a16:creationId xmlns:a16="http://schemas.microsoft.com/office/drawing/2014/main" id="{04287A39-853C-4093-B5CE-50C4CC9159DC}"/>
                  </a:ext>
                </a:extLst>
              </p:cNvPr>
              <p:cNvGrpSpPr/>
              <p:nvPr/>
            </p:nvGrpSpPr>
            <p:grpSpPr>
              <a:xfrm>
                <a:off x="1802991" y="3219720"/>
                <a:ext cx="57515" cy="57515"/>
                <a:chOff x="4001361" y="3450225"/>
                <a:chExt cx="57515" cy="57515"/>
              </a:xfrm>
            </p:grpSpPr>
            <p:cxnSp>
              <p:nvCxnSpPr>
                <p:cNvPr id="91" name="Straight Connector 90">
                  <a:extLst>
                    <a:ext uri="{FF2B5EF4-FFF2-40B4-BE49-F238E27FC236}">
                      <a16:creationId xmlns:a16="http://schemas.microsoft.com/office/drawing/2014/main" id="{C05645C3-3AAA-4775-9EBC-35E71E27F2C8}"/>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6F5A4224-0707-46D8-8F3F-272D929C812C}"/>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93" name="Shape10_20211201_120347">
                <a:extLst>
                  <a:ext uri="{FF2B5EF4-FFF2-40B4-BE49-F238E27FC236}">
                    <a16:creationId xmlns:a16="http://schemas.microsoft.com/office/drawing/2014/main" id="{63B11166-0A93-4BBD-B030-040097DF190D}"/>
                  </a:ext>
                </a:extLst>
              </p:cNvPr>
              <p:cNvGrpSpPr/>
              <p:nvPr/>
            </p:nvGrpSpPr>
            <p:grpSpPr>
              <a:xfrm>
                <a:off x="1545816" y="2699655"/>
                <a:ext cx="57515" cy="57515"/>
                <a:chOff x="4001361" y="3450225"/>
                <a:chExt cx="57515" cy="57515"/>
              </a:xfrm>
            </p:grpSpPr>
            <p:cxnSp>
              <p:nvCxnSpPr>
                <p:cNvPr id="94" name="Straight Connector 93">
                  <a:extLst>
                    <a:ext uri="{FF2B5EF4-FFF2-40B4-BE49-F238E27FC236}">
                      <a16:creationId xmlns:a16="http://schemas.microsoft.com/office/drawing/2014/main" id="{48501911-17D5-4DFF-BE05-FC17A249A238}"/>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925A1D14-A6FC-4079-839B-099E1D3C4C90}"/>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96" name="Shape11_20211201_120347">
                <a:extLst>
                  <a:ext uri="{FF2B5EF4-FFF2-40B4-BE49-F238E27FC236}">
                    <a16:creationId xmlns:a16="http://schemas.microsoft.com/office/drawing/2014/main" id="{1AC66724-D9C6-420A-BB25-5E3308A101A1}"/>
                  </a:ext>
                </a:extLst>
              </p:cNvPr>
              <p:cNvGrpSpPr/>
              <p:nvPr/>
            </p:nvGrpSpPr>
            <p:grpSpPr>
              <a:xfrm>
                <a:off x="1502001" y="2613930"/>
                <a:ext cx="57515" cy="57515"/>
                <a:chOff x="4001361" y="3450225"/>
                <a:chExt cx="57515" cy="57515"/>
              </a:xfrm>
            </p:grpSpPr>
            <p:cxnSp>
              <p:nvCxnSpPr>
                <p:cNvPr id="97" name="Straight Connector 96">
                  <a:extLst>
                    <a:ext uri="{FF2B5EF4-FFF2-40B4-BE49-F238E27FC236}">
                      <a16:creationId xmlns:a16="http://schemas.microsoft.com/office/drawing/2014/main" id="{75CA731B-69ED-4BF8-8FB2-435E3106E78B}"/>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73684C53-CCFF-47F5-99F0-C331025ED43C}"/>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99" name="Shape12_20211201_120347">
                <a:extLst>
                  <a:ext uri="{FF2B5EF4-FFF2-40B4-BE49-F238E27FC236}">
                    <a16:creationId xmlns:a16="http://schemas.microsoft.com/office/drawing/2014/main" id="{D5FDC766-866E-443D-904B-2C7339A24BB3}"/>
                  </a:ext>
                </a:extLst>
              </p:cNvPr>
              <p:cNvGrpSpPr/>
              <p:nvPr/>
            </p:nvGrpSpPr>
            <p:grpSpPr>
              <a:xfrm>
                <a:off x="1475331" y="2613930"/>
                <a:ext cx="57515" cy="57515"/>
                <a:chOff x="4001361" y="3450225"/>
                <a:chExt cx="57515" cy="57515"/>
              </a:xfrm>
            </p:grpSpPr>
            <p:cxnSp>
              <p:nvCxnSpPr>
                <p:cNvPr id="100" name="Straight Connector 99">
                  <a:extLst>
                    <a:ext uri="{FF2B5EF4-FFF2-40B4-BE49-F238E27FC236}">
                      <a16:creationId xmlns:a16="http://schemas.microsoft.com/office/drawing/2014/main" id="{2A6FADE7-C19F-43D8-91AF-1055ADF2503D}"/>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8DA215FB-FFC2-4FF1-948D-A13513564595}"/>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02" name="Shape13_20211201_120347">
                <a:extLst>
                  <a:ext uri="{FF2B5EF4-FFF2-40B4-BE49-F238E27FC236}">
                    <a16:creationId xmlns:a16="http://schemas.microsoft.com/office/drawing/2014/main" id="{156D817D-191F-4A13-8512-4CAD82F36207}"/>
                  </a:ext>
                </a:extLst>
              </p:cNvPr>
              <p:cNvGrpSpPr/>
              <p:nvPr/>
            </p:nvGrpSpPr>
            <p:grpSpPr>
              <a:xfrm>
                <a:off x="1439136" y="2400570"/>
                <a:ext cx="57515" cy="57515"/>
                <a:chOff x="4001361" y="3450225"/>
                <a:chExt cx="57515" cy="57515"/>
              </a:xfrm>
            </p:grpSpPr>
            <p:cxnSp>
              <p:nvCxnSpPr>
                <p:cNvPr id="103" name="Straight Connector 102">
                  <a:extLst>
                    <a:ext uri="{FF2B5EF4-FFF2-40B4-BE49-F238E27FC236}">
                      <a16:creationId xmlns:a16="http://schemas.microsoft.com/office/drawing/2014/main" id="{2D49E811-ADBF-4902-98AD-228A3161DD5B}"/>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4F7D83B8-A742-466D-A36C-F0EBE3681F43}"/>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05" name="Shape14_20211201_120347">
                <a:extLst>
                  <a:ext uri="{FF2B5EF4-FFF2-40B4-BE49-F238E27FC236}">
                    <a16:creationId xmlns:a16="http://schemas.microsoft.com/office/drawing/2014/main" id="{0D3AE042-7D99-4408-80F6-26A72FEBCBC7}"/>
                  </a:ext>
                </a:extLst>
              </p:cNvPr>
              <p:cNvGrpSpPr/>
              <p:nvPr/>
            </p:nvGrpSpPr>
            <p:grpSpPr>
              <a:xfrm>
                <a:off x="1355316" y="2046240"/>
                <a:ext cx="57515" cy="57515"/>
                <a:chOff x="4001361" y="3450225"/>
                <a:chExt cx="57515" cy="57515"/>
              </a:xfrm>
            </p:grpSpPr>
            <p:cxnSp>
              <p:nvCxnSpPr>
                <p:cNvPr id="106" name="Straight Connector 105">
                  <a:extLst>
                    <a:ext uri="{FF2B5EF4-FFF2-40B4-BE49-F238E27FC236}">
                      <a16:creationId xmlns:a16="http://schemas.microsoft.com/office/drawing/2014/main" id="{767D7222-7AF1-4F2E-8DC3-EB4682EE0302}"/>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982D24E-9A0A-4777-871B-FEC494D64C84}"/>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08" name="Shape15_20211201_120347">
                <a:extLst>
                  <a:ext uri="{FF2B5EF4-FFF2-40B4-BE49-F238E27FC236}">
                    <a16:creationId xmlns:a16="http://schemas.microsoft.com/office/drawing/2014/main" id="{0D4D0407-5479-496A-93BD-B7711F399595}"/>
                  </a:ext>
                </a:extLst>
              </p:cNvPr>
              <p:cNvGrpSpPr/>
              <p:nvPr/>
            </p:nvGrpSpPr>
            <p:grpSpPr>
              <a:xfrm>
                <a:off x="1311501" y="1930035"/>
                <a:ext cx="57515" cy="57515"/>
                <a:chOff x="4001361" y="3450225"/>
                <a:chExt cx="57515" cy="57515"/>
              </a:xfrm>
            </p:grpSpPr>
            <p:cxnSp>
              <p:nvCxnSpPr>
                <p:cNvPr id="109" name="Straight Connector 108">
                  <a:extLst>
                    <a:ext uri="{FF2B5EF4-FFF2-40B4-BE49-F238E27FC236}">
                      <a16:creationId xmlns:a16="http://schemas.microsoft.com/office/drawing/2014/main" id="{E1036BCF-966B-4D3F-83A5-4AFE9B8F78D3}"/>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BE615BA-2305-462E-86E5-4E080A9DE56E}"/>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grpSp>
      <p:grpSp>
        <p:nvGrpSpPr>
          <p:cNvPr id="279" name="Group 278">
            <a:extLst>
              <a:ext uri="{FF2B5EF4-FFF2-40B4-BE49-F238E27FC236}">
                <a16:creationId xmlns:a16="http://schemas.microsoft.com/office/drawing/2014/main" id="{E2E4B31F-9C90-43F9-AD67-6133E5AF8E13}"/>
              </a:ext>
            </a:extLst>
          </p:cNvPr>
          <p:cNvGrpSpPr/>
          <p:nvPr/>
        </p:nvGrpSpPr>
        <p:grpSpPr>
          <a:xfrm>
            <a:off x="1021081" y="1843548"/>
            <a:ext cx="2950980" cy="1146716"/>
            <a:chOff x="1021081" y="1843548"/>
            <a:chExt cx="2950980" cy="1146716"/>
          </a:xfrm>
        </p:grpSpPr>
        <p:sp>
          <p:nvSpPr>
            <p:cNvPr id="37" name="Shape1_20211201_120544">
              <a:extLst>
                <a:ext uri="{FF2B5EF4-FFF2-40B4-BE49-F238E27FC236}">
                  <a16:creationId xmlns:a16="http://schemas.microsoft.com/office/drawing/2014/main" id="{1B3C73A7-5CCF-4E20-B3AB-DD1428102109}"/>
                </a:ext>
              </a:extLst>
            </p:cNvPr>
            <p:cNvSpPr>
              <a:spLocks/>
            </p:cNvSpPr>
            <p:nvPr/>
          </p:nvSpPr>
          <p:spPr bwMode="auto">
            <a:xfrm>
              <a:off x="1021081" y="1843548"/>
              <a:ext cx="2938862" cy="1118919"/>
            </a:xfrm>
            <a:custGeom>
              <a:avLst/>
              <a:gdLst>
                <a:gd name="T0" fmla="*/ 431 w 4080"/>
                <a:gd name="T1" fmla="*/ 0 h 1565"/>
                <a:gd name="T2" fmla="*/ 442 w 4080"/>
                <a:gd name="T3" fmla="*/ 20 h 1565"/>
                <a:gd name="T4" fmla="*/ 459 w 4080"/>
                <a:gd name="T5" fmla="*/ 32 h 1565"/>
                <a:gd name="T6" fmla="*/ 466 w 4080"/>
                <a:gd name="T7" fmla="*/ 58 h 1565"/>
                <a:gd name="T8" fmla="*/ 516 w 4080"/>
                <a:gd name="T9" fmla="*/ 82 h 1565"/>
                <a:gd name="T10" fmla="*/ 529 w 4080"/>
                <a:gd name="T11" fmla="*/ 89 h 1565"/>
                <a:gd name="T12" fmla="*/ 537 w 4080"/>
                <a:gd name="T13" fmla="*/ 115 h 1565"/>
                <a:gd name="T14" fmla="*/ 542 w 4080"/>
                <a:gd name="T15" fmla="*/ 152 h 1565"/>
                <a:gd name="T16" fmla="*/ 550 w 4080"/>
                <a:gd name="T17" fmla="*/ 203 h 1565"/>
                <a:gd name="T18" fmla="*/ 561 w 4080"/>
                <a:gd name="T19" fmla="*/ 212 h 1565"/>
                <a:gd name="T20" fmla="*/ 600 w 4080"/>
                <a:gd name="T21" fmla="*/ 234 h 1565"/>
                <a:gd name="T22" fmla="*/ 622 w 4080"/>
                <a:gd name="T23" fmla="*/ 262 h 1565"/>
                <a:gd name="T24" fmla="*/ 633 w 4080"/>
                <a:gd name="T25" fmla="*/ 290 h 1565"/>
                <a:gd name="T26" fmla="*/ 650 w 4080"/>
                <a:gd name="T27" fmla="*/ 327 h 1565"/>
                <a:gd name="T28" fmla="*/ 654 w 4080"/>
                <a:gd name="T29" fmla="*/ 390 h 1565"/>
                <a:gd name="T30" fmla="*/ 667 w 4080"/>
                <a:gd name="T31" fmla="*/ 420 h 1565"/>
                <a:gd name="T32" fmla="*/ 682 w 4080"/>
                <a:gd name="T33" fmla="*/ 431 h 1565"/>
                <a:gd name="T34" fmla="*/ 691 w 4080"/>
                <a:gd name="T35" fmla="*/ 450 h 1565"/>
                <a:gd name="T36" fmla="*/ 700 w 4080"/>
                <a:gd name="T37" fmla="*/ 454 h 1565"/>
                <a:gd name="T38" fmla="*/ 713 w 4080"/>
                <a:gd name="T39" fmla="*/ 491 h 1565"/>
                <a:gd name="T40" fmla="*/ 725 w 4080"/>
                <a:gd name="T41" fmla="*/ 524 h 1565"/>
                <a:gd name="T42" fmla="*/ 728 w 4080"/>
                <a:gd name="T43" fmla="*/ 584 h 1565"/>
                <a:gd name="T44" fmla="*/ 769 w 4080"/>
                <a:gd name="T45" fmla="*/ 625 h 1565"/>
                <a:gd name="T46" fmla="*/ 780 w 4080"/>
                <a:gd name="T47" fmla="*/ 652 h 1565"/>
                <a:gd name="T48" fmla="*/ 856 w 4080"/>
                <a:gd name="T49" fmla="*/ 693 h 1565"/>
                <a:gd name="T50" fmla="*/ 895 w 4080"/>
                <a:gd name="T51" fmla="*/ 727 h 1565"/>
                <a:gd name="T52" fmla="*/ 925 w 4080"/>
                <a:gd name="T53" fmla="*/ 807 h 1565"/>
                <a:gd name="T54" fmla="*/ 979 w 4080"/>
                <a:gd name="T55" fmla="*/ 842 h 1565"/>
                <a:gd name="T56" fmla="*/ 986 w 4080"/>
                <a:gd name="T57" fmla="*/ 846 h 1565"/>
                <a:gd name="T58" fmla="*/ 994 w 4080"/>
                <a:gd name="T59" fmla="*/ 855 h 1565"/>
                <a:gd name="T60" fmla="*/ 1003 w 4080"/>
                <a:gd name="T61" fmla="*/ 931 h 1565"/>
                <a:gd name="T62" fmla="*/ 1150 w 4080"/>
                <a:gd name="T63" fmla="*/ 965 h 1565"/>
                <a:gd name="T64" fmla="*/ 1154 w 4080"/>
                <a:gd name="T65" fmla="*/ 981 h 1565"/>
                <a:gd name="T66" fmla="*/ 1170 w 4080"/>
                <a:gd name="T67" fmla="*/ 1019 h 1565"/>
                <a:gd name="T68" fmla="*/ 1195 w 4080"/>
                <a:gd name="T69" fmla="*/ 1067 h 1565"/>
                <a:gd name="T70" fmla="*/ 1410 w 4080"/>
                <a:gd name="T71" fmla="*/ 1121 h 1565"/>
                <a:gd name="T72" fmla="*/ 1427 w 4080"/>
                <a:gd name="T73" fmla="*/ 1171 h 1565"/>
                <a:gd name="T74" fmla="*/ 1605 w 4080"/>
                <a:gd name="T75" fmla="*/ 1230 h 1565"/>
                <a:gd name="T76" fmla="*/ 1655 w 4080"/>
                <a:gd name="T77" fmla="*/ 1294 h 1565"/>
                <a:gd name="T78" fmla="*/ 1663 w 4080"/>
                <a:gd name="T79" fmla="*/ 1359 h 1565"/>
                <a:gd name="T80" fmla="*/ 1798 w 4080"/>
                <a:gd name="T81" fmla="*/ 1426 h 1565"/>
                <a:gd name="T82" fmla="*/ 1954 w 4080"/>
                <a:gd name="T83" fmla="*/ 1496 h 1565"/>
                <a:gd name="T84" fmla="*/ 2036 w 4080"/>
                <a:gd name="T85" fmla="*/ 1565 h 1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80" h="1565">
                  <a:moveTo>
                    <a:pt x="0" y="0"/>
                  </a:moveTo>
                  <a:lnTo>
                    <a:pt x="431" y="0"/>
                  </a:lnTo>
                  <a:lnTo>
                    <a:pt x="431" y="20"/>
                  </a:lnTo>
                  <a:lnTo>
                    <a:pt x="442" y="20"/>
                  </a:lnTo>
                  <a:lnTo>
                    <a:pt x="442" y="32"/>
                  </a:lnTo>
                  <a:lnTo>
                    <a:pt x="459" y="32"/>
                  </a:lnTo>
                  <a:lnTo>
                    <a:pt x="459" y="58"/>
                  </a:lnTo>
                  <a:lnTo>
                    <a:pt x="466" y="58"/>
                  </a:lnTo>
                  <a:lnTo>
                    <a:pt x="466" y="82"/>
                  </a:lnTo>
                  <a:lnTo>
                    <a:pt x="516" y="82"/>
                  </a:lnTo>
                  <a:lnTo>
                    <a:pt x="516" y="89"/>
                  </a:lnTo>
                  <a:lnTo>
                    <a:pt x="529" y="89"/>
                  </a:lnTo>
                  <a:lnTo>
                    <a:pt x="529" y="115"/>
                  </a:lnTo>
                  <a:lnTo>
                    <a:pt x="537" y="115"/>
                  </a:lnTo>
                  <a:lnTo>
                    <a:pt x="537" y="152"/>
                  </a:lnTo>
                  <a:lnTo>
                    <a:pt x="542" y="152"/>
                  </a:lnTo>
                  <a:lnTo>
                    <a:pt x="542" y="203"/>
                  </a:lnTo>
                  <a:lnTo>
                    <a:pt x="550" y="203"/>
                  </a:lnTo>
                  <a:lnTo>
                    <a:pt x="550" y="212"/>
                  </a:lnTo>
                  <a:lnTo>
                    <a:pt x="561" y="212"/>
                  </a:lnTo>
                  <a:lnTo>
                    <a:pt x="561" y="234"/>
                  </a:lnTo>
                  <a:lnTo>
                    <a:pt x="600" y="234"/>
                  </a:lnTo>
                  <a:lnTo>
                    <a:pt x="600" y="262"/>
                  </a:lnTo>
                  <a:lnTo>
                    <a:pt x="622" y="262"/>
                  </a:lnTo>
                  <a:lnTo>
                    <a:pt x="622" y="290"/>
                  </a:lnTo>
                  <a:lnTo>
                    <a:pt x="633" y="290"/>
                  </a:lnTo>
                  <a:lnTo>
                    <a:pt x="633" y="327"/>
                  </a:lnTo>
                  <a:lnTo>
                    <a:pt x="650" y="327"/>
                  </a:lnTo>
                  <a:lnTo>
                    <a:pt x="654" y="327"/>
                  </a:lnTo>
                  <a:lnTo>
                    <a:pt x="654" y="390"/>
                  </a:lnTo>
                  <a:lnTo>
                    <a:pt x="667" y="390"/>
                  </a:lnTo>
                  <a:lnTo>
                    <a:pt x="667" y="420"/>
                  </a:lnTo>
                  <a:lnTo>
                    <a:pt x="682" y="420"/>
                  </a:lnTo>
                  <a:lnTo>
                    <a:pt x="682" y="431"/>
                  </a:lnTo>
                  <a:lnTo>
                    <a:pt x="691" y="431"/>
                  </a:lnTo>
                  <a:lnTo>
                    <a:pt x="691" y="450"/>
                  </a:lnTo>
                  <a:lnTo>
                    <a:pt x="700" y="450"/>
                  </a:lnTo>
                  <a:lnTo>
                    <a:pt x="700" y="454"/>
                  </a:lnTo>
                  <a:lnTo>
                    <a:pt x="713" y="454"/>
                  </a:lnTo>
                  <a:lnTo>
                    <a:pt x="713" y="491"/>
                  </a:lnTo>
                  <a:lnTo>
                    <a:pt x="725" y="491"/>
                  </a:lnTo>
                  <a:lnTo>
                    <a:pt x="725" y="524"/>
                  </a:lnTo>
                  <a:lnTo>
                    <a:pt x="728" y="524"/>
                  </a:lnTo>
                  <a:lnTo>
                    <a:pt x="728" y="584"/>
                  </a:lnTo>
                  <a:lnTo>
                    <a:pt x="769" y="584"/>
                  </a:lnTo>
                  <a:lnTo>
                    <a:pt x="769" y="625"/>
                  </a:lnTo>
                  <a:lnTo>
                    <a:pt x="780" y="625"/>
                  </a:lnTo>
                  <a:lnTo>
                    <a:pt x="780" y="652"/>
                  </a:lnTo>
                  <a:lnTo>
                    <a:pt x="856" y="652"/>
                  </a:lnTo>
                  <a:lnTo>
                    <a:pt x="856" y="693"/>
                  </a:lnTo>
                  <a:lnTo>
                    <a:pt x="895" y="693"/>
                  </a:lnTo>
                  <a:lnTo>
                    <a:pt x="895" y="727"/>
                  </a:lnTo>
                  <a:lnTo>
                    <a:pt x="925" y="727"/>
                  </a:lnTo>
                  <a:lnTo>
                    <a:pt x="925" y="807"/>
                  </a:lnTo>
                  <a:lnTo>
                    <a:pt x="979" y="807"/>
                  </a:lnTo>
                  <a:lnTo>
                    <a:pt x="979" y="842"/>
                  </a:lnTo>
                  <a:lnTo>
                    <a:pt x="986" y="842"/>
                  </a:lnTo>
                  <a:lnTo>
                    <a:pt x="986" y="846"/>
                  </a:lnTo>
                  <a:lnTo>
                    <a:pt x="994" y="846"/>
                  </a:lnTo>
                  <a:lnTo>
                    <a:pt x="994" y="855"/>
                  </a:lnTo>
                  <a:lnTo>
                    <a:pt x="1003" y="855"/>
                  </a:lnTo>
                  <a:lnTo>
                    <a:pt x="1003" y="931"/>
                  </a:lnTo>
                  <a:lnTo>
                    <a:pt x="1150" y="931"/>
                  </a:lnTo>
                  <a:lnTo>
                    <a:pt x="1150" y="965"/>
                  </a:lnTo>
                  <a:lnTo>
                    <a:pt x="1154" y="965"/>
                  </a:lnTo>
                  <a:lnTo>
                    <a:pt x="1154" y="981"/>
                  </a:lnTo>
                  <a:lnTo>
                    <a:pt x="1170" y="981"/>
                  </a:lnTo>
                  <a:lnTo>
                    <a:pt x="1170" y="1019"/>
                  </a:lnTo>
                  <a:lnTo>
                    <a:pt x="1195" y="1019"/>
                  </a:lnTo>
                  <a:lnTo>
                    <a:pt x="1195" y="1067"/>
                  </a:lnTo>
                  <a:lnTo>
                    <a:pt x="1410" y="1067"/>
                  </a:lnTo>
                  <a:lnTo>
                    <a:pt x="1410" y="1121"/>
                  </a:lnTo>
                  <a:lnTo>
                    <a:pt x="1427" y="1121"/>
                  </a:lnTo>
                  <a:lnTo>
                    <a:pt x="1427" y="1171"/>
                  </a:lnTo>
                  <a:lnTo>
                    <a:pt x="1605" y="1171"/>
                  </a:lnTo>
                  <a:lnTo>
                    <a:pt x="1605" y="1230"/>
                  </a:lnTo>
                  <a:lnTo>
                    <a:pt x="1655" y="1230"/>
                  </a:lnTo>
                  <a:lnTo>
                    <a:pt x="1655" y="1294"/>
                  </a:lnTo>
                  <a:lnTo>
                    <a:pt x="1663" y="1294"/>
                  </a:lnTo>
                  <a:lnTo>
                    <a:pt x="1663" y="1359"/>
                  </a:lnTo>
                  <a:lnTo>
                    <a:pt x="1798" y="1359"/>
                  </a:lnTo>
                  <a:lnTo>
                    <a:pt x="1798" y="1426"/>
                  </a:lnTo>
                  <a:lnTo>
                    <a:pt x="1954" y="1426"/>
                  </a:lnTo>
                  <a:lnTo>
                    <a:pt x="1954" y="1496"/>
                  </a:lnTo>
                  <a:lnTo>
                    <a:pt x="2036" y="1496"/>
                  </a:lnTo>
                  <a:lnTo>
                    <a:pt x="2036" y="1565"/>
                  </a:lnTo>
                  <a:lnTo>
                    <a:pt x="4080" y="1565"/>
                  </a:ln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nvGrpSpPr>
            <p:cNvPr id="278" name="Group 277">
              <a:extLst>
                <a:ext uri="{FF2B5EF4-FFF2-40B4-BE49-F238E27FC236}">
                  <a16:creationId xmlns:a16="http://schemas.microsoft.com/office/drawing/2014/main" id="{0FC989E8-4602-4EA2-8F3F-E0F79F671B3B}"/>
                </a:ext>
              </a:extLst>
            </p:cNvPr>
            <p:cNvGrpSpPr/>
            <p:nvPr/>
          </p:nvGrpSpPr>
          <p:grpSpPr>
            <a:xfrm>
              <a:off x="1357221" y="1872885"/>
              <a:ext cx="2614840" cy="1117379"/>
              <a:chOff x="1357221" y="1872885"/>
              <a:chExt cx="2614840" cy="1117379"/>
            </a:xfrm>
          </p:grpSpPr>
          <p:grpSp>
            <p:nvGrpSpPr>
              <p:cNvPr id="111" name="Shape1_20211201_120552">
                <a:extLst>
                  <a:ext uri="{FF2B5EF4-FFF2-40B4-BE49-F238E27FC236}">
                    <a16:creationId xmlns:a16="http://schemas.microsoft.com/office/drawing/2014/main" id="{81D4475E-63E7-488E-B53C-37881905A8FD}"/>
                  </a:ext>
                </a:extLst>
              </p:cNvPr>
              <p:cNvGrpSpPr/>
              <p:nvPr/>
            </p:nvGrpSpPr>
            <p:grpSpPr>
              <a:xfrm>
                <a:off x="1357221" y="1872885"/>
                <a:ext cx="57515" cy="57515"/>
                <a:chOff x="4001361" y="3450225"/>
                <a:chExt cx="57515" cy="57515"/>
              </a:xfrm>
            </p:grpSpPr>
            <p:cxnSp>
              <p:nvCxnSpPr>
                <p:cNvPr id="112" name="Straight Connector 111">
                  <a:extLst>
                    <a:ext uri="{FF2B5EF4-FFF2-40B4-BE49-F238E27FC236}">
                      <a16:creationId xmlns:a16="http://schemas.microsoft.com/office/drawing/2014/main" id="{CDDDD0A6-2E0F-4D73-9C6C-C0B82C0037E6}"/>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F5F6A15-E762-4CD6-9A8E-CAF0485022CA}"/>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6" name="Shape2_20211201_120552">
                <a:extLst>
                  <a:ext uri="{FF2B5EF4-FFF2-40B4-BE49-F238E27FC236}">
                    <a16:creationId xmlns:a16="http://schemas.microsoft.com/office/drawing/2014/main" id="{616A7A43-465B-46EE-A8F9-80E55CBA1941}"/>
                  </a:ext>
                </a:extLst>
              </p:cNvPr>
              <p:cNvGrpSpPr/>
              <p:nvPr/>
            </p:nvGrpSpPr>
            <p:grpSpPr>
              <a:xfrm>
                <a:off x="1488666" y="2122440"/>
                <a:ext cx="57515" cy="57515"/>
                <a:chOff x="4001361" y="3450225"/>
                <a:chExt cx="57515" cy="57515"/>
              </a:xfrm>
            </p:grpSpPr>
            <p:cxnSp>
              <p:nvCxnSpPr>
                <p:cNvPr id="117" name="Straight Connector 116">
                  <a:extLst>
                    <a:ext uri="{FF2B5EF4-FFF2-40B4-BE49-F238E27FC236}">
                      <a16:creationId xmlns:a16="http://schemas.microsoft.com/office/drawing/2014/main" id="{41E87497-95D0-4A78-8680-E6542320CB7F}"/>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AE70E8CD-89A8-4E53-8B9A-AE558AF88039}"/>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67" name="Shape3_20211201_120552">
                <a:extLst>
                  <a:ext uri="{FF2B5EF4-FFF2-40B4-BE49-F238E27FC236}">
                    <a16:creationId xmlns:a16="http://schemas.microsoft.com/office/drawing/2014/main" id="{EA0DEE05-D496-4775-A989-1532DB01121C}"/>
                  </a:ext>
                </a:extLst>
              </p:cNvPr>
              <p:cNvGrpSpPr/>
              <p:nvPr/>
            </p:nvGrpSpPr>
            <p:grpSpPr>
              <a:xfrm>
                <a:off x="1479141" y="2111010"/>
                <a:ext cx="57515" cy="57515"/>
                <a:chOff x="4001361" y="3450225"/>
                <a:chExt cx="57515" cy="57515"/>
              </a:xfrm>
            </p:grpSpPr>
            <p:cxnSp>
              <p:nvCxnSpPr>
                <p:cNvPr id="168" name="Straight Connector 167">
                  <a:extLst>
                    <a:ext uri="{FF2B5EF4-FFF2-40B4-BE49-F238E27FC236}">
                      <a16:creationId xmlns:a16="http://schemas.microsoft.com/office/drawing/2014/main" id="{A0D6178C-06DF-41CC-8A0F-49E2B6B86CBD}"/>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35278199-411B-4013-A887-5C5CBDA1E303}"/>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0" name="Shape4_20211201_120552">
                <a:extLst>
                  <a:ext uri="{FF2B5EF4-FFF2-40B4-BE49-F238E27FC236}">
                    <a16:creationId xmlns:a16="http://schemas.microsoft.com/office/drawing/2014/main" id="{B2D6EBDA-C700-4EEC-9B49-99B92BE7B65E}"/>
                  </a:ext>
                </a:extLst>
              </p:cNvPr>
              <p:cNvGrpSpPr/>
              <p:nvPr/>
            </p:nvGrpSpPr>
            <p:grpSpPr>
              <a:xfrm>
                <a:off x="1569491" y="2281239"/>
                <a:ext cx="57515" cy="57515"/>
                <a:chOff x="4001361" y="3450225"/>
                <a:chExt cx="57515" cy="57515"/>
              </a:xfrm>
            </p:grpSpPr>
            <p:cxnSp>
              <p:nvCxnSpPr>
                <p:cNvPr id="171" name="Straight Connector 170">
                  <a:extLst>
                    <a:ext uri="{FF2B5EF4-FFF2-40B4-BE49-F238E27FC236}">
                      <a16:creationId xmlns:a16="http://schemas.microsoft.com/office/drawing/2014/main" id="{8CD400CE-D90C-4374-9B6D-9FC2722B425B}"/>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387BB036-DE4F-47B7-9540-B9BB874740EA}"/>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3" name="Shape5_20211201_120552">
                <a:extLst>
                  <a:ext uri="{FF2B5EF4-FFF2-40B4-BE49-F238E27FC236}">
                    <a16:creationId xmlns:a16="http://schemas.microsoft.com/office/drawing/2014/main" id="{6F9E77DB-8C24-49A5-AFB0-E75686B35744}"/>
                  </a:ext>
                </a:extLst>
              </p:cNvPr>
              <p:cNvGrpSpPr/>
              <p:nvPr/>
            </p:nvGrpSpPr>
            <p:grpSpPr>
              <a:xfrm>
                <a:off x="1539011" y="2231709"/>
                <a:ext cx="57515" cy="57515"/>
                <a:chOff x="4001361" y="3450225"/>
                <a:chExt cx="57515" cy="57515"/>
              </a:xfrm>
            </p:grpSpPr>
            <p:cxnSp>
              <p:nvCxnSpPr>
                <p:cNvPr id="174" name="Straight Connector 173">
                  <a:extLst>
                    <a:ext uri="{FF2B5EF4-FFF2-40B4-BE49-F238E27FC236}">
                      <a16:creationId xmlns:a16="http://schemas.microsoft.com/office/drawing/2014/main" id="{8ACA3FBA-2580-42C3-BD54-BD72A4C1759F}"/>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66487F87-E978-437F-987A-B87768AEBAA5}"/>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6" name="Shape6_20211201_120552">
                <a:extLst>
                  <a:ext uri="{FF2B5EF4-FFF2-40B4-BE49-F238E27FC236}">
                    <a16:creationId xmlns:a16="http://schemas.microsoft.com/office/drawing/2014/main" id="{E3197044-B078-4137-8820-A415954000B5}"/>
                  </a:ext>
                </a:extLst>
              </p:cNvPr>
              <p:cNvGrpSpPr/>
              <p:nvPr/>
            </p:nvGrpSpPr>
            <p:grpSpPr>
              <a:xfrm>
                <a:off x="1634261" y="2311719"/>
                <a:ext cx="57515" cy="57515"/>
                <a:chOff x="4001361" y="3450225"/>
                <a:chExt cx="57515" cy="57515"/>
              </a:xfrm>
            </p:grpSpPr>
            <p:cxnSp>
              <p:nvCxnSpPr>
                <p:cNvPr id="177" name="Straight Connector 176">
                  <a:extLst>
                    <a:ext uri="{FF2B5EF4-FFF2-40B4-BE49-F238E27FC236}">
                      <a16:creationId xmlns:a16="http://schemas.microsoft.com/office/drawing/2014/main" id="{7B4A4E4C-B58C-4E25-9131-F8A523BE288B}"/>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5FE9367A-CF71-4E27-98A8-2B8E2593496F}"/>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9" name="Shape7_20211201_120552">
                <a:extLst>
                  <a:ext uri="{FF2B5EF4-FFF2-40B4-BE49-F238E27FC236}">
                    <a16:creationId xmlns:a16="http://schemas.microsoft.com/office/drawing/2014/main" id="{01E64BF6-6DD9-49D3-ADE3-688C921F720C}"/>
                  </a:ext>
                </a:extLst>
              </p:cNvPr>
              <p:cNvGrpSpPr/>
              <p:nvPr/>
            </p:nvGrpSpPr>
            <p:grpSpPr>
              <a:xfrm>
                <a:off x="1681886" y="2389824"/>
                <a:ext cx="57515" cy="57515"/>
                <a:chOff x="4001361" y="3450225"/>
                <a:chExt cx="57515" cy="57515"/>
              </a:xfrm>
            </p:grpSpPr>
            <p:cxnSp>
              <p:nvCxnSpPr>
                <p:cNvPr id="180" name="Straight Connector 179">
                  <a:extLst>
                    <a:ext uri="{FF2B5EF4-FFF2-40B4-BE49-F238E27FC236}">
                      <a16:creationId xmlns:a16="http://schemas.microsoft.com/office/drawing/2014/main" id="{26FEEA34-D2AD-4DF6-822A-860A30727BA9}"/>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7B85F150-ACE9-422A-B7CF-5E72D9EB30A6}"/>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2" name="Shape8_20211201_120552">
                <a:extLst>
                  <a:ext uri="{FF2B5EF4-FFF2-40B4-BE49-F238E27FC236}">
                    <a16:creationId xmlns:a16="http://schemas.microsoft.com/office/drawing/2014/main" id="{26CB3ADB-15F3-4E54-B464-56D450BCDDEB}"/>
                  </a:ext>
                </a:extLst>
              </p:cNvPr>
              <p:cNvGrpSpPr/>
              <p:nvPr/>
            </p:nvGrpSpPr>
            <p:grpSpPr>
              <a:xfrm>
                <a:off x="1723796" y="2475549"/>
                <a:ext cx="57515" cy="57515"/>
                <a:chOff x="4001361" y="3450225"/>
                <a:chExt cx="57515" cy="57515"/>
              </a:xfrm>
            </p:grpSpPr>
            <p:cxnSp>
              <p:nvCxnSpPr>
                <p:cNvPr id="183" name="Straight Connector 182">
                  <a:extLst>
                    <a:ext uri="{FF2B5EF4-FFF2-40B4-BE49-F238E27FC236}">
                      <a16:creationId xmlns:a16="http://schemas.microsoft.com/office/drawing/2014/main" id="{A5D895F2-30B0-4326-AAED-956566BE5668}"/>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AEABD172-2570-4929-8C1C-B52105DA6B1D}"/>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5" name="Shape9_20211201_120552">
                <a:extLst>
                  <a:ext uri="{FF2B5EF4-FFF2-40B4-BE49-F238E27FC236}">
                    <a16:creationId xmlns:a16="http://schemas.microsoft.com/office/drawing/2014/main" id="{E52C616F-4F0E-4FCC-B6AA-FC54FD3E3E8E}"/>
                  </a:ext>
                </a:extLst>
              </p:cNvPr>
              <p:cNvGrpSpPr/>
              <p:nvPr/>
            </p:nvGrpSpPr>
            <p:grpSpPr>
              <a:xfrm>
                <a:off x="1803806" y="2483169"/>
                <a:ext cx="57515" cy="57515"/>
                <a:chOff x="4001361" y="3450225"/>
                <a:chExt cx="57515" cy="57515"/>
              </a:xfrm>
            </p:grpSpPr>
            <p:cxnSp>
              <p:nvCxnSpPr>
                <p:cNvPr id="186" name="Straight Connector 185">
                  <a:extLst>
                    <a:ext uri="{FF2B5EF4-FFF2-40B4-BE49-F238E27FC236}">
                      <a16:creationId xmlns:a16="http://schemas.microsoft.com/office/drawing/2014/main" id="{9FB3D877-82C4-48E2-A889-9C34FF7AE0D4}"/>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D1E80286-8D90-4E13-84F7-CEABD73C56CB}"/>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88" name="Shape10_20211201_120552">
                <a:extLst>
                  <a:ext uri="{FF2B5EF4-FFF2-40B4-BE49-F238E27FC236}">
                    <a16:creationId xmlns:a16="http://schemas.microsoft.com/office/drawing/2014/main" id="{B132F4B9-F326-4330-9F8C-70352EEB44C8}"/>
                  </a:ext>
                </a:extLst>
              </p:cNvPr>
              <p:cNvGrpSpPr/>
              <p:nvPr/>
            </p:nvGrpSpPr>
            <p:grpSpPr>
              <a:xfrm>
                <a:off x="1937156" y="2576514"/>
                <a:ext cx="57515" cy="57515"/>
                <a:chOff x="4001361" y="3450225"/>
                <a:chExt cx="57515" cy="57515"/>
              </a:xfrm>
            </p:grpSpPr>
            <p:cxnSp>
              <p:nvCxnSpPr>
                <p:cNvPr id="189" name="Straight Connector 188">
                  <a:extLst>
                    <a:ext uri="{FF2B5EF4-FFF2-40B4-BE49-F238E27FC236}">
                      <a16:creationId xmlns:a16="http://schemas.microsoft.com/office/drawing/2014/main" id="{97C65359-5B8F-4E28-8DE0-0D39E5241190}"/>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59C01B67-2792-4F51-BBA8-2C4FBFCCE89C}"/>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91" name="Shape11_20211201_120552">
                <a:extLst>
                  <a:ext uri="{FF2B5EF4-FFF2-40B4-BE49-F238E27FC236}">
                    <a16:creationId xmlns:a16="http://schemas.microsoft.com/office/drawing/2014/main" id="{5D15B23C-2E1D-4BFE-A742-33AEF94A8F10}"/>
                  </a:ext>
                </a:extLst>
              </p:cNvPr>
              <p:cNvGrpSpPr/>
              <p:nvPr/>
            </p:nvGrpSpPr>
            <p:grpSpPr>
              <a:xfrm>
                <a:off x="1864766" y="2576514"/>
                <a:ext cx="57515" cy="57515"/>
                <a:chOff x="4001361" y="3450225"/>
                <a:chExt cx="57515" cy="57515"/>
              </a:xfrm>
            </p:grpSpPr>
            <p:cxnSp>
              <p:nvCxnSpPr>
                <p:cNvPr id="192" name="Straight Connector 191">
                  <a:extLst>
                    <a:ext uri="{FF2B5EF4-FFF2-40B4-BE49-F238E27FC236}">
                      <a16:creationId xmlns:a16="http://schemas.microsoft.com/office/drawing/2014/main" id="{DD6678CE-188C-498D-B585-CE72A84357FB}"/>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0FE8106C-8563-42F6-83BC-910FFDA273E4}"/>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94" name="Shape12_20211201_120552">
                <a:extLst>
                  <a:ext uri="{FF2B5EF4-FFF2-40B4-BE49-F238E27FC236}">
                    <a16:creationId xmlns:a16="http://schemas.microsoft.com/office/drawing/2014/main" id="{76C724B5-9E53-43CD-AF3E-A69971C6EB6C}"/>
                  </a:ext>
                </a:extLst>
              </p:cNvPr>
              <p:cNvGrpSpPr/>
              <p:nvPr/>
            </p:nvGrpSpPr>
            <p:grpSpPr>
              <a:xfrm>
                <a:off x="1988591" y="2576514"/>
                <a:ext cx="57515" cy="57515"/>
                <a:chOff x="4001361" y="3450225"/>
                <a:chExt cx="57515" cy="57515"/>
              </a:xfrm>
            </p:grpSpPr>
            <p:cxnSp>
              <p:nvCxnSpPr>
                <p:cNvPr id="195" name="Straight Connector 194">
                  <a:extLst>
                    <a:ext uri="{FF2B5EF4-FFF2-40B4-BE49-F238E27FC236}">
                      <a16:creationId xmlns:a16="http://schemas.microsoft.com/office/drawing/2014/main" id="{0FDC3326-E645-48B4-9BA6-D6C97ED79172}"/>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5F45576B-8428-45CB-8A5B-4F2F1F076BA6}"/>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97" name="Shape13_20211201_120552">
                <a:extLst>
                  <a:ext uri="{FF2B5EF4-FFF2-40B4-BE49-F238E27FC236}">
                    <a16:creationId xmlns:a16="http://schemas.microsoft.com/office/drawing/2014/main" id="{899395B0-272E-4571-A3A4-859B5EEB53AB}"/>
                  </a:ext>
                </a:extLst>
              </p:cNvPr>
              <p:cNvGrpSpPr/>
              <p:nvPr/>
            </p:nvGrpSpPr>
            <p:grpSpPr>
              <a:xfrm>
                <a:off x="1994306" y="2576514"/>
                <a:ext cx="57515" cy="57515"/>
                <a:chOff x="4001361" y="3450225"/>
                <a:chExt cx="57515" cy="57515"/>
              </a:xfrm>
            </p:grpSpPr>
            <p:cxnSp>
              <p:nvCxnSpPr>
                <p:cNvPr id="198" name="Straight Connector 197">
                  <a:extLst>
                    <a:ext uri="{FF2B5EF4-FFF2-40B4-BE49-F238E27FC236}">
                      <a16:creationId xmlns:a16="http://schemas.microsoft.com/office/drawing/2014/main" id="{601A040A-B796-437B-BCC7-BDC86AB0443D}"/>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9043DFD5-77E5-4EFF-B9C5-E8D0DA0B89F8}"/>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00" name="Shape14_20211201_120552">
                <a:extLst>
                  <a:ext uri="{FF2B5EF4-FFF2-40B4-BE49-F238E27FC236}">
                    <a16:creationId xmlns:a16="http://schemas.microsoft.com/office/drawing/2014/main" id="{2A430E13-1868-45F6-8DC8-C264B5C859F0}"/>
                  </a:ext>
                </a:extLst>
              </p:cNvPr>
              <p:cNvGrpSpPr/>
              <p:nvPr/>
            </p:nvGrpSpPr>
            <p:grpSpPr>
              <a:xfrm>
                <a:off x="2057171" y="2652714"/>
                <a:ext cx="57515" cy="57515"/>
                <a:chOff x="4001361" y="3450225"/>
                <a:chExt cx="57515" cy="57515"/>
              </a:xfrm>
            </p:grpSpPr>
            <p:cxnSp>
              <p:nvCxnSpPr>
                <p:cNvPr id="201" name="Straight Connector 200">
                  <a:extLst>
                    <a:ext uri="{FF2B5EF4-FFF2-40B4-BE49-F238E27FC236}">
                      <a16:creationId xmlns:a16="http://schemas.microsoft.com/office/drawing/2014/main" id="{DCF90EBC-D20B-4751-BCFF-DC15C9875909}"/>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4ABEA3A8-DE09-432C-92A8-4010D43BD31A}"/>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03" name="Shape15_20211201_120552">
                <a:extLst>
                  <a:ext uri="{FF2B5EF4-FFF2-40B4-BE49-F238E27FC236}">
                    <a16:creationId xmlns:a16="http://schemas.microsoft.com/office/drawing/2014/main" id="{5C1095BD-7347-4F1C-A525-7730CEE285B5}"/>
                  </a:ext>
                </a:extLst>
              </p:cNvPr>
              <p:cNvGrpSpPr/>
              <p:nvPr/>
            </p:nvGrpSpPr>
            <p:grpSpPr>
              <a:xfrm>
                <a:off x="2133371" y="2652714"/>
                <a:ext cx="57515" cy="57515"/>
                <a:chOff x="4001361" y="3450225"/>
                <a:chExt cx="57515" cy="57515"/>
              </a:xfrm>
            </p:grpSpPr>
            <p:cxnSp>
              <p:nvCxnSpPr>
                <p:cNvPr id="204" name="Straight Connector 203">
                  <a:extLst>
                    <a:ext uri="{FF2B5EF4-FFF2-40B4-BE49-F238E27FC236}">
                      <a16:creationId xmlns:a16="http://schemas.microsoft.com/office/drawing/2014/main" id="{7C77F7F4-C5A2-4104-A211-580C51DF75E4}"/>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9F37BE1F-A335-410F-AA9C-F85A39BCA04D}"/>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06" name="Shape16_20211201_120552">
                <a:extLst>
                  <a:ext uri="{FF2B5EF4-FFF2-40B4-BE49-F238E27FC236}">
                    <a16:creationId xmlns:a16="http://schemas.microsoft.com/office/drawing/2014/main" id="{5030EDB4-AC86-4A36-ADFD-231303E1ED7D}"/>
                  </a:ext>
                </a:extLst>
              </p:cNvPr>
              <p:cNvGrpSpPr/>
              <p:nvPr/>
            </p:nvGrpSpPr>
            <p:grpSpPr>
              <a:xfrm>
                <a:off x="2173376" y="2696529"/>
                <a:ext cx="57515" cy="57515"/>
                <a:chOff x="4001361" y="3450225"/>
                <a:chExt cx="57515" cy="57515"/>
              </a:xfrm>
            </p:grpSpPr>
            <p:cxnSp>
              <p:nvCxnSpPr>
                <p:cNvPr id="207" name="Straight Connector 206">
                  <a:extLst>
                    <a:ext uri="{FF2B5EF4-FFF2-40B4-BE49-F238E27FC236}">
                      <a16:creationId xmlns:a16="http://schemas.microsoft.com/office/drawing/2014/main" id="{BD59B904-C0CE-49A6-817B-11D144BDD948}"/>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D9159682-05A4-4015-B64D-1777344A01A3}"/>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09" name="Shape17_20211201_120552">
                <a:extLst>
                  <a:ext uri="{FF2B5EF4-FFF2-40B4-BE49-F238E27FC236}">
                    <a16:creationId xmlns:a16="http://schemas.microsoft.com/office/drawing/2014/main" id="{2DB45DA3-E4BC-4C8A-B0C7-AA8CFE156C8B}"/>
                  </a:ext>
                </a:extLst>
              </p:cNvPr>
              <p:cNvGrpSpPr/>
              <p:nvPr/>
            </p:nvGrpSpPr>
            <p:grpSpPr>
              <a:xfrm>
                <a:off x="2335301" y="2833689"/>
                <a:ext cx="57515" cy="57515"/>
                <a:chOff x="4001361" y="3450225"/>
                <a:chExt cx="57515" cy="57515"/>
              </a:xfrm>
            </p:grpSpPr>
            <p:cxnSp>
              <p:nvCxnSpPr>
                <p:cNvPr id="210" name="Straight Connector 209">
                  <a:extLst>
                    <a:ext uri="{FF2B5EF4-FFF2-40B4-BE49-F238E27FC236}">
                      <a16:creationId xmlns:a16="http://schemas.microsoft.com/office/drawing/2014/main" id="{903F8DFE-5D75-431D-89F2-4EF66DD9ADC5}"/>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3EEAB956-ABE7-45F6-8224-4CF1B0B04371}"/>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12" name="Shape18_20211201_120552">
                <a:extLst>
                  <a:ext uri="{FF2B5EF4-FFF2-40B4-BE49-F238E27FC236}">
                    <a16:creationId xmlns:a16="http://schemas.microsoft.com/office/drawing/2014/main" id="{4F3E72AF-E272-480F-8A8F-828081330CE0}"/>
                  </a:ext>
                </a:extLst>
              </p:cNvPr>
              <p:cNvGrpSpPr/>
              <p:nvPr/>
            </p:nvGrpSpPr>
            <p:grpSpPr>
              <a:xfrm>
                <a:off x="2396261" y="2833689"/>
                <a:ext cx="57515" cy="57515"/>
                <a:chOff x="4001361" y="3450225"/>
                <a:chExt cx="57515" cy="57515"/>
              </a:xfrm>
            </p:grpSpPr>
            <p:cxnSp>
              <p:nvCxnSpPr>
                <p:cNvPr id="213" name="Straight Connector 212">
                  <a:extLst>
                    <a:ext uri="{FF2B5EF4-FFF2-40B4-BE49-F238E27FC236}">
                      <a16:creationId xmlns:a16="http://schemas.microsoft.com/office/drawing/2014/main" id="{66A59E5F-2C48-4259-BA8D-C20ADFC98F55}"/>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E9B387AF-F065-45C7-B701-9A87C0AB6758}"/>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15" name="Shape19_20211201_120552">
                <a:extLst>
                  <a:ext uri="{FF2B5EF4-FFF2-40B4-BE49-F238E27FC236}">
                    <a16:creationId xmlns:a16="http://schemas.microsoft.com/office/drawing/2014/main" id="{C211DE0F-A85B-4D4F-95BB-FE96C5DD0CD3}"/>
                  </a:ext>
                </a:extLst>
              </p:cNvPr>
              <p:cNvGrpSpPr/>
              <p:nvPr/>
            </p:nvGrpSpPr>
            <p:grpSpPr>
              <a:xfrm>
                <a:off x="2434361" y="2879409"/>
                <a:ext cx="57515" cy="57515"/>
                <a:chOff x="4001361" y="3450225"/>
                <a:chExt cx="57515" cy="57515"/>
              </a:xfrm>
            </p:grpSpPr>
            <p:cxnSp>
              <p:nvCxnSpPr>
                <p:cNvPr id="216" name="Straight Connector 215">
                  <a:extLst>
                    <a:ext uri="{FF2B5EF4-FFF2-40B4-BE49-F238E27FC236}">
                      <a16:creationId xmlns:a16="http://schemas.microsoft.com/office/drawing/2014/main" id="{B68DEFD7-2D3F-4CB9-8C60-FE228F8C7CCE}"/>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4491E61D-7168-4D99-BFBE-8FF9C299F41E}"/>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18" name="Shape20_20211201_120552">
                <a:extLst>
                  <a:ext uri="{FF2B5EF4-FFF2-40B4-BE49-F238E27FC236}">
                    <a16:creationId xmlns:a16="http://schemas.microsoft.com/office/drawing/2014/main" id="{F9DBA5CB-7879-47C1-A5BB-7B699C81FB03}"/>
                  </a:ext>
                </a:extLst>
              </p:cNvPr>
              <p:cNvGrpSpPr/>
              <p:nvPr/>
            </p:nvGrpSpPr>
            <p:grpSpPr>
              <a:xfrm>
                <a:off x="2548661" y="2932749"/>
                <a:ext cx="57515" cy="57515"/>
                <a:chOff x="4001361" y="3450225"/>
                <a:chExt cx="57515" cy="57515"/>
              </a:xfrm>
            </p:grpSpPr>
            <p:cxnSp>
              <p:nvCxnSpPr>
                <p:cNvPr id="219" name="Straight Connector 218">
                  <a:extLst>
                    <a:ext uri="{FF2B5EF4-FFF2-40B4-BE49-F238E27FC236}">
                      <a16:creationId xmlns:a16="http://schemas.microsoft.com/office/drawing/2014/main" id="{49CB343F-8E7D-4537-A247-A713BC32A17F}"/>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2D2A2A0F-BC7E-4083-9E2A-572B3875CE17}"/>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21" name="Shape21_20211201_120552">
                <a:extLst>
                  <a:ext uri="{FF2B5EF4-FFF2-40B4-BE49-F238E27FC236}">
                    <a16:creationId xmlns:a16="http://schemas.microsoft.com/office/drawing/2014/main" id="{44E12D5C-A398-42A0-80B1-1D94FE5713DA}"/>
                  </a:ext>
                </a:extLst>
              </p:cNvPr>
              <p:cNvGrpSpPr/>
              <p:nvPr/>
            </p:nvGrpSpPr>
            <p:grpSpPr>
              <a:xfrm>
                <a:off x="2649626" y="2932749"/>
                <a:ext cx="57515" cy="57515"/>
                <a:chOff x="4001361" y="3450225"/>
                <a:chExt cx="57515" cy="57515"/>
              </a:xfrm>
            </p:grpSpPr>
            <p:cxnSp>
              <p:nvCxnSpPr>
                <p:cNvPr id="222" name="Straight Connector 221">
                  <a:extLst>
                    <a:ext uri="{FF2B5EF4-FFF2-40B4-BE49-F238E27FC236}">
                      <a16:creationId xmlns:a16="http://schemas.microsoft.com/office/drawing/2014/main" id="{8D063AC9-FD38-440F-9EE1-11DB88C43550}"/>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FBED560D-CD0D-40A2-9F05-6DE29411F7CF}"/>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24" name="Shape22_20211201_120552">
                <a:extLst>
                  <a:ext uri="{FF2B5EF4-FFF2-40B4-BE49-F238E27FC236}">
                    <a16:creationId xmlns:a16="http://schemas.microsoft.com/office/drawing/2014/main" id="{C438CA33-D8A0-443A-B607-F105C36DABD8}"/>
                  </a:ext>
                </a:extLst>
              </p:cNvPr>
              <p:cNvGrpSpPr/>
              <p:nvPr/>
            </p:nvGrpSpPr>
            <p:grpSpPr>
              <a:xfrm>
                <a:off x="2680106" y="2932749"/>
                <a:ext cx="57515" cy="57515"/>
                <a:chOff x="4001361" y="3450225"/>
                <a:chExt cx="57515" cy="57515"/>
              </a:xfrm>
            </p:grpSpPr>
            <p:cxnSp>
              <p:nvCxnSpPr>
                <p:cNvPr id="225" name="Straight Connector 224">
                  <a:extLst>
                    <a:ext uri="{FF2B5EF4-FFF2-40B4-BE49-F238E27FC236}">
                      <a16:creationId xmlns:a16="http://schemas.microsoft.com/office/drawing/2014/main" id="{7AC873B0-DDDC-4F79-9230-BC5EA4BFA1E6}"/>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773424D3-B094-48A5-9359-4F883E9F0F37}"/>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27" name="Shape23_20211201_120552">
                <a:extLst>
                  <a:ext uri="{FF2B5EF4-FFF2-40B4-BE49-F238E27FC236}">
                    <a16:creationId xmlns:a16="http://schemas.microsoft.com/office/drawing/2014/main" id="{6B7BB11E-6734-4471-B154-AD3FC244A462}"/>
                  </a:ext>
                </a:extLst>
              </p:cNvPr>
              <p:cNvGrpSpPr/>
              <p:nvPr/>
            </p:nvGrpSpPr>
            <p:grpSpPr>
              <a:xfrm>
                <a:off x="2716301" y="2932749"/>
                <a:ext cx="57515" cy="57515"/>
                <a:chOff x="4001361" y="3450225"/>
                <a:chExt cx="57515" cy="57515"/>
              </a:xfrm>
            </p:grpSpPr>
            <p:cxnSp>
              <p:nvCxnSpPr>
                <p:cNvPr id="228" name="Straight Connector 227">
                  <a:extLst>
                    <a:ext uri="{FF2B5EF4-FFF2-40B4-BE49-F238E27FC236}">
                      <a16:creationId xmlns:a16="http://schemas.microsoft.com/office/drawing/2014/main" id="{565E67F7-CDEF-4BD4-9150-408ECA2DF275}"/>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2876314D-A9A6-45A7-BBA6-6CAC656759F5}"/>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30" name="Shape24_20211201_120552">
                <a:extLst>
                  <a:ext uri="{FF2B5EF4-FFF2-40B4-BE49-F238E27FC236}">
                    <a16:creationId xmlns:a16="http://schemas.microsoft.com/office/drawing/2014/main" id="{7733D793-C7AF-4EF2-8052-76DEC90B4BD6}"/>
                  </a:ext>
                </a:extLst>
              </p:cNvPr>
              <p:cNvGrpSpPr/>
              <p:nvPr/>
            </p:nvGrpSpPr>
            <p:grpSpPr>
              <a:xfrm>
                <a:off x="2744876" y="2932749"/>
                <a:ext cx="57515" cy="57515"/>
                <a:chOff x="4001361" y="3450225"/>
                <a:chExt cx="57515" cy="57515"/>
              </a:xfrm>
            </p:grpSpPr>
            <p:cxnSp>
              <p:nvCxnSpPr>
                <p:cNvPr id="231" name="Straight Connector 230">
                  <a:extLst>
                    <a:ext uri="{FF2B5EF4-FFF2-40B4-BE49-F238E27FC236}">
                      <a16:creationId xmlns:a16="http://schemas.microsoft.com/office/drawing/2014/main" id="{787B86F7-4049-48D3-AFC4-C2AFA59B10A3}"/>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E417C1A0-29F0-4F09-92CF-43C61A7B2707}"/>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33" name="Shape25_20211201_120552">
                <a:extLst>
                  <a:ext uri="{FF2B5EF4-FFF2-40B4-BE49-F238E27FC236}">
                    <a16:creationId xmlns:a16="http://schemas.microsoft.com/office/drawing/2014/main" id="{C435A9E9-9376-47E0-A3E6-1CD8D7155083}"/>
                  </a:ext>
                </a:extLst>
              </p:cNvPr>
              <p:cNvGrpSpPr/>
              <p:nvPr/>
            </p:nvGrpSpPr>
            <p:grpSpPr>
              <a:xfrm>
                <a:off x="2782976" y="2932749"/>
                <a:ext cx="57515" cy="57515"/>
                <a:chOff x="4001361" y="3450225"/>
                <a:chExt cx="57515" cy="57515"/>
              </a:xfrm>
            </p:grpSpPr>
            <p:cxnSp>
              <p:nvCxnSpPr>
                <p:cNvPr id="234" name="Straight Connector 233">
                  <a:extLst>
                    <a:ext uri="{FF2B5EF4-FFF2-40B4-BE49-F238E27FC236}">
                      <a16:creationId xmlns:a16="http://schemas.microsoft.com/office/drawing/2014/main" id="{B1443D15-A99C-48FD-80EF-BD62C0062926}"/>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FF18B9E0-0CB2-4678-8A97-11B3AAB3F2BB}"/>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36" name="Shape26_20211201_120552">
                <a:extLst>
                  <a:ext uri="{FF2B5EF4-FFF2-40B4-BE49-F238E27FC236}">
                    <a16:creationId xmlns:a16="http://schemas.microsoft.com/office/drawing/2014/main" id="{A798FE77-0F42-4339-A30A-5B4BD86A84BF}"/>
                  </a:ext>
                </a:extLst>
              </p:cNvPr>
              <p:cNvGrpSpPr/>
              <p:nvPr/>
            </p:nvGrpSpPr>
            <p:grpSpPr>
              <a:xfrm>
                <a:off x="2845841" y="2932749"/>
                <a:ext cx="57515" cy="57515"/>
                <a:chOff x="4001361" y="3450225"/>
                <a:chExt cx="57515" cy="57515"/>
              </a:xfrm>
            </p:grpSpPr>
            <p:cxnSp>
              <p:nvCxnSpPr>
                <p:cNvPr id="237" name="Straight Connector 236">
                  <a:extLst>
                    <a:ext uri="{FF2B5EF4-FFF2-40B4-BE49-F238E27FC236}">
                      <a16:creationId xmlns:a16="http://schemas.microsoft.com/office/drawing/2014/main" id="{C9BBA7B4-FD57-4027-89EA-6D1C36EC0C34}"/>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D11EA57E-CD13-4136-93B3-86CB0F9924C4}"/>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39" name="Shape27_20211201_120552">
                <a:extLst>
                  <a:ext uri="{FF2B5EF4-FFF2-40B4-BE49-F238E27FC236}">
                    <a16:creationId xmlns:a16="http://schemas.microsoft.com/office/drawing/2014/main" id="{A3F4BB80-0CD6-44A5-9F29-9CB0ADAB6244}"/>
                  </a:ext>
                </a:extLst>
              </p:cNvPr>
              <p:cNvGrpSpPr/>
              <p:nvPr/>
            </p:nvGrpSpPr>
            <p:grpSpPr>
              <a:xfrm>
                <a:off x="2878226" y="2932749"/>
                <a:ext cx="57515" cy="57515"/>
                <a:chOff x="4001361" y="3450225"/>
                <a:chExt cx="57515" cy="57515"/>
              </a:xfrm>
            </p:grpSpPr>
            <p:cxnSp>
              <p:nvCxnSpPr>
                <p:cNvPr id="240" name="Straight Connector 239">
                  <a:extLst>
                    <a:ext uri="{FF2B5EF4-FFF2-40B4-BE49-F238E27FC236}">
                      <a16:creationId xmlns:a16="http://schemas.microsoft.com/office/drawing/2014/main" id="{B0753A4F-79C8-49E0-B5A7-B2A9CBCD69A7}"/>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CF4F59A7-7AC5-44AE-B8E3-E8A64315B0B7}"/>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42" name="Shape28_20211201_120552">
                <a:extLst>
                  <a:ext uri="{FF2B5EF4-FFF2-40B4-BE49-F238E27FC236}">
                    <a16:creationId xmlns:a16="http://schemas.microsoft.com/office/drawing/2014/main" id="{C4F12991-5EB8-48A8-BF0C-920D3845564B}"/>
                  </a:ext>
                </a:extLst>
              </p:cNvPr>
              <p:cNvGrpSpPr/>
              <p:nvPr/>
            </p:nvGrpSpPr>
            <p:grpSpPr>
              <a:xfrm>
                <a:off x="2914421" y="2932749"/>
                <a:ext cx="57515" cy="57515"/>
                <a:chOff x="4001361" y="3450225"/>
                <a:chExt cx="57515" cy="57515"/>
              </a:xfrm>
            </p:grpSpPr>
            <p:cxnSp>
              <p:nvCxnSpPr>
                <p:cNvPr id="243" name="Straight Connector 242">
                  <a:extLst>
                    <a:ext uri="{FF2B5EF4-FFF2-40B4-BE49-F238E27FC236}">
                      <a16:creationId xmlns:a16="http://schemas.microsoft.com/office/drawing/2014/main" id="{D5C8388E-53D9-4475-9748-2141919D1B6A}"/>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F15BF6A2-0D83-473E-9686-B4CFBD5167B4}"/>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45" name="Shape29_20211201_120552">
                <a:extLst>
                  <a:ext uri="{FF2B5EF4-FFF2-40B4-BE49-F238E27FC236}">
                    <a16:creationId xmlns:a16="http://schemas.microsoft.com/office/drawing/2014/main" id="{2CA56F8D-78E8-4C58-9A29-989D746EEB3B}"/>
                  </a:ext>
                </a:extLst>
              </p:cNvPr>
              <p:cNvGrpSpPr/>
              <p:nvPr/>
            </p:nvGrpSpPr>
            <p:grpSpPr>
              <a:xfrm>
                <a:off x="2939186" y="2932749"/>
                <a:ext cx="57515" cy="57515"/>
                <a:chOff x="4001361" y="3450225"/>
                <a:chExt cx="57515" cy="57515"/>
              </a:xfrm>
            </p:grpSpPr>
            <p:cxnSp>
              <p:nvCxnSpPr>
                <p:cNvPr id="246" name="Straight Connector 245">
                  <a:extLst>
                    <a:ext uri="{FF2B5EF4-FFF2-40B4-BE49-F238E27FC236}">
                      <a16:creationId xmlns:a16="http://schemas.microsoft.com/office/drawing/2014/main" id="{578CF1AE-C4DA-4E48-A276-4606235638C2}"/>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1B079D5F-CF5B-45EE-9388-5FC7C5576492}"/>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48" name="Shape30_20211201_120552">
                <a:extLst>
                  <a:ext uri="{FF2B5EF4-FFF2-40B4-BE49-F238E27FC236}">
                    <a16:creationId xmlns:a16="http://schemas.microsoft.com/office/drawing/2014/main" id="{72D31998-5FF2-4CBA-A49C-7BA497AC82A6}"/>
                  </a:ext>
                </a:extLst>
              </p:cNvPr>
              <p:cNvGrpSpPr/>
              <p:nvPr/>
            </p:nvGrpSpPr>
            <p:grpSpPr>
              <a:xfrm>
                <a:off x="3053486" y="2932749"/>
                <a:ext cx="57515" cy="57515"/>
                <a:chOff x="4001361" y="3450225"/>
                <a:chExt cx="57515" cy="57515"/>
              </a:xfrm>
            </p:grpSpPr>
            <p:cxnSp>
              <p:nvCxnSpPr>
                <p:cNvPr id="249" name="Straight Connector 248">
                  <a:extLst>
                    <a:ext uri="{FF2B5EF4-FFF2-40B4-BE49-F238E27FC236}">
                      <a16:creationId xmlns:a16="http://schemas.microsoft.com/office/drawing/2014/main" id="{B7D6C4B8-3200-4EED-8FB5-42A23F27C026}"/>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C6FEF0FB-C179-4201-AF38-B61301C68CA7}"/>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51" name="Shape31_20211201_120552">
                <a:extLst>
                  <a:ext uri="{FF2B5EF4-FFF2-40B4-BE49-F238E27FC236}">
                    <a16:creationId xmlns:a16="http://schemas.microsoft.com/office/drawing/2014/main" id="{8F2797DE-1C87-4942-9D6B-5CBAE3860C75}"/>
                  </a:ext>
                </a:extLst>
              </p:cNvPr>
              <p:cNvGrpSpPr/>
              <p:nvPr/>
            </p:nvGrpSpPr>
            <p:grpSpPr>
              <a:xfrm>
                <a:off x="3160166" y="2932749"/>
                <a:ext cx="57515" cy="57515"/>
                <a:chOff x="4001361" y="3450225"/>
                <a:chExt cx="57515" cy="57515"/>
              </a:xfrm>
            </p:grpSpPr>
            <p:cxnSp>
              <p:nvCxnSpPr>
                <p:cNvPr id="252" name="Straight Connector 251">
                  <a:extLst>
                    <a:ext uri="{FF2B5EF4-FFF2-40B4-BE49-F238E27FC236}">
                      <a16:creationId xmlns:a16="http://schemas.microsoft.com/office/drawing/2014/main" id="{88EF7D1F-1D93-4CBD-89C6-4F949A6FF958}"/>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BF320D59-4D26-46EC-8D31-9FF6F4C47136}"/>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54" name="Shape32_20211201_120552">
                <a:extLst>
                  <a:ext uri="{FF2B5EF4-FFF2-40B4-BE49-F238E27FC236}">
                    <a16:creationId xmlns:a16="http://schemas.microsoft.com/office/drawing/2014/main" id="{7AEC9A22-3D80-46AB-A4CE-9C19690737EA}"/>
                  </a:ext>
                </a:extLst>
              </p:cNvPr>
              <p:cNvGrpSpPr/>
              <p:nvPr/>
            </p:nvGrpSpPr>
            <p:grpSpPr>
              <a:xfrm>
                <a:off x="3184931" y="2932749"/>
                <a:ext cx="57515" cy="57515"/>
                <a:chOff x="4001361" y="3450225"/>
                <a:chExt cx="57515" cy="57515"/>
              </a:xfrm>
            </p:grpSpPr>
            <p:cxnSp>
              <p:nvCxnSpPr>
                <p:cNvPr id="255" name="Straight Connector 254">
                  <a:extLst>
                    <a:ext uri="{FF2B5EF4-FFF2-40B4-BE49-F238E27FC236}">
                      <a16:creationId xmlns:a16="http://schemas.microsoft.com/office/drawing/2014/main" id="{04EAEBF1-C1C2-42CD-A755-75DCDCA76780}"/>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6B7A4CEF-3814-4C5C-80A4-77E98FCA2872}"/>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57" name="Shape33_20211201_120552">
                <a:extLst>
                  <a:ext uri="{FF2B5EF4-FFF2-40B4-BE49-F238E27FC236}">
                    <a16:creationId xmlns:a16="http://schemas.microsoft.com/office/drawing/2014/main" id="{E4B5D56D-4DE8-4757-9465-2D3F243214A0}"/>
                  </a:ext>
                </a:extLst>
              </p:cNvPr>
              <p:cNvGrpSpPr/>
              <p:nvPr/>
            </p:nvGrpSpPr>
            <p:grpSpPr>
              <a:xfrm>
                <a:off x="3188741" y="2932749"/>
                <a:ext cx="57515" cy="57515"/>
                <a:chOff x="4001361" y="3450225"/>
                <a:chExt cx="57515" cy="57515"/>
              </a:xfrm>
            </p:grpSpPr>
            <p:cxnSp>
              <p:nvCxnSpPr>
                <p:cNvPr id="258" name="Straight Connector 257">
                  <a:extLst>
                    <a:ext uri="{FF2B5EF4-FFF2-40B4-BE49-F238E27FC236}">
                      <a16:creationId xmlns:a16="http://schemas.microsoft.com/office/drawing/2014/main" id="{2979D34B-FC99-4928-B244-ADDF8F5AD77C}"/>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256C8F31-68B1-45F3-B69E-F7BECED6ADC7}"/>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60" name="Shape34_20211201_120552">
                <a:extLst>
                  <a:ext uri="{FF2B5EF4-FFF2-40B4-BE49-F238E27FC236}">
                    <a16:creationId xmlns:a16="http://schemas.microsoft.com/office/drawing/2014/main" id="{1A6A99A1-3106-4A65-B24D-E9A3841E0858}"/>
                  </a:ext>
                </a:extLst>
              </p:cNvPr>
              <p:cNvGrpSpPr/>
              <p:nvPr/>
            </p:nvGrpSpPr>
            <p:grpSpPr>
              <a:xfrm>
                <a:off x="3303041" y="2932749"/>
                <a:ext cx="57515" cy="57515"/>
                <a:chOff x="4001361" y="3450225"/>
                <a:chExt cx="57515" cy="57515"/>
              </a:xfrm>
            </p:grpSpPr>
            <p:cxnSp>
              <p:nvCxnSpPr>
                <p:cNvPr id="261" name="Straight Connector 260">
                  <a:extLst>
                    <a:ext uri="{FF2B5EF4-FFF2-40B4-BE49-F238E27FC236}">
                      <a16:creationId xmlns:a16="http://schemas.microsoft.com/office/drawing/2014/main" id="{2CA56792-54B9-4437-97FE-EE58B2CEB6D6}"/>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0EF33BBC-0CF2-40E2-A3D6-99B85FB91E4F}"/>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63" name="Shape35_20211201_120552">
                <a:extLst>
                  <a:ext uri="{FF2B5EF4-FFF2-40B4-BE49-F238E27FC236}">
                    <a16:creationId xmlns:a16="http://schemas.microsoft.com/office/drawing/2014/main" id="{0362FBF3-5E53-478B-924F-3198911260B5}"/>
                  </a:ext>
                </a:extLst>
              </p:cNvPr>
              <p:cNvGrpSpPr/>
              <p:nvPr/>
            </p:nvGrpSpPr>
            <p:grpSpPr>
              <a:xfrm>
                <a:off x="3525926" y="2932749"/>
                <a:ext cx="57515" cy="57515"/>
                <a:chOff x="4001361" y="3450225"/>
                <a:chExt cx="57515" cy="57515"/>
              </a:xfrm>
            </p:grpSpPr>
            <p:cxnSp>
              <p:nvCxnSpPr>
                <p:cNvPr id="264" name="Straight Connector 263">
                  <a:extLst>
                    <a:ext uri="{FF2B5EF4-FFF2-40B4-BE49-F238E27FC236}">
                      <a16:creationId xmlns:a16="http://schemas.microsoft.com/office/drawing/2014/main" id="{6CACF41F-F165-47A7-9920-040367993CA8}"/>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8C20C803-9BF5-46C7-84FF-7577D188567E}"/>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66" name="Shape36_20211201_120552">
                <a:extLst>
                  <a:ext uri="{FF2B5EF4-FFF2-40B4-BE49-F238E27FC236}">
                    <a16:creationId xmlns:a16="http://schemas.microsoft.com/office/drawing/2014/main" id="{9340849E-7EE4-40BA-B235-C5231DAFA284}"/>
                  </a:ext>
                </a:extLst>
              </p:cNvPr>
              <p:cNvGrpSpPr/>
              <p:nvPr/>
            </p:nvGrpSpPr>
            <p:grpSpPr>
              <a:xfrm>
                <a:off x="3588791" y="2932749"/>
                <a:ext cx="57515" cy="57515"/>
                <a:chOff x="4001361" y="3450225"/>
                <a:chExt cx="57515" cy="57515"/>
              </a:xfrm>
            </p:grpSpPr>
            <p:cxnSp>
              <p:nvCxnSpPr>
                <p:cNvPr id="267" name="Straight Connector 266">
                  <a:extLst>
                    <a:ext uri="{FF2B5EF4-FFF2-40B4-BE49-F238E27FC236}">
                      <a16:creationId xmlns:a16="http://schemas.microsoft.com/office/drawing/2014/main" id="{F64E1E89-4079-407A-82BA-539F57D3622B}"/>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1051CDFA-72B9-4765-905F-C8291011135E}"/>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69" name="Shape37_20211201_120552">
                <a:extLst>
                  <a:ext uri="{FF2B5EF4-FFF2-40B4-BE49-F238E27FC236}">
                    <a16:creationId xmlns:a16="http://schemas.microsoft.com/office/drawing/2014/main" id="{CD6F5BFF-0749-4445-B78A-1D7E48CE2CD8}"/>
                  </a:ext>
                </a:extLst>
              </p:cNvPr>
              <p:cNvGrpSpPr/>
              <p:nvPr/>
            </p:nvGrpSpPr>
            <p:grpSpPr>
              <a:xfrm>
                <a:off x="3685946" y="2932749"/>
                <a:ext cx="57515" cy="57515"/>
                <a:chOff x="4001361" y="3450225"/>
                <a:chExt cx="57515" cy="57515"/>
              </a:xfrm>
            </p:grpSpPr>
            <p:cxnSp>
              <p:nvCxnSpPr>
                <p:cNvPr id="270" name="Straight Connector 269">
                  <a:extLst>
                    <a:ext uri="{FF2B5EF4-FFF2-40B4-BE49-F238E27FC236}">
                      <a16:creationId xmlns:a16="http://schemas.microsoft.com/office/drawing/2014/main" id="{0C2496D8-80D2-459B-89BE-7A3A8AFE0323}"/>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7B79E1D3-D0A3-4BAA-B0BC-F457C6D36018}"/>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72" name="Shape38_20211201_120552">
                <a:extLst>
                  <a:ext uri="{FF2B5EF4-FFF2-40B4-BE49-F238E27FC236}">
                    <a16:creationId xmlns:a16="http://schemas.microsoft.com/office/drawing/2014/main" id="{8258733F-D7E3-46F2-BA4C-8DE699B8D9C4}"/>
                  </a:ext>
                </a:extLst>
              </p:cNvPr>
              <p:cNvGrpSpPr/>
              <p:nvPr/>
            </p:nvGrpSpPr>
            <p:grpSpPr>
              <a:xfrm>
                <a:off x="3914546" y="2932749"/>
                <a:ext cx="57515" cy="57515"/>
                <a:chOff x="4001361" y="3450225"/>
                <a:chExt cx="57515" cy="57515"/>
              </a:xfrm>
            </p:grpSpPr>
            <p:cxnSp>
              <p:nvCxnSpPr>
                <p:cNvPr id="273" name="Straight Connector 272">
                  <a:extLst>
                    <a:ext uri="{FF2B5EF4-FFF2-40B4-BE49-F238E27FC236}">
                      <a16:creationId xmlns:a16="http://schemas.microsoft.com/office/drawing/2014/main" id="{7E1764B9-611F-4432-B131-97C6D5F3F657}"/>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E30D7645-F380-45AD-8342-45A1318EA474}"/>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grpSp>
      <p:grpSp>
        <p:nvGrpSpPr>
          <p:cNvPr id="409" name="Group 408">
            <a:extLst>
              <a:ext uri="{FF2B5EF4-FFF2-40B4-BE49-F238E27FC236}">
                <a16:creationId xmlns:a16="http://schemas.microsoft.com/office/drawing/2014/main" id="{93357C7E-963B-4E79-84A8-E7228EE92510}"/>
              </a:ext>
            </a:extLst>
          </p:cNvPr>
          <p:cNvGrpSpPr/>
          <p:nvPr/>
        </p:nvGrpSpPr>
        <p:grpSpPr>
          <a:xfrm>
            <a:off x="5255076" y="2034517"/>
            <a:ext cx="2602595" cy="1444355"/>
            <a:chOff x="5255076" y="2034517"/>
            <a:chExt cx="2602595" cy="1444355"/>
          </a:xfrm>
        </p:grpSpPr>
        <p:grpSp>
          <p:nvGrpSpPr>
            <p:cNvPr id="275" name="Shape1_20211201_132656">
              <a:extLst>
                <a:ext uri="{FF2B5EF4-FFF2-40B4-BE49-F238E27FC236}">
                  <a16:creationId xmlns:a16="http://schemas.microsoft.com/office/drawing/2014/main" id="{7D96AD4C-D836-4D7A-A552-C74AC6161B9B}"/>
                </a:ext>
              </a:extLst>
            </p:cNvPr>
            <p:cNvGrpSpPr/>
            <p:nvPr/>
          </p:nvGrpSpPr>
          <p:grpSpPr>
            <a:xfrm>
              <a:off x="7800156" y="3421357"/>
              <a:ext cx="57515" cy="57515"/>
              <a:chOff x="4001361" y="3450225"/>
              <a:chExt cx="57515" cy="57515"/>
            </a:xfrm>
          </p:grpSpPr>
          <p:cxnSp>
            <p:nvCxnSpPr>
              <p:cNvPr id="276" name="Straight Connector 275">
                <a:extLst>
                  <a:ext uri="{FF2B5EF4-FFF2-40B4-BE49-F238E27FC236}">
                    <a16:creationId xmlns:a16="http://schemas.microsoft.com/office/drawing/2014/main" id="{1AA24B47-C6A4-4EAA-B118-CA67FDFDDEA3}"/>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55CDCF95-60A7-4BC0-B562-87E0E4F82AF2}"/>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80" name="Shape2_20211201_132656">
              <a:extLst>
                <a:ext uri="{FF2B5EF4-FFF2-40B4-BE49-F238E27FC236}">
                  <a16:creationId xmlns:a16="http://schemas.microsoft.com/office/drawing/2014/main" id="{34B451AC-1E72-412F-90A3-EA17CC4B5207}"/>
                </a:ext>
              </a:extLst>
            </p:cNvPr>
            <p:cNvGrpSpPr/>
            <p:nvPr/>
          </p:nvGrpSpPr>
          <p:grpSpPr>
            <a:xfrm>
              <a:off x="7649661" y="3421357"/>
              <a:ext cx="57515" cy="57515"/>
              <a:chOff x="4001361" y="3450225"/>
              <a:chExt cx="57515" cy="57515"/>
            </a:xfrm>
          </p:grpSpPr>
          <p:cxnSp>
            <p:nvCxnSpPr>
              <p:cNvPr id="281" name="Straight Connector 280">
                <a:extLst>
                  <a:ext uri="{FF2B5EF4-FFF2-40B4-BE49-F238E27FC236}">
                    <a16:creationId xmlns:a16="http://schemas.microsoft.com/office/drawing/2014/main" id="{80616390-BCB5-4509-875E-364353C2744D}"/>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249CD10D-C186-4C3B-B880-089AECB21950}"/>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83" name="Shape3_20211201_132656">
              <a:extLst>
                <a:ext uri="{FF2B5EF4-FFF2-40B4-BE49-F238E27FC236}">
                  <a16:creationId xmlns:a16="http://schemas.microsoft.com/office/drawing/2014/main" id="{24B49798-DC25-4B24-97EF-9413831889A9}"/>
                </a:ext>
              </a:extLst>
            </p:cNvPr>
            <p:cNvGrpSpPr/>
            <p:nvPr/>
          </p:nvGrpSpPr>
          <p:grpSpPr>
            <a:xfrm>
              <a:off x="7299141" y="3421357"/>
              <a:ext cx="57515" cy="57515"/>
              <a:chOff x="4001361" y="3450225"/>
              <a:chExt cx="57515" cy="57515"/>
            </a:xfrm>
          </p:grpSpPr>
          <p:cxnSp>
            <p:nvCxnSpPr>
              <p:cNvPr id="284" name="Straight Connector 283">
                <a:extLst>
                  <a:ext uri="{FF2B5EF4-FFF2-40B4-BE49-F238E27FC236}">
                    <a16:creationId xmlns:a16="http://schemas.microsoft.com/office/drawing/2014/main" id="{D812D2D0-7A78-43F8-B3BC-7D4C2247ED21}"/>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38C6DEC9-BFD9-41BC-84B6-4F52F0D4F9FB}"/>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86" name="Shape4_20211201_132656">
              <a:extLst>
                <a:ext uri="{FF2B5EF4-FFF2-40B4-BE49-F238E27FC236}">
                  <a16:creationId xmlns:a16="http://schemas.microsoft.com/office/drawing/2014/main" id="{AEDA647E-04F1-4694-95CF-43DCE5F304A0}"/>
                </a:ext>
              </a:extLst>
            </p:cNvPr>
            <p:cNvGrpSpPr/>
            <p:nvPr/>
          </p:nvGrpSpPr>
          <p:grpSpPr>
            <a:xfrm>
              <a:off x="7156266" y="3421357"/>
              <a:ext cx="57515" cy="57515"/>
              <a:chOff x="4001361" y="3450225"/>
              <a:chExt cx="57515" cy="57515"/>
            </a:xfrm>
          </p:grpSpPr>
          <p:cxnSp>
            <p:nvCxnSpPr>
              <p:cNvPr id="287" name="Straight Connector 286">
                <a:extLst>
                  <a:ext uri="{FF2B5EF4-FFF2-40B4-BE49-F238E27FC236}">
                    <a16:creationId xmlns:a16="http://schemas.microsoft.com/office/drawing/2014/main" id="{65FEDB5F-F0B4-4BA9-B89A-764D8752E099}"/>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A8CCCBF4-0119-416F-96CF-F1A1A63633FE}"/>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89" name="Shape5_20211201_132656">
              <a:extLst>
                <a:ext uri="{FF2B5EF4-FFF2-40B4-BE49-F238E27FC236}">
                  <a16:creationId xmlns:a16="http://schemas.microsoft.com/office/drawing/2014/main" id="{5CE10330-4F03-4957-8428-EF801C06CE9B}"/>
                </a:ext>
              </a:extLst>
            </p:cNvPr>
            <p:cNvGrpSpPr/>
            <p:nvPr/>
          </p:nvGrpSpPr>
          <p:grpSpPr>
            <a:xfrm>
              <a:off x="7049586" y="3421357"/>
              <a:ext cx="57515" cy="57515"/>
              <a:chOff x="4001361" y="3450225"/>
              <a:chExt cx="57515" cy="57515"/>
            </a:xfrm>
          </p:grpSpPr>
          <p:cxnSp>
            <p:nvCxnSpPr>
              <p:cNvPr id="290" name="Straight Connector 289">
                <a:extLst>
                  <a:ext uri="{FF2B5EF4-FFF2-40B4-BE49-F238E27FC236}">
                    <a16:creationId xmlns:a16="http://schemas.microsoft.com/office/drawing/2014/main" id="{C688D49E-3894-47B7-9EA8-7DEE714EA329}"/>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3F9E8216-1FDA-4DAB-A6A4-979724448B8D}"/>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92" name="Shape6_20211201_132656">
              <a:extLst>
                <a:ext uri="{FF2B5EF4-FFF2-40B4-BE49-F238E27FC236}">
                  <a16:creationId xmlns:a16="http://schemas.microsoft.com/office/drawing/2014/main" id="{BEF4A55F-773C-4E27-BE8E-3E91CFD07E97}"/>
                </a:ext>
              </a:extLst>
            </p:cNvPr>
            <p:cNvGrpSpPr/>
            <p:nvPr/>
          </p:nvGrpSpPr>
          <p:grpSpPr>
            <a:xfrm>
              <a:off x="7032441" y="3421357"/>
              <a:ext cx="57515" cy="57515"/>
              <a:chOff x="4001361" y="3450225"/>
              <a:chExt cx="57515" cy="57515"/>
            </a:xfrm>
          </p:grpSpPr>
          <p:cxnSp>
            <p:nvCxnSpPr>
              <p:cNvPr id="293" name="Straight Connector 292">
                <a:extLst>
                  <a:ext uri="{FF2B5EF4-FFF2-40B4-BE49-F238E27FC236}">
                    <a16:creationId xmlns:a16="http://schemas.microsoft.com/office/drawing/2014/main" id="{1F195000-F5E5-4EEE-8844-22C9CB49B7BA}"/>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3F81A9A9-8051-4141-82AD-C2CEDB36E0AF}"/>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95" name="Shape7_20211201_132656">
              <a:extLst>
                <a:ext uri="{FF2B5EF4-FFF2-40B4-BE49-F238E27FC236}">
                  <a16:creationId xmlns:a16="http://schemas.microsoft.com/office/drawing/2014/main" id="{9D2235DF-D5CA-437C-B35E-CC283AE5BD95}"/>
                </a:ext>
              </a:extLst>
            </p:cNvPr>
            <p:cNvGrpSpPr/>
            <p:nvPr/>
          </p:nvGrpSpPr>
          <p:grpSpPr>
            <a:xfrm>
              <a:off x="6841941" y="3421357"/>
              <a:ext cx="57515" cy="57515"/>
              <a:chOff x="4001361" y="3450225"/>
              <a:chExt cx="57515" cy="57515"/>
            </a:xfrm>
          </p:grpSpPr>
          <p:cxnSp>
            <p:nvCxnSpPr>
              <p:cNvPr id="296" name="Straight Connector 295">
                <a:extLst>
                  <a:ext uri="{FF2B5EF4-FFF2-40B4-BE49-F238E27FC236}">
                    <a16:creationId xmlns:a16="http://schemas.microsoft.com/office/drawing/2014/main" id="{E678CDAD-D0C2-4B76-852D-E86B0A34B723}"/>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481D4389-C328-4447-8FAC-819D2FA2AC58}"/>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98" name="Shape8_20211201_132656">
              <a:extLst>
                <a:ext uri="{FF2B5EF4-FFF2-40B4-BE49-F238E27FC236}">
                  <a16:creationId xmlns:a16="http://schemas.microsoft.com/office/drawing/2014/main" id="{EC684FB3-970F-4779-81A5-64FD41A5A7DF}"/>
                </a:ext>
              </a:extLst>
            </p:cNvPr>
            <p:cNvGrpSpPr/>
            <p:nvPr/>
          </p:nvGrpSpPr>
          <p:grpSpPr>
            <a:xfrm>
              <a:off x="6826701" y="3421357"/>
              <a:ext cx="57515" cy="57515"/>
              <a:chOff x="4001361" y="3450225"/>
              <a:chExt cx="57515" cy="57515"/>
            </a:xfrm>
          </p:grpSpPr>
          <p:cxnSp>
            <p:nvCxnSpPr>
              <p:cNvPr id="299" name="Straight Connector 298">
                <a:extLst>
                  <a:ext uri="{FF2B5EF4-FFF2-40B4-BE49-F238E27FC236}">
                    <a16:creationId xmlns:a16="http://schemas.microsoft.com/office/drawing/2014/main" id="{897D517F-55DC-4E37-8F6A-8B6DF40528B3}"/>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0" name="Straight Connector 299">
                <a:extLst>
                  <a:ext uri="{FF2B5EF4-FFF2-40B4-BE49-F238E27FC236}">
                    <a16:creationId xmlns:a16="http://schemas.microsoft.com/office/drawing/2014/main" id="{4416D9CF-1520-4A1F-9D17-46C5F9071779}"/>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01" name="Shape9_20211201_132656">
              <a:extLst>
                <a:ext uri="{FF2B5EF4-FFF2-40B4-BE49-F238E27FC236}">
                  <a16:creationId xmlns:a16="http://schemas.microsoft.com/office/drawing/2014/main" id="{E1CA4364-DEEE-44C9-B901-5A1F86D77C29}"/>
                </a:ext>
              </a:extLst>
            </p:cNvPr>
            <p:cNvGrpSpPr/>
            <p:nvPr/>
          </p:nvGrpSpPr>
          <p:grpSpPr>
            <a:xfrm>
              <a:off x="6550476" y="3181327"/>
              <a:ext cx="57515" cy="57515"/>
              <a:chOff x="4001361" y="3450225"/>
              <a:chExt cx="57515" cy="57515"/>
            </a:xfrm>
          </p:grpSpPr>
          <p:cxnSp>
            <p:nvCxnSpPr>
              <p:cNvPr id="302" name="Straight Connector 301">
                <a:extLst>
                  <a:ext uri="{FF2B5EF4-FFF2-40B4-BE49-F238E27FC236}">
                    <a16:creationId xmlns:a16="http://schemas.microsoft.com/office/drawing/2014/main" id="{92BE794D-45B2-4863-8F19-7807C65BAB2D}"/>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A5FB806D-1B4D-46E6-ABBC-645FA4A0E79F}"/>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04" name="Shape10_20211201_132656">
              <a:extLst>
                <a:ext uri="{FF2B5EF4-FFF2-40B4-BE49-F238E27FC236}">
                  <a16:creationId xmlns:a16="http://schemas.microsoft.com/office/drawing/2014/main" id="{45FE03C1-08E7-42A4-AC50-1DA104EA0859}"/>
                </a:ext>
              </a:extLst>
            </p:cNvPr>
            <p:cNvGrpSpPr/>
            <p:nvPr/>
          </p:nvGrpSpPr>
          <p:grpSpPr>
            <a:xfrm>
              <a:off x="6508566" y="3124177"/>
              <a:ext cx="57515" cy="57515"/>
              <a:chOff x="4001361" y="3450225"/>
              <a:chExt cx="57515" cy="57515"/>
            </a:xfrm>
          </p:grpSpPr>
          <p:cxnSp>
            <p:nvCxnSpPr>
              <p:cNvPr id="305" name="Straight Connector 304">
                <a:extLst>
                  <a:ext uri="{FF2B5EF4-FFF2-40B4-BE49-F238E27FC236}">
                    <a16:creationId xmlns:a16="http://schemas.microsoft.com/office/drawing/2014/main" id="{C12D9061-1667-48EE-8299-7FFB3002691B}"/>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4250687C-324E-4B9F-981F-2D9A4F30A57A}"/>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07" name="Shape11_20211201_132656">
              <a:extLst>
                <a:ext uri="{FF2B5EF4-FFF2-40B4-BE49-F238E27FC236}">
                  <a16:creationId xmlns:a16="http://schemas.microsoft.com/office/drawing/2014/main" id="{A6D06493-D067-4C5F-BC49-21E863E425F2}"/>
                </a:ext>
              </a:extLst>
            </p:cNvPr>
            <p:cNvGrpSpPr/>
            <p:nvPr/>
          </p:nvGrpSpPr>
          <p:grpSpPr>
            <a:xfrm>
              <a:off x="6453321" y="3124177"/>
              <a:ext cx="57515" cy="57515"/>
              <a:chOff x="4001361" y="3450225"/>
              <a:chExt cx="57515" cy="57515"/>
            </a:xfrm>
          </p:grpSpPr>
          <p:cxnSp>
            <p:nvCxnSpPr>
              <p:cNvPr id="308" name="Straight Connector 307">
                <a:extLst>
                  <a:ext uri="{FF2B5EF4-FFF2-40B4-BE49-F238E27FC236}">
                    <a16:creationId xmlns:a16="http://schemas.microsoft.com/office/drawing/2014/main" id="{1A632446-2C64-45D9-B0B9-625ECD579E9A}"/>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299FFA5E-0AA1-4AD6-9D31-FE9D3F9BFF7E}"/>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10" name="Shape12_20211201_132656">
              <a:extLst>
                <a:ext uri="{FF2B5EF4-FFF2-40B4-BE49-F238E27FC236}">
                  <a16:creationId xmlns:a16="http://schemas.microsoft.com/office/drawing/2014/main" id="{3CCC4DFC-1A69-435E-8253-880B256BDD77}"/>
                </a:ext>
              </a:extLst>
            </p:cNvPr>
            <p:cNvGrpSpPr/>
            <p:nvPr/>
          </p:nvGrpSpPr>
          <p:grpSpPr>
            <a:xfrm>
              <a:off x="6279966" y="3019402"/>
              <a:ext cx="57515" cy="57515"/>
              <a:chOff x="4001361" y="3450225"/>
              <a:chExt cx="57515" cy="57515"/>
            </a:xfrm>
          </p:grpSpPr>
          <p:cxnSp>
            <p:nvCxnSpPr>
              <p:cNvPr id="311" name="Straight Connector 310">
                <a:extLst>
                  <a:ext uri="{FF2B5EF4-FFF2-40B4-BE49-F238E27FC236}">
                    <a16:creationId xmlns:a16="http://schemas.microsoft.com/office/drawing/2014/main" id="{0FEF0F0A-C174-44F7-96E5-A463A28A8B3A}"/>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A48A7FA5-005F-4BD5-9C8F-F2980157B4ED}"/>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13" name="Shape13_20211201_132656">
              <a:extLst>
                <a:ext uri="{FF2B5EF4-FFF2-40B4-BE49-F238E27FC236}">
                  <a16:creationId xmlns:a16="http://schemas.microsoft.com/office/drawing/2014/main" id="{9B103E22-2FE3-4E80-8E03-03A2EF986222}"/>
                </a:ext>
              </a:extLst>
            </p:cNvPr>
            <p:cNvGrpSpPr/>
            <p:nvPr/>
          </p:nvGrpSpPr>
          <p:grpSpPr>
            <a:xfrm>
              <a:off x="6249486" y="3019402"/>
              <a:ext cx="57515" cy="57515"/>
              <a:chOff x="4001361" y="3450225"/>
              <a:chExt cx="57515" cy="57515"/>
            </a:xfrm>
          </p:grpSpPr>
          <p:cxnSp>
            <p:nvCxnSpPr>
              <p:cNvPr id="314" name="Straight Connector 313">
                <a:extLst>
                  <a:ext uri="{FF2B5EF4-FFF2-40B4-BE49-F238E27FC236}">
                    <a16:creationId xmlns:a16="http://schemas.microsoft.com/office/drawing/2014/main" id="{4A73A2EF-9FEF-4570-ABB1-08374D040DC5}"/>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7C0E8209-BE8C-4898-B5CB-623A6DD344FB}"/>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16" name="Shape14_20211201_132656">
              <a:extLst>
                <a:ext uri="{FF2B5EF4-FFF2-40B4-BE49-F238E27FC236}">
                  <a16:creationId xmlns:a16="http://schemas.microsoft.com/office/drawing/2014/main" id="{AA36E238-5BBE-46B5-93CF-1C63F6BA6CCC}"/>
                </a:ext>
              </a:extLst>
            </p:cNvPr>
            <p:cNvGrpSpPr/>
            <p:nvPr/>
          </p:nvGrpSpPr>
          <p:grpSpPr>
            <a:xfrm>
              <a:off x="6171381" y="3019402"/>
              <a:ext cx="57515" cy="57515"/>
              <a:chOff x="4001361" y="3450225"/>
              <a:chExt cx="57515" cy="57515"/>
            </a:xfrm>
          </p:grpSpPr>
          <p:cxnSp>
            <p:nvCxnSpPr>
              <p:cNvPr id="317" name="Straight Connector 316">
                <a:extLst>
                  <a:ext uri="{FF2B5EF4-FFF2-40B4-BE49-F238E27FC236}">
                    <a16:creationId xmlns:a16="http://schemas.microsoft.com/office/drawing/2014/main" id="{91CCC0E1-BE1E-47C2-BD70-C68795168BE9}"/>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a16="http://schemas.microsoft.com/office/drawing/2014/main" id="{2DF93DF2-5A8C-40FC-AF6F-0B9DF7C65818}"/>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19" name="Shape15_20211201_132656">
              <a:extLst>
                <a:ext uri="{FF2B5EF4-FFF2-40B4-BE49-F238E27FC236}">
                  <a16:creationId xmlns:a16="http://schemas.microsoft.com/office/drawing/2014/main" id="{6A3BBCE0-E45E-4D23-B522-FD6E55437E0C}"/>
                </a:ext>
              </a:extLst>
            </p:cNvPr>
            <p:cNvGrpSpPr/>
            <p:nvPr/>
          </p:nvGrpSpPr>
          <p:grpSpPr>
            <a:xfrm>
              <a:off x="6156141" y="3019402"/>
              <a:ext cx="57515" cy="57515"/>
              <a:chOff x="4001361" y="3450225"/>
              <a:chExt cx="57515" cy="57515"/>
            </a:xfrm>
          </p:grpSpPr>
          <p:cxnSp>
            <p:nvCxnSpPr>
              <p:cNvPr id="320" name="Straight Connector 319">
                <a:extLst>
                  <a:ext uri="{FF2B5EF4-FFF2-40B4-BE49-F238E27FC236}">
                    <a16:creationId xmlns:a16="http://schemas.microsoft.com/office/drawing/2014/main" id="{7A80FD03-B579-4998-BD86-B5E1A9D020AA}"/>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374AF354-F775-4715-BCE5-4E5CED9275CC}"/>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22" name="Shape16_20211201_132656">
              <a:extLst>
                <a:ext uri="{FF2B5EF4-FFF2-40B4-BE49-F238E27FC236}">
                  <a16:creationId xmlns:a16="http://schemas.microsoft.com/office/drawing/2014/main" id="{B6411186-7ADC-4739-9779-3BF3C70766CA}"/>
                </a:ext>
              </a:extLst>
            </p:cNvPr>
            <p:cNvGrpSpPr/>
            <p:nvPr/>
          </p:nvGrpSpPr>
          <p:grpSpPr>
            <a:xfrm>
              <a:off x="6119946" y="3019402"/>
              <a:ext cx="57515" cy="57515"/>
              <a:chOff x="4001361" y="3450225"/>
              <a:chExt cx="57515" cy="57515"/>
            </a:xfrm>
          </p:grpSpPr>
          <p:cxnSp>
            <p:nvCxnSpPr>
              <p:cNvPr id="323" name="Straight Connector 322">
                <a:extLst>
                  <a:ext uri="{FF2B5EF4-FFF2-40B4-BE49-F238E27FC236}">
                    <a16:creationId xmlns:a16="http://schemas.microsoft.com/office/drawing/2014/main" id="{8202A858-0793-46EC-930F-C0FFFE49E131}"/>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2B6E8254-160C-4D16-A48D-A9401ED1AA5D}"/>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25" name="Shape17_20211201_132656">
              <a:extLst>
                <a:ext uri="{FF2B5EF4-FFF2-40B4-BE49-F238E27FC236}">
                  <a16:creationId xmlns:a16="http://schemas.microsoft.com/office/drawing/2014/main" id="{BA93B9AF-5595-444E-80AE-AD11ED7D2864}"/>
                </a:ext>
              </a:extLst>
            </p:cNvPr>
            <p:cNvGrpSpPr/>
            <p:nvPr/>
          </p:nvGrpSpPr>
          <p:grpSpPr>
            <a:xfrm>
              <a:off x="6110421" y="3019402"/>
              <a:ext cx="57515" cy="57515"/>
              <a:chOff x="4001361" y="3450225"/>
              <a:chExt cx="57515" cy="57515"/>
            </a:xfrm>
          </p:grpSpPr>
          <p:cxnSp>
            <p:nvCxnSpPr>
              <p:cNvPr id="326" name="Straight Connector 325">
                <a:extLst>
                  <a:ext uri="{FF2B5EF4-FFF2-40B4-BE49-F238E27FC236}">
                    <a16:creationId xmlns:a16="http://schemas.microsoft.com/office/drawing/2014/main" id="{5E5F31E8-984D-4228-9370-FC7C13A488FB}"/>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0C8B7D6C-121B-4BDF-B35A-24A6856EC355}"/>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28" name="Shape18_20211201_132656">
              <a:extLst>
                <a:ext uri="{FF2B5EF4-FFF2-40B4-BE49-F238E27FC236}">
                  <a16:creationId xmlns:a16="http://schemas.microsoft.com/office/drawing/2014/main" id="{DD4191DA-036F-4E26-8E1A-8A82CB879732}"/>
                </a:ext>
              </a:extLst>
            </p:cNvPr>
            <p:cNvGrpSpPr/>
            <p:nvPr/>
          </p:nvGrpSpPr>
          <p:grpSpPr>
            <a:xfrm>
              <a:off x="6043746" y="3019402"/>
              <a:ext cx="57515" cy="57515"/>
              <a:chOff x="4001361" y="3450225"/>
              <a:chExt cx="57515" cy="57515"/>
            </a:xfrm>
          </p:grpSpPr>
          <p:cxnSp>
            <p:nvCxnSpPr>
              <p:cNvPr id="329" name="Straight Connector 328">
                <a:extLst>
                  <a:ext uri="{FF2B5EF4-FFF2-40B4-BE49-F238E27FC236}">
                    <a16:creationId xmlns:a16="http://schemas.microsoft.com/office/drawing/2014/main" id="{073E2ABB-5172-497F-A039-828A454ECA35}"/>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13ED15F1-10A4-471A-84A6-A01B7160AF05}"/>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31" name="Shape19_20211201_132656">
              <a:extLst>
                <a:ext uri="{FF2B5EF4-FFF2-40B4-BE49-F238E27FC236}">
                  <a16:creationId xmlns:a16="http://schemas.microsoft.com/office/drawing/2014/main" id="{D826D014-6C28-495C-88C0-DF3B3287E28C}"/>
                </a:ext>
              </a:extLst>
            </p:cNvPr>
            <p:cNvGrpSpPr/>
            <p:nvPr/>
          </p:nvGrpSpPr>
          <p:grpSpPr>
            <a:xfrm>
              <a:off x="5984691" y="3019402"/>
              <a:ext cx="57515" cy="57515"/>
              <a:chOff x="4001361" y="3450225"/>
              <a:chExt cx="57515" cy="57515"/>
            </a:xfrm>
          </p:grpSpPr>
          <p:cxnSp>
            <p:nvCxnSpPr>
              <p:cNvPr id="332" name="Straight Connector 331">
                <a:extLst>
                  <a:ext uri="{FF2B5EF4-FFF2-40B4-BE49-F238E27FC236}">
                    <a16:creationId xmlns:a16="http://schemas.microsoft.com/office/drawing/2014/main" id="{47955A69-D6BC-4DF4-8F07-285CC1B832E2}"/>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27E445EE-A0B2-4FCB-B742-15B43E748F7C}"/>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34" name="Shape20_20211201_132656">
              <a:extLst>
                <a:ext uri="{FF2B5EF4-FFF2-40B4-BE49-F238E27FC236}">
                  <a16:creationId xmlns:a16="http://schemas.microsoft.com/office/drawing/2014/main" id="{5707758F-1B86-47D2-ADD2-47C2E0FAC382}"/>
                </a:ext>
              </a:extLst>
            </p:cNvPr>
            <p:cNvGrpSpPr/>
            <p:nvPr/>
          </p:nvGrpSpPr>
          <p:grpSpPr>
            <a:xfrm>
              <a:off x="5944686" y="3019402"/>
              <a:ext cx="57515" cy="57515"/>
              <a:chOff x="4001361" y="3450225"/>
              <a:chExt cx="57515" cy="57515"/>
            </a:xfrm>
          </p:grpSpPr>
          <p:cxnSp>
            <p:nvCxnSpPr>
              <p:cNvPr id="335" name="Straight Connector 334">
                <a:extLst>
                  <a:ext uri="{FF2B5EF4-FFF2-40B4-BE49-F238E27FC236}">
                    <a16:creationId xmlns:a16="http://schemas.microsoft.com/office/drawing/2014/main" id="{FFA7CD44-E97C-47F4-88CC-5AC3EFD63113}"/>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6" name="Straight Connector 335">
                <a:extLst>
                  <a:ext uri="{FF2B5EF4-FFF2-40B4-BE49-F238E27FC236}">
                    <a16:creationId xmlns:a16="http://schemas.microsoft.com/office/drawing/2014/main" id="{77CD566C-1472-4D30-BBDC-7765974282BC}"/>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37" name="Shape21_20211201_132656">
              <a:extLst>
                <a:ext uri="{FF2B5EF4-FFF2-40B4-BE49-F238E27FC236}">
                  <a16:creationId xmlns:a16="http://schemas.microsoft.com/office/drawing/2014/main" id="{4BC97B7F-75AE-445C-B450-D8978F90352F}"/>
                </a:ext>
              </a:extLst>
            </p:cNvPr>
            <p:cNvGrpSpPr/>
            <p:nvPr/>
          </p:nvGrpSpPr>
          <p:grpSpPr>
            <a:xfrm>
              <a:off x="5916111" y="3019402"/>
              <a:ext cx="57515" cy="57515"/>
              <a:chOff x="4001361" y="3450225"/>
              <a:chExt cx="57515" cy="57515"/>
            </a:xfrm>
          </p:grpSpPr>
          <p:cxnSp>
            <p:nvCxnSpPr>
              <p:cNvPr id="338" name="Straight Connector 337">
                <a:extLst>
                  <a:ext uri="{FF2B5EF4-FFF2-40B4-BE49-F238E27FC236}">
                    <a16:creationId xmlns:a16="http://schemas.microsoft.com/office/drawing/2014/main" id="{84218F89-01DB-4427-986E-3D2F1F3A8F04}"/>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36578483-DCA0-432C-895B-84B7CDE52CD3}"/>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40" name="Shape22_20211201_132656">
              <a:extLst>
                <a:ext uri="{FF2B5EF4-FFF2-40B4-BE49-F238E27FC236}">
                  <a16:creationId xmlns:a16="http://schemas.microsoft.com/office/drawing/2014/main" id="{2E2AA204-C12C-4E0C-8342-C6592FC65D28}"/>
                </a:ext>
              </a:extLst>
            </p:cNvPr>
            <p:cNvGrpSpPr/>
            <p:nvPr/>
          </p:nvGrpSpPr>
          <p:grpSpPr>
            <a:xfrm>
              <a:off x="5830386" y="2920342"/>
              <a:ext cx="57515" cy="57515"/>
              <a:chOff x="4001361" y="3450225"/>
              <a:chExt cx="57515" cy="57515"/>
            </a:xfrm>
          </p:grpSpPr>
          <p:cxnSp>
            <p:nvCxnSpPr>
              <p:cNvPr id="341" name="Straight Connector 340">
                <a:extLst>
                  <a:ext uri="{FF2B5EF4-FFF2-40B4-BE49-F238E27FC236}">
                    <a16:creationId xmlns:a16="http://schemas.microsoft.com/office/drawing/2014/main" id="{EA63EE03-B322-45E2-B69A-5B654CCD9240}"/>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8A4E721F-7780-4C4C-80DC-46ECD7D81066}"/>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43" name="Shape23_20211201_132656">
              <a:extLst>
                <a:ext uri="{FF2B5EF4-FFF2-40B4-BE49-F238E27FC236}">
                  <a16:creationId xmlns:a16="http://schemas.microsoft.com/office/drawing/2014/main" id="{4D647FDF-0646-4CA5-B849-25F83E56A66E}"/>
                </a:ext>
              </a:extLst>
            </p:cNvPr>
            <p:cNvGrpSpPr/>
            <p:nvPr/>
          </p:nvGrpSpPr>
          <p:grpSpPr>
            <a:xfrm>
              <a:off x="5803716" y="2920342"/>
              <a:ext cx="57515" cy="57515"/>
              <a:chOff x="4001361" y="3450225"/>
              <a:chExt cx="57515" cy="57515"/>
            </a:xfrm>
          </p:grpSpPr>
          <p:cxnSp>
            <p:nvCxnSpPr>
              <p:cNvPr id="344" name="Straight Connector 343">
                <a:extLst>
                  <a:ext uri="{FF2B5EF4-FFF2-40B4-BE49-F238E27FC236}">
                    <a16:creationId xmlns:a16="http://schemas.microsoft.com/office/drawing/2014/main" id="{DA46C326-B81D-4E9E-960F-135A3A8FB55B}"/>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67493CF5-12CD-4961-A143-EFB6642114F8}"/>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46" name="Shape24_20211201_132656">
              <a:extLst>
                <a:ext uri="{FF2B5EF4-FFF2-40B4-BE49-F238E27FC236}">
                  <a16:creationId xmlns:a16="http://schemas.microsoft.com/office/drawing/2014/main" id="{973680A9-EC1C-4C2B-8E9B-D8B88405FBAC}"/>
                </a:ext>
              </a:extLst>
            </p:cNvPr>
            <p:cNvGrpSpPr/>
            <p:nvPr/>
          </p:nvGrpSpPr>
          <p:grpSpPr>
            <a:xfrm>
              <a:off x="5782761" y="2920342"/>
              <a:ext cx="57515" cy="57515"/>
              <a:chOff x="4001361" y="3450225"/>
              <a:chExt cx="57515" cy="57515"/>
            </a:xfrm>
          </p:grpSpPr>
          <p:cxnSp>
            <p:nvCxnSpPr>
              <p:cNvPr id="347" name="Straight Connector 346">
                <a:extLst>
                  <a:ext uri="{FF2B5EF4-FFF2-40B4-BE49-F238E27FC236}">
                    <a16:creationId xmlns:a16="http://schemas.microsoft.com/office/drawing/2014/main" id="{4E1AE33C-CF84-4394-AE70-A74B42663117}"/>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6F4DFCBF-69E3-4E11-A67C-FC1FA88061BE}"/>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49" name="Shape25_20211201_132656">
              <a:extLst>
                <a:ext uri="{FF2B5EF4-FFF2-40B4-BE49-F238E27FC236}">
                  <a16:creationId xmlns:a16="http://schemas.microsoft.com/office/drawing/2014/main" id="{58E283E6-D3DA-4A74-A701-7430F410A550}"/>
                </a:ext>
              </a:extLst>
            </p:cNvPr>
            <p:cNvGrpSpPr/>
            <p:nvPr/>
          </p:nvGrpSpPr>
          <p:grpSpPr>
            <a:xfrm>
              <a:off x="5773236" y="2920342"/>
              <a:ext cx="57515" cy="57515"/>
              <a:chOff x="4001361" y="3450225"/>
              <a:chExt cx="57515" cy="57515"/>
            </a:xfrm>
          </p:grpSpPr>
          <p:cxnSp>
            <p:nvCxnSpPr>
              <p:cNvPr id="350" name="Straight Connector 349">
                <a:extLst>
                  <a:ext uri="{FF2B5EF4-FFF2-40B4-BE49-F238E27FC236}">
                    <a16:creationId xmlns:a16="http://schemas.microsoft.com/office/drawing/2014/main" id="{BF64EE17-BA85-4B3C-88CC-A10C2D01B1CE}"/>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1" name="Straight Connector 350">
                <a:extLst>
                  <a:ext uri="{FF2B5EF4-FFF2-40B4-BE49-F238E27FC236}">
                    <a16:creationId xmlns:a16="http://schemas.microsoft.com/office/drawing/2014/main" id="{FED3BD50-1F12-45E8-9410-11FE1CFE0438}"/>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52" name="Shape26_20211201_132656">
              <a:extLst>
                <a:ext uri="{FF2B5EF4-FFF2-40B4-BE49-F238E27FC236}">
                  <a16:creationId xmlns:a16="http://schemas.microsoft.com/office/drawing/2014/main" id="{D07527EA-97C4-40DA-835C-61273CA66102}"/>
                </a:ext>
              </a:extLst>
            </p:cNvPr>
            <p:cNvGrpSpPr/>
            <p:nvPr/>
          </p:nvGrpSpPr>
          <p:grpSpPr>
            <a:xfrm>
              <a:off x="5717991" y="2870812"/>
              <a:ext cx="57515" cy="57515"/>
              <a:chOff x="4001361" y="3450225"/>
              <a:chExt cx="57515" cy="57515"/>
            </a:xfrm>
          </p:grpSpPr>
          <p:cxnSp>
            <p:nvCxnSpPr>
              <p:cNvPr id="353" name="Straight Connector 352">
                <a:extLst>
                  <a:ext uri="{FF2B5EF4-FFF2-40B4-BE49-F238E27FC236}">
                    <a16:creationId xmlns:a16="http://schemas.microsoft.com/office/drawing/2014/main" id="{86D8FE27-44A6-4800-97B3-6974CDE849E5}"/>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4" name="Straight Connector 353">
                <a:extLst>
                  <a:ext uri="{FF2B5EF4-FFF2-40B4-BE49-F238E27FC236}">
                    <a16:creationId xmlns:a16="http://schemas.microsoft.com/office/drawing/2014/main" id="{1C17BEB8-0C32-47A7-B092-C61D82CD1AA5}"/>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55" name="Shape27_20211201_132656">
              <a:extLst>
                <a:ext uri="{FF2B5EF4-FFF2-40B4-BE49-F238E27FC236}">
                  <a16:creationId xmlns:a16="http://schemas.microsoft.com/office/drawing/2014/main" id="{C80E51C0-A871-48A3-8E57-C59DADD41D56}"/>
                </a:ext>
              </a:extLst>
            </p:cNvPr>
            <p:cNvGrpSpPr/>
            <p:nvPr/>
          </p:nvGrpSpPr>
          <p:grpSpPr>
            <a:xfrm>
              <a:off x="5670366" y="2836522"/>
              <a:ext cx="57515" cy="57515"/>
              <a:chOff x="4001361" y="3450225"/>
              <a:chExt cx="57515" cy="57515"/>
            </a:xfrm>
          </p:grpSpPr>
          <p:cxnSp>
            <p:nvCxnSpPr>
              <p:cNvPr id="356" name="Straight Connector 355">
                <a:extLst>
                  <a:ext uri="{FF2B5EF4-FFF2-40B4-BE49-F238E27FC236}">
                    <a16:creationId xmlns:a16="http://schemas.microsoft.com/office/drawing/2014/main" id="{D0DD2E1C-4DDD-408E-BADB-BC277AB9F1F8}"/>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7" name="Straight Connector 356">
                <a:extLst>
                  <a:ext uri="{FF2B5EF4-FFF2-40B4-BE49-F238E27FC236}">
                    <a16:creationId xmlns:a16="http://schemas.microsoft.com/office/drawing/2014/main" id="{09BBE1F4-DD4E-44B6-BF62-B782243893B2}"/>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58" name="Shape28_20211201_132656">
              <a:extLst>
                <a:ext uri="{FF2B5EF4-FFF2-40B4-BE49-F238E27FC236}">
                  <a16:creationId xmlns:a16="http://schemas.microsoft.com/office/drawing/2014/main" id="{E7EB3E60-E618-4037-ADC1-E28BDE16C1C6}"/>
                </a:ext>
              </a:extLst>
            </p:cNvPr>
            <p:cNvGrpSpPr/>
            <p:nvPr/>
          </p:nvGrpSpPr>
          <p:grpSpPr>
            <a:xfrm>
              <a:off x="5373186" y="2407897"/>
              <a:ext cx="57515" cy="57515"/>
              <a:chOff x="4001361" y="3450225"/>
              <a:chExt cx="57515" cy="57515"/>
            </a:xfrm>
          </p:grpSpPr>
          <p:cxnSp>
            <p:nvCxnSpPr>
              <p:cNvPr id="359" name="Straight Connector 358">
                <a:extLst>
                  <a:ext uri="{FF2B5EF4-FFF2-40B4-BE49-F238E27FC236}">
                    <a16:creationId xmlns:a16="http://schemas.microsoft.com/office/drawing/2014/main" id="{E36F4313-1100-4AA3-BB63-7FFCDE138BD5}"/>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a16="http://schemas.microsoft.com/office/drawing/2014/main" id="{5F7F7620-EDB7-4B9D-897B-F510519010B6}"/>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61" name="Shape29_20211201_132656">
              <a:extLst>
                <a:ext uri="{FF2B5EF4-FFF2-40B4-BE49-F238E27FC236}">
                  <a16:creationId xmlns:a16="http://schemas.microsoft.com/office/drawing/2014/main" id="{0930ABC5-D2A4-436E-8901-FC3697084C4F}"/>
                </a:ext>
              </a:extLst>
            </p:cNvPr>
            <p:cNvGrpSpPr/>
            <p:nvPr/>
          </p:nvGrpSpPr>
          <p:grpSpPr>
            <a:xfrm>
              <a:off x="5302701" y="2278357"/>
              <a:ext cx="57515" cy="57515"/>
              <a:chOff x="4001361" y="3450225"/>
              <a:chExt cx="57515" cy="57515"/>
            </a:xfrm>
          </p:grpSpPr>
          <p:cxnSp>
            <p:nvCxnSpPr>
              <p:cNvPr id="362" name="Straight Connector 361">
                <a:extLst>
                  <a:ext uri="{FF2B5EF4-FFF2-40B4-BE49-F238E27FC236}">
                    <a16:creationId xmlns:a16="http://schemas.microsoft.com/office/drawing/2014/main" id="{4582F166-7466-4A5D-8C84-2042E0DBB20F}"/>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a16="http://schemas.microsoft.com/office/drawing/2014/main" id="{D72FDC54-443B-4AEC-8056-F8BFA254194D}"/>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64" name="Shape30_20211201_132656">
              <a:extLst>
                <a:ext uri="{FF2B5EF4-FFF2-40B4-BE49-F238E27FC236}">
                  <a16:creationId xmlns:a16="http://schemas.microsoft.com/office/drawing/2014/main" id="{9DC96735-224E-4A85-81BF-2124525355F8}"/>
                </a:ext>
              </a:extLst>
            </p:cNvPr>
            <p:cNvGrpSpPr/>
            <p:nvPr/>
          </p:nvGrpSpPr>
          <p:grpSpPr>
            <a:xfrm>
              <a:off x="5281746" y="2167867"/>
              <a:ext cx="57515" cy="57515"/>
              <a:chOff x="4001361" y="3450225"/>
              <a:chExt cx="57515" cy="57515"/>
            </a:xfrm>
          </p:grpSpPr>
          <p:cxnSp>
            <p:nvCxnSpPr>
              <p:cNvPr id="365" name="Straight Connector 364">
                <a:extLst>
                  <a:ext uri="{FF2B5EF4-FFF2-40B4-BE49-F238E27FC236}">
                    <a16:creationId xmlns:a16="http://schemas.microsoft.com/office/drawing/2014/main" id="{4B61FED9-8C3B-470C-9829-4D5B1BD61F4C}"/>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034B4F31-B818-481C-8E9D-167F06C95A3D}"/>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67" name="Shape31_20211201_132656">
              <a:extLst>
                <a:ext uri="{FF2B5EF4-FFF2-40B4-BE49-F238E27FC236}">
                  <a16:creationId xmlns:a16="http://schemas.microsoft.com/office/drawing/2014/main" id="{CE925EB4-494C-46A0-B7B6-9649463153DC}"/>
                </a:ext>
              </a:extLst>
            </p:cNvPr>
            <p:cNvGrpSpPr/>
            <p:nvPr/>
          </p:nvGrpSpPr>
          <p:grpSpPr>
            <a:xfrm>
              <a:off x="5255076" y="2034517"/>
              <a:ext cx="57515" cy="57515"/>
              <a:chOff x="4001361" y="3450225"/>
              <a:chExt cx="57515" cy="57515"/>
            </a:xfrm>
          </p:grpSpPr>
          <p:cxnSp>
            <p:nvCxnSpPr>
              <p:cNvPr id="368" name="Straight Connector 367">
                <a:extLst>
                  <a:ext uri="{FF2B5EF4-FFF2-40B4-BE49-F238E27FC236}">
                    <a16:creationId xmlns:a16="http://schemas.microsoft.com/office/drawing/2014/main" id="{FAE8EF37-FC7A-4505-BD67-64AF57B733A2}"/>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9" name="Straight Connector 368">
                <a:extLst>
                  <a:ext uri="{FF2B5EF4-FFF2-40B4-BE49-F238E27FC236}">
                    <a16:creationId xmlns:a16="http://schemas.microsoft.com/office/drawing/2014/main" id="{899EC4CF-CEBF-4AB1-A7BE-656449C3BC6D}"/>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405" name="Group 404">
            <a:extLst>
              <a:ext uri="{FF2B5EF4-FFF2-40B4-BE49-F238E27FC236}">
                <a16:creationId xmlns:a16="http://schemas.microsoft.com/office/drawing/2014/main" id="{C1EB157B-B283-4808-BD78-A29AB55D93A2}"/>
              </a:ext>
            </a:extLst>
          </p:cNvPr>
          <p:cNvGrpSpPr/>
          <p:nvPr/>
        </p:nvGrpSpPr>
        <p:grpSpPr>
          <a:xfrm>
            <a:off x="5257800" y="1950720"/>
            <a:ext cx="2802890" cy="1650106"/>
            <a:chOff x="5257800" y="1950720"/>
            <a:chExt cx="2802890" cy="1650106"/>
          </a:xfrm>
        </p:grpSpPr>
        <p:sp>
          <p:nvSpPr>
            <p:cNvPr id="62" name="Freeform 10">
              <a:extLst>
                <a:ext uri="{FF2B5EF4-FFF2-40B4-BE49-F238E27FC236}">
                  <a16:creationId xmlns:a16="http://schemas.microsoft.com/office/drawing/2014/main" id="{A762CE24-F48F-4E10-A506-7A9C9D17A398}"/>
                </a:ext>
              </a:extLst>
            </p:cNvPr>
            <p:cNvSpPr>
              <a:spLocks/>
            </p:cNvSpPr>
            <p:nvPr/>
          </p:nvSpPr>
          <p:spPr bwMode="auto">
            <a:xfrm>
              <a:off x="5257800" y="1950720"/>
              <a:ext cx="2783840" cy="1620520"/>
            </a:xfrm>
            <a:custGeom>
              <a:avLst/>
              <a:gdLst>
                <a:gd name="T0" fmla="*/ 0 w 3601"/>
                <a:gd name="T1" fmla="*/ 0 h 2089"/>
                <a:gd name="T2" fmla="*/ 0 w 3601"/>
                <a:gd name="T3" fmla="*/ 187 h 2089"/>
                <a:gd name="T4" fmla="*/ 4 w 3601"/>
                <a:gd name="T5" fmla="*/ 187 h 2089"/>
                <a:gd name="T6" fmla="*/ 4 w 3601"/>
                <a:gd name="T7" fmla="*/ 245 h 2089"/>
                <a:gd name="T8" fmla="*/ 9 w 3601"/>
                <a:gd name="T9" fmla="*/ 245 h 2089"/>
                <a:gd name="T10" fmla="*/ 9 w 3601"/>
                <a:gd name="T11" fmla="*/ 430 h 2089"/>
                <a:gd name="T12" fmla="*/ 15 w 3601"/>
                <a:gd name="T13" fmla="*/ 430 h 2089"/>
                <a:gd name="T14" fmla="*/ 15 w 3601"/>
                <a:gd name="T15" fmla="*/ 612 h 2089"/>
                <a:gd name="T16" fmla="*/ 20 w 3601"/>
                <a:gd name="T17" fmla="*/ 612 h 2089"/>
                <a:gd name="T18" fmla="*/ 20 w 3601"/>
                <a:gd name="T19" fmla="*/ 672 h 2089"/>
                <a:gd name="T20" fmla="*/ 25 w 3601"/>
                <a:gd name="T21" fmla="*/ 672 h 2089"/>
                <a:gd name="T22" fmla="*/ 25 w 3601"/>
                <a:gd name="T23" fmla="*/ 728 h 2089"/>
                <a:gd name="T24" fmla="*/ 31 w 3601"/>
                <a:gd name="T25" fmla="*/ 728 h 2089"/>
                <a:gd name="T26" fmla="*/ 31 w 3601"/>
                <a:gd name="T27" fmla="*/ 788 h 2089"/>
                <a:gd name="T28" fmla="*/ 36 w 3601"/>
                <a:gd name="T29" fmla="*/ 788 h 2089"/>
                <a:gd name="T30" fmla="*/ 36 w 3601"/>
                <a:gd name="T31" fmla="*/ 848 h 2089"/>
                <a:gd name="T32" fmla="*/ 62 w 3601"/>
                <a:gd name="T33" fmla="*/ 848 h 2089"/>
                <a:gd name="T34" fmla="*/ 62 w 3601"/>
                <a:gd name="T35" fmla="*/ 914 h 2089"/>
                <a:gd name="T36" fmla="*/ 68 w 3601"/>
                <a:gd name="T37" fmla="*/ 914 h 2089"/>
                <a:gd name="T38" fmla="*/ 68 w 3601"/>
                <a:gd name="T39" fmla="*/ 978 h 2089"/>
                <a:gd name="T40" fmla="*/ 68 w 3601"/>
                <a:gd name="T41" fmla="*/ 1033 h 2089"/>
                <a:gd name="T42" fmla="*/ 72 w 3601"/>
                <a:gd name="T43" fmla="*/ 1033 h 2089"/>
                <a:gd name="T44" fmla="*/ 72 w 3601"/>
                <a:gd name="T45" fmla="*/ 1092 h 2089"/>
                <a:gd name="T46" fmla="*/ 82 w 3601"/>
                <a:gd name="T47" fmla="*/ 1092 h 2089"/>
                <a:gd name="T48" fmla="*/ 82 w 3601"/>
                <a:gd name="T49" fmla="*/ 1150 h 2089"/>
                <a:gd name="T50" fmla="*/ 90 w 3601"/>
                <a:gd name="T51" fmla="*/ 1150 h 2089"/>
                <a:gd name="T52" fmla="*/ 90 w 3601"/>
                <a:gd name="T53" fmla="*/ 1161 h 2089"/>
                <a:gd name="T54" fmla="*/ 97 w 3601"/>
                <a:gd name="T55" fmla="*/ 1161 h 2089"/>
                <a:gd name="T56" fmla="*/ 97 w 3601"/>
                <a:gd name="T57" fmla="*/ 1219 h 2089"/>
                <a:gd name="T58" fmla="*/ 104 w 3601"/>
                <a:gd name="T59" fmla="*/ 1219 h 2089"/>
                <a:gd name="T60" fmla="*/ 104 w 3601"/>
                <a:gd name="T61" fmla="*/ 1278 h 2089"/>
                <a:gd name="T62" fmla="*/ 126 w 3601"/>
                <a:gd name="T63" fmla="*/ 1278 h 2089"/>
                <a:gd name="T64" fmla="*/ 126 w 3601"/>
                <a:gd name="T65" fmla="*/ 1344 h 2089"/>
                <a:gd name="T66" fmla="*/ 134 w 3601"/>
                <a:gd name="T67" fmla="*/ 1344 h 2089"/>
                <a:gd name="T68" fmla="*/ 134 w 3601"/>
                <a:gd name="T69" fmla="*/ 1411 h 2089"/>
                <a:gd name="T70" fmla="*/ 168 w 3601"/>
                <a:gd name="T71" fmla="*/ 1411 h 2089"/>
                <a:gd name="T72" fmla="*/ 168 w 3601"/>
                <a:gd name="T73" fmla="*/ 1485 h 2089"/>
                <a:gd name="T74" fmla="*/ 184 w 3601"/>
                <a:gd name="T75" fmla="*/ 1485 h 2089"/>
                <a:gd name="T76" fmla="*/ 184 w 3601"/>
                <a:gd name="T77" fmla="*/ 1555 h 2089"/>
                <a:gd name="T78" fmla="*/ 190 w 3601"/>
                <a:gd name="T79" fmla="*/ 1555 h 2089"/>
                <a:gd name="T80" fmla="*/ 190 w 3601"/>
                <a:gd name="T81" fmla="*/ 1628 h 2089"/>
                <a:gd name="T82" fmla="*/ 201 w 3601"/>
                <a:gd name="T83" fmla="*/ 1628 h 2089"/>
                <a:gd name="T84" fmla="*/ 201 w 3601"/>
                <a:gd name="T85" fmla="*/ 1708 h 2089"/>
                <a:gd name="T86" fmla="*/ 240 w 3601"/>
                <a:gd name="T87" fmla="*/ 1708 h 2089"/>
                <a:gd name="T88" fmla="*/ 240 w 3601"/>
                <a:gd name="T89" fmla="*/ 1774 h 2089"/>
                <a:gd name="T90" fmla="*/ 278 w 3601"/>
                <a:gd name="T91" fmla="*/ 1774 h 2089"/>
                <a:gd name="T92" fmla="*/ 278 w 3601"/>
                <a:gd name="T93" fmla="*/ 1846 h 2089"/>
                <a:gd name="T94" fmla="*/ 303 w 3601"/>
                <a:gd name="T95" fmla="*/ 1846 h 2089"/>
                <a:gd name="T96" fmla="*/ 303 w 3601"/>
                <a:gd name="T97" fmla="*/ 1924 h 2089"/>
                <a:gd name="T98" fmla="*/ 314 w 3601"/>
                <a:gd name="T99" fmla="*/ 1924 h 2089"/>
                <a:gd name="T100" fmla="*/ 314 w 3601"/>
                <a:gd name="T101" fmla="*/ 1999 h 2089"/>
                <a:gd name="T102" fmla="*/ 500 w 3601"/>
                <a:gd name="T103" fmla="*/ 1999 h 2089"/>
                <a:gd name="T104" fmla="*/ 500 w 3601"/>
                <a:gd name="T105" fmla="*/ 2089 h 2089"/>
                <a:gd name="T106" fmla="*/ 3601 w 3601"/>
                <a:gd name="T107" fmla="*/ 2089 h 2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01" h="2089">
                  <a:moveTo>
                    <a:pt x="0" y="0"/>
                  </a:moveTo>
                  <a:lnTo>
                    <a:pt x="0" y="187"/>
                  </a:lnTo>
                  <a:lnTo>
                    <a:pt x="4" y="187"/>
                  </a:lnTo>
                  <a:lnTo>
                    <a:pt x="4" y="245"/>
                  </a:lnTo>
                  <a:lnTo>
                    <a:pt x="9" y="245"/>
                  </a:lnTo>
                  <a:lnTo>
                    <a:pt x="9" y="430"/>
                  </a:lnTo>
                  <a:lnTo>
                    <a:pt x="15" y="430"/>
                  </a:lnTo>
                  <a:lnTo>
                    <a:pt x="15" y="612"/>
                  </a:lnTo>
                  <a:lnTo>
                    <a:pt x="20" y="612"/>
                  </a:lnTo>
                  <a:lnTo>
                    <a:pt x="20" y="672"/>
                  </a:lnTo>
                  <a:lnTo>
                    <a:pt x="25" y="672"/>
                  </a:lnTo>
                  <a:lnTo>
                    <a:pt x="25" y="728"/>
                  </a:lnTo>
                  <a:lnTo>
                    <a:pt x="31" y="728"/>
                  </a:lnTo>
                  <a:lnTo>
                    <a:pt x="31" y="788"/>
                  </a:lnTo>
                  <a:lnTo>
                    <a:pt x="36" y="788"/>
                  </a:lnTo>
                  <a:lnTo>
                    <a:pt x="36" y="848"/>
                  </a:lnTo>
                  <a:lnTo>
                    <a:pt x="62" y="848"/>
                  </a:lnTo>
                  <a:lnTo>
                    <a:pt x="62" y="914"/>
                  </a:lnTo>
                  <a:lnTo>
                    <a:pt x="68" y="914"/>
                  </a:lnTo>
                  <a:lnTo>
                    <a:pt x="68" y="978"/>
                  </a:lnTo>
                  <a:lnTo>
                    <a:pt x="68" y="1033"/>
                  </a:lnTo>
                  <a:lnTo>
                    <a:pt x="72" y="1033"/>
                  </a:lnTo>
                  <a:lnTo>
                    <a:pt x="72" y="1092"/>
                  </a:lnTo>
                  <a:lnTo>
                    <a:pt x="82" y="1092"/>
                  </a:lnTo>
                  <a:lnTo>
                    <a:pt x="82" y="1150"/>
                  </a:lnTo>
                  <a:lnTo>
                    <a:pt x="90" y="1150"/>
                  </a:lnTo>
                  <a:lnTo>
                    <a:pt x="90" y="1161"/>
                  </a:lnTo>
                  <a:lnTo>
                    <a:pt x="97" y="1161"/>
                  </a:lnTo>
                  <a:lnTo>
                    <a:pt x="97" y="1219"/>
                  </a:lnTo>
                  <a:lnTo>
                    <a:pt x="104" y="1219"/>
                  </a:lnTo>
                  <a:lnTo>
                    <a:pt x="104" y="1278"/>
                  </a:lnTo>
                  <a:lnTo>
                    <a:pt x="126" y="1278"/>
                  </a:lnTo>
                  <a:lnTo>
                    <a:pt x="126" y="1344"/>
                  </a:lnTo>
                  <a:lnTo>
                    <a:pt x="134" y="1344"/>
                  </a:lnTo>
                  <a:lnTo>
                    <a:pt x="134" y="1411"/>
                  </a:lnTo>
                  <a:lnTo>
                    <a:pt x="168" y="1411"/>
                  </a:lnTo>
                  <a:lnTo>
                    <a:pt x="168" y="1485"/>
                  </a:lnTo>
                  <a:lnTo>
                    <a:pt x="184" y="1485"/>
                  </a:lnTo>
                  <a:lnTo>
                    <a:pt x="184" y="1555"/>
                  </a:lnTo>
                  <a:lnTo>
                    <a:pt x="190" y="1555"/>
                  </a:lnTo>
                  <a:lnTo>
                    <a:pt x="190" y="1628"/>
                  </a:lnTo>
                  <a:lnTo>
                    <a:pt x="201" y="1628"/>
                  </a:lnTo>
                  <a:lnTo>
                    <a:pt x="201" y="1708"/>
                  </a:lnTo>
                  <a:lnTo>
                    <a:pt x="240" y="1708"/>
                  </a:lnTo>
                  <a:lnTo>
                    <a:pt x="240" y="1774"/>
                  </a:lnTo>
                  <a:lnTo>
                    <a:pt x="278" y="1774"/>
                  </a:lnTo>
                  <a:lnTo>
                    <a:pt x="278" y="1846"/>
                  </a:lnTo>
                  <a:lnTo>
                    <a:pt x="303" y="1846"/>
                  </a:lnTo>
                  <a:lnTo>
                    <a:pt x="303" y="1924"/>
                  </a:lnTo>
                  <a:lnTo>
                    <a:pt x="314" y="1924"/>
                  </a:lnTo>
                  <a:lnTo>
                    <a:pt x="314" y="1999"/>
                  </a:lnTo>
                  <a:lnTo>
                    <a:pt x="500" y="1999"/>
                  </a:lnTo>
                  <a:lnTo>
                    <a:pt x="500" y="2089"/>
                  </a:lnTo>
                  <a:lnTo>
                    <a:pt x="3601" y="2089"/>
                  </a:ln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nvGrpSpPr>
            <p:cNvPr id="404" name="Group 403">
              <a:extLst>
                <a:ext uri="{FF2B5EF4-FFF2-40B4-BE49-F238E27FC236}">
                  <a16:creationId xmlns:a16="http://schemas.microsoft.com/office/drawing/2014/main" id="{045E61F9-C38C-4705-B692-107B15E5B8B9}"/>
                </a:ext>
              </a:extLst>
            </p:cNvPr>
            <p:cNvGrpSpPr/>
            <p:nvPr/>
          </p:nvGrpSpPr>
          <p:grpSpPr>
            <a:xfrm>
              <a:off x="5292360" y="2775596"/>
              <a:ext cx="2768330" cy="825230"/>
              <a:chOff x="5292360" y="2775596"/>
              <a:chExt cx="2768330" cy="825230"/>
            </a:xfrm>
          </p:grpSpPr>
          <p:grpSp>
            <p:nvGrpSpPr>
              <p:cNvPr id="370" name="Shape1_20211201_120927">
                <a:extLst>
                  <a:ext uri="{FF2B5EF4-FFF2-40B4-BE49-F238E27FC236}">
                    <a16:creationId xmlns:a16="http://schemas.microsoft.com/office/drawing/2014/main" id="{3C9BE8E3-0F66-4148-968E-8818AEBE46F0}"/>
                  </a:ext>
                </a:extLst>
              </p:cNvPr>
              <p:cNvGrpSpPr/>
              <p:nvPr/>
            </p:nvGrpSpPr>
            <p:grpSpPr>
              <a:xfrm>
                <a:off x="8003175" y="3543311"/>
                <a:ext cx="57515" cy="57515"/>
                <a:chOff x="4001361" y="3450225"/>
                <a:chExt cx="57515" cy="57515"/>
              </a:xfrm>
            </p:grpSpPr>
            <p:cxnSp>
              <p:nvCxnSpPr>
                <p:cNvPr id="371" name="Straight Connector 370">
                  <a:extLst>
                    <a:ext uri="{FF2B5EF4-FFF2-40B4-BE49-F238E27FC236}">
                      <a16:creationId xmlns:a16="http://schemas.microsoft.com/office/drawing/2014/main" id="{3DA34D3B-E86B-40DE-A24B-0C72A1D6B60D}"/>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E8F2324D-10B5-4927-B8DF-5431C9F3A883}"/>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74" name="Shape2_20211201_120927">
                <a:extLst>
                  <a:ext uri="{FF2B5EF4-FFF2-40B4-BE49-F238E27FC236}">
                    <a16:creationId xmlns:a16="http://schemas.microsoft.com/office/drawing/2014/main" id="{D39432E2-0813-4358-BC05-C24895E784CB}"/>
                  </a:ext>
                </a:extLst>
              </p:cNvPr>
              <p:cNvGrpSpPr/>
              <p:nvPr/>
            </p:nvGrpSpPr>
            <p:grpSpPr>
              <a:xfrm>
                <a:off x="7504065" y="3543311"/>
                <a:ext cx="57515" cy="57515"/>
                <a:chOff x="4001361" y="3450225"/>
                <a:chExt cx="57515" cy="57515"/>
              </a:xfrm>
            </p:grpSpPr>
            <p:cxnSp>
              <p:nvCxnSpPr>
                <p:cNvPr id="375" name="Straight Connector 374">
                  <a:extLst>
                    <a:ext uri="{FF2B5EF4-FFF2-40B4-BE49-F238E27FC236}">
                      <a16:creationId xmlns:a16="http://schemas.microsoft.com/office/drawing/2014/main" id="{4D18FA41-B925-4866-B2CB-66C7C6239B76}"/>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38471499-4400-47DF-9E52-7841DA7D4FBC}"/>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77" name="Shape3_20211201_120927">
                <a:extLst>
                  <a:ext uri="{FF2B5EF4-FFF2-40B4-BE49-F238E27FC236}">
                    <a16:creationId xmlns:a16="http://schemas.microsoft.com/office/drawing/2014/main" id="{C17640BF-32AC-43B7-9BC3-8F862FC4DB37}"/>
                  </a:ext>
                </a:extLst>
              </p:cNvPr>
              <p:cNvGrpSpPr/>
              <p:nvPr/>
            </p:nvGrpSpPr>
            <p:grpSpPr>
              <a:xfrm>
                <a:off x="6256290" y="3543311"/>
                <a:ext cx="57515" cy="57515"/>
                <a:chOff x="4001361" y="3450225"/>
                <a:chExt cx="57515" cy="57515"/>
              </a:xfrm>
            </p:grpSpPr>
            <p:cxnSp>
              <p:nvCxnSpPr>
                <p:cNvPr id="378" name="Straight Connector 377">
                  <a:extLst>
                    <a:ext uri="{FF2B5EF4-FFF2-40B4-BE49-F238E27FC236}">
                      <a16:creationId xmlns:a16="http://schemas.microsoft.com/office/drawing/2014/main" id="{82816B41-176B-4579-8DEB-515A8E398C3E}"/>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294C4E5B-8641-4083-8449-B1C8F5207133}"/>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80" name="Shape4_20211201_120927">
                <a:extLst>
                  <a:ext uri="{FF2B5EF4-FFF2-40B4-BE49-F238E27FC236}">
                    <a16:creationId xmlns:a16="http://schemas.microsoft.com/office/drawing/2014/main" id="{864A335A-8AE9-4B4F-8069-502A51F3C9C7}"/>
                  </a:ext>
                </a:extLst>
              </p:cNvPr>
              <p:cNvGrpSpPr/>
              <p:nvPr/>
            </p:nvGrpSpPr>
            <p:grpSpPr>
              <a:xfrm>
                <a:off x="6046740" y="3543311"/>
                <a:ext cx="57515" cy="57515"/>
                <a:chOff x="4001361" y="3450225"/>
                <a:chExt cx="57515" cy="57515"/>
              </a:xfrm>
            </p:grpSpPr>
            <p:cxnSp>
              <p:nvCxnSpPr>
                <p:cNvPr id="381" name="Straight Connector 380">
                  <a:extLst>
                    <a:ext uri="{FF2B5EF4-FFF2-40B4-BE49-F238E27FC236}">
                      <a16:creationId xmlns:a16="http://schemas.microsoft.com/office/drawing/2014/main" id="{C4EFC445-FF09-4EEB-ACF9-D6FAC41BED2F}"/>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6484E5F5-E091-4181-B634-274F40B17DA6}"/>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83" name="Shape5_20211201_120927">
                <a:extLst>
                  <a:ext uri="{FF2B5EF4-FFF2-40B4-BE49-F238E27FC236}">
                    <a16:creationId xmlns:a16="http://schemas.microsoft.com/office/drawing/2014/main" id="{D3935195-F118-4B02-A862-07B3A87B2C47}"/>
                  </a:ext>
                </a:extLst>
              </p:cNvPr>
              <p:cNvGrpSpPr/>
              <p:nvPr/>
            </p:nvGrpSpPr>
            <p:grpSpPr>
              <a:xfrm>
                <a:off x="5839095" y="3543311"/>
                <a:ext cx="57515" cy="57515"/>
                <a:chOff x="4001361" y="3450225"/>
                <a:chExt cx="57515" cy="57515"/>
              </a:xfrm>
            </p:grpSpPr>
            <p:cxnSp>
              <p:nvCxnSpPr>
                <p:cNvPr id="384" name="Straight Connector 383">
                  <a:extLst>
                    <a:ext uri="{FF2B5EF4-FFF2-40B4-BE49-F238E27FC236}">
                      <a16:creationId xmlns:a16="http://schemas.microsoft.com/office/drawing/2014/main" id="{CCC108E7-549E-45D3-8B95-E5F3BAB7D468}"/>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5CCE9FA4-B060-4195-8DB8-545EF3AE6532}"/>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86" name="Shape6_20211201_120927">
                <a:extLst>
                  <a:ext uri="{FF2B5EF4-FFF2-40B4-BE49-F238E27FC236}">
                    <a16:creationId xmlns:a16="http://schemas.microsoft.com/office/drawing/2014/main" id="{72A418E0-C6FD-4276-B21B-B83961AFD981}"/>
                  </a:ext>
                </a:extLst>
              </p:cNvPr>
              <p:cNvGrpSpPr/>
              <p:nvPr/>
            </p:nvGrpSpPr>
            <p:grpSpPr>
              <a:xfrm>
                <a:off x="5741940" y="3543311"/>
                <a:ext cx="57515" cy="57515"/>
                <a:chOff x="4001361" y="3450225"/>
                <a:chExt cx="57515" cy="57515"/>
              </a:xfrm>
            </p:grpSpPr>
            <p:cxnSp>
              <p:nvCxnSpPr>
                <p:cNvPr id="387" name="Straight Connector 386">
                  <a:extLst>
                    <a:ext uri="{FF2B5EF4-FFF2-40B4-BE49-F238E27FC236}">
                      <a16:creationId xmlns:a16="http://schemas.microsoft.com/office/drawing/2014/main" id="{FA4FBF11-C17D-47E9-ACA5-5E9489F52F88}"/>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a16="http://schemas.microsoft.com/office/drawing/2014/main" id="{B31B13CA-95A8-438F-8121-9900C48023E4}"/>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89" name="Shape7_20211201_120927">
                <a:extLst>
                  <a:ext uri="{FF2B5EF4-FFF2-40B4-BE49-F238E27FC236}">
                    <a16:creationId xmlns:a16="http://schemas.microsoft.com/office/drawing/2014/main" id="{648499B6-A355-475C-AC9E-30AB02F4ED9E}"/>
                  </a:ext>
                </a:extLst>
              </p:cNvPr>
              <p:cNvGrpSpPr/>
              <p:nvPr/>
            </p:nvGrpSpPr>
            <p:grpSpPr>
              <a:xfrm>
                <a:off x="5644785" y="3543311"/>
                <a:ext cx="57515" cy="57515"/>
                <a:chOff x="4001361" y="3450225"/>
                <a:chExt cx="57515" cy="57515"/>
              </a:xfrm>
            </p:grpSpPr>
            <p:cxnSp>
              <p:nvCxnSpPr>
                <p:cNvPr id="390" name="Straight Connector 389">
                  <a:extLst>
                    <a:ext uri="{FF2B5EF4-FFF2-40B4-BE49-F238E27FC236}">
                      <a16:creationId xmlns:a16="http://schemas.microsoft.com/office/drawing/2014/main" id="{BF645BB6-A3C7-46C7-A0D7-4CEA39496AFA}"/>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a16="http://schemas.microsoft.com/office/drawing/2014/main" id="{5B043CB5-F678-4B57-8407-C6DD9A0A1B64}"/>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92" name="Shape8_20211201_120927">
                <a:extLst>
                  <a:ext uri="{FF2B5EF4-FFF2-40B4-BE49-F238E27FC236}">
                    <a16:creationId xmlns:a16="http://schemas.microsoft.com/office/drawing/2014/main" id="{042BDEE4-F710-4D49-80E8-498D285CB336}"/>
                  </a:ext>
                </a:extLst>
              </p:cNvPr>
              <p:cNvGrpSpPr/>
              <p:nvPr/>
            </p:nvGrpSpPr>
            <p:grpSpPr>
              <a:xfrm>
                <a:off x="5591445" y="3474731"/>
                <a:ext cx="57515" cy="57515"/>
                <a:chOff x="4001361" y="3450225"/>
                <a:chExt cx="57515" cy="57515"/>
              </a:xfrm>
            </p:grpSpPr>
            <p:cxnSp>
              <p:nvCxnSpPr>
                <p:cNvPr id="393" name="Straight Connector 392">
                  <a:extLst>
                    <a:ext uri="{FF2B5EF4-FFF2-40B4-BE49-F238E27FC236}">
                      <a16:creationId xmlns:a16="http://schemas.microsoft.com/office/drawing/2014/main" id="{8AC00CE5-3878-4407-9E32-22049832D090}"/>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7FB72A8E-1996-4F2D-9564-26BD7F3F62A3}"/>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95" name="Shape9_20211201_120927">
                <a:extLst>
                  <a:ext uri="{FF2B5EF4-FFF2-40B4-BE49-F238E27FC236}">
                    <a16:creationId xmlns:a16="http://schemas.microsoft.com/office/drawing/2014/main" id="{768AA04B-0818-47E4-811D-46D677DDFBB6}"/>
                  </a:ext>
                </a:extLst>
              </p:cNvPr>
              <p:cNvGrpSpPr/>
              <p:nvPr/>
            </p:nvGrpSpPr>
            <p:grpSpPr>
              <a:xfrm>
                <a:off x="5465715" y="3419486"/>
                <a:ext cx="57515" cy="57515"/>
                <a:chOff x="4001361" y="3450225"/>
                <a:chExt cx="57515" cy="57515"/>
              </a:xfrm>
            </p:grpSpPr>
            <p:cxnSp>
              <p:nvCxnSpPr>
                <p:cNvPr id="396" name="Straight Connector 395">
                  <a:extLst>
                    <a:ext uri="{FF2B5EF4-FFF2-40B4-BE49-F238E27FC236}">
                      <a16:creationId xmlns:a16="http://schemas.microsoft.com/office/drawing/2014/main" id="{2AB1E13C-DAAF-43E3-8ED4-019311FE9FBB}"/>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97" name="Straight Connector 396">
                  <a:extLst>
                    <a:ext uri="{FF2B5EF4-FFF2-40B4-BE49-F238E27FC236}">
                      <a16:creationId xmlns:a16="http://schemas.microsoft.com/office/drawing/2014/main" id="{A1973AF2-F519-493E-9BF8-24284318E7FB}"/>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98" name="Shape10_20211201_120927">
                <a:extLst>
                  <a:ext uri="{FF2B5EF4-FFF2-40B4-BE49-F238E27FC236}">
                    <a16:creationId xmlns:a16="http://schemas.microsoft.com/office/drawing/2014/main" id="{A069C16B-FCFD-4C3C-B849-7F6997F4D4FF}"/>
                  </a:ext>
                </a:extLst>
              </p:cNvPr>
              <p:cNvGrpSpPr/>
              <p:nvPr/>
            </p:nvGrpSpPr>
            <p:grpSpPr>
              <a:xfrm>
                <a:off x="5326650" y="2924186"/>
                <a:ext cx="57515" cy="57515"/>
                <a:chOff x="4001361" y="3450225"/>
                <a:chExt cx="57515" cy="57515"/>
              </a:xfrm>
            </p:grpSpPr>
            <p:cxnSp>
              <p:nvCxnSpPr>
                <p:cNvPr id="399" name="Straight Connector 398">
                  <a:extLst>
                    <a:ext uri="{FF2B5EF4-FFF2-40B4-BE49-F238E27FC236}">
                      <a16:creationId xmlns:a16="http://schemas.microsoft.com/office/drawing/2014/main" id="{E7DDBA49-3DB5-4359-977D-AD201E5C0CBD}"/>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70AD0982-7B32-4C0A-A045-089D25F729FF}"/>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01" name="Shape0_20211201_120927">
                <a:extLst>
                  <a:ext uri="{FF2B5EF4-FFF2-40B4-BE49-F238E27FC236}">
                    <a16:creationId xmlns:a16="http://schemas.microsoft.com/office/drawing/2014/main" id="{E5B72C25-B131-4CB5-AC25-CA0CE1083D61}"/>
                  </a:ext>
                </a:extLst>
              </p:cNvPr>
              <p:cNvGrpSpPr/>
              <p:nvPr/>
            </p:nvGrpSpPr>
            <p:grpSpPr>
              <a:xfrm>
                <a:off x="5292360" y="2775596"/>
                <a:ext cx="57515" cy="57515"/>
                <a:chOff x="4001361" y="3450225"/>
                <a:chExt cx="57515" cy="57515"/>
              </a:xfrm>
            </p:grpSpPr>
            <p:cxnSp>
              <p:nvCxnSpPr>
                <p:cNvPr id="402" name="Straight Connector 401">
                  <a:extLst>
                    <a:ext uri="{FF2B5EF4-FFF2-40B4-BE49-F238E27FC236}">
                      <a16:creationId xmlns:a16="http://schemas.microsoft.com/office/drawing/2014/main" id="{E61729F0-AD06-4031-AD34-B68933830F01}"/>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3" name="Straight Connector 402">
                  <a:extLst>
                    <a:ext uri="{FF2B5EF4-FFF2-40B4-BE49-F238E27FC236}">
                      <a16:creationId xmlns:a16="http://schemas.microsoft.com/office/drawing/2014/main" id="{34AB573D-F892-441E-ABD8-96D08A416766}"/>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3294980574"/>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C95D54E-9E33-44AB-9D5D-7A4703CE0CDE}"/>
              </a:ext>
            </a:extLst>
          </p:cNvPr>
          <p:cNvSpPr>
            <a:spLocks noGrp="1"/>
          </p:cNvSpPr>
          <p:nvPr>
            <p:ph type="body" idx="1"/>
          </p:nvPr>
        </p:nvSpPr>
        <p:spPr/>
        <p:txBody>
          <a:bodyPr/>
          <a:lstStyle/>
          <a:p>
            <a:endParaRPr lang="en-US"/>
          </a:p>
        </p:txBody>
      </p:sp>
      <p:sp>
        <p:nvSpPr>
          <p:cNvPr id="3" name="Text Placeholder 2">
            <a:extLst>
              <a:ext uri="{FF2B5EF4-FFF2-40B4-BE49-F238E27FC236}">
                <a16:creationId xmlns:a16="http://schemas.microsoft.com/office/drawing/2014/main" id="{04F67E10-3325-41B5-B0E4-369B28ADE24E}"/>
              </a:ext>
            </a:extLst>
          </p:cNvPr>
          <p:cNvSpPr>
            <a:spLocks noGrp="1"/>
          </p:cNvSpPr>
          <p:nvPr>
            <p:ph type="body" idx="2"/>
          </p:nvPr>
        </p:nvSpPr>
        <p:spPr>
          <a:xfrm>
            <a:off x="381648" y="4724054"/>
            <a:ext cx="8385048" cy="110800"/>
          </a:xfrm>
        </p:spPr>
        <p:txBody>
          <a:bodyPr anchor="t"/>
          <a:lstStyle/>
          <a:p>
            <a:pPr marL="0" indent="0">
              <a:spcBef>
                <a:spcPts val="0"/>
              </a:spcBef>
            </a:pPr>
            <a:r>
              <a:rPr lang="en-US" sz="600" dirty="0">
                <a:latin typeface="Gene Sans Light" panose="00000400000000000000" pitchFamily="50" charset="0"/>
              </a:rPr>
              <a:t>1. Barnes PJ. </a:t>
            </a:r>
            <a:r>
              <a:rPr lang="en-US" sz="600" i="1" dirty="0">
                <a:latin typeface="Gene Sans Light" panose="00000400000000000000" pitchFamily="50" charset="0"/>
              </a:rPr>
              <a:t>Pharmaceuticals</a:t>
            </a:r>
            <a:r>
              <a:rPr lang="en-US" sz="600" dirty="0">
                <a:latin typeface="Gene Sans Light" panose="00000400000000000000" pitchFamily="50" charset="0"/>
              </a:rPr>
              <a:t>. 2010;3:514-540. 2. Weber JS, et al. </a:t>
            </a:r>
            <a:r>
              <a:rPr lang="en-US" sz="600" i="1" dirty="0">
                <a:latin typeface="Gene Sans Light" panose="00000400000000000000" pitchFamily="50" charset="0"/>
              </a:rPr>
              <a:t>J Clin Oncol</a:t>
            </a:r>
            <a:r>
              <a:rPr lang="en-US" sz="600" dirty="0">
                <a:latin typeface="Gene Sans Light" panose="00000400000000000000" pitchFamily="50" charset="0"/>
              </a:rPr>
              <a:t>. 2017;35:785-792. 3. Horvat TZ, et al. </a:t>
            </a:r>
            <a:r>
              <a:rPr lang="en-US" sz="600" i="1" dirty="0">
                <a:latin typeface="Gene Sans Light" panose="00000400000000000000" pitchFamily="50" charset="0"/>
              </a:rPr>
              <a:t>J Clin Oncol</a:t>
            </a:r>
            <a:r>
              <a:rPr lang="en-US" sz="600" dirty="0">
                <a:latin typeface="Gene Sans Light" panose="00000400000000000000" pitchFamily="50" charset="0"/>
              </a:rPr>
              <a:t>. 2015;33:3193-3198. </a:t>
            </a:r>
            <a:r>
              <a:rPr lang="en-US" sz="600" dirty="0">
                <a:latin typeface="Gene Sans Light" panose="00000400000000000000" pitchFamily="2" charset="0"/>
              </a:rPr>
              <a:t>4. </a:t>
            </a:r>
            <a:r>
              <a:rPr lang="en-US" sz="600" dirty="0" err="1">
                <a:latin typeface="Gene Sans Light" panose="00000400000000000000" pitchFamily="2" charset="0"/>
              </a:rPr>
              <a:t>Riudavets</a:t>
            </a:r>
            <a:r>
              <a:rPr lang="en-US" sz="600" dirty="0">
                <a:latin typeface="Gene Sans Light" panose="00000400000000000000" pitchFamily="2" charset="0"/>
              </a:rPr>
              <a:t>, M et al. Front </a:t>
            </a:r>
            <a:r>
              <a:rPr lang="en-US" sz="600" dirty="0" err="1">
                <a:latin typeface="Gene Sans Light" panose="00000400000000000000" pitchFamily="2" charset="0"/>
              </a:rPr>
              <a:t>Oncol</a:t>
            </a:r>
            <a:r>
              <a:rPr lang="en-US" sz="600" dirty="0">
                <a:latin typeface="Gene Sans Light" panose="00000400000000000000" pitchFamily="2" charset="0"/>
              </a:rPr>
              <a:t>. 2020;10:1677. </a:t>
            </a:r>
            <a:r>
              <a:rPr lang="en-US" sz="600" dirty="0">
                <a:latin typeface="Gene Sans Light" panose="00000400000000000000" pitchFamily="50" charset="0"/>
              </a:rPr>
              <a:t>5. </a:t>
            </a:r>
            <a:r>
              <a:rPr lang="en-US" sz="600" dirty="0" err="1">
                <a:latin typeface="Gene Sans Light" panose="00000400000000000000" pitchFamily="50" charset="0"/>
              </a:rPr>
              <a:t>Faje</a:t>
            </a:r>
            <a:r>
              <a:rPr lang="en-US" sz="600" dirty="0">
                <a:latin typeface="Gene Sans Light" panose="00000400000000000000" pitchFamily="50" charset="0"/>
              </a:rPr>
              <a:t> AT, et al. </a:t>
            </a:r>
            <a:r>
              <a:rPr lang="en-US" sz="600" i="1" dirty="0">
                <a:latin typeface="Gene Sans Light" panose="00000400000000000000" pitchFamily="50" charset="0"/>
              </a:rPr>
              <a:t>Cancer</a:t>
            </a:r>
            <a:r>
              <a:rPr lang="en-US" sz="600" dirty="0">
                <a:latin typeface="Gene Sans Light" panose="00000400000000000000" pitchFamily="50" charset="0"/>
              </a:rPr>
              <a:t>. 2018;124:3706-3714. 6. </a:t>
            </a:r>
            <a:r>
              <a:rPr lang="en-US" sz="600" dirty="0" err="1">
                <a:latin typeface="Gene Sans Light" panose="00000400000000000000" pitchFamily="50" charset="0"/>
              </a:rPr>
              <a:t>Arbour</a:t>
            </a:r>
            <a:r>
              <a:rPr lang="en-US" sz="600" dirty="0">
                <a:latin typeface="Gene Sans Light" panose="00000400000000000000" pitchFamily="50" charset="0"/>
              </a:rPr>
              <a:t> KC, et al. </a:t>
            </a:r>
            <a:r>
              <a:rPr lang="en-US" sz="600" i="1" dirty="0">
                <a:latin typeface="Gene Sans Light" panose="00000400000000000000" pitchFamily="50" charset="0"/>
              </a:rPr>
              <a:t>J Clin Oncol</a:t>
            </a:r>
            <a:r>
              <a:rPr lang="en-US" sz="600" dirty="0">
                <a:latin typeface="Gene Sans Light" panose="00000400000000000000" pitchFamily="50" charset="0"/>
              </a:rPr>
              <a:t>. 2018;36:2872-2878. 7. </a:t>
            </a:r>
            <a:r>
              <a:rPr lang="en-US" sz="600" dirty="0" err="1">
                <a:latin typeface="Gene Sans Light" panose="00000400000000000000" pitchFamily="50" charset="0"/>
              </a:rPr>
              <a:t>Ricciuti</a:t>
            </a:r>
            <a:r>
              <a:rPr lang="en-US" sz="600" dirty="0">
                <a:latin typeface="Gene Sans Light" panose="00000400000000000000" pitchFamily="50" charset="0"/>
              </a:rPr>
              <a:t> B et al. </a:t>
            </a:r>
            <a:r>
              <a:rPr lang="en-US" sz="600" i="1" dirty="0">
                <a:latin typeface="Gene Sans Light" panose="00000400000000000000" pitchFamily="50" charset="0"/>
              </a:rPr>
              <a:t>J Clin Oncol</a:t>
            </a:r>
            <a:r>
              <a:rPr lang="en-US" sz="600" dirty="0">
                <a:latin typeface="Gene Sans Light" panose="00000400000000000000" pitchFamily="50" charset="0"/>
              </a:rPr>
              <a:t>. 2019. doi: 10.1200/JCO.19.00189. [</a:t>
            </a:r>
            <a:r>
              <a:rPr lang="en-US" sz="600" dirty="0" err="1">
                <a:latin typeface="Gene Sans Light" panose="00000400000000000000" pitchFamily="50" charset="0"/>
              </a:rPr>
              <a:t>Epub</a:t>
            </a:r>
            <a:r>
              <a:rPr lang="en-US" sz="600" dirty="0">
                <a:latin typeface="Gene Sans Light" panose="00000400000000000000" pitchFamily="50" charset="0"/>
              </a:rPr>
              <a:t> ahead of print] 8. Dougan M. </a:t>
            </a:r>
            <a:r>
              <a:rPr lang="en-US" sz="600" i="1" dirty="0">
                <a:latin typeface="Gene Sans Light" panose="00000400000000000000" pitchFamily="50" charset="0"/>
              </a:rPr>
              <a:t>Front Immunol</a:t>
            </a:r>
            <a:r>
              <a:rPr lang="en-US" sz="600" dirty="0">
                <a:latin typeface="Gene Sans Light" panose="00000400000000000000" pitchFamily="50" charset="0"/>
              </a:rPr>
              <a:t>. 2017;8:1547. 9. Calabrese LH, et al. </a:t>
            </a:r>
            <a:r>
              <a:rPr lang="en-US" sz="600" i="1" dirty="0">
                <a:latin typeface="Gene Sans Light" panose="00000400000000000000" pitchFamily="50" charset="0"/>
              </a:rPr>
              <a:t>Nat</a:t>
            </a:r>
            <a:r>
              <a:rPr lang="en-US" sz="600" dirty="0">
                <a:latin typeface="Gene Sans Light" panose="00000400000000000000" pitchFamily="50" charset="0"/>
              </a:rPr>
              <a:t> </a:t>
            </a:r>
            <a:r>
              <a:rPr lang="en-US" sz="600" i="1" dirty="0">
                <a:latin typeface="Gene Sans Light" panose="00000400000000000000" pitchFamily="50" charset="0"/>
              </a:rPr>
              <a:t>Rev </a:t>
            </a:r>
            <a:r>
              <a:rPr lang="en-US" sz="600" i="1" dirty="0" err="1">
                <a:latin typeface="Gene Sans Light" panose="00000400000000000000" pitchFamily="50" charset="0"/>
              </a:rPr>
              <a:t>Rheumatol</a:t>
            </a:r>
            <a:r>
              <a:rPr lang="en-US" sz="600" dirty="0">
                <a:latin typeface="Gene Sans Light" panose="00000400000000000000" pitchFamily="50" charset="0"/>
              </a:rPr>
              <a:t>. 2018;14:569-579. 10. Mitchell EL, et al. </a:t>
            </a:r>
            <a:r>
              <a:rPr lang="en-US" sz="600" i="1" dirty="0">
                <a:latin typeface="Gene Sans Light" panose="00000400000000000000" pitchFamily="50" charset="0"/>
              </a:rPr>
              <a:t>Eur J Cancer</a:t>
            </a:r>
            <a:r>
              <a:rPr lang="en-US" sz="600" dirty="0">
                <a:latin typeface="Gene Sans Light" panose="00000400000000000000" pitchFamily="50" charset="0"/>
              </a:rPr>
              <a:t>. 2018;105:88-102. </a:t>
            </a:r>
          </a:p>
        </p:txBody>
      </p:sp>
      <p:sp>
        <p:nvSpPr>
          <p:cNvPr id="5" name="Title 4">
            <a:extLst>
              <a:ext uri="{FF2B5EF4-FFF2-40B4-BE49-F238E27FC236}">
                <a16:creationId xmlns:a16="http://schemas.microsoft.com/office/drawing/2014/main" id="{F01D18BE-0443-4628-94BF-FCFDC3C196C3}"/>
              </a:ext>
            </a:extLst>
          </p:cNvPr>
          <p:cNvSpPr>
            <a:spLocks noGrp="1"/>
          </p:cNvSpPr>
          <p:nvPr>
            <p:ph type="title"/>
          </p:nvPr>
        </p:nvSpPr>
        <p:spPr/>
        <p:txBody>
          <a:bodyPr/>
          <a:lstStyle/>
          <a:p>
            <a:r>
              <a:rPr lang="en-US" dirty="0"/>
              <a:t>Association Between Use of Corticosteroids and Outcomes</a:t>
            </a:r>
          </a:p>
        </p:txBody>
      </p:sp>
      <p:sp>
        <p:nvSpPr>
          <p:cNvPr id="6" name="Google Shape;122;p3">
            <a:extLst>
              <a:ext uri="{FF2B5EF4-FFF2-40B4-BE49-F238E27FC236}">
                <a16:creationId xmlns:a16="http://schemas.microsoft.com/office/drawing/2014/main" id="{E471B720-21C1-4494-8635-9FEBD8B63980}"/>
              </a:ext>
            </a:extLst>
          </p:cNvPr>
          <p:cNvSpPr txBox="1">
            <a:spLocks/>
          </p:cNvSpPr>
          <p:nvPr/>
        </p:nvSpPr>
        <p:spPr>
          <a:xfrm>
            <a:off x="381000" y="94526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
        <p:nvSpPr>
          <p:cNvPr id="348" name="TextBox 347">
            <a:extLst>
              <a:ext uri="{FF2B5EF4-FFF2-40B4-BE49-F238E27FC236}">
                <a16:creationId xmlns:a16="http://schemas.microsoft.com/office/drawing/2014/main" id="{D0803DFC-51F5-4113-8DCB-3A70796E6F95}"/>
              </a:ext>
            </a:extLst>
          </p:cNvPr>
          <p:cNvSpPr txBox="1"/>
          <p:nvPr/>
        </p:nvSpPr>
        <p:spPr>
          <a:xfrm>
            <a:off x="380998" y="1209388"/>
            <a:ext cx="4686301" cy="276999"/>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Gene Sans" panose="00000500000000000000" pitchFamily="50" charset="0"/>
                <a:cs typeface="Arial"/>
                <a:sym typeface="Arial"/>
              </a:rPr>
              <a:t>Cellular effects of corticosteroids</a:t>
            </a:r>
            <a:r>
              <a:rPr kumimoji="0" lang="en-US" sz="1200" b="1" i="0" u="none" strike="noStrike" kern="0" cap="none" spc="0" normalizeH="0" baseline="30000" noProof="0" dirty="0">
                <a:ln>
                  <a:noFill/>
                </a:ln>
                <a:solidFill>
                  <a:srgbClr val="FFFFFF"/>
                </a:solidFill>
                <a:effectLst/>
                <a:uLnTx/>
                <a:uFillTx/>
                <a:latin typeface="Gene Sans" panose="00000500000000000000" pitchFamily="50" charset="0"/>
                <a:cs typeface="Arial"/>
                <a:sym typeface="Arial"/>
              </a:rPr>
              <a:t>1</a:t>
            </a:r>
          </a:p>
        </p:txBody>
      </p:sp>
      <p:graphicFrame>
        <p:nvGraphicFramePr>
          <p:cNvPr id="10" name="Table 10">
            <a:extLst>
              <a:ext uri="{FF2B5EF4-FFF2-40B4-BE49-F238E27FC236}">
                <a16:creationId xmlns:a16="http://schemas.microsoft.com/office/drawing/2014/main" id="{113FD4BA-0B5D-425B-A069-05D20B3C64A4}"/>
              </a:ext>
            </a:extLst>
          </p:cNvPr>
          <p:cNvGraphicFramePr>
            <a:graphicFrameLocks noGrp="1"/>
          </p:cNvGraphicFramePr>
          <p:nvPr/>
        </p:nvGraphicFramePr>
        <p:xfrm>
          <a:off x="380998" y="1550495"/>
          <a:ext cx="4686300" cy="3149791"/>
        </p:xfrm>
        <a:graphic>
          <a:graphicData uri="http://schemas.openxmlformats.org/drawingml/2006/table">
            <a:tbl>
              <a:tblPr firstRow="1" bandRow="1"/>
              <a:tblGrid>
                <a:gridCol w="1171575">
                  <a:extLst>
                    <a:ext uri="{9D8B030D-6E8A-4147-A177-3AD203B41FA5}">
                      <a16:colId xmlns:a16="http://schemas.microsoft.com/office/drawing/2014/main" val="1688322539"/>
                    </a:ext>
                  </a:extLst>
                </a:gridCol>
                <a:gridCol w="1171575">
                  <a:extLst>
                    <a:ext uri="{9D8B030D-6E8A-4147-A177-3AD203B41FA5}">
                      <a16:colId xmlns:a16="http://schemas.microsoft.com/office/drawing/2014/main" val="118992201"/>
                    </a:ext>
                  </a:extLst>
                </a:gridCol>
                <a:gridCol w="1171575">
                  <a:extLst>
                    <a:ext uri="{9D8B030D-6E8A-4147-A177-3AD203B41FA5}">
                      <a16:colId xmlns:a16="http://schemas.microsoft.com/office/drawing/2014/main" val="2504642316"/>
                    </a:ext>
                  </a:extLst>
                </a:gridCol>
                <a:gridCol w="1171575">
                  <a:extLst>
                    <a:ext uri="{9D8B030D-6E8A-4147-A177-3AD203B41FA5}">
                      <a16:colId xmlns:a16="http://schemas.microsoft.com/office/drawing/2014/main" val="134368957"/>
                    </a:ext>
                  </a:extLst>
                </a:gridCol>
              </a:tblGrid>
              <a:tr h="214028">
                <a:tc grid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100" b="1" dirty="0">
                          <a:solidFill>
                            <a:schemeClr val="tx2"/>
                          </a:solidFill>
                          <a:latin typeface="Gene Sans" panose="00000500000000000000" pitchFamily="50" charset="0"/>
                          <a:ea typeface="Arial"/>
                          <a:cs typeface="Arial"/>
                          <a:sym typeface="Arial"/>
                        </a:rPr>
                        <a:t>Inflammatory cells</a:t>
                      </a:r>
                      <a:endParaRPr lang="en-US" sz="1100" dirty="0">
                        <a:solidFill>
                          <a:schemeClr val="tx2"/>
                        </a:solidFill>
                        <a:latin typeface="Gene Sans" panose="00000500000000000000" pitchFamily="50"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US" dirty="0"/>
                    </a:p>
                  </a:txBody>
                  <a:tcPr/>
                </a:tc>
                <a:tc grid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100" b="1" dirty="0">
                          <a:solidFill>
                            <a:schemeClr val="tx2"/>
                          </a:solidFill>
                          <a:latin typeface="Gene Sans" panose="00000500000000000000" pitchFamily="50" charset="0"/>
                          <a:ea typeface="Arial"/>
                          <a:cs typeface="Arial"/>
                          <a:sym typeface="Arial"/>
                        </a:rPr>
                        <a:t>Structural cells</a:t>
                      </a:r>
                      <a:endParaRPr lang="en-US" sz="1100" dirty="0">
                        <a:solidFill>
                          <a:schemeClr val="tx2"/>
                        </a:solidFill>
                        <a:latin typeface="Gene Sans" panose="00000500000000000000" pitchFamily="50"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hMerge="1">
                  <a:txBody>
                    <a:bodyPr/>
                    <a:lstStyle/>
                    <a:p>
                      <a:endParaRPr lang="en-US" dirty="0"/>
                    </a:p>
                  </a:txBody>
                  <a:tcPr/>
                </a:tc>
                <a:extLst>
                  <a:ext uri="{0D108BD9-81ED-4DB2-BD59-A6C34878D82A}">
                    <a16:rowId xmlns:a16="http://schemas.microsoft.com/office/drawing/2014/main" val="3194642867"/>
                  </a:ext>
                </a:extLst>
              </a:tr>
              <a:tr h="214028">
                <a:tc gridSpan="4">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100" b="1" dirty="0">
                          <a:solidFill>
                            <a:schemeClr val="bg1"/>
                          </a:solidFill>
                          <a:latin typeface="Gene Sans" panose="00000500000000000000" pitchFamily="50" charset="0"/>
                          <a:ea typeface="Arial"/>
                          <a:cs typeface="Arial"/>
                          <a:sym typeface="Arial"/>
                        </a:rPr>
                        <a:t>CORTICOSTEROIDS</a:t>
                      </a:r>
                      <a:endParaRPr lang="en-US" sz="1100" dirty="0">
                        <a:solidFill>
                          <a:schemeClr val="bg1"/>
                        </a:solidFill>
                        <a:latin typeface="Gene Sans" panose="00000500000000000000" pitchFamily="50"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accent5"/>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3550551970"/>
                  </a:ext>
                </a:extLst>
              </a:tr>
              <a:tr h="544347">
                <a:tc>
                  <a:txBody>
                    <a:bodyPr/>
                    <a:lstStyle/>
                    <a:p>
                      <a:pPr marL="0" marR="0" lvl="0" indent="0" algn="r" rtl="0">
                        <a:spcBef>
                          <a:spcPts val="0"/>
                        </a:spcBef>
                        <a:spcAft>
                          <a:spcPts val="0"/>
                        </a:spcAft>
                        <a:buNone/>
                      </a:pPr>
                      <a:r>
                        <a:rPr kumimoji="0" lang="en-US" sz="900" b="1" i="0" u="none" strike="noStrike" kern="0" cap="none" spc="0" normalizeH="0" baseline="0" noProof="0" dirty="0">
                          <a:ln>
                            <a:noFill/>
                          </a:ln>
                          <a:solidFill>
                            <a:schemeClr val="accent5"/>
                          </a:solidFill>
                          <a:effectLst/>
                          <a:uLnTx/>
                          <a:uFillTx/>
                          <a:latin typeface="Gene Sans" panose="00000500000000000000" pitchFamily="50" charset="0"/>
                          <a:ea typeface="Arial"/>
                          <a:cs typeface="Arial"/>
                          <a:sym typeface="Arial"/>
                        </a:rPr>
                        <a:t>Eosinophil</a:t>
                      </a:r>
                      <a:br>
                        <a:rPr kumimoji="0" lang="en-US" sz="900" b="0" i="0" u="none" strike="noStrike" kern="0" cap="none" spc="0" normalizeH="0" baseline="0" noProof="0" dirty="0">
                          <a:ln>
                            <a:noFill/>
                          </a:ln>
                          <a:solidFill>
                            <a:schemeClr val="tx1"/>
                          </a:solidFill>
                          <a:effectLst/>
                          <a:uLnTx/>
                          <a:uFillTx/>
                          <a:latin typeface="Gene Sans Light" panose="00000400000000000000" pitchFamily="50" charset="0"/>
                          <a:ea typeface="Arial"/>
                          <a:cs typeface="Arial"/>
                          <a:sym typeface="Arial"/>
                        </a:rPr>
                      </a:br>
                      <a:r>
                        <a:rPr lang="en-US" sz="1100" dirty="0">
                          <a:solidFill>
                            <a:schemeClr val="dk1"/>
                          </a:solidFill>
                          <a:latin typeface="Gene Sans Light" panose="00000400000000000000" pitchFamily="50" charset="0"/>
                          <a:ea typeface="Arial"/>
                          <a:cs typeface="Arial"/>
                          <a:sym typeface="Arial"/>
                        </a:rPr>
                        <a:t>↓ </a:t>
                      </a:r>
                      <a:r>
                        <a:rPr lang="en-US" sz="900" dirty="0">
                          <a:solidFill>
                            <a:schemeClr val="dk1"/>
                          </a:solidFill>
                          <a:latin typeface="Gene Sans Light" panose="00000400000000000000" pitchFamily="50" charset="0"/>
                          <a:ea typeface="Arial"/>
                          <a:cs typeface="Arial"/>
                          <a:sym typeface="Arial"/>
                        </a:rPr>
                        <a:t>Numbers</a:t>
                      </a:r>
                      <a:r>
                        <a:rPr lang="en-US" sz="900" dirty="0">
                          <a:latin typeface="Gene Sans Light" panose="00000400000000000000" pitchFamily="50" charset="0"/>
                        </a:rPr>
                        <a:t> </a:t>
                      </a:r>
                      <a:r>
                        <a:rPr lang="en-US" sz="900" dirty="0">
                          <a:solidFill>
                            <a:schemeClr val="dk1"/>
                          </a:solidFill>
                          <a:latin typeface="Gene Sans Light" panose="00000400000000000000" pitchFamily="50" charset="0"/>
                          <a:ea typeface="Arial"/>
                          <a:cs typeface="Arial"/>
                          <a:sym typeface="Arial"/>
                        </a:rPr>
                        <a:t>(apoptosis)</a:t>
                      </a:r>
                      <a:endParaRPr lang="en-US" sz="900" dirty="0">
                        <a:latin typeface="Gene Sans Light" panose="00000400000000000000" pitchFamily="50"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endParaRPr lang="en-US" sz="900" dirty="0">
                        <a:solidFill>
                          <a:schemeClr val="tx1"/>
                        </a:solidFill>
                        <a:latin typeface="Gene Sans Light" panose="00000400000000000000" pitchFamily="50" charset="0"/>
                      </a:endParaRPr>
                    </a:p>
                  </a:txBody>
                  <a:tcPr marT="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ea typeface="Arial"/>
                        <a:cs typeface="Arial"/>
                        <a:sym typeface="Aria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1" i="0" u="none" strike="noStrike" kern="0" cap="none" spc="0" normalizeH="0" baseline="0" noProof="0" dirty="0">
                          <a:ln>
                            <a:noFill/>
                          </a:ln>
                          <a:solidFill>
                            <a:schemeClr val="accent5"/>
                          </a:solidFill>
                          <a:effectLst/>
                          <a:uLnTx/>
                          <a:uFillTx/>
                          <a:latin typeface="Gene Sans" panose="00000500000000000000" pitchFamily="50" charset="0"/>
                          <a:ea typeface="Arial"/>
                          <a:cs typeface="Arial"/>
                          <a:sym typeface="Arial"/>
                        </a:rPr>
                        <a:t>Epithelial cell</a:t>
                      </a:r>
                      <a:b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ea typeface="Arial"/>
                          <a:cs typeface="Arial"/>
                          <a:sym typeface="Arial"/>
                        </a:rPr>
                      </a:b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ea typeface="Arial"/>
                          <a:cs typeface="Arial"/>
                          <a:sym typeface="Arial"/>
                        </a:rPr>
                        <a:t>↓ Cytokine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ea typeface="Arial"/>
                          <a:cs typeface="Arial"/>
                          <a:sym typeface="Arial"/>
                        </a:rPr>
                        <a:t>↓ Mediator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19438112"/>
                  </a:ext>
                </a:extLst>
              </a:tr>
              <a:tr h="544347">
                <a:tc>
                  <a: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1" i="0" u="none" strike="noStrike" kern="0" cap="none" spc="0" normalizeH="0" baseline="0" noProof="0" dirty="0">
                          <a:ln>
                            <a:noFill/>
                          </a:ln>
                          <a:solidFill>
                            <a:schemeClr val="accent5"/>
                          </a:solidFill>
                          <a:effectLst/>
                          <a:uLnTx/>
                          <a:uFillTx/>
                          <a:latin typeface="Gene Sans" panose="00000500000000000000" pitchFamily="50" charset="0"/>
                          <a:ea typeface="Arial"/>
                          <a:cs typeface="Arial"/>
                          <a:sym typeface="Arial"/>
                        </a:rPr>
                        <a:t>T-lymphocyte</a:t>
                      </a:r>
                    </a:p>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ea typeface="Arial"/>
                          <a:cs typeface="Arial"/>
                          <a:sym typeface="Arial"/>
                        </a:rPr>
                        <a:t>↓ Cytokines</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endParaRPr lang="en-US" sz="900" dirty="0">
                        <a:solidFill>
                          <a:schemeClr val="tx1"/>
                        </a:solidFill>
                        <a:latin typeface="Gene Sans Light" panose="00000400000000000000" pitchFamily="50" charset="0"/>
                      </a:endParaRPr>
                    </a:p>
                  </a:txBody>
                  <a:tcPr marT="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ea typeface="Arial"/>
                        <a:cs typeface="Arial"/>
                        <a:sym typeface="Aria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1" i="0" u="none" strike="noStrike" kern="0" cap="none" spc="0" normalizeH="0" baseline="0" noProof="0" dirty="0">
                          <a:ln>
                            <a:noFill/>
                          </a:ln>
                          <a:solidFill>
                            <a:schemeClr val="accent5"/>
                          </a:solidFill>
                          <a:effectLst/>
                          <a:uLnTx/>
                          <a:uFillTx/>
                          <a:latin typeface="Gene Sans" panose="00000500000000000000" pitchFamily="50" charset="0"/>
                          <a:ea typeface="Arial"/>
                          <a:cs typeface="Arial"/>
                          <a:sym typeface="Arial"/>
                        </a:rPr>
                        <a:t>Endothelial cell</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ea typeface="Arial"/>
                          <a:cs typeface="Arial"/>
                          <a:sym typeface="Arial"/>
                        </a:rPr>
                        <a:t>↓ Leak</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990376104"/>
                  </a:ext>
                </a:extLst>
              </a:tr>
              <a:tr h="544347">
                <a:tc>
                  <a: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1" i="0" u="none" strike="noStrike" kern="0" cap="none" spc="0" normalizeH="0" baseline="0" noProof="0" dirty="0">
                          <a:ln>
                            <a:noFill/>
                          </a:ln>
                          <a:solidFill>
                            <a:schemeClr val="accent5"/>
                          </a:solidFill>
                          <a:effectLst/>
                          <a:uLnTx/>
                          <a:uFillTx/>
                          <a:latin typeface="Gene Sans" panose="00000500000000000000" pitchFamily="50" charset="0"/>
                          <a:ea typeface="Arial"/>
                          <a:cs typeface="Arial"/>
                          <a:sym typeface="Arial"/>
                        </a:rPr>
                        <a:t>Mast cell</a:t>
                      </a:r>
                      <a:b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ea typeface="Arial"/>
                          <a:cs typeface="Arial"/>
                          <a:sym typeface="Arial"/>
                        </a:rPr>
                      </a:b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ea typeface="Arial"/>
                          <a:cs typeface="Arial"/>
                          <a:sym typeface="Arial"/>
                        </a:rPr>
                        <a:t>↓ Numbers</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endParaRPr lang="en-US" sz="900" dirty="0">
                        <a:solidFill>
                          <a:schemeClr val="tx1"/>
                        </a:solidFill>
                        <a:latin typeface="Gene Sans Light" panose="00000400000000000000" pitchFamily="50" charset="0"/>
                      </a:endParaRPr>
                    </a:p>
                  </a:txBody>
                  <a:tcPr marT="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1" i="0" u="none" strike="noStrike" kern="0" cap="none" spc="0" normalizeH="0" baseline="0" noProof="0" dirty="0">
                          <a:ln>
                            <a:noFill/>
                          </a:ln>
                          <a:solidFill>
                            <a:schemeClr val="accent5"/>
                          </a:solidFill>
                          <a:effectLst/>
                          <a:uLnTx/>
                          <a:uFillTx/>
                          <a:latin typeface="Gene Sans" panose="00000500000000000000" pitchFamily="50" charset="0"/>
                          <a:ea typeface="Arial"/>
                          <a:cs typeface="Arial"/>
                          <a:sym typeface="Arial"/>
                        </a:rPr>
                        <a:t>Airway smooth muscle</a:t>
                      </a:r>
                      <a:br>
                        <a:rPr kumimoji="0" lang="en-US" sz="900" b="1" i="0" u="none" strike="noStrike" kern="0" cap="none" spc="0" normalizeH="0" baseline="0" noProof="0" dirty="0">
                          <a:ln>
                            <a:noFill/>
                          </a:ln>
                          <a:solidFill>
                            <a:schemeClr val="accent5"/>
                          </a:solidFill>
                          <a:effectLst/>
                          <a:uLnTx/>
                          <a:uFillTx/>
                          <a:latin typeface="Gene Sans" panose="00000500000000000000" pitchFamily="50" charset="0"/>
                          <a:ea typeface="Arial"/>
                          <a:cs typeface="Arial"/>
                          <a:sym typeface="Arial"/>
                        </a:rPr>
                      </a:br>
                      <a:r>
                        <a:rPr kumimoji="0" lang="el-GR" sz="900" b="0" i="0" u="none" strike="noStrike" kern="0" cap="none" spc="0" normalizeH="0" baseline="0" noProof="0" dirty="0">
                          <a:ln>
                            <a:noFill/>
                          </a:ln>
                          <a:solidFill>
                            <a:srgbClr val="545859"/>
                          </a:solidFill>
                          <a:effectLst/>
                          <a:uLnTx/>
                          <a:uFillTx/>
                          <a:latin typeface="Arial"/>
                          <a:ea typeface="Arial"/>
                          <a:cs typeface="Arial"/>
                          <a:sym typeface="Arial"/>
                        </a:rPr>
                        <a:t>↑ β</a:t>
                      </a:r>
                      <a:r>
                        <a:rPr kumimoji="0" lang="el-GR" sz="900" b="0" i="0" u="none" strike="noStrike" kern="0" cap="none" spc="0" normalizeH="0" baseline="-25000" noProof="0" dirty="0">
                          <a:ln>
                            <a:noFill/>
                          </a:ln>
                          <a:solidFill>
                            <a:srgbClr val="545859"/>
                          </a:solidFill>
                          <a:effectLst/>
                          <a:uLnTx/>
                          <a:uFillTx/>
                          <a:latin typeface="Arial"/>
                          <a:ea typeface="Arial"/>
                          <a:cs typeface="Arial"/>
                          <a:sym typeface="Arial"/>
                        </a:rPr>
                        <a:t>2</a:t>
                      </a:r>
                      <a:r>
                        <a:rPr kumimoji="0" lang="el-GR" sz="900" b="0" i="0" u="none" strike="noStrike" kern="0" cap="none" spc="0" normalizeH="0" baseline="0" noProof="0" dirty="0">
                          <a:ln>
                            <a:noFill/>
                          </a:ln>
                          <a:solidFill>
                            <a:srgbClr val="545859"/>
                          </a:solidFill>
                          <a:effectLst/>
                          <a:uLnTx/>
                          <a:uFillTx/>
                          <a:latin typeface="Arial"/>
                          <a:ea typeface="Arial"/>
                          <a:cs typeface="Arial"/>
                          <a:sym typeface="Arial"/>
                        </a:rPr>
                        <a:t>-</a:t>
                      </a: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ea typeface="Arial"/>
                          <a:cs typeface="Arial"/>
                          <a:sym typeface="Arial"/>
                        </a:rPr>
                        <a:t>receptors</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ea typeface="Arial"/>
                          <a:cs typeface="Arial"/>
                          <a:sym typeface="Arial"/>
                        </a:rPr>
                        <a:t>↓ Cytokines</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816684227"/>
                  </a:ext>
                </a:extLst>
              </a:tr>
              <a:tr h="544347">
                <a:tc>
                  <a: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1" i="0" u="none" strike="noStrike" kern="0" cap="none" spc="0" normalizeH="0" baseline="0" noProof="0" dirty="0">
                          <a:ln>
                            <a:noFill/>
                          </a:ln>
                          <a:solidFill>
                            <a:schemeClr val="accent5"/>
                          </a:solidFill>
                          <a:effectLst/>
                          <a:uLnTx/>
                          <a:uFillTx/>
                          <a:latin typeface="Gene Sans" panose="00000500000000000000" pitchFamily="50" charset="0"/>
                          <a:ea typeface="Arial"/>
                          <a:cs typeface="Arial"/>
                          <a:sym typeface="Arial"/>
                        </a:rPr>
                        <a:t>Macrophage</a:t>
                      </a:r>
                    </a:p>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ea typeface="Arial"/>
                          <a:cs typeface="Arial"/>
                          <a:sym typeface="Arial"/>
                        </a:rPr>
                        <a:t>↓ Cytokines</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endParaRPr lang="en-US" sz="900" dirty="0">
                        <a:solidFill>
                          <a:schemeClr val="tx1"/>
                        </a:solidFill>
                        <a:latin typeface="Gene Sans Light" panose="00000400000000000000" pitchFamily="50" charset="0"/>
                      </a:endParaRPr>
                    </a:p>
                  </a:txBody>
                  <a:tcPr marT="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ea typeface="Arial"/>
                        <a:cs typeface="Arial"/>
                        <a:sym typeface="Aria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1" i="0" u="none" strike="noStrike" kern="0" cap="none" spc="0" normalizeH="0" baseline="0" noProof="0" dirty="0">
                          <a:ln>
                            <a:noFill/>
                          </a:ln>
                          <a:solidFill>
                            <a:schemeClr val="accent5"/>
                          </a:solidFill>
                          <a:effectLst/>
                          <a:uLnTx/>
                          <a:uFillTx/>
                          <a:latin typeface="Gene Sans" panose="00000500000000000000" pitchFamily="50" charset="0"/>
                          <a:ea typeface="Arial"/>
                          <a:cs typeface="Arial"/>
                          <a:sym typeface="Arial"/>
                        </a:rPr>
                        <a:t>Mucus gland</a:t>
                      </a:r>
                      <a:b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ea typeface="Arial"/>
                          <a:cs typeface="Arial"/>
                          <a:sym typeface="Arial"/>
                        </a:rPr>
                      </a:b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ea typeface="Arial"/>
                          <a:cs typeface="Arial"/>
                          <a:sym typeface="Arial"/>
                        </a:rPr>
                        <a:t>↓ Mucus secretion</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87273899"/>
                  </a:ext>
                </a:extLst>
              </a:tr>
              <a:tr h="544347">
                <a:tc>
                  <a: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1" i="0" u="none" strike="noStrike" kern="0" cap="none" spc="0" normalizeH="0" baseline="0" noProof="0" dirty="0">
                          <a:ln>
                            <a:noFill/>
                          </a:ln>
                          <a:solidFill>
                            <a:schemeClr val="accent5"/>
                          </a:solidFill>
                          <a:effectLst/>
                          <a:uLnTx/>
                          <a:uFillTx/>
                          <a:latin typeface="Gene Sans" panose="00000500000000000000" pitchFamily="50" charset="0"/>
                          <a:ea typeface="Arial"/>
                          <a:cs typeface="Arial"/>
                          <a:sym typeface="Arial"/>
                        </a:rPr>
                        <a:t>Dendritic cell</a:t>
                      </a:r>
                      <a:b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ea typeface="Arial"/>
                          <a:cs typeface="Arial"/>
                          <a:sym typeface="Arial"/>
                        </a:rPr>
                      </a:b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ea typeface="Arial"/>
                          <a:cs typeface="Arial"/>
                          <a:sym typeface="Arial"/>
                        </a:rPr>
                        <a:t>↓ Dendritic cell</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endParaRPr lang="en-US" sz="900" dirty="0">
                        <a:solidFill>
                          <a:schemeClr val="tx1"/>
                        </a:solidFill>
                        <a:latin typeface="Gene Sans Light" panose="00000400000000000000" pitchFamily="50" charset="0"/>
                      </a:endParaRPr>
                    </a:p>
                  </a:txBody>
                  <a:tcPr marT="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tc>
                  <a:txBody>
                    <a:bodyPr/>
                    <a:lstStyle/>
                    <a:p>
                      <a:endParaRPr lang="en-US" sz="900" dirty="0">
                        <a:solidFill>
                          <a:schemeClr val="tx1"/>
                        </a:solidFill>
                        <a:latin typeface="Gene Sans Light" panose="00000400000000000000" pitchFamily="50" charset="0"/>
                      </a:endParaRPr>
                    </a:p>
                  </a:txBody>
                  <a:tcPr marT="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3745358619"/>
                  </a:ext>
                </a:extLst>
              </a:tr>
            </a:tbl>
          </a:graphicData>
        </a:graphic>
      </p:graphicFrame>
      <p:grpSp>
        <p:nvGrpSpPr>
          <p:cNvPr id="1519" name="Google Shape;2635;p19">
            <a:extLst>
              <a:ext uri="{FF2B5EF4-FFF2-40B4-BE49-F238E27FC236}">
                <a16:creationId xmlns:a16="http://schemas.microsoft.com/office/drawing/2014/main" id="{6AD416E1-4978-4ECB-97DE-C60C517A17B5}"/>
              </a:ext>
            </a:extLst>
          </p:cNvPr>
          <p:cNvGrpSpPr/>
          <p:nvPr/>
        </p:nvGrpSpPr>
        <p:grpSpPr>
          <a:xfrm>
            <a:off x="1966270" y="2053456"/>
            <a:ext cx="344184" cy="391680"/>
            <a:chOff x="7346988" y="2447886"/>
            <a:chExt cx="535908" cy="521143"/>
          </a:xfrm>
        </p:grpSpPr>
        <p:sp>
          <p:nvSpPr>
            <p:cNvPr id="1520" name="Google Shape;2636;p19">
              <a:extLst>
                <a:ext uri="{FF2B5EF4-FFF2-40B4-BE49-F238E27FC236}">
                  <a16:creationId xmlns:a16="http://schemas.microsoft.com/office/drawing/2014/main" id="{F5F4E74B-60B6-47CF-AE3D-3B04A74C0B1C}"/>
                </a:ext>
              </a:extLst>
            </p:cNvPr>
            <p:cNvSpPr/>
            <p:nvPr/>
          </p:nvSpPr>
          <p:spPr>
            <a:xfrm>
              <a:off x="7346988" y="2447886"/>
              <a:ext cx="535908" cy="521143"/>
            </a:xfrm>
            <a:custGeom>
              <a:avLst/>
              <a:gdLst/>
              <a:ahLst/>
              <a:cxnLst/>
              <a:rect l="l" t="t" r="r" b="b"/>
              <a:pathLst>
                <a:path w="535908" h="521143" extrusionOk="0">
                  <a:moveTo>
                    <a:pt x="152545" y="13059"/>
                  </a:moveTo>
                  <a:cubicBezTo>
                    <a:pt x="203716" y="1935"/>
                    <a:pt x="269347" y="-12527"/>
                    <a:pt x="332755" y="19733"/>
                  </a:cubicBezTo>
                  <a:cubicBezTo>
                    <a:pt x="396163" y="51993"/>
                    <a:pt x="519641" y="129861"/>
                    <a:pt x="532990" y="206617"/>
                  </a:cubicBezTo>
                  <a:cubicBezTo>
                    <a:pt x="546339" y="283373"/>
                    <a:pt x="515191" y="413524"/>
                    <a:pt x="412849" y="480269"/>
                  </a:cubicBezTo>
                  <a:cubicBezTo>
                    <a:pt x="310507" y="547014"/>
                    <a:pt x="227077" y="519204"/>
                    <a:pt x="159220" y="486944"/>
                  </a:cubicBezTo>
                  <a:cubicBezTo>
                    <a:pt x="91363" y="454684"/>
                    <a:pt x="17943" y="352342"/>
                    <a:pt x="5707" y="286710"/>
                  </a:cubicBezTo>
                  <a:cubicBezTo>
                    <a:pt x="-6529" y="221078"/>
                    <a:pt x="1257" y="132086"/>
                    <a:pt x="25730" y="86477"/>
                  </a:cubicBezTo>
                  <a:cubicBezTo>
                    <a:pt x="50203" y="40868"/>
                    <a:pt x="101374" y="24183"/>
                    <a:pt x="152545" y="13059"/>
                  </a:cubicBezTo>
                  <a:close/>
                </a:path>
              </a:pathLst>
            </a:custGeom>
            <a:solidFill>
              <a:schemeClr val="lt1"/>
            </a:solid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21" name="Google Shape;2637;p19">
              <a:extLst>
                <a:ext uri="{FF2B5EF4-FFF2-40B4-BE49-F238E27FC236}">
                  <a16:creationId xmlns:a16="http://schemas.microsoft.com/office/drawing/2014/main" id="{9F6D1F4F-31CC-40DA-B278-EE07217E5B42}"/>
                </a:ext>
              </a:extLst>
            </p:cNvPr>
            <p:cNvSpPr/>
            <p:nvPr/>
          </p:nvSpPr>
          <p:spPr>
            <a:xfrm>
              <a:off x="7370769" y="2520103"/>
              <a:ext cx="322674" cy="403715"/>
            </a:xfrm>
            <a:custGeom>
              <a:avLst/>
              <a:gdLst/>
              <a:ahLst/>
              <a:cxnLst/>
              <a:rect l="l" t="t" r="r" b="b"/>
              <a:pathLst>
                <a:path w="322674" h="403715" extrusionOk="0">
                  <a:moveTo>
                    <a:pt x="71690" y="2730"/>
                  </a:moveTo>
                  <a:cubicBezTo>
                    <a:pt x="51582" y="14372"/>
                    <a:pt x="7132" y="67288"/>
                    <a:pt x="1840" y="110680"/>
                  </a:cubicBezTo>
                  <a:cubicBezTo>
                    <a:pt x="-3452" y="154072"/>
                    <a:pt x="782" y="214397"/>
                    <a:pt x="39940" y="263080"/>
                  </a:cubicBezTo>
                  <a:cubicBezTo>
                    <a:pt x="79098" y="311763"/>
                    <a:pt x="164294" y="395901"/>
                    <a:pt x="236790" y="402780"/>
                  </a:cubicBezTo>
                  <a:cubicBezTo>
                    <a:pt x="309286" y="409659"/>
                    <a:pt x="319340" y="376851"/>
                    <a:pt x="322515" y="361505"/>
                  </a:cubicBezTo>
                  <a:cubicBezTo>
                    <a:pt x="325690" y="346159"/>
                    <a:pt x="280711" y="313880"/>
                    <a:pt x="255840" y="310705"/>
                  </a:cubicBezTo>
                  <a:cubicBezTo>
                    <a:pt x="230969" y="307530"/>
                    <a:pt x="193927" y="363622"/>
                    <a:pt x="173290" y="342455"/>
                  </a:cubicBezTo>
                  <a:cubicBezTo>
                    <a:pt x="152653" y="321288"/>
                    <a:pt x="173290" y="318643"/>
                    <a:pt x="170115" y="298005"/>
                  </a:cubicBezTo>
                  <a:cubicBezTo>
                    <a:pt x="166940" y="277368"/>
                    <a:pt x="187048" y="240855"/>
                    <a:pt x="154240" y="218630"/>
                  </a:cubicBezTo>
                  <a:cubicBezTo>
                    <a:pt x="121432" y="196405"/>
                    <a:pt x="86507" y="245618"/>
                    <a:pt x="68515" y="240855"/>
                  </a:cubicBezTo>
                  <a:cubicBezTo>
                    <a:pt x="50523" y="236093"/>
                    <a:pt x="40998" y="208047"/>
                    <a:pt x="46290" y="190055"/>
                  </a:cubicBezTo>
                  <a:cubicBezTo>
                    <a:pt x="51582" y="172063"/>
                    <a:pt x="87565" y="157776"/>
                    <a:pt x="100265" y="132905"/>
                  </a:cubicBezTo>
                  <a:cubicBezTo>
                    <a:pt x="160590" y="104859"/>
                    <a:pt x="127252" y="62526"/>
                    <a:pt x="122490" y="40830"/>
                  </a:cubicBezTo>
                  <a:cubicBezTo>
                    <a:pt x="117728" y="19134"/>
                    <a:pt x="91798" y="-8912"/>
                    <a:pt x="71690" y="2730"/>
                  </a:cubicBezTo>
                  <a:close/>
                </a:path>
              </a:pathLst>
            </a:custGeom>
            <a:solidFill>
              <a:srgbClr val="EC810D"/>
            </a:solidFill>
            <a:ln w="9525" cap="flat" cmpd="sng">
              <a:solidFill>
                <a:schemeClr val="accent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22" name="Google Shape;2638;p19">
              <a:extLst>
                <a:ext uri="{FF2B5EF4-FFF2-40B4-BE49-F238E27FC236}">
                  <a16:creationId xmlns:a16="http://schemas.microsoft.com/office/drawing/2014/main" id="{2DAEAAD6-727C-4430-A1CE-DAC67505A525}"/>
                </a:ext>
              </a:extLst>
            </p:cNvPr>
            <p:cNvSpPr/>
            <p:nvPr/>
          </p:nvSpPr>
          <p:spPr>
            <a:xfrm>
              <a:off x="7519694" y="2507418"/>
              <a:ext cx="45719" cy="45719"/>
            </a:xfrm>
            <a:prstGeom prst="ellipse">
              <a:avLst/>
            </a:prstGeom>
            <a:solidFill>
              <a:schemeClr val="accent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23" name="Google Shape;2639;p19">
              <a:extLst>
                <a:ext uri="{FF2B5EF4-FFF2-40B4-BE49-F238E27FC236}">
                  <a16:creationId xmlns:a16="http://schemas.microsoft.com/office/drawing/2014/main" id="{631414F9-B703-4194-BD67-00527FF9B811}"/>
                </a:ext>
              </a:extLst>
            </p:cNvPr>
            <p:cNvSpPr/>
            <p:nvPr/>
          </p:nvSpPr>
          <p:spPr>
            <a:xfrm>
              <a:off x="7660100" y="2534205"/>
              <a:ext cx="45719" cy="45719"/>
            </a:xfrm>
            <a:prstGeom prst="ellipse">
              <a:avLst/>
            </a:prstGeom>
            <a:solidFill>
              <a:schemeClr val="accent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24" name="Google Shape;2640;p19">
              <a:extLst>
                <a:ext uri="{FF2B5EF4-FFF2-40B4-BE49-F238E27FC236}">
                  <a16:creationId xmlns:a16="http://schemas.microsoft.com/office/drawing/2014/main" id="{1DB4C788-857C-4395-9584-007FAB1E702C}"/>
                </a:ext>
              </a:extLst>
            </p:cNvPr>
            <p:cNvSpPr/>
            <p:nvPr/>
          </p:nvSpPr>
          <p:spPr>
            <a:xfrm>
              <a:off x="7743908" y="2605543"/>
              <a:ext cx="45719" cy="45719"/>
            </a:xfrm>
            <a:prstGeom prst="ellipse">
              <a:avLst/>
            </a:prstGeom>
            <a:solidFill>
              <a:schemeClr val="accent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25" name="Google Shape;2641;p19">
              <a:extLst>
                <a:ext uri="{FF2B5EF4-FFF2-40B4-BE49-F238E27FC236}">
                  <a16:creationId xmlns:a16="http://schemas.microsoft.com/office/drawing/2014/main" id="{8D5752F7-8FD0-4CCB-BB96-FCD52FB0033C}"/>
                </a:ext>
              </a:extLst>
            </p:cNvPr>
            <p:cNvSpPr/>
            <p:nvPr/>
          </p:nvSpPr>
          <p:spPr>
            <a:xfrm>
              <a:off x="7804463" y="2708457"/>
              <a:ext cx="45719" cy="45719"/>
            </a:xfrm>
            <a:prstGeom prst="ellipse">
              <a:avLst/>
            </a:prstGeom>
            <a:solidFill>
              <a:schemeClr val="accent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26" name="Google Shape;2642;p19">
              <a:extLst>
                <a:ext uri="{FF2B5EF4-FFF2-40B4-BE49-F238E27FC236}">
                  <a16:creationId xmlns:a16="http://schemas.microsoft.com/office/drawing/2014/main" id="{BDF617F7-9175-4096-BEC4-044ABA581401}"/>
                </a:ext>
              </a:extLst>
            </p:cNvPr>
            <p:cNvSpPr/>
            <p:nvPr/>
          </p:nvSpPr>
          <p:spPr>
            <a:xfrm>
              <a:off x="7743908" y="2852011"/>
              <a:ext cx="45719" cy="45719"/>
            </a:xfrm>
            <a:prstGeom prst="ellipse">
              <a:avLst/>
            </a:prstGeom>
            <a:solidFill>
              <a:schemeClr val="accent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27" name="Google Shape;2643;p19">
              <a:extLst>
                <a:ext uri="{FF2B5EF4-FFF2-40B4-BE49-F238E27FC236}">
                  <a16:creationId xmlns:a16="http://schemas.microsoft.com/office/drawing/2014/main" id="{06CD3D5F-6A05-43B5-A9E3-A9B5AFF6693D}"/>
                </a:ext>
              </a:extLst>
            </p:cNvPr>
            <p:cNvSpPr/>
            <p:nvPr/>
          </p:nvSpPr>
          <p:spPr>
            <a:xfrm>
              <a:off x="7644139" y="2758190"/>
              <a:ext cx="45719" cy="45719"/>
            </a:xfrm>
            <a:prstGeom prst="ellipse">
              <a:avLst/>
            </a:prstGeom>
            <a:solidFill>
              <a:schemeClr val="accent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28" name="Google Shape;2644;p19">
              <a:extLst>
                <a:ext uri="{FF2B5EF4-FFF2-40B4-BE49-F238E27FC236}">
                  <a16:creationId xmlns:a16="http://schemas.microsoft.com/office/drawing/2014/main" id="{B84D6EFE-2797-4482-BEDD-9617EDAEFB71}"/>
                </a:ext>
              </a:extLst>
            </p:cNvPr>
            <p:cNvSpPr/>
            <p:nvPr/>
          </p:nvSpPr>
          <p:spPr>
            <a:xfrm>
              <a:off x="7519694" y="2646301"/>
              <a:ext cx="45719" cy="45719"/>
            </a:xfrm>
            <a:prstGeom prst="ellipse">
              <a:avLst/>
            </a:prstGeom>
            <a:solidFill>
              <a:schemeClr val="accent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29" name="Google Shape;2645;p19">
              <a:extLst>
                <a:ext uri="{FF2B5EF4-FFF2-40B4-BE49-F238E27FC236}">
                  <a16:creationId xmlns:a16="http://schemas.microsoft.com/office/drawing/2014/main" id="{73A8B019-A4A8-49DE-B955-8A13345442FD}"/>
                </a:ext>
              </a:extLst>
            </p:cNvPr>
            <p:cNvSpPr/>
            <p:nvPr/>
          </p:nvSpPr>
          <p:spPr>
            <a:xfrm>
              <a:off x="7646067" y="2630573"/>
              <a:ext cx="45719" cy="45719"/>
            </a:xfrm>
            <a:prstGeom prst="ellipse">
              <a:avLst/>
            </a:prstGeom>
            <a:solidFill>
              <a:schemeClr val="accent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grpSp>
        <p:nvGrpSpPr>
          <p:cNvPr id="1530" name="Google Shape;2646;p19">
            <a:extLst>
              <a:ext uri="{FF2B5EF4-FFF2-40B4-BE49-F238E27FC236}">
                <a16:creationId xmlns:a16="http://schemas.microsoft.com/office/drawing/2014/main" id="{07AE91A3-FEC0-416E-950F-C035EF3BA742}"/>
              </a:ext>
            </a:extLst>
          </p:cNvPr>
          <p:cNvGrpSpPr/>
          <p:nvPr/>
        </p:nvGrpSpPr>
        <p:grpSpPr>
          <a:xfrm>
            <a:off x="1972931" y="2600367"/>
            <a:ext cx="330862" cy="387186"/>
            <a:chOff x="7901956" y="3360334"/>
            <a:chExt cx="571385" cy="571385"/>
          </a:xfrm>
        </p:grpSpPr>
        <p:sp>
          <p:nvSpPr>
            <p:cNvPr id="1531" name="Google Shape;2647;p19">
              <a:extLst>
                <a:ext uri="{FF2B5EF4-FFF2-40B4-BE49-F238E27FC236}">
                  <a16:creationId xmlns:a16="http://schemas.microsoft.com/office/drawing/2014/main" id="{9D9770D8-A2ED-42DA-9801-6D96DB14978F}"/>
                </a:ext>
              </a:extLst>
            </p:cNvPr>
            <p:cNvSpPr/>
            <p:nvPr/>
          </p:nvSpPr>
          <p:spPr>
            <a:xfrm>
              <a:off x="7901956" y="3360334"/>
              <a:ext cx="571385" cy="571385"/>
            </a:xfrm>
            <a:prstGeom prst="ellipse">
              <a:avLst/>
            </a:prstGeom>
            <a:solidFill>
              <a:srgbClr val="305359"/>
            </a:solid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32" name="Google Shape;2648;p19">
              <a:extLst>
                <a:ext uri="{FF2B5EF4-FFF2-40B4-BE49-F238E27FC236}">
                  <a16:creationId xmlns:a16="http://schemas.microsoft.com/office/drawing/2014/main" id="{1456C20F-3FD1-4CEB-AB0F-CCD38452F434}"/>
                </a:ext>
              </a:extLst>
            </p:cNvPr>
            <p:cNvSpPr/>
            <p:nvPr/>
          </p:nvSpPr>
          <p:spPr>
            <a:xfrm>
              <a:off x="7930531" y="3404719"/>
              <a:ext cx="399418" cy="470451"/>
            </a:xfrm>
            <a:custGeom>
              <a:avLst/>
              <a:gdLst/>
              <a:ahLst/>
              <a:cxnLst/>
              <a:rect l="l" t="t" r="r" b="b"/>
              <a:pathLst>
                <a:path w="399418" h="470451" extrusionOk="0">
                  <a:moveTo>
                    <a:pt x="231914" y="6011"/>
                  </a:moveTo>
                  <a:cubicBezTo>
                    <a:pt x="270013" y="28236"/>
                    <a:pt x="246202" y="51652"/>
                    <a:pt x="248583" y="84593"/>
                  </a:cubicBezTo>
                  <a:cubicBezTo>
                    <a:pt x="250964" y="117534"/>
                    <a:pt x="229533" y="170715"/>
                    <a:pt x="246202" y="203655"/>
                  </a:cubicBezTo>
                  <a:cubicBezTo>
                    <a:pt x="262871" y="236596"/>
                    <a:pt x="323195" y="252867"/>
                    <a:pt x="348595" y="282236"/>
                  </a:cubicBezTo>
                  <a:cubicBezTo>
                    <a:pt x="373995" y="311605"/>
                    <a:pt x="394236" y="352484"/>
                    <a:pt x="398602" y="379868"/>
                  </a:cubicBezTo>
                  <a:cubicBezTo>
                    <a:pt x="402968" y="407252"/>
                    <a:pt x="389077" y="431462"/>
                    <a:pt x="374789" y="446543"/>
                  </a:cubicBezTo>
                  <a:cubicBezTo>
                    <a:pt x="360502" y="461624"/>
                    <a:pt x="344230" y="471546"/>
                    <a:pt x="312877" y="470355"/>
                  </a:cubicBezTo>
                  <a:cubicBezTo>
                    <a:pt x="281524" y="469164"/>
                    <a:pt x="231914" y="460830"/>
                    <a:pt x="186670" y="439399"/>
                  </a:cubicBezTo>
                  <a:cubicBezTo>
                    <a:pt x="141426" y="417968"/>
                    <a:pt x="72370" y="377487"/>
                    <a:pt x="41414" y="341768"/>
                  </a:cubicBezTo>
                  <a:cubicBezTo>
                    <a:pt x="10458" y="306049"/>
                    <a:pt x="4505" y="260805"/>
                    <a:pt x="933" y="225086"/>
                  </a:cubicBezTo>
                  <a:cubicBezTo>
                    <a:pt x="-2639" y="189367"/>
                    <a:pt x="4108" y="156824"/>
                    <a:pt x="19983" y="127455"/>
                  </a:cubicBezTo>
                  <a:cubicBezTo>
                    <a:pt x="35858" y="98086"/>
                    <a:pt x="77133" y="63955"/>
                    <a:pt x="96183" y="48874"/>
                  </a:cubicBezTo>
                  <a:cubicBezTo>
                    <a:pt x="115233" y="33793"/>
                    <a:pt x="111661" y="44112"/>
                    <a:pt x="134283" y="36968"/>
                  </a:cubicBezTo>
                  <a:cubicBezTo>
                    <a:pt x="156905" y="29824"/>
                    <a:pt x="193815" y="-16214"/>
                    <a:pt x="231914" y="6011"/>
                  </a:cubicBezTo>
                  <a:close/>
                </a:path>
              </a:pathLst>
            </a:custGeom>
            <a:solidFill>
              <a:srgbClr val="10BAEE"/>
            </a:solidFill>
            <a:ln w="9525" cap="flat" cmpd="sng">
              <a:solidFill>
                <a:srgbClr val="00336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grpSp>
        <p:nvGrpSpPr>
          <p:cNvPr id="1533" name="Google Shape;2649;p19">
            <a:extLst>
              <a:ext uri="{FF2B5EF4-FFF2-40B4-BE49-F238E27FC236}">
                <a16:creationId xmlns:a16="http://schemas.microsoft.com/office/drawing/2014/main" id="{B7D18456-F46F-4480-8F27-63E403FF4F43}"/>
              </a:ext>
            </a:extLst>
          </p:cNvPr>
          <p:cNvGrpSpPr/>
          <p:nvPr/>
        </p:nvGrpSpPr>
        <p:grpSpPr>
          <a:xfrm>
            <a:off x="1970475" y="3142989"/>
            <a:ext cx="335776" cy="391272"/>
            <a:chOff x="7291209" y="4411027"/>
            <a:chExt cx="573673" cy="571245"/>
          </a:xfrm>
        </p:grpSpPr>
        <p:grpSp>
          <p:nvGrpSpPr>
            <p:cNvPr id="1534" name="Google Shape;2650;p19">
              <a:extLst>
                <a:ext uri="{FF2B5EF4-FFF2-40B4-BE49-F238E27FC236}">
                  <a16:creationId xmlns:a16="http://schemas.microsoft.com/office/drawing/2014/main" id="{F7A64EFC-F390-4596-A234-D5B0FA0336D4}"/>
                </a:ext>
              </a:extLst>
            </p:cNvPr>
            <p:cNvGrpSpPr/>
            <p:nvPr/>
          </p:nvGrpSpPr>
          <p:grpSpPr>
            <a:xfrm>
              <a:off x="7291209" y="4411027"/>
              <a:ext cx="573673" cy="571245"/>
              <a:chOff x="7924800" y="4363063"/>
              <a:chExt cx="573673" cy="571245"/>
            </a:xfrm>
          </p:grpSpPr>
          <p:sp>
            <p:nvSpPr>
              <p:cNvPr id="1549" name="Google Shape;2651;p19">
                <a:extLst>
                  <a:ext uri="{FF2B5EF4-FFF2-40B4-BE49-F238E27FC236}">
                    <a16:creationId xmlns:a16="http://schemas.microsoft.com/office/drawing/2014/main" id="{2CE58C93-12A7-4F0E-B4E0-6C93A7F472FB}"/>
                  </a:ext>
                </a:extLst>
              </p:cNvPr>
              <p:cNvSpPr/>
              <p:nvPr/>
            </p:nvSpPr>
            <p:spPr>
              <a:xfrm>
                <a:off x="7924800" y="4363063"/>
                <a:ext cx="573673" cy="571245"/>
              </a:xfrm>
              <a:custGeom>
                <a:avLst/>
                <a:gdLst/>
                <a:ahLst/>
                <a:cxnLst/>
                <a:rect l="l" t="t" r="r" b="b"/>
                <a:pathLst>
                  <a:path w="573673" h="571245" extrusionOk="0">
                    <a:moveTo>
                      <a:pt x="378086" y="13685"/>
                    </a:moveTo>
                    <a:cubicBezTo>
                      <a:pt x="417377" y="28369"/>
                      <a:pt x="417377" y="65675"/>
                      <a:pt x="435236" y="89885"/>
                    </a:cubicBezTo>
                    <a:cubicBezTo>
                      <a:pt x="453095" y="114095"/>
                      <a:pt x="467780" y="131161"/>
                      <a:pt x="485242" y="158942"/>
                    </a:cubicBezTo>
                    <a:cubicBezTo>
                      <a:pt x="502704" y="186723"/>
                      <a:pt x="525327" y="224029"/>
                      <a:pt x="540011" y="256573"/>
                    </a:cubicBezTo>
                    <a:cubicBezTo>
                      <a:pt x="554695" y="289117"/>
                      <a:pt x="570967" y="315310"/>
                      <a:pt x="573348" y="354204"/>
                    </a:cubicBezTo>
                    <a:cubicBezTo>
                      <a:pt x="575729" y="393098"/>
                      <a:pt x="564617" y="458979"/>
                      <a:pt x="554298" y="489935"/>
                    </a:cubicBezTo>
                    <a:cubicBezTo>
                      <a:pt x="543979" y="520891"/>
                      <a:pt x="533661" y="526448"/>
                      <a:pt x="511436" y="539942"/>
                    </a:cubicBezTo>
                    <a:cubicBezTo>
                      <a:pt x="489211" y="553436"/>
                      <a:pt x="461429" y="568517"/>
                      <a:pt x="420948" y="570898"/>
                    </a:cubicBezTo>
                    <a:cubicBezTo>
                      <a:pt x="380467" y="573279"/>
                      <a:pt x="312601" y="562960"/>
                      <a:pt x="268548" y="554229"/>
                    </a:cubicBezTo>
                    <a:cubicBezTo>
                      <a:pt x="224495" y="545498"/>
                      <a:pt x="190364" y="532004"/>
                      <a:pt x="156630" y="518510"/>
                    </a:cubicBezTo>
                    <a:cubicBezTo>
                      <a:pt x="122896" y="505016"/>
                      <a:pt x="91145" y="499858"/>
                      <a:pt x="66142" y="473267"/>
                    </a:cubicBezTo>
                    <a:cubicBezTo>
                      <a:pt x="41139" y="446677"/>
                      <a:pt x="15739" y="398258"/>
                      <a:pt x="6611" y="358967"/>
                    </a:cubicBezTo>
                    <a:cubicBezTo>
                      <a:pt x="-2517" y="319676"/>
                      <a:pt x="-3311" y="292292"/>
                      <a:pt x="11373" y="237523"/>
                    </a:cubicBezTo>
                    <a:cubicBezTo>
                      <a:pt x="26057" y="182754"/>
                      <a:pt x="63364" y="69645"/>
                      <a:pt x="94717" y="30354"/>
                    </a:cubicBezTo>
                    <a:cubicBezTo>
                      <a:pt x="126070" y="-8937"/>
                      <a:pt x="151867" y="5351"/>
                      <a:pt x="199492" y="1779"/>
                    </a:cubicBezTo>
                    <a:cubicBezTo>
                      <a:pt x="247117" y="-1793"/>
                      <a:pt x="338795" y="-999"/>
                      <a:pt x="378086" y="13685"/>
                    </a:cubicBezTo>
                    <a:close/>
                  </a:path>
                </a:pathLst>
              </a:custGeom>
              <a:solidFill>
                <a:schemeClr val="lt1"/>
              </a:solid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50" name="Google Shape;2652;p19">
                <a:extLst>
                  <a:ext uri="{FF2B5EF4-FFF2-40B4-BE49-F238E27FC236}">
                    <a16:creationId xmlns:a16="http://schemas.microsoft.com/office/drawing/2014/main" id="{8A58E4EC-0D2C-437C-BED9-9C8F86D6F744}"/>
                  </a:ext>
                </a:extLst>
              </p:cNvPr>
              <p:cNvSpPr/>
              <p:nvPr/>
            </p:nvSpPr>
            <p:spPr>
              <a:xfrm>
                <a:off x="7986618" y="4408711"/>
                <a:ext cx="302513" cy="454814"/>
              </a:xfrm>
              <a:custGeom>
                <a:avLst/>
                <a:gdLst/>
                <a:ahLst/>
                <a:cxnLst/>
                <a:rect l="l" t="t" r="r" b="b"/>
                <a:pathLst>
                  <a:path w="302513" h="454814" extrusionOk="0">
                    <a:moveTo>
                      <a:pt x="141944" y="511"/>
                    </a:moveTo>
                    <a:cubicBezTo>
                      <a:pt x="167741" y="5670"/>
                      <a:pt x="189966" y="60836"/>
                      <a:pt x="196713" y="88617"/>
                    </a:cubicBezTo>
                    <a:cubicBezTo>
                      <a:pt x="203460" y="116398"/>
                      <a:pt x="190759" y="142989"/>
                      <a:pt x="182425" y="167198"/>
                    </a:cubicBezTo>
                    <a:cubicBezTo>
                      <a:pt x="174091" y="191407"/>
                      <a:pt x="155438" y="213632"/>
                      <a:pt x="146707" y="233873"/>
                    </a:cubicBezTo>
                    <a:cubicBezTo>
                      <a:pt x="137976" y="254114"/>
                      <a:pt x="124879" y="271576"/>
                      <a:pt x="130038" y="288642"/>
                    </a:cubicBezTo>
                    <a:cubicBezTo>
                      <a:pt x="135197" y="305708"/>
                      <a:pt x="155041" y="320789"/>
                      <a:pt x="177663" y="336267"/>
                    </a:cubicBezTo>
                    <a:cubicBezTo>
                      <a:pt x="200285" y="351745"/>
                      <a:pt x="245132" y="364842"/>
                      <a:pt x="265769" y="381511"/>
                    </a:cubicBezTo>
                    <a:cubicBezTo>
                      <a:pt x="286406" y="398180"/>
                      <a:pt x="307441" y="424770"/>
                      <a:pt x="301488" y="436279"/>
                    </a:cubicBezTo>
                    <a:cubicBezTo>
                      <a:pt x="295535" y="447788"/>
                      <a:pt x="265372" y="462076"/>
                      <a:pt x="230050" y="450567"/>
                    </a:cubicBezTo>
                    <a:cubicBezTo>
                      <a:pt x="194728" y="439058"/>
                      <a:pt x="127657" y="415245"/>
                      <a:pt x="89557" y="367223"/>
                    </a:cubicBezTo>
                    <a:cubicBezTo>
                      <a:pt x="51457" y="319201"/>
                      <a:pt x="9387" y="214030"/>
                      <a:pt x="1450" y="162436"/>
                    </a:cubicBezTo>
                    <a:cubicBezTo>
                      <a:pt x="-6487" y="110842"/>
                      <a:pt x="19707" y="85045"/>
                      <a:pt x="41932" y="57661"/>
                    </a:cubicBezTo>
                    <a:cubicBezTo>
                      <a:pt x="64157" y="30277"/>
                      <a:pt x="116147" y="-4648"/>
                      <a:pt x="141944" y="511"/>
                    </a:cubicBezTo>
                    <a:close/>
                  </a:path>
                </a:pathLst>
              </a:custGeom>
              <a:solidFill>
                <a:srgbClr val="8CFD00"/>
              </a:solidFill>
              <a:ln w="9525" cap="flat" cmpd="sng">
                <a:solidFill>
                  <a:srgbClr val="00336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sp>
          <p:nvSpPr>
            <p:cNvPr id="1535" name="Google Shape;2653;p19">
              <a:extLst>
                <a:ext uri="{FF2B5EF4-FFF2-40B4-BE49-F238E27FC236}">
                  <a16:creationId xmlns:a16="http://schemas.microsoft.com/office/drawing/2014/main" id="{02287D76-52CD-4486-ACDF-4A1BC2B6ADA7}"/>
                </a:ext>
              </a:extLst>
            </p:cNvPr>
            <p:cNvSpPr/>
            <p:nvPr/>
          </p:nvSpPr>
          <p:spPr>
            <a:xfrm>
              <a:off x="7612907" y="4476487"/>
              <a:ext cx="36576" cy="36576"/>
            </a:xfrm>
            <a:prstGeom prst="ellipse">
              <a:avLst/>
            </a:prstGeom>
            <a:solidFill>
              <a:srgbClr val="8CFD00"/>
            </a:solidFill>
            <a:ln w="9525" cap="flat" cmpd="sng">
              <a:solidFill>
                <a:srgbClr val="00336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36" name="Google Shape;2654;p19">
              <a:extLst>
                <a:ext uri="{FF2B5EF4-FFF2-40B4-BE49-F238E27FC236}">
                  <a16:creationId xmlns:a16="http://schemas.microsoft.com/office/drawing/2014/main" id="{C8BA409D-D657-4C5B-8806-5B5B3DDBB4EC}"/>
                </a:ext>
              </a:extLst>
            </p:cNvPr>
            <p:cNvSpPr/>
            <p:nvPr/>
          </p:nvSpPr>
          <p:spPr>
            <a:xfrm>
              <a:off x="7546232" y="4447912"/>
              <a:ext cx="36576" cy="36576"/>
            </a:xfrm>
            <a:prstGeom prst="ellipse">
              <a:avLst/>
            </a:prstGeom>
            <a:solidFill>
              <a:srgbClr val="8CFD00"/>
            </a:solidFill>
            <a:ln w="9525" cap="flat" cmpd="sng">
              <a:solidFill>
                <a:srgbClr val="00336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37" name="Google Shape;2655;p19">
              <a:extLst>
                <a:ext uri="{FF2B5EF4-FFF2-40B4-BE49-F238E27FC236}">
                  <a16:creationId xmlns:a16="http://schemas.microsoft.com/office/drawing/2014/main" id="{6E786F19-89ED-44DD-8A0F-87DA727E8898}"/>
                </a:ext>
              </a:extLst>
            </p:cNvPr>
            <p:cNvSpPr/>
            <p:nvPr/>
          </p:nvSpPr>
          <p:spPr>
            <a:xfrm>
              <a:off x="7686726" y="4559831"/>
              <a:ext cx="36576" cy="36576"/>
            </a:xfrm>
            <a:prstGeom prst="ellipse">
              <a:avLst/>
            </a:prstGeom>
            <a:solidFill>
              <a:srgbClr val="8CFD00"/>
            </a:solidFill>
            <a:ln w="9525" cap="flat" cmpd="sng">
              <a:solidFill>
                <a:srgbClr val="00336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38" name="Google Shape;2656;p19">
              <a:extLst>
                <a:ext uri="{FF2B5EF4-FFF2-40B4-BE49-F238E27FC236}">
                  <a16:creationId xmlns:a16="http://schemas.microsoft.com/office/drawing/2014/main" id="{9C139A08-11CA-4282-9814-7D26DD4B1C28}"/>
                </a:ext>
              </a:extLst>
            </p:cNvPr>
            <p:cNvSpPr/>
            <p:nvPr/>
          </p:nvSpPr>
          <p:spPr>
            <a:xfrm>
              <a:off x="7586714" y="4595550"/>
              <a:ext cx="36576" cy="36576"/>
            </a:xfrm>
            <a:prstGeom prst="ellipse">
              <a:avLst/>
            </a:prstGeom>
            <a:solidFill>
              <a:srgbClr val="8CFD00"/>
            </a:solidFill>
            <a:ln w="9525" cap="flat" cmpd="sng">
              <a:solidFill>
                <a:srgbClr val="00336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39" name="Google Shape;2657;p19">
              <a:extLst>
                <a:ext uri="{FF2B5EF4-FFF2-40B4-BE49-F238E27FC236}">
                  <a16:creationId xmlns:a16="http://schemas.microsoft.com/office/drawing/2014/main" id="{AC976653-EAA9-40DA-8B80-B750CFF9522B}"/>
                </a:ext>
              </a:extLst>
            </p:cNvPr>
            <p:cNvSpPr/>
            <p:nvPr/>
          </p:nvSpPr>
          <p:spPr>
            <a:xfrm>
              <a:off x="7762926" y="4647937"/>
              <a:ext cx="36576" cy="36576"/>
            </a:xfrm>
            <a:prstGeom prst="ellipse">
              <a:avLst/>
            </a:prstGeom>
            <a:solidFill>
              <a:srgbClr val="8CFD00"/>
            </a:solidFill>
            <a:ln w="9525" cap="flat" cmpd="sng">
              <a:solidFill>
                <a:srgbClr val="00336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40" name="Google Shape;2658;p19">
              <a:extLst>
                <a:ext uri="{FF2B5EF4-FFF2-40B4-BE49-F238E27FC236}">
                  <a16:creationId xmlns:a16="http://schemas.microsoft.com/office/drawing/2014/main" id="{F2B41CA5-2C4A-415F-83D5-C5092463AF84}"/>
                </a:ext>
              </a:extLst>
            </p:cNvPr>
            <p:cNvSpPr/>
            <p:nvPr/>
          </p:nvSpPr>
          <p:spPr>
            <a:xfrm>
              <a:off x="7770070" y="4771762"/>
              <a:ext cx="36576" cy="36576"/>
            </a:xfrm>
            <a:prstGeom prst="ellipse">
              <a:avLst/>
            </a:prstGeom>
            <a:solidFill>
              <a:srgbClr val="8CFD00"/>
            </a:solidFill>
            <a:ln w="9525" cap="flat" cmpd="sng">
              <a:solidFill>
                <a:srgbClr val="00336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41" name="Google Shape;2659;p19">
              <a:extLst>
                <a:ext uri="{FF2B5EF4-FFF2-40B4-BE49-F238E27FC236}">
                  <a16:creationId xmlns:a16="http://schemas.microsoft.com/office/drawing/2014/main" id="{A7CE059D-4007-4948-90AD-114E4DD966F1}"/>
                </a:ext>
              </a:extLst>
            </p:cNvPr>
            <p:cNvSpPr/>
            <p:nvPr/>
          </p:nvSpPr>
          <p:spPr>
            <a:xfrm>
              <a:off x="7753401" y="4867012"/>
              <a:ext cx="36576" cy="36576"/>
            </a:xfrm>
            <a:prstGeom prst="ellipse">
              <a:avLst/>
            </a:prstGeom>
            <a:solidFill>
              <a:srgbClr val="8CFD00"/>
            </a:solidFill>
            <a:ln w="9525" cap="flat" cmpd="sng">
              <a:solidFill>
                <a:srgbClr val="00336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42" name="Google Shape;2660;p19">
              <a:extLst>
                <a:ext uri="{FF2B5EF4-FFF2-40B4-BE49-F238E27FC236}">
                  <a16:creationId xmlns:a16="http://schemas.microsoft.com/office/drawing/2014/main" id="{62C92B89-4CDB-4637-9C1E-834B7F2001A5}"/>
                </a:ext>
              </a:extLst>
            </p:cNvPr>
            <p:cNvSpPr/>
            <p:nvPr/>
          </p:nvSpPr>
          <p:spPr>
            <a:xfrm>
              <a:off x="7643863" y="4781287"/>
              <a:ext cx="36576" cy="36576"/>
            </a:xfrm>
            <a:prstGeom prst="ellipse">
              <a:avLst/>
            </a:prstGeom>
            <a:solidFill>
              <a:srgbClr val="8CFD00"/>
            </a:solidFill>
            <a:ln w="9525" cap="flat" cmpd="sng">
              <a:solidFill>
                <a:srgbClr val="00336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43" name="Google Shape;2661;p19">
              <a:extLst>
                <a:ext uri="{FF2B5EF4-FFF2-40B4-BE49-F238E27FC236}">
                  <a16:creationId xmlns:a16="http://schemas.microsoft.com/office/drawing/2014/main" id="{AA713902-EA6C-4065-AFC7-60FC60D2B62E}"/>
                </a:ext>
              </a:extLst>
            </p:cNvPr>
            <p:cNvSpPr/>
            <p:nvPr/>
          </p:nvSpPr>
          <p:spPr>
            <a:xfrm>
              <a:off x="7634338" y="4683656"/>
              <a:ext cx="36576" cy="36576"/>
            </a:xfrm>
            <a:prstGeom prst="ellipse">
              <a:avLst/>
            </a:prstGeom>
            <a:solidFill>
              <a:srgbClr val="8CFD00"/>
            </a:solidFill>
            <a:ln w="9525" cap="flat" cmpd="sng">
              <a:solidFill>
                <a:srgbClr val="00336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44" name="Google Shape;2662;p19">
              <a:extLst>
                <a:ext uri="{FF2B5EF4-FFF2-40B4-BE49-F238E27FC236}">
                  <a16:creationId xmlns:a16="http://schemas.microsoft.com/office/drawing/2014/main" id="{DD1CB9CA-E2C6-407E-B4EA-F173A03410AA}"/>
                </a:ext>
              </a:extLst>
            </p:cNvPr>
            <p:cNvSpPr/>
            <p:nvPr/>
          </p:nvSpPr>
          <p:spPr>
            <a:xfrm>
              <a:off x="7539088" y="4697944"/>
              <a:ext cx="36576" cy="36576"/>
            </a:xfrm>
            <a:prstGeom prst="ellipse">
              <a:avLst/>
            </a:prstGeom>
            <a:solidFill>
              <a:srgbClr val="8CFD00"/>
            </a:solidFill>
            <a:ln w="9525" cap="flat" cmpd="sng">
              <a:solidFill>
                <a:srgbClr val="00336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45" name="Google Shape;2663;p19">
              <a:extLst>
                <a:ext uri="{FF2B5EF4-FFF2-40B4-BE49-F238E27FC236}">
                  <a16:creationId xmlns:a16="http://schemas.microsoft.com/office/drawing/2014/main" id="{6404726F-6827-4B78-A70E-1032C43C8ADB}"/>
                </a:ext>
              </a:extLst>
            </p:cNvPr>
            <p:cNvSpPr/>
            <p:nvPr/>
          </p:nvSpPr>
          <p:spPr>
            <a:xfrm>
              <a:off x="7322394" y="4721756"/>
              <a:ext cx="36576" cy="36576"/>
            </a:xfrm>
            <a:prstGeom prst="ellipse">
              <a:avLst/>
            </a:prstGeom>
            <a:solidFill>
              <a:srgbClr val="8CFD00"/>
            </a:solidFill>
            <a:ln w="9525" cap="flat" cmpd="sng">
              <a:solidFill>
                <a:srgbClr val="00336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46" name="Google Shape;2664;p19">
              <a:extLst>
                <a:ext uri="{FF2B5EF4-FFF2-40B4-BE49-F238E27FC236}">
                  <a16:creationId xmlns:a16="http://schemas.microsoft.com/office/drawing/2014/main" id="{2A9AF9A8-88B3-4B4A-9AD5-AEA2EAD0DAB4}"/>
                </a:ext>
              </a:extLst>
            </p:cNvPr>
            <p:cNvSpPr/>
            <p:nvPr/>
          </p:nvSpPr>
          <p:spPr>
            <a:xfrm>
              <a:off x="7362875" y="4817006"/>
              <a:ext cx="36576" cy="36576"/>
            </a:xfrm>
            <a:prstGeom prst="ellipse">
              <a:avLst/>
            </a:prstGeom>
            <a:solidFill>
              <a:srgbClr val="8CFD00"/>
            </a:solidFill>
            <a:ln w="9525" cap="flat" cmpd="sng">
              <a:solidFill>
                <a:srgbClr val="00336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47" name="Google Shape;2665;p19">
              <a:extLst>
                <a:ext uri="{FF2B5EF4-FFF2-40B4-BE49-F238E27FC236}">
                  <a16:creationId xmlns:a16="http://schemas.microsoft.com/office/drawing/2014/main" id="{BAF4FD9B-6645-475F-8CE7-EC6FB29FA97C}"/>
                </a:ext>
              </a:extLst>
            </p:cNvPr>
            <p:cNvSpPr/>
            <p:nvPr/>
          </p:nvSpPr>
          <p:spPr>
            <a:xfrm>
              <a:off x="7465268" y="4893206"/>
              <a:ext cx="36576" cy="36576"/>
            </a:xfrm>
            <a:prstGeom prst="ellipse">
              <a:avLst/>
            </a:prstGeom>
            <a:solidFill>
              <a:srgbClr val="8CFD00"/>
            </a:solidFill>
            <a:ln w="9525" cap="flat" cmpd="sng">
              <a:solidFill>
                <a:srgbClr val="00336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48" name="Google Shape;2666;p19">
              <a:extLst>
                <a:ext uri="{FF2B5EF4-FFF2-40B4-BE49-F238E27FC236}">
                  <a16:creationId xmlns:a16="http://schemas.microsoft.com/office/drawing/2014/main" id="{ABF94A66-2141-4DEA-B3BF-51908783F6C0}"/>
                </a:ext>
              </a:extLst>
            </p:cNvPr>
            <p:cNvSpPr/>
            <p:nvPr/>
          </p:nvSpPr>
          <p:spPr>
            <a:xfrm>
              <a:off x="7662911" y="4919399"/>
              <a:ext cx="36576" cy="36576"/>
            </a:xfrm>
            <a:prstGeom prst="ellipse">
              <a:avLst/>
            </a:prstGeom>
            <a:solidFill>
              <a:srgbClr val="8CFD00"/>
            </a:solidFill>
            <a:ln w="9525" cap="flat" cmpd="sng">
              <a:solidFill>
                <a:srgbClr val="00336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grpSp>
        <p:nvGrpSpPr>
          <p:cNvPr id="1551" name="Google Shape;2667;p19">
            <a:extLst>
              <a:ext uri="{FF2B5EF4-FFF2-40B4-BE49-F238E27FC236}">
                <a16:creationId xmlns:a16="http://schemas.microsoft.com/office/drawing/2014/main" id="{0E0CC5A0-6189-435D-A212-086980942AAB}"/>
              </a:ext>
            </a:extLst>
          </p:cNvPr>
          <p:cNvGrpSpPr/>
          <p:nvPr/>
        </p:nvGrpSpPr>
        <p:grpSpPr>
          <a:xfrm>
            <a:off x="1911542" y="3713470"/>
            <a:ext cx="453640" cy="339640"/>
            <a:chOff x="1609" y="2850"/>
            <a:chExt cx="372" cy="238"/>
          </a:xfrm>
        </p:grpSpPr>
        <p:sp>
          <p:nvSpPr>
            <p:cNvPr id="1552" name="Google Shape;2668;p19">
              <a:extLst>
                <a:ext uri="{FF2B5EF4-FFF2-40B4-BE49-F238E27FC236}">
                  <a16:creationId xmlns:a16="http://schemas.microsoft.com/office/drawing/2014/main" id="{2BB85EEF-6EAE-49BD-86CD-48A91F02928A}"/>
                </a:ext>
              </a:extLst>
            </p:cNvPr>
            <p:cNvSpPr/>
            <p:nvPr/>
          </p:nvSpPr>
          <p:spPr>
            <a:xfrm>
              <a:off x="1609" y="2850"/>
              <a:ext cx="372" cy="238"/>
            </a:xfrm>
            <a:custGeom>
              <a:avLst/>
              <a:gdLst/>
              <a:ahLst/>
              <a:cxnLst/>
              <a:rect l="l" t="t" r="r" b="b"/>
              <a:pathLst>
                <a:path w="208" h="132" extrusionOk="0">
                  <a:moveTo>
                    <a:pt x="125" y="15"/>
                  </a:moveTo>
                  <a:cubicBezTo>
                    <a:pt x="125" y="15"/>
                    <a:pt x="139" y="23"/>
                    <a:pt x="152" y="24"/>
                  </a:cubicBezTo>
                  <a:cubicBezTo>
                    <a:pt x="165" y="24"/>
                    <a:pt x="189" y="22"/>
                    <a:pt x="191" y="22"/>
                  </a:cubicBezTo>
                  <a:cubicBezTo>
                    <a:pt x="194" y="21"/>
                    <a:pt x="200" y="22"/>
                    <a:pt x="198" y="26"/>
                  </a:cubicBezTo>
                  <a:cubicBezTo>
                    <a:pt x="197" y="30"/>
                    <a:pt x="182" y="42"/>
                    <a:pt x="185" y="43"/>
                  </a:cubicBezTo>
                  <a:cubicBezTo>
                    <a:pt x="189" y="45"/>
                    <a:pt x="199" y="42"/>
                    <a:pt x="200" y="45"/>
                  </a:cubicBezTo>
                  <a:cubicBezTo>
                    <a:pt x="202" y="48"/>
                    <a:pt x="191" y="60"/>
                    <a:pt x="187" y="66"/>
                  </a:cubicBezTo>
                  <a:cubicBezTo>
                    <a:pt x="183" y="72"/>
                    <a:pt x="180" y="79"/>
                    <a:pt x="184" y="81"/>
                  </a:cubicBezTo>
                  <a:cubicBezTo>
                    <a:pt x="188" y="83"/>
                    <a:pt x="208" y="90"/>
                    <a:pt x="208" y="96"/>
                  </a:cubicBezTo>
                  <a:cubicBezTo>
                    <a:pt x="207" y="102"/>
                    <a:pt x="193" y="120"/>
                    <a:pt x="170" y="124"/>
                  </a:cubicBezTo>
                  <a:cubicBezTo>
                    <a:pt x="147" y="128"/>
                    <a:pt x="109" y="132"/>
                    <a:pt x="106" y="131"/>
                  </a:cubicBezTo>
                  <a:cubicBezTo>
                    <a:pt x="103" y="130"/>
                    <a:pt x="79" y="117"/>
                    <a:pt x="67" y="115"/>
                  </a:cubicBezTo>
                  <a:cubicBezTo>
                    <a:pt x="55" y="113"/>
                    <a:pt x="45" y="110"/>
                    <a:pt x="41" y="106"/>
                  </a:cubicBezTo>
                  <a:cubicBezTo>
                    <a:pt x="37" y="103"/>
                    <a:pt x="13" y="79"/>
                    <a:pt x="9" y="78"/>
                  </a:cubicBezTo>
                  <a:cubicBezTo>
                    <a:pt x="5" y="77"/>
                    <a:pt x="0" y="67"/>
                    <a:pt x="0" y="62"/>
                  </a:cubicBezTo>
                  <a:cubicBezTo>
                    <a:pt x="0" y="53"/>
                    <a:pt x="18" y="45"/>
                    <a:pt x="20" y="41"/>
                  </a:cubicBezTo>
                  <a:cubicBezTo>
                    <a:pt x="22" y="37"/>
                    <a:pt x="21" y="24"/>
                    <a:pt x="18" y="19"/>
                  </a:cubicBezTo>
                  <a:cubicBezTo>
                    <a:pt x="16" y="14"/>
                    <a:pt x="20" y="5"/>
                    <a:pt x="23" y="4"/>
                  </a:cubicBezTo>
                  <a:cubicBezTo>
                    <a:pt x="36" y="0"/>
                    <a:pt x="63" y="9"/>
                    <a:pt x="74" y="11"/>
                  </a:cubicBezTo>
                  <a:cubicBezTo>
                    <a:pt x="86" y="13"/>
                    <a:pt x="125" y="15"/>
                    <a:pt x="125" y="15"/>
                  </a:cubicBezTo>
                  <a:close/>
                </a:path>
              </a:pathLst>
            </a:custGeom>
            <a:noFill/>
            <a:ln w="9525" cap="flat" cmpd="sng">
              <a:solidFill>
                <a:schemeClr val="accent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53" name="Google Shape;2669;p19">
              <a:extLst>
                <a:ext uri="{FF2B5EF4-FFF2-40B4-BE49-F238E27FC236}">
                  <a16:creationId xmlns:a16="http://schemas.microsoft.com/office/drawing/2014/main" id="{84B045E3-B915-418A-8A31-354333220F29}"/>
                </a:ext>
              </a:extLst>
            </p:cNvPr>
            <p:cNvSpPr/>
            <p:nvPr/>
          </p:nvSpPr>
          <p:spPr>
            <a:xfrm>
              <a:off x="1657" y="2902"/>
              <a:ext cx="175" cy="159"/>
            </a:xfrm>
            <a:custGeom>
              <a:avLst/>
              <a:gdLst/>
              <a:ahLst/>
              <a:cxnLst/>
              <a:rect l="l" t="t" r="r" b="b"/>
              <a:pathLst>
                <a:path w="98" h="88" extrusionOk="0">
                  <a:moveTo>
                    <a:pt x="66" y="4"/>
                  </a:moveTo>
                  <a:cubicBezTo>
                    <a:pt x="66" y="4"/>
                    <a:pt x="45" y="31"/>
                    <a:pt x="44" y="36"/>
                  </a:cubicBezTo>
                  <a:cubicBezTo>
                    <a:pt x="43" y="41"/>
                    <a:pt x="44" y="51"/>
                    <a:pt x="49" y="53"/>
                  </a:cubicBezTo>
                  <a:cubicBezTo>
                    <a:pt x="55" y="56"/>
                    <a:pt x="62" y="58"/>
                    <a:pt x="62" y="58"/>
                  </a:cubicBezTo>
                  <a:cubicBezTo>
                    <a:pt x="62" y="58"/>
                    <a:pt x="67" y="59"/>
                    <a:pt x="69" y="57"/>
                  </a:cubicBezTo>
                  <a:cubicBezTo>
                    <a:pt x="71" y="55"/>
                    <a:pt x="74" y="49"/>
                    <a:pt x="77" y="50"/>
                  </a:cubicBezTo>
                  <a:cubicBezTo>
                    <a:pt x="79" y="51"/>
                    <a:pt x="90" y="56"/>
                    <a:pt x="92" y="67"/>
                  </a:cubicBezTo>
                  <a:cubicBezTo>
                    <a:pt x="94" y="78"/>
                    <a:pt x="98" y="85"/>
                    <a:pt x="95" y="86"/>
                  </a:cubicBezTo>
                  <a:cubicBezTo>
                    <a:pt x="93" y="87"/>
                    <a:pt x="84" y="88"/>
                    <a:pt x="83" y="86"/>
                  </a:cubicBezTo>
                  <a:cubicBezTo>
                    <a:pt x="81" y="85"/>
                    <a:pt x="75" y="82"/>
                    <a:pt x="70" y="81"/>
                  </a:cubicBezTo>
                  <a:cubicBezTo>
                    <a:pt x="65" y="80"/>
                    <a:pt x="56" y="78"/>
                    <a:pt x="56" y="78"/>
                  </a:cubicBezTo>
                  <a:cubicBezTo>
                    <a:pt x="56" y="78"/>
                    <a:pt x="28" y="62"/>
                    <a:pt x="25" y="61"/>
                  </a:cubicBezTo>
                  <a:cubicBezTo>
                    <a:pt x="22" y="60"/>
                    <a:pt x="5" y="54"/>
                    <a:pt x="5" y="50"/>
                  </a:cubicBezTo>
                  <a:cubicBezTo>
                    <a:pt x="5" y="46"/>
                    <a:pt x="0" y="45"/>
                    <a:pt x="2" y="38"/>
                  </a:cubicBezTo>
                  <a:cubicBezTo>
                    <a:pt x="4" y="32"/>
                    <a:pt x="9" y="16"/>
                    <a:pt x="14" y="12"/>
                  </a:cubicBezTo>
                  <a:cubicBezTo>
                    <a:pt x="19" y="9"/>
                    <a:pt x="33" y="0"/>
                    <a:pt x="40" y="0"/>
                  </a:cubicBezTo>
                  <a:cubicBezTo>
                    <a:pt x="47" y="0"/>
                    <a:pt x="66" y="4"/>
                    <a:pt x="66" y="4"/>
                  </a:cubicBezTo>
                  <a:close/>
                </a:path>
              </a:pathLst>
            </a:custGeom>
            <a:solidFill>
              <a:srgbClr val="F7FA22"/>
            </a:solidFill>
            <a:ln w="9525" cap="flat" cmpd="sng">
              <a:solidFill>
                <a:srgbClr val="000000"/>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54" name="Google Shape;2670;p19">
              <a:extLst>
                <a:ext uri="{FF2B5EF4-FFF2-40B4-BE49-F238E27FC236}">
                  <a16:creationId xmlns:a16="http://schemas.microsoft.com/office/drawing/2014/main" id="{8D970F70-69FA-40FA-9426-F5FC0F117136}"/>
                </a:ext>
              </a:extLst>
            </p:cNvPr>
            <p:cNvSpPr/>
            <p:nvPr/>
          </p:nvSpPr>
          <p:spPr>
            <a:xfrm>
              <a:off x="1863" y="2954"/>
              <a:ext cx="28" cy="17"/>
            </a:xfrm>
            <a:prstGeom prst="ellipse">
              <a:avLst/>
            </a:prstGeom>
            <a:noFill/>
            <a:ln w="9525" cap="flat" cmpd="sng">
              <a:solidFill>
                <a:srgbClr val="000000"/>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55" name="Google Shape;2671;p19">
              <a:extLst>
                <a:ext uri="{FF2B5EF4-FFF2-40B4-BE49-F238E27FC236}">
                  <a16:creationId xmlns:a16="http://schemas.microsoft.com/office/drawing/2014/main" id="{CAF916E9-AA8B-4255-BA35-80415A6445C1}"/>
                </a:ext>
              </a:extLst>
            </p:cNvPr>
            <p:cNvSpPr/>
            <p:nvPr/>
          </p:nvSpPr>
          <p:spPr>
            <a:xfrm>
              <a:off x="1909" y="2915"/>
              <a:ext cx="29" cy="7"/>
            </a:xfrm>
            <a:prstGeom prst="ellipse">
              <a:avLst/>
            </a:prstGeom>
            <a:noFill/>
            <a:ln w="9525" cap="flat" cmpd="sng">
              <a:solidFill>
                <a:srgbClr val="000000"/>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56" name="Google Shape;2672;p19">
              <a:extLst>
                <a:ext uri="{FF2B5EF4-FFF2-40B4-BE49-F238E27FC236}">
                  <a16:creationId xmlns:a16="http://schemas.microsoft.com/office/drawing/2014/main" id="{83868F50-6BEF-4CF2-B583-64636F728DE6}"/>
                </a:ext>
              </a:extLst>
            </p:cNvPr>
            <p:cNvSpPr/>
            <p:nvPr/>
          </p:nvSpPr>
          <p:spPr>
            <a:xfrm>
              <a:off x="1829" y="2909"/>
              <a:ext cx="29" cy="13"/>
            </a:xfrm>
            <a:prstGeom prst="ellipse">
              <a:avLst/>
            </a:prstGeom>
            <a:noFill/>
            <a:ln w="9525" cap="flat" cmpd="sng">
              <a:solidFill>
                <a:srgbClr val="000000"/>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57" name="Google Shape;2673;p19">
              <a:extLst>
                <a:ext uri="{FF2B5EF4-FFF2-40B4-BE49-F238E27FC236}">
                  <a16:creationId xmlns:a16="http://schemas.microsoft.com/office/drawing/2014/main" id="{F5C17603-8A98-4FDB-8488-961EFB3E84A9}"/>
                </a:ext>
              </a:extLst>
            </p:cNvPr>
            <p:cNvSpPr/>
            <p:nvPr/>
          </p:nvSpPr>
          <p:spPr>
            <a:xfrm>
              <a:off x="1791" y="2936"/>
              <a:ext cx="29" cy="26"/>
            </a:xfrm>
            <a:prstGeom prst="ellipse">
              <a:avLst/>
            </a:prstGeom>
            <a:noFill/>
            <a:ln w="9525" cap="flat" cmpd="sng">
              <a:solidFill>
                <a:srgbClr val="000000"/>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58" name="Google Shape;2674;p19">
              <a:extLst>
                <a:ext uri="{FF2B5EF4-FFF2-40B4-BE49-F238E27FC236}">
                  <a16:creationId xmlns:a16="http://schemas.microsoft.com/office/drawing/2014/main" id="{49105B61-7338-4C57-BCAD-D3230CE5545C}"/>
                </a:ext>
              </a:extLst>
            </p:cNvPr>
            <p:cNvSpPr/>
            <p:nvPr/>
          </p:nvSpPr>
          <p:spPr>
            <a:xfrm>
              <a:off x="1849" y="3021"/>
              <a:ext cx="28" cy="16"/>
            </a:xfrm>
            <a:prstGeom prst="ellipse">
              <a:avLst/>
            </a:prstGeom>
            <a:noFill/>
            <a:ln w="9525" cap="flat" cmpd="sng">
              <a:solidFill>
                <a:srgbClr val="000000"/>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59" name="Google Shape;2675;p19">
              <a:extLst>
                <a:ext uri="{FF2B5EF4-FFF2-40B4-BE49-F238E27FC236}">
                  <a16:creationId xmlns:a16="http://schemas.microsoft.com/office/drawing/2014/main" id="{D0AB1DA7-DF31-429B-BE4B-4A1A7FD41692}"/>
                </a:ext>
              </a:extLst>
            </p:cNvPr>
            <p:cNvSpPr/>
            <p:nvPr/>
          </p:nvSpPr>
          <p:spPr>
            <a:xfrm>
              <a:off x="1917" y="3021"/>
              <a:ext cx="28" cy="15"/>
            </a:xfrm>
            <a:prstGeom prst="ellipse">
              <a:avLst/>
            </a:prstGeom>
            <a:noFill/>
            <a:ln w="9525" cap="flat" cmpd="sng">
              <a:solidFill>
                <a:srgbClr val="000000"/>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grpSp>
        <p:nvGrpSpPr>
          <p:cNvPr id="1560" name="Google Shape;2676;p19">
            <a:extLst>
              <a:ext uri="{FF2B5EF4-FFF2-40B4-BE49-F238E27FC236}">
                <a16:creationId xmlns:a16="http://schemas.microsoft.com/office/drawing/2014/main" id="{84FA1F1A-16C6-41F9-97DB-9B06AFC109DA}"/>
              </a:ext>
            </a:extLst>
          </p:cNvPr>
          <p:cNvGrpSpPr/>
          <p:nvPr/>
        </p:nvGrpSpPr>
        <p:grpSpPr>
          <a:xfrm>
            <a:off x="1718764" y="4210075"/>
            <a:ext cx="839198" cy="435758"/>
            <a:chOff x="1192" y="3243"/>
            <a:chExt cx="613" cy="272"/>
          </a:xfrm>
        </p:grpSpPr>
        <p:sp>
          <p:nvSpPr>
            <p:cNvPr id="1561" name="Google Shape;2677;p19">
              <a:extLst>
                <a:ext uri="{FF2B5EF4-FFF2-40B4-BE49-F238E27FC236}">
                  <a16:creationId xmlns:a16="http://schemas.microsoft.com/office/drawing/2014/main" id="{5A4E0630-1B5D-44AA-B3B5-6B6320A8FC6F}"/>
                </a:ext>
              </a:extLst>
            </p:cNvPr>
            <p:cNvSpPr/>
            <p:nvPr/>
          </p:nvSpPr>
          <p:spPr>
            <a:xfrm>
              <a:off x="1192" y="3243"/>
              <a:ext cx="613" cy="272"/>
            </a:xfrm>
            <a:custGeom>
              <a:avLst/>
              <a:gdLst/>
              <a:ahLst/>
              <a:cxnLst/>
              <a:rect l="l" t="t" r="r" b="b"/>
              <a:pathLst>
                <a:path w="345" h="151" extrusionOk="0">
                  <a:moveTo>
                    <a:pt x="270" y="0"/>
                  </a:moveTo>
                  <a:cubicBezTo>
                    <a:pt x="270" y="0"/>
                    <a:pt x="259" y="21"/>
                    <a:pt x="230" y="36"/>
                  </a:cubicBezTo>
                  <a:cubicBezTo>
                    <a:pt x="201" y="52"/>
                    <a:pt x="158" y="70"/>
                    <a:pt x="159" y="73"/>
                  </a:cubicBezTo>
                  <a:cubicBezTo>
                    <a:pt x="160" y="76"/>
                    <a:pt x="163" y="85"/>
                    <a:pt x="167" y="85"/>
                  </a:cubicBezTo>
                  <a:cubicBezTo>
                    <a:pt x="172" y="85"/>
                    <a:pt x="198" y="87"/>
                    <a:pt x="208" y="85"/>
                  </a:cubicBezTo>
                  <a:cubicBezTo>
                    <a:pt x="218" y="83"/>
                    <a:pt x="285" y="68"/>
                    <a:pt x="300" y="67"/>
                  </a:cubicBezTo>
                  <a:cubicBezTo>
                    <a:pt x="315" y="67"/>
                    <a:pt x="345" y="64"/>
                    <a:pt x="345" y="64"/>
                  </a:cubicBezTo>
                  <a:cubicBezTo>
                    <a:pt x="345" y="64"/>
                    <a:pt x="299" y="80"/>
                    <a:pt x="292" y="82"/>
                  </a:cubicBezTo>
                  <a:cubicBezTo>
                    <a:pt x="285" y="84"/>
                    <a:pt x="255" y="93"/>
                    <a:pt x="222" y="95"/>
                  </a:cubicBezTo>
                  <a:cubicBezTo>
                    <a:pt x="190" y="97"/>
                    <a:pt x="178" y="98"/>
                    <a:pt x="178" y="98"/>
                  </a:cubicBezTo>
                  <a:cubicBezTo>
                    <a:pt x="178" y="98"/>
                    <a:pt x="188" y="113"/>
                    <a:pt x="191" y="116"/>
                  </a:cubicBezTo>
                  <a:cubicBezTo>
                    <a:pt x="195" y="119"/>
                    <a:pt x="239" y="147"/>
                    <a:pt x="239" y="147"/>
                  </a:cubicBezTo>
                  <a:cubicBezTo>
                    <a:pt x="239" y="147"/>
                    <a:pt x="215" y="132"/>
                    <a:pt x="208" y="130"/>
                  </a:cubicBezTo>
                  <a:cubicBezTo>
                    <a:pt x="201" y="128"/>
                    <a:pt x="164" y="117"/>
                    <a:pt x="159" y="117"/>
                  </a:cubicBezTo>
                  <a:cubicBezTo>
                    <a:pt x="154" y="117"/>
                    <a:pt x="135" y="114"/>
                    <a:pt x="109" y="118"/>
                  </a:cubicBezTo>
                  <a:cubicBezTo>
                    <a:pt x="83" y="121"/>
                    <a:pt x="27" y="134"/>
                    <a:pt x="14" y="142"/>
                  </a:cubicBezTo>
                  <a:cubicBezTo>
                    <a:pt x="0" y="151"/>
                    <a:pt x="50" y="122"/>
                    <a:pt x="86" y="114"/>
                  </a:cubicBezTo>
                  <a:cubicBezTo>
                    <a:pt x="122" y="107"/>
                    <a:pt x="122" y="107"/>
                    <a:pt x="122" y="107"/>
                  </a:cubicBezTo>
                  <a:cubicBezTo>
                    <a:pt x="122" y="107"/>
                    <a:pt x="123" y="93"/>
                    <a:pt x="121" y="88"/>
                  </a:cubicBezTo>
                  <a:cubicBezTo>
                    <a:pt x="119" y="83"/>
                    <a:pt x="104" y="60"/>
                    <a:pt x="101" y="55"/>
                  </a:cubicBezTo>
                  <a:cubicBezTo>
                    <a:pt x="98" y="51"/>
                    <a:pt x="84" y="39"/>
                    <a:pt x="83" y="36"/>
                  </a:cubicBezTo>
                  <a:cubicBezTo>
                    <a:pt x="82" y="33"/>
                    <a:pt x="74" y="20"/>
                    <a:pt x="74" y="20"/>
                  </a:cubicBezTo>
                  <a:cubicBezTo>
                    <a:pt x="74" y="20"/>
                    <a:pt x="87" y="36"/>
                    <a:pt x="90" y="40"/>
                  </a:cubicBezTo>
                  <a:cubicBezTo>
                    <a:pt x="94" y="44"/>
                    <a:pt x="99" y="55"/>
                    <a:pt x="109" y="60"/>
                  </a:cubicBezTo>
                  <a:cubicBezTo>
                    <a:pt x="119" y="65"/>
                    <a:pt x="135" y="71"/>
                    <a:pt x="135" y="71"/>
                  </a:cubicBezTo>
                  <a:cubicBezTo>
                    <a:pt x="135" y="71"/>
                    <a:pt x="140" y="74"/>
                    <a:pt x="152" y="69"/>
                  </a:cubicBezTo>
                  <a:cubicBezTo>
                    <a:pt x="165" y="64"/>
                    <a:pt x="168" y="68"/>
                    <a:pt x="188" y="54"/>
                  </a:cubicBezTo>
                  <a:cubicBezTo>
                    <a:pt x="207" y="40"/>
                    <a:pt x="232" y="23"/>
                    <a:pt x="244" y="17"/>
                  </a:cubicBezTo>
                  <a:cubicBezTo>
                    <a:pt x="255" y="10"/>
                    <a:pt x="270" y="0"/>
                    <a:pt x="270" y="0"/>
                  </a:cubicBezTo>
                  <a:close/>
                </a:path>
              </a:pathLst>
            </a:custGeom>
            <a:solidFill>
              <a:srgbClr val="E0B26C"/>
            </a:solidFill>
            <a:ln w="9525" cap="flat" cmpd="sng">
              <a:solidFill>
                <a:schemeClr val="accent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62" name="Google Shape;2678;p19">
              <a:extLst>
                <a:ext uri="{FF2B5EF4-FFF2-40B4-BE49-F238E27FC236}">
                  <a16:creationId xmlns:a16="http://schemas.microsoft.com/office/drawing/2014/main" id="{CC61643C-8070-4B85-AC60-EAC68CE6DCE5}"/>
                </a:ext>
              </a:extLst>
            </p:cNvPr>
            <p:cNvSpPr/>
            <p:nvPr/>
          </p:nvSpPr>
          <p:spPr>
            <a:xfrm>
              <a:off x="1425" y="3400"/>
              <a:ext cx="69" cy="31"/>
            </a:xfrm>
            <a:prstGeom prst="ellipse">
              <a:avLst/>
            </a:prstGeom>
            <a:solidFill>
              <a:srgbClr val="355057"/>
            </a:solidFill>
            <a:ln w="9525" cap="flat" cmpd="sng">
              <a:solidFill>
                <a:srgbClr val="000000"/>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grpSp>
        <p:nvGrpSpPr>
          <p:cNvPr id="17" name="Group 16">
            <a:extLst>
              <a:ext uri="{FF2B5EF4-FFF2-40B4-BE49-F238E27FC236}">
                <a16:creationId xmlns:a16="http://schemas.microsoft.com/office/drawing/2014/main" id="{2C54151D-9A8F-4AEF-8D93-ADC3ED9482AF}"/>
              </a:ext>
            </a:extLst>
          </p:cNvPr>
          <p:cNvGrpSpPr/>
          <p:nvPr/>
        </p:nvGrpSpPr>
        <p:grpSpPr>
          <a:xfrm>
            <a:off x="2921362" y="2068128"/>
            <a:ext cx="777150" cy="2039323"/>
            <a:chOff x="2962998" y="2161265"/>
            <a:chExt cx="777150" cy="2039323"/>
          </a:xfrm>
        </p:grpSpPr>
        <p:grpSp>
          <p:nvGrpSpPr>
            <p:cNvPr id="1603" name="Group 1602">
              <a:extLst>
                <a:ext uri="{FF2B5EF4-FFF2-40B4-BE49-F238E27FC236}">
                  <a16:creationId xmlns:a16="http://schemas.microsoft.com/office/drawing/2014/main" id="{69C7A563-CBB7-4446-9B7B-78448970D98A}"/>
                </a:ext>
              </a:extLst>
            </p:cNvPr>
            <p:cNvGrpSpPr/>
            <p:nvPr/>
          </p:nvGrpSpPr>
          <p:grpSpPr>
            <a:xfrm>
              <a:off x="3190935" y="2161265"/>
              <a:ext cx="321276" cy="362334"/>
              <a:chOff x="4340119" y="2608038"/>
              <a:chExt cx="432066" cy="487283"/>
            </a:xfrm>
          </p:grpSpPr>
          <p:grpSp>
            <p:nvGrpSpPr>
              <p:cNvPr id="1604" name="Google Shape;2599;p19">
                <a:extLst>
                  <a:ext uri="{FF2B5EF4-FFF2-40B4-BE49-F238E27FC236}">
                    <a16:creationId xmlns:a16="http://schemas.microsoft.com/office/drawing/2014/main" id="{61A22C62-945B-4525-B565-98B7ECA9EF43}"/>
                  </a:ext>
                </a:extLst>
              </p:cNvPr>
              <p:cNvGrpSpPr/>
              <p:nvPr/>
            </p:nvGrpSpPr>
            <p:grpSpPr>
              <a:xfrm>
                <a:off x="4556152" y="2608038"/>
                <a:ext cx="216033" cy="487283"/>
                <a:chOff x="9220200" y="2419351"/>
                <a:chExt cx="200024" cy="385541"/>
              </a:xfrm>
            </p:grpSpPr>
            <p:grpSp>
              <p:nvGrpSpPr>
                <p:cNvPr id="1613" name="Google Shape;2600;p19">
                  <a:extLst>
                    <a:ext uri="{FF2B5EF4-FFF2-40B4-BE49-F238E27FC236}">
                      <a16:creationId xmlns:a16="http://schemas.microsoft.com/office/drawing/2014/main" id="{DDBF102D-F924-4EB3-946B-F7F26770F37B}"/>
                    </a:ext>
                  </a:extLst>
                </p:cNvPr>
                <p:cNvGrpSpPr/>
                <p:nvPr/>
              </p:nvGrpSpPr>
              <p:grpSpPr>
                <a:xfrm>
                  <a:off x="9220200" y="2533429"/>
                  <a:ext cx="185738" cy="271463"/>
                  <a:chOff x="9220200" y="2533429"/>
                  <a:chExt cx="185738" cy="271463"/>
                </a:xfrm>
              </p:grpSpPr>
              <p:sp>
                <p:nvSpPr>
                  <p:cNvPr id="1618" name="Google Shape;2601;p19">
                    <a:extLst>
                      <a:ext uri="{FF2B5EF4-FFF2-40B4-BE49-F238E27FC236}">
                        <a16:creationId xmlns:a16="http://schemas.microsoft.com/office/drawing/2014/main" id="{E0330F1B-A8EA-45D8-8830-77580CCEFFBC}"/>
                      </a:ext>
                    </a:extLst>
                  </p:cNvPr>
                  <p:cNvSpPr/>
                  <p:nvPr/>
                </p:nvSpPr>
                <p:spPr>
                  <a:xfrm>
                    <a:off x="9220200" y="2533429"/>
                    <a:ext cx="185738" cy="271463"/>
                  </a:xfrm>
                  <a:prstGeom prst="roundRect">
                    <a:avLst>
                      <a:gd name="adj" fmla="val 26923"/>
                    </a:avLst>
                  </a:prstGeom>
                  <a:gradFill>
                    <a:gsLst>
                      <a:gs pos="0">
                        <a:srgbClr val="C6D7E3"/>
                      </a:gs>
                      <a:gs pos="72000">
                        <a:srgbClr val="406766"/>
                      </a:gs>
                      <a:gs pos="90000">
                        <a:srgbClr val="404747"/>
                      </a:gs>
                      <a:gs pos="97345">
                        <a:schemeClr val="dk1"/>
                      </a:gs>
                      <a:gs pos="100000">
                        <a:schemeClr val="dk1"/>
                      </a:gs>
                    </a:gsLst>
                    <a:lin ang="5400000" scaled="0"/>
                  </a:gra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619" name="Google Shape;2602;p19">
                    <a:extLst>
                      <a:ext uri="{FF2B5EF4-FFF2-40B4-BE49-F238E27FC236}">
                        <a16:creationId xmlns:a16="http://schemas.microsoft.com/office/drawing/2014/main" id="{0A3D587A-03F1-4727-B37C-93594F9C4FA6}"/>
                      </a:ext>
                    </a:extLst>
                  </p:cNvPr>
                  <p:cNvSpPr/>
                  <p:nvPr/>
                </p:nvSpPr>
                <p:spPr>
                  <a:xfrm>
                    <a:off x="9261122" y="2714624"/>
                    <a:ext cx="101953" cy="90267"/>
                  </a:xfrm>
                  <a:prstGeom prst="ellipse">
                    <a:avLst/>
                  </a:prstGeom>
                  <a:solidFill>
                    <a:srgbClr val="0033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grpSp>
              <p:nvGrpSpPr>
                <p:cNvPr id="1614" name="Google Shape;2603;p19">
                  <a:extLst>
                    <a:ext uri="{FF2B5EF4-FFF2-40B4-BE49-F238E27FC236}">
                      <a16:creationId xmlns:a16="http://schemas.microsoft.com/office/drawing/2014/main" id="{2C6BA582-D155-452C-8C6D-E566347B0617}"/>
                    </a:ext>
                  </a:extLst>
                </p:cNvPr>
                <p:cNvGrpSpPr/>
                <p:nvPr/>
              </p:nvGrpSpPr>
              <p:grpSpPr>
                <a:xfrm>
                  <a:off x="9258299" y="2419351"/>
                  <a:ext cx="161925" cy="119063"/>
                  <a:chOff x="9253536" y="2424114"/>
                  <a:chExt cx="161925" cy="119063"/>
                </a:xfrm>
              </p:grpSpPr>
              <p:sp>
                <p:nvSpPr>
                  <p:cNvPr id="1615" name="Google Shape;2604;p19">
                    <a:extLst>
                      <a:ext uri="{FF2B5EF4-FFF2-40B4-BE49-F238E27FC236}">
                        <a16:creationId xmlns:a16="http://schemas.microsoft.com/office/drawing/2014/main" id="{3FE7AF83-50E0-4D02-B799-0F955097CFF6}"/>
                      </a:ext>
                    </a:extLst>
                  </p:cNvPr>
                  <p:cNvSpPr/>
                  <p:nvPr/>
                </p:nvSpPr>
                <p:spPr>
                  <a:xfrm>
                    <a:off x="9253536" y="2424114"/>
                    <a:ext cx="33338" cy="119063"/>
                  </a:xfrm>
                  <a:custGeom>
                    <a:avLst/>
                    <a:gdLst/>
                    <a:ahLst/>
                    <a:cxnLst/>
                    <a:rect l="l" t="t" r="r" b="b"/>
                    <a:pathLst>
                      <a:path w="33338" h="119063" extrusionOk="0">
                        <a:moveTo>
                          <a:pt x="0" y="119063"/>
                        </a:moveTo>
                        <a:lnTo>
                          <a:pt x="33338" y="0"/>
                        </a:lnTo>
                      </a:path>
                    </a:pathLst>
                  </a:custGeom>
                  <a:noFill/>
                  <a:ln w="9525"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616" name="Google Shape;2605;p19">
                    <a:extLst>
                      <a:ext uri="{FF2B5EF4-FFF2-40B4-BE49-F238E27FC236}">
                        <a16:creationId xmlns:a16="http://schemas.microsoft.com/office/drawing/2014/main" id="{90923002-5C15-470B-9569-343B069C1762}"/>
                      </a:ext>
                    </a:extLst>
                  </p:cNvPr>
                  <p:cNvSpPr/>
                  <p:nvPr/>
                </p:nvSpPr>
                <p:spPr>
                  <a:xfrm>
                    <a:off x="9301160" y="2424114"/>
                    <a:ext cx="47625" cy="119063"/>
                  </a:xfrm>
                  <a:custGeom>
                    <a:avLst/>
                    <a:gdLst/>
                    <a:ahLst/>
                    <a:cxnLst/>
                    <a:rect l="l" t="t" r="r" b="b"/>
                    <a:pathLst>
                      <a:path w="33338" h="119063" extrusionOk="0">
                        <a:moveTo>
                          <a:pt x="0" y="119063"/>
                        </a:moveTo>
                        <a:lnTo>
                          <a:pt x="33338" y="0"/>
                        </a:lnTo>
                      </a:path>
                    </a:pathLst>
                  </a:custGeom>
                  <a:noFill/>
                  <a:ln w="9525"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617" name="Google Shape;2606;p19">
                    <a:extLst>
                      <a:ext uri="{FF2B5EF4-FFF2-40B4-BE49-F238E27FC236}">
                        <a16:creationId xmlns:a16="http://schemas.microsoft.com/office/drawing/2014/main" id="{1F56ACA7-DB7C-469A-AB8D-27BC3E645B54}"/>
                      </a:ext>
                    </a:extLst>
                  </p:cNvPr>
                  <p:cNvSpPr/>
                  <p:nvPr/>
                </p:nvSpPr>
                <p:spPr>
                  <a:xfrm>
                    <a:off x="9351168" y="2424114"/>
                    <a:ext cx="64293" cy="119063"/>
                  </a:xfrm>
                  <a:custGeom>
                    <a:avLst/>
                    <a:gdLst/>
                    <a:ahLst/>
                    <a:cxnLst/>
                    <a:rect l="l" t="t" r="r" b="b"/>
                    <a:pathLst>
                      <a:path w="33338" h="119063" extrusionOk="0">
                        <a:moveTo>
                          <a:pt x="0" y="119063"/>
                        </a:moveTo>
                        <a:lnTo>
                          <a:pt x="33338" y="0"/>
                        </a:lnTo>
                      </a:path>
                    </a:pathLst>
                  </a:custGeom>
                  <a:noFill/>
                  <a:ln w="9525"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grpSp>
          <p:grpSp>
            <p:nvGrpSpPr>
              <p:cNvPr id="1605" name="Google Shape;2607;p19">
                <a:extLst>
                  <a:ext uri="{FF2B5EF4-FFF2-40B4-BE49-F238E27FC236}">
                    <a16:creationId xmlns:a16="http://schemas.microsoft.com/office/drawing/2014/main" id="{0E9C6A1B-FE31-4A78-9925-8647C857BA50}"/>
                  </a:ext>
                </a:extLst>
              </p:cNvPr>
              <p:cNvGrpSpPr/>
              <p:nvPr/>
            </p:nvGrpSpPr>
            <p:grpSpPr>
              <a:xfrm>
                <a:off x="4340119" y="2608038"/>
                <a:ext cx="216033" cy="487283"/>
                <a:chOff x="9220200" y="2419351"/>
                <a:chExt cx="200024" cy="385541"/>
              </a:xfrm>
            </p:grpSpPr>
            <p:grpSp>
              <p:nvGrpSpPr>
                <p:cNvPr id="1606" name="Google Shape;2608;p19">
                  <a:extLst>
                    <a:ext uri="{FF2B5EF4-FFF2-40B4-BE49-F238E27FC236}">
                      <a16:creationId xmlns:a16="http://schemas.microsoft.com/office/drawing/2014/main" id="{0EB23D90-7921-4098-AEAC-826374653D9C}"/>
                    </a:ext>
                  </a:extLst>
                </p:cNvPr>
                <p:cNvGrpSpPr/>
                <p:nvPr/>
              </p:nvGrpSpPr>
              <p:grpSpPr>
                <a:xfrm>
                  <a:off x="9220200" y="2533429"/>
                  <a:ext cx="185738" cy="271463"/>
                  <a:chOff x="9220200" y="2533429"/>
                  <a:chExt cx="185738" cy="271463"/>
                </a:xfrm>
              </p:grpSpPr>
              <p:sp>
                <p:nvSpPr>
                  <p:cNvPr id="1611" name="Google Shape;2609;p19">
                    <a:extLst>
                      <a:ext uri="{FF2B5EF4-FFF2-40B4-BE49-F238E27FC236}">
                        <a16:creationId xmlns:a16="http://schemas.microsoft.com/office/drawing/2014/main" id="{CB3E5DA0-D74C-49E4-9E34-82C78D1E8A4C}"/>
                      </a:ext>
                    </a:extLst>
                  </p:cNvPr>
                  <p:cNvSpPr/>
                  <p:nvPr/>
                </p:nvSpPr>
                <p:spPr>
                  <a:xfrm>
                    <a:off x="9220200" y="2533429"/>
                    <a:ext cx="185738" cy="271463"/>
                  </a:xfrm>
                  <a:prstGeom prst="roundRect">
                    <a:avLst>
                      <a:gd name="adj" fmla="val 26923"/>
                    </a:avLst>
                  </a:prstGeom>
                  <a:gradFill>
                    <a:gsLst>
                      <a:gs pos="0">
                        <a:srgbClr val="C6D7E3"/>
                      </a:gs>
                      <a:gs pos="72000">
                        <a:srgbClr val="406766"/>
                      </a:gs>
                      <a:gs pos="90000">
                        <a:srgbClr val="404747"/>
                      </a:gs>
                      <a:gs pos="97345">
                        <a:schemeClr val="dk1"/>
                      </a:gs>
                      <a:gs pos="100000">
                        <a:schemeClr val="dk1"/>
                      </a:gs>
                    </a:gsLst>
                    <a:lin ang="5400000" scaled="0"/>
                  </a:gradFill>
                  <a:ln w="9525" cap="flat" cmpd="sng">
                    <a:solidFill>
                      <a:schemeClr val="dk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612" name="Google Shape;2610;p19">
                    <a:extLst>
                      <a:ext uri="{FF2B5EF4-FFF2-40B4-BE49-F238E27FC236}">
                        <a16:creationId xmlns:a16="http://schemas.microsoft.com/office/drawing/2014/main" id="{1B05D4BA-16EB-4567-9E02-7AC1F11DDD53}"/>
                      </a:ext>
                    </a:extLst>
                  </p:cNvPr>
                  <p:cNvSpPr/>
                  <p:nvPr/>
                </p:nvSpPr>
                <p:spPr>
                  <a:xfrm>
                    <a:off x="9261122" y="2714624"/>
                    <a:ext cx="101953" cy="90267"/>
                  </a:xfrm>
                  <a:prstGeom prst="ellipse">
                    <a:avLst/>
                  </a:prstGeom>
                  <a:solidFill>
                    <a:srgbClr val="0033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grpSp>
              <p:nvGrpSpPr>
                <p:cNvPr id="1607" name="Google Shape;2611;p19">
                  <a:extLst>
                    <a:ext uri="{FF2B5EF4-FFF2-40B4-BE49-F238E27FC236}">
                      <a16:creationId xmlns:a16="http://schemas.microsoft.com/office/drawing/2014/main" id="{132C60B9-2927-4643-813F-6AB7C51C484F}"/>
                    </a:ext>
                  </a:extLst>
                </p:cNvPr>
                <p:cNvGrpSpPr/>
                <p:nvPr/>
              </p:nvGrpSpPr>
              <p:grpSpPr>
                <a:xfrm>
                  <a:off x="9258299" y="2419351"/>
                  <a:ext cx="161925" cy="119063"/>
                  <a:chOff x="9253536" y="2424114"/>
                  <a:chExt cx="161925" cy="119063"/>
                </a:xfrm>
              </p:grpSpPr>
              <p:sp>
                <p:nvSpPr>
                  <p:cNvPr id="1608" name="Google Shape;2612;p19">
                    <a:extLst>
                      <a:ext uri="{FF2B5EF4-FFF2-40B4-BE49-F238E27FC236}">
                        <a16:creationId xmlns:a16="http://schemas.microsoft.com/office/drawing/2014/main" id="{0C315D1D-5899-448B-AE2E-14EE895EEB01}"/>
                      </a:ext>
                    </a:extLst>
                  </p:cNvPr>
                  <p:cNvSpPr/>
                  <p:nvPr/>
                </p:nvSpPr>
                <p:spPr>
                  <a:xfrm>
                    <a:off x="9253536" y="2424114"/>
                    <a:ext cx="33338" cy="119063"/>
                  </a:xfrm>
                  <a:custGeom>
                    <a:avLst/>
                    <a:gdLst/>
                    <a:ahLst/>
                    <a:cxnLst/>
                    <a:rect l="l" t="t" r="r" b="b"/>
                    <a:pathLst>
                      <a:path w="33338" h="119063" extrusionOk="0">
                        <a:moveTo>
                          <a:pt x="0" y="119063"/>
                        </a:moveTo>
                        <a:lnTo>
                          <a:pt x="33338" y="0"/>
                        </a:lnTo>
                      </a:path>
                    </a:pathLst>
                  </a:custGeom>
                  <a:noFill/>
                  <a:ln w="9525"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609" name="Google Shape;2613;p19">
                    <a:extLst>
                      <a:ext uri="{FF2B5EF4-FFF2-40B4-BE49-F238E27FC236}">
                        <a16:creationId xmlns:a16="http://schemas.microsoft.com/office/drawing/2014/main" id="{32B3B279-3F20-4AA4-B6DC-AC6B25408522}"/>
                      </a:ext>
                    </a:extLst>
                  </p:cNvPr>
                  <p:cNvSpPr/>
                  <p:nvPr/>
                </p:nvSpPr>
                <p:spPr>
                  <a:xfrm>
                    <a:off x="9301160" y="2424114"/>
                    <a:ext cx="47625" cy="119063"/>
                  </a:xfrm>
                  <a:custGeom>
                    <a:avLst/>
                    <a:gdLst/>
                    <a:ahLst/>
                    <a:cxnLst/>
                    <a:rect l="l" t="t" r="r" b="b"/>
                    <a:pathLst>
                      <a:path w="33338" h="119063" extrusionOk="0">
                        <a:moveTo>
                          <a:pt x="0" y="119063"/>
                        </a:moveTo>
                        <a:lnTo>
                          <a:pt x="33338" y="0"/>
                        </a:lnTo>
                      </a:path>
                    </a:pathLst>
                  </a:custGeom>
                  <a:noFill/>
                  <a:ln w="9525"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610" name="Google Shape;2614;p19">
                    <a:extLst>
                      <a:ext uri="{FF2B5EF4-FFF2-40B4-BE49-F238E27FC236}">
                        <a16:creationId xmlns:a16="http://schemas.microsoft.com/office/drawing/2014/main" id="{7E9B69EC-CD87-4699-A204-A6AB1D76E9D7}"/>
                      </a:ext>
                    </a:extLst>
                  </p:cNvPr>
                  <p:cNvSpPr/>
                  <p:nvPr/>
                </p:nvSpPr>
                <p:spPr>
                  <a:xfrm>
                    <a:off x="9351168" y="2424114"/>
                    <a:ext cx="64293" cy="119063"/>
                  </a:xfrm>
                  <a:custGeom>
                    <a:avLst/>
                    <a:gdLst/>
                    <a:ahLst/>
                    <a:cxnLst/>
                    <a:rect l="l" t="t" r="r" b="b"/>
                    <a:pathLst>
                      <a:path w="33338" h="119063" extrusionOk="0">
                        <a:moveTo>
                          <a:pt x="0" y="119063"/>
                        </a:moveTo>
                        <a:lnTo>
                          <a:pt x="33338" y="0"/>
                        </a:lnTo>
                      </a:path>
                    </a:pathLst>
                  </a:custGeom>
                  <a:noFill/>
                  <a:ln w="9525" cap="flat" cmpd="sng">
                    <a:solidFill>
                      <a:schemeClr val="accent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grpSp>
        </p:grpSp>
        <p:grpSp>
          <p:nvGrpSpPr>
            <p:cNvPr id="1620" name="Google Shape;2679;p19">
              <a:extLst>
                <a:ext uri="{FF2B5EF4-FFF2-40B4-BE49-F238E27FC236}">
                  <a16:creationId xmlns:a16="http://schemas.microsoft.com/office/drawing/2014/main" id="{FE260C25-5C5D-4DA6-B91D-3B926FA28D40}"/>
                </a:ext>
              </a:extLst>
            </p:cNvPr>
            <p:cNvGrpSpPr/>
            <p:nvPr/>
          </p:nvGrpSpPr>
          <p:grpSpPr>
            <a:xfrm>
              <a:off x="3208043" y="2720344"/>
              <a:ext cx="287060" cy="333508"/>
              <a:chOff x="3701" y="2021"/>
              <a:chExt cx="278" cy="276"/>
            </a:xfrm>
          </p:grpSpPr>
          <p:sp>
            <p:nvSpPr>
              <p:cNvPr id="1621" name="Google Shape;2680;p19">
                <a:extLst>
                  <a:ext uri="{FF2B5EF4-FFF2-40B4-BE49-F238E27FC236}">
                    <a16:creationId xmlns:a16="http://schemas.microsoft.com/office/drawing/2014/main" id="{3C15EA74-D1EF-4839-A2F2-437EC8C64C67}"/>
                  </a:ext>
                </a:extLst>
              </p:cNvPr>
              <p:cNvSpPr/>
              <p:nvPr/>
            </p:nvSpPr>
            <p:spPr>
              <a:xfrm>
                <a:off x="3848" y="2021"/>
                <a:ext cx="131" cy="240"/>
              </a:xfrm>
              <a:custGeom>
                <a:avLst/>
                <a:gdLst/>
                <a:ahLst/>
                <a:cxnLst/>
                <a:rect l="l" t="t" r="r" b="b"/>
                <a:pathLst>
                  <a:path w="73" h="133" extrusionOk="0">
                    <a:moveTo>
                      <a:pt x="0" y="2"/>
                    </a:moveTo>
                    <a:cubicBezTo>
                      <a:pt x="0" y="2"/>
                      <a:pt x="20" y="0"/>
                      <a:pt x="36" y="9"/>
                    </a:cubicBezTo>
                    <a:cubicBezTo>
                      <a:pt x="52" y="18"/>
                      <a:pt x="72" y="46"/>
                      <a:pt x="73" y="63"/>
                    </a:cubicBezTo>
                    <a:cubicBezTo>
                      <a:pt x="73" y="80"/>
                      <a:pt x="73" y="93"/>
                      <a:pt x="68" y="102"/>
                    </a:cubicBezTo>
                    <a:cubicBezTo>
                      <a:pt x="63" y="112"/>
                      <a:pt x="53" y="133"/>
                      <a:pt x="49" y="133"/>
                    </a:cubicBezTo>
                    <a:cubicBezTo>
                      <a:pt x="45" y="133"/>
                      <a:pt x="39" y="133"/>
                      <a:pt x="39" y="133"/>
                    </a:cubicBezTo>
                    <a:cubicBezTo>
                      <a:pt x="39" y="133"/>
                      <a:pt x="47" y="110"/>
                      <a:pt x="50" y="105"/>
                    </a:cubicBezTo>
                    <a:cubicBezTo>
                      <a:pt x="54" y="101"/>
                      <a:pt x="66" y="58"/>
                      <a:pt x="61" y="50"/>
                    </a:cubicBezTo>
                    <a:cubicBezTo>
                      <a:pt x="57" y="42"/>
                      <a:pt x="35" y="15"/>
                      <a:pt x="28" y="13"/>
                    </a:cubicBezTo>
                    <a:cubicBezTo>
                      <a:pt x="20" y="10"/>
                      <a:pt x="0" y="2"/>
                      <a:pt x="0" y="2"/>
                    </a:cubicBezTo>
                    <a:close/>
                  </a:path>
                </a:pathLst>
              </a:custGeom>
              <a:solidFill>
                <a:srgbClr val="FA1018"/>
              </a:solidFill>
              <a:ln w="9525" cap="flat" cmpd="sng">
                <a:solidFill>
                  <a:schemeClr val="accent3"/>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622" name="Google Shape;2681;p19">
                <a:extLst>
                  <a:ext uri="{FF2B5EF4-FFF2-40B4-BE49-F238E27FC236}">
                    <a16:creationId xmlns:a16="http://schemas.microsoft.com/office/drawing/2014/main" id="{F6245A93-69A7-4A8A-998F-53F20A423FC4}"/>
                  </a:ext>
                </a:extLst>
              </p:cNvPr>
              <p:cNvSpPr/>
              <p:nvPr/>
            </p:nvSpPr>
            <p:spPr>
              <a:xfrm>
                <a:off x="3701" y="2025"/>
                <a:ext cx="124" cy="173"/>
              </a:xfrm>
              <a:custGeom>
                <a:avLst/>
                <a:gdLst/>
                <a:ahLst/>
                <a:cxnLst/>
                <a:rect l="l" t="t" r="r" b="b"/>
                <a:pathLst>
                  <a:path w="69" h="96" extrusionOk="0">
                    <a:moveTo>
                      <a:pt x="69" y="0"/>
                    </a:moveTo>
                    <a:cubicBezTo>
                      <a:pt x="69" y="0"/>
                      <a:pt x="66" y="5"/>
                      <a:pt x="64" y="6"/>
                    </a:cubicBezTo>
                    <a:cubicBezTo>
                      <a:pt x="63" y="7"/>
                      <a:pt x="46" y="12"/>
                      <a:pt x="45" y="12"/>
                    </a:cubicBezTo>
                    <a:cubicBezTo>
                      <a:pt x="44" y="13"/>
                      <a:pt x="24" y="22"/>
                      <a:pt x="19" y="32"/>
                    </a:cubicBezTo>
                    <a:cubicBezTo>
                      <a:pt x="14" y="41"/>
                      <a:pt x="10" y="55"/>
                      <a:pt x="10" y="57"/>
                    </a:cubicBezTo>
                    <a:cubicBezTo>
                      <a:pt x="10" y="59"/>
                      <a:pt x="6" y="70"/>
                      <a:pt x="7" y="74"/>
                    </a:cubicBezTo>
                    <a:cubicBezTo>
                      <a:pt x="7" y="79"/>
                      <a:pt x="7" y="96"/>
                      <a:pt x="7" y="96"/>
                    </a:cubicBezTo>
                    <a:cubicBezTo>
                      <a:pt x="7" y="96"/>
                      <a:pt x="0" y="90"/>
                      <a:pt x="0" y="85"/>
                    </a:cubicBezTo>
                    <a:cubicBezTo>
                      <a:pt x="0" y="75"/>
                      <a:pt x="4" y="48"/>
                      <a:pt x="6" y="46"/>
                    </a:cubicBezTo>
                    <a:cubicBezTo>
                      <a:pt x="9" y="40"/>
                      <a:pt x="22" y="26"/>
                      <a:pt x="24" y="23"/>
                    </a:cubicBezTo>
                    <a:cubicBezTo>
                      <a:pt x="26" y="20"/>
                      <a:pt x="42" y="6"/>
                      <a:pt x="47" y="4"/>
                    </a:cubicBezTo>
                    <a:cubicBezTo>
                      <a:pt x="52" y="2"/>
                      <a:pt x="69" y="0"/>
                      <a:pt x="69" y="0"/>
                    </a:cubicBezTo>
                    <a:close/>
                  </a:path>
                </a:pathLst>
              </a:custGeom>
              <a:solidFill>
                <a:srgbClr val="FA1018"/>
              </a:solidFill>
              <a:ln w="9525" cap="flat" cmpd="sng">
                <a:solidFill>
                  <a:schemeClr val="accent3"/>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623" name="Google Shape;2682;p19">
                <a:extLst>
                  <a:ext uri="{FF2B5EF4-FFF2-40B4-BE49-F238E27FC236}">
                    <a16:creationId xmlns:a16="http://schemas.microsoft.com/office/drawing/2014/main" id="{9CF9176C-D9F3-4349-966A-D55D7FECC37F}"/>
                  </a:ext>
                </a:extLst>
              </p:cNvPr>
              <p:cNvSpPr/>
              <p:nvPr/>
            </p:nvSpPr>
            <p:spPr>
              <a:xfrm>
                <a:off x="3714" y="2216"/>
                <a:ext cx="200" cy="81"/>
              </a:xfrm>
              <a:custGeom>
                <a:avLst/>
                <a:gdLst/>
                <a:ahLst/>
                <a:cxnLst/>
                <a:rect l="l" t="t" r="r" b="b"/>
                <a:pathLst>
                  <a:path w="112" h="45" extrusionOk="0">
                    <a:moveTo>
                      <a:pt x="0" y="0"/>
                    </a:moveTo>
                    <a:cubicBezTo>
                      <a:pt x="0" y="0"/>
                      <a:pt x="13" y="5"/>
                      <a:pt x="16" y="8"/>
                    </a:cubicBezTo>
                    <a:cubicBezTo>
                      <a:pt x="19" y="11"/>
                      <a:pt x="36" y="26"/>
                      <a:pt x="43" y="29"/>
                    </a:cubicBezTo>
                    <a:cubicBezTo>
                      <a:pt x="50" y="33"/>
                      <a:pt x="51" y="35"/>
                      <a:pt x="58" y="36"/>
                    </a:cubicBezTo>
                    <a:cubicBezTo>
                      <a:pt x="65" y="37"/>
                      <a:pt x="95" y="36"/>
                      <a:pt x="100" y="37"/>
                    </a:cubicBezTo>
                    <a:cubicBezTo>
                      <a:pt x="106" y="37"/>
                      <a:pt x="112" y="39"/>
                      <a:pt x="112" y="39"/>
                    </a:cubicBezTo>
                    <a:cubicBezTo>
                      <a:pt x="112" y="39"/>
                      <a:pt x="65" y="45"/>
                      <a:pt x="59" y="45"/>
                    </a:cubicBezTo>
                    <a:cubicBezTo>
                      <a:pt x="53" y="44"/>
                      <a:pt x="20" y="31"/>
                      <a:pt x="18" y="28"/>
                    </a:cubicBezTo>
                    <a:cubicBezTo>
                      <a:pt x="16" y="26"/>
                      <a:pt x="2" y="15"/>
                      <a:pt x="1" y="11"/>
                    </a:cubicBezTo>
                    <a:cubicBezTo>
                      <a:pt x="0" y="6"/>
                      <a:pt x="0" y="0"/>
                      <a:pt x="0" y="0"/>
                    </a:cubicBezTo>
                    <a:close/>
                  </a:path>
                </a:pathLst>
              </a:custGeom>
              <a:solidFill>
                <a:srgbClr val="FA1018"/>
              </a:solidFill>
              <a:ln w="9525" cap="flat" cmpd="sng">
                <a:solidFill>
                  <a:schemeClr val="accent3"/>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grpSp>
          <p:nvGrpSpPr>
            <p:cNvPr id="1624" name="Google Shape;2683;p19">
              <a:extLst>
                <a:ext uri="{FF2B5EF4-FFF2-40B4-BE49-F238E27FC236}">
                  <a16:creationId xmlns:a16="http://schemas.microsoft.com/office/drawing/2014/main" id="{45FA568D-5A57-4669-AC6D-3A91376CAEC4}"/>
                </a:ext>
              </a:extLst>
            </p:cNvPr>
            <p:cNvGrpSpPr/>
            <p:nvPr/>
          </p:nvGrpSpPr>
          <p:grpSpPr>
            <a:xfrm>
              <a:off x="2962998" y="3289662"/>
              <a:ext cx="777150" cy="284202"/>
              <a:chOff x="2213" y="2396"/>
              <a:chExt cx="576" cy="180"/>
            </a:xfrm>
          </p:grpSpPr>
          <p:sp>
            <p:nvSpPr>
              <p:cNvPr id="1625" name="Google Shape;2684;p19">
                <a:extLst>
                  <a:ext uri="{FF2B5EF4-FFF2-40B4-BE49-F238E27FC236}">
                    <a16:creationId xmlns:a16="http://schemas.microsoft.com/office/drawing/2014/main" id="{F3D6ABC0-C136-4A65-B970-B1219AF5D82C}"/>
                  </a:ext>
                </a:extLst>
              </p:cNvPr>
              <p:cNvSpPr/>
              <p:nvPr/>
            </p:nvSpPr>
            <p:spPr>
              <a:xfrm>
                <a:off x="2227" y="2412"/>
                <a:ext cx="546" cy="72"/>
              </a:xfrm>
              <a:custGeom>
                <a:avLst/>
                <a:gdLst/>
                <a:ahLst/>
                <a:cxnLst/>
                <a:rect l="l" t="t" r="r" b="b"/>
                <a:pathLst>
                  <a:path w="347" h="45" extrusionOk="0">
                    <a:moveTo>
                      <a:pt x="347" y="35"/>
                    </a:moveTo>
                    <a:cubicBezTo>
                      <a:pt x="347" y="35"/>
                      <a:pt x="326" y="42"/>
                      <a:pt x="319" y="42"/>
                    </a:cubicBezTo>
                    <a:cubicBezTo>
                      <a:pt x="305" y="41"/>
                      <a:pt x="251" y="0"/>
                      <a:pt x="222" y="2"/>
                    </a:cubicBezTo>
                    <a:cubicBezTo>
                      <a:pt x="195" y="4"/>
                      <a:pt x="176" y="19"/>
                      <a:pt x="151" y="27"/>
                    </a:cubicBezTo>
                    <a:cubicBezTo>
                      <a:pt x="133" y="32"/>
                      <a:pt x="105" y="39"/>
                      <a:pt x="77" y="42"/>
                    </a:cubicBezTo>
                    <a:cubicBezTo>
                      <a:pt x="48" y="45"/>
                      <a:pt x="0" y="45"/>
                      <a:pt x="0" y="45"/>
                    </a:cubicBezTo>
                  </a:path>
                </a:pathLst>
              </a:custGeom>
              <a:noFill/>
              <a:ln w="9525" cap="flat" cmpd="sng">
                <a:solidFill>
                  <a:srgbClr val="BCBEC0"/>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626" name="Google Shape;2685;p19">
                <a:extLst>
                  <a:ext uri="{FF2B5EF4-FFF2-40B4-BE49-F238E27FC236}">
                    <a16:creationId xmlns:a16="http://schemas.microsoft.com/office/drawing/2014/main" id="{FA4AE972-C541-44AC-B86A-20DEF9C39895}"/>
                  </a:ext>
                </a:extLst>
              </p:cNvPr>
              <p:cNvSpPr/>
              <p:nvPr/>
            </p:nvSpPr>
            <p:spPr>
              <a:xfrm>
                <a:off x="2227" y="2446"/>
                <a:ext cx="546" cy="40"/>
              </a:xfrm>
              <a:custGeom>
                <a:avLst/>
                <a:gdLst/>
                <a:ahLst/>
                <a:cxnLst/>
                <a:rect l="l" t="t" r="r" b="b"/>
                <a:pathLst>
                  <a:path w="347" h="25" extrusionOk="0">
                    <a:moveTo>
                      <a:pt x="347" y="14"/>
                    </a:moveTo>
                    <a:cubicBezTo>
                      <a:pt x="347" y="14"/>
                      <a:pt x="326" y="23"/>
                      <a:pt x="319" y="23"/>
                    </a:cubicBezTo>
                    <a:cubicBezTo>
                      <a:pt x="305" y="23"/>
                      <a:pt x="251" y="0"/>
                      <a:pt x="222" y="1"/>
                    </a:cubicBezTo>
                    <a:cubicBezTo>
                      <a:pt x="195" y="3"/>
                      <a:pt x="176" y="10"/>
                      <a:pt x="151" y="15"/>
                    </a:cubicBezTo>
                    <a:cubicBezTo>
                      <a:pt x="133" y="18"/>
                      <a:pt x="105" y="21"/>
                      <a:pt x="77" y="23"/>
                    </a:cubicBezTo>
                    <a:cubicBezTo>
                      <a:pt x="48" y="25"/>
                      <a:pt x="0" y="24"/>
                      <a:pt x="0" y="24"/>
                    </a:cubicBezTo>
                  </a:path>
                </a:pathLst>
              </a:custGeom>
              <a:noFill/>
              <a:ln w="9525" cap="flat" cmpd="sng">
                <a:solidFill>
                  <a:srgbClr val="BCBEC0"/>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627" name="Google Shape;2686;p19">
                <a:extLst>
                  <a:ext uri="{FF2B5EF4-FFF2-40B4-BE49-F238E27FC236}">
                    <a16:creationId xmlns:a16="http://schemas.microsoft.com/office/drawing/2014/main" id="{EB580F92-66ED-45C8-A689-08A6603C082E}"/>
                  </a:ext>
                </a:extLst>
              </p:cNvPr>
              <p:cNvSpPr/>
              <p:nvPr/>
            </p:nvSpPr>
            <p:spPr>
              <a:xfrm>
                <a:off x="2227" y="2460"/>
                <a:ext cx="546" cy="98"/>
              </a:xfrm>
              <a:custGeom>
                <a:avLst/>
                <a:gdLst/>
                <a:ahLst/>
                <a:cxnLst/>
                <a:rect l="l" t="t" r="r" b="b"/>
                <a:pathLst>
                  <a:path w="347" h="61" extrusionOk="0">
                    <a:moveTo>
                      <a:pt x="0" y="15"/>
                    </a:moveTo>
                    <a:cubicBezTo>
                      <a:pt x="0" y="15"/>
                      <a:pt x="48" y="16"/>
                      <a:pt x="77" y="15"/>
                    </a:cubicBezTo>
                    <a:cubicBezTo>
                      <a:pt x="105" y="13"/>
                      <a:pt x="133" y="11"/>
                      <a:pt x="151" y="9"/>
                    </a:cubicBezTo>
                    <a:cubicBezTo>
                      <a:pt x="176" y="7"/>
                      <a:pt x="195" y="2"/>
                      <a:pt x="222" y="1"/>
                    </a:cubicBezTo>
                    <a:cubicBezTo>
                      <a:pt x="251" y="0"/>
                      <a:pt x="305" y="14"/>
                      <a:pt x="319" y="15"/>
                    </a:cubicBezTo>
                    <a:cubicBezTo>
                      <a:pt x="326" y="15"/>
                      <a:pt x="347" y="5"/>
                      <a:pt x="347" y="5"/>
                    </a:cubicBezTo>
                    <a:cubicBezTo>
                      <a:pt x="347" y="5"/>
                      <a:pt x="256" y="46"/>
                      <a:pt x="233" y="49"/>
                    </a:cubicBezTo>
                    <a:cubicBezTo>
                      <a:pt x="210" y="53"/>
                      <a:pt x="180" y="61"/>
                      <a:pt x="123" y="48"/>
                    </a:cubicBezTo>
                    <a:cubicBezTo>
                      <a:pt x="83" y="39"/>
                      <a:pt x="65" y="23"/>
                      <a:pt x="50" y="21"/>
                    </a:cubicBezTo>
                    <a:cubicBezTo>
                      <a:pt x="35" y="19"/>
                      <a:pt x="0" y="15"/>
                      <a:pt x="0" y="15"/>
                    </a:cubicBezTo>
                    <a:close/>
                  </a:path>
                </a:pathLst>
              </a:custGeom>
              <a:noFill/>
              <a:ln w="9525" cap="flat" cmpd="sng">
                <a:solidFill>
                  <a:srgbClr val="BCBEC0"/>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628" name="Google Shape;2687;p19">
                <a:extLst>
                  <a:ext uri="{FF2B5EF4-FFF2-40B4-BE49-F238E27FC236}">
                    <a16:creationId xmlns:a16="http://schemas.microsoft.com/office/drawing/2014/main" id="{E27B7BE4-374B-4A52-B61B-903CCF6AACCA}"/>
                  </a:ext>
                </a:extLst>
              </p:cNvPr>
              <p:cNvSpPr/>
              <p:nvPr/>
            </p:nvSpPr>
            <p:spPr>
              <a:xfrm>
                <a:off x="2227" y="2428"/>
                <a:ext cx="546" cy="108"/>
              </a:xfrm>
              <a:custGeom>
                <a:avLst/>
                <a:gdLst/>
                <a:ahLst/>
                <a:cxnLst/>
                <a:rect l="l" t="t" r="r" b="b"/>
                <a:pathLst>
                  <a:path w="347" h="67" extrusionOk="0">
                    <a:moveTo>
                      <a:pt x="347" y="25"/>
                    </a:moveTo>
                    <a:cubicBezTo>
                      <a:pt x="347" y="25"/>
                      <a:pt x="287" y="50"/>
                      <a:pt x="263" y="53"/>
                    </a:cubicBezTo>
                    <a:cubicBezTo>
                      <a:pt x="238" y="56"/>
                      <a:pt x="203" y="67"/>
                      <a:pt x="164" y="61"/>
                    </a:cubicBezTo>
                    <a:cubicBezTo>
                      <a:pt x="125" y="56"/>
                      <a:pt x="104" y="48"/>
                      <a:pt x="83" y="44"/>
                    </a:cubicBezTo>
                    <a:cubicBezTo>
                      <a:pt x="63" y="40"/>
                      <a:pt x="0" y="35"/>
                      <a:pt x="0" y="35"/>
                    </a:cubicBezTo>
                    <a:cubicBezTo>
                      <a:pt x="0" y="35"/>
                      <a:pt x="48" y="35"/>
                      <a:pt x="77" y="33"/>
                    </a:cubicBezTo>
                    <a:cubicBezTo>
                      <a:pt x="105" y="30"/>
                      <a:pt x="133" y="25"/>
                      <a:pt x="151" y="20"/>
                    </a:cubicBezTo>
                    <a:cubicBezTo>
                      <a:pt x="176" y="14"/>
                      <a:pt x="195" y="3"/>
                      <a:pt x="222" y="1"/>
                    </a:cubicBezTo>
                    <a:cubicBezTo>
                      <a:pt x="251" y="0"/>
                      <a:pt x="305" y="32"/>
                      <a:pt x="319" y="33"/>
                    </a:cubicBezTo>
                    <a:cubicBezTo>
                      <a:pt x="326" y="33"/>
                      <a:pt x="347" y="25"/>
                      <a:pt x="347" y="25"/>
                    </a:cubicBezTo>
                  </a:path>
                </a:pathLst>
              </a:custGeom>
              <a:noFill/>
              <a:ln w="9525" cap="flat" cmpd="sng">
                <a:solidFill>
                  <a:srgbClr val="BCBEC0"/>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629" name="Google Shape;2688;p19">
                <a:extLst>
                  <a:ext uri="{FF2B5EF4-FFF2-40B4-BE49-F238E27FC236}">
                    <a16:creationId xmlns:a16="http://schemas.microsoft.com/office/drawing/2014/main" id="{08A1BC1F-8155-4F38-AA17-B5731DAA6817}"/>
                  </a:ext>
                </a:extLst>
              </p:cNvPr>
              <p:cNvSpPr/>
              <p:nvPr/>
            </p:nvSpPr>
            <p:spPr>
              <a:xfrm>
                <a:off x="2268" y="2489"/>
                <a:ext cx="357" cy="77"/>
              </a:xfrm>
              <a:custGeom>
                <a:avLst/>
                <a:gdLst/>
                <a:ahLst/>
                <a:cxnLst/>
                <a:rect l="l" t="t" r="r" b="b"/>
                <a:pathLst>
                  <a:path w="227" h="48" extrusionOk="0">
                    <a:moveTo>
                      <a:pt x="0" y="0"/>
                    </a:moveTo>
                    <a:cubicBezTo>
                      <a:pt x="27" y="6"/>
                      <a:pt x="27" y="6"/>
                      <a:pt x="27" y="6"/>
                    </a:cubicBezTo>
                    <a:cubicBezTo>
                      <a:pt x="27" y="6"/>
                      <a:pt x="64" y="21"/>
                      <a:pt x="69" y="25"/>
                    </a:cubicBezTo>
                    <a:cubicBezTo>
                      <a:pt x="74" y="29"/>
                      <a:pt x="110" y="42"/>
                      <a:pt x="110" y="42"/>
                    </a:cubicBezTo>
                    <a:cubicBezTo>
                      <a:pt x="110" y="42"/>
                      <a:pt x="131" y="47"/>
                      <a:pt x="138" y="47"/>
                    </a:cubicBezTo>
                    <a:cubicBezTo>
                      <a:pt x="145" y="47"/>
                      <a:pt x="161" y="48"/>
                      <a:pt x="178" y="43"/>
                    </a:cubicBezTo>
                    <a:cubicBezTo>
                      <a:pt x="196" y="38"/>
                      <a:pt x="227" y="26"/>
                      <a:pt x="227" y="26"/>
                    </a:cubicBezTo>
                  </a:path>
                </a:pathLst>
              </a:custGeom>
              <a:noFill/>
              <a:ln w="9525" cap="flat" cmpd="sng">
                <a:solidFill>
                  <a:srgbClr val="BCBEC0"/>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630" name="Google Shape;2689;p19">
                <a:extLst>
                  <a:ext uri="{FF2B5EF4-FFF2-40B4-BE49-F238E27FC236}">
                    <a16:creationId xmlns:a16="http://schemas.microsoft.com/office/drawing/2014/main" id="{9FC41FA1-AE78-4110-B452-339776820711}"/>
                  </a:ext>
                </a:extLst>
              </p:cNvPr>
              <p:cNvSpPr/>
              <p:nvPr/>
            </p:nvSpPr>
            <p:spPr>
              <a:xfrm>
                <a:off x="2254" y="2473"/>
                <a:ext cx="502" cy="43"/>
              </a:xfrm>
              <a:custGeom>
                <a:avLst/>
                <a:gdLst/>
                <a:ahLst/>
                <a:cxnLst/>
                <a:rect l="l" t="t" r="r" b="b"/>
                <a:pathLst>
                  <a:path w="319" h="27" extrusionOk="0">
                    <a:moveTo>
                      <a:pt x="319" y="0"/>
                    </a:moveTo>
                    <a:cubicBezTo>
                      <a:pt x="290" y="10"/>
                      <a:pt x="290" y="10"/>
                      <a:pt x="290" y="10"/>
                    </a:cubicBezTo>
                    <a:cubicBezTo>
                      <a:pt x="290" y="10"/>
                      <a:pt x="267" y="16"/>
                      <a:pt x="227" y="20"/>
                    </a:cubicBezTo>
                    <a:cubicBezTo>
                      <a:pt x="187" y="23"/>
                      <a:pt x="159" y="27"/>
                      <a:pt x="139" y="25"/>
                    </a:cubicBezTo>
                    <a:cubicBezTo>
                      <a:pt x="119" y="23"/>
                      <a:pt x="111" y="17"/>
                      <a:pt x="91" y="15"/>
                    </a:cubicBezTo>
                    <a:cubicBezTo>
                      <a:pt x="70" y="13"/>
                      <a:pt x="0" y="8"/>
                      <a:pt x="0" y="8"/>
                    </a:cubicBezTo>
                  </a:path>
                </a:pathLst>
              </a:custGeom>
              <a:noFill/>
              <a:ln w="9525" cap="flat" cmpd="sng">
                <a:solidFill>
                  <a:srgbClr val="BCBEC0"/>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631" name="Google Shape;2690;p19">
                <a:extLst>
                  <a:ext uri="{FF2B5EF4-FFF2-40B4-BE49-F238E27FC236}">
                    <a16:creationId xmlns:a16="http://schemas.microsoft.com/office/drawing/2014/main" id="{AAABDB0D-1F62-4D70-AB41-4917CE0C787A}"/>
                  </a:ext>
                </a:extLst>
              </p:cNvPr>
              <p:cNvSpPr/>
              <p:nvPr/>
            </p:nvSpPr>
            <p:spPr>
              <a:xfrm>
                <a:off x="2213" y="2396"/>
                <a:ext cx="576" cy="180"/>
              </a:xfrm>
              <a:custGeom>
                <a:avLst/>
                <a:gdLst/>
                <a:ahLst/>
                <a:cxnLst/>
                <a:rect l="l" t="t" r="r" b="b"/>
                <a:pathLst>
                  <a:path w="366" h="112" extrusionOk="0">
                    <a:moveTo>
                      <a:pt x="0" y="54"/>
                    </a:moveTo>
                    <a:cubicBezTo>
                      <a:pt x="0" y="54"/>
                      <a:pt x="65" y="51"/>
                      <a:pt x="93" y="46"/>
                    </a:cubicBezTo>
                    <a:cubicBezTo>
                      <a:pt x="124" y="39"/>
                      <a:pt x="193" y="0"/>
                      <a:pt x="217" y="0"/>
                    </a:cubicBezTo>
                    <a:cubicBezTo>
                      <a:pt x="253" y="0"/>
                      <a:pt x="268" y="16"/>
                      <a:pt x="285" y="25"/>
                    </a:cubicBezTo>
                    <a:cubicBezTo>
                      <a:pt x="302" y="33"/>
                      <a:pt x="323" y="48"/>
                      <a:pt x="341" y="47"/>
                    </a:cubicBezTo>
                    <a:cubicBezTo>
                      <a:pt x="358" y="45"/>
                      <a:pt x="366" y="41"/>
                      <a:pt x="366" y="41"/>
                    </a:cubicBezTo>
                    <a:cubicBezTo>
                      <a:pt x="366" y="41"/>
                      <a:pt x="342" y="54"/>
                      <a:pt x="326" y="62"/>
                    </a:cubicBezTo>
                    <a:cubicBezTo>
                      <a:pt x="310" y="70"/>
                      <a:pt x="268" y="91"/>
                      <a:pt x="242" y="97"/>
                    </a:cubicBezTo>
                    <a:cubicBezTo>
                      <a:pt x="216" y="103"/>
                      <a:pt x="185" y="112"/>
                      <a:pt x="159" y="108"/>
                    </a:cubicBezTo>
                    <a:cubicBezTo>
                      <a:pt x="132" y="104"/>
                      <a:pt x="73" y="76"/>
                      <a:pt x="54" y="70"/>
                    </a:cubicBezTo>
                    <a:cubicBezTo>
                      <a:pt x="36" y="63"/>
                      <a:pt x="29" y="58"/>
                      <a:pt x="21" y="57"/>
                    </a:cubicBezTo>
                    <a:cubicBezTo>
                      <a:pt x="13" y="56"/>
                      <a:pt x="0" y="54"/>
                      <a:pt x="0" y="54"/>
                    </a:cubicBezTo>
                    <a:close/>
                  </a:path>
                </a:pathLst>
              </a:custGeom>
              <a:noFill/>
              <a:ln w="12700" cap="flat" cmpd="sng">
                <a:solidFill>
                  <a:schemeClr val="accent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632" name="Google Shape;2691;p19">
                <a:extLst>
                  <a:ext uri="{FF2B5EF4-FFF2-40B4-BE49-F238E27FC236}">
                    <a16:creationId xmlns:a16="http://schemas.microsoft.com/office/drawing/2014/main" id="{CF823191-3F03-4F7C-96A6-E0655101B126}"/>
                  </a:ext>
                </a:extLst>
              </p:cNvPr>
              <p:cNvSpPr/>
              <p:nvPr/>
            </p:nvSpPr>
            <p:spPr>
              <a:xfrm>
                <a:off x="2473" y="2468"/>
                <a:ext cx="124" cy="36"/>
              </a:xfrm>
              <a:custGeom>
                <a:avLst/>
                <a:gdLst/>
                <a:ahLst/>
                <a:cxnLst/>
                <a:rect l="l" t="t" r="r" b="b"/>
                <a:pathLst>
                  <a:path w="79" h="22" extrusionOk="0">
                    <a:moveTo>
                      <a:pt x="78" y="4"/>
                    </a:moveTo>
                    <a:cubicBezTo>
                      <a:pt x="78" y="4"/>
                      <a:pt x="79" y="1"/>
                      <a:pt x="74" y="1"/>
                    </a:cubicBezTo>
                    <a:cubicBezTo>
                      <a:pt x="68" y="0"/>
                      <a:pt x="42" y="0"/>
                      <a:pt x="32" y="2"/>
                    </a:cubicBezTo>
                    <a:cubicBezTo>
                      <a:pt x="23" y="5"/>
                      <a:pt x="0" y="10"/>
                      <a:pt x="0" y="14"/>
                    </a:cubicBezTo>
                    <a:cubicBezTo>
                      <a:pt x="0" y="20"/>
                      <a:pt x="7" y="22"/>
                      <a:pt x="33" y="19"/>
                    </a:cubicBezTo>
                    <a:cubicBezTo>
                      <a:pt x="60" y="16"/>
                      <a:pt x="73" y="13"/>
                      <a:pt x="76" y="10"/>
                    </a:cubicBezTo>
                    <a:cubicBezTo>
                      <a:pt x="79" y="8"/>
                      <a:pt x="78" y="4"/>
                      <a:pt x="78" y="4"/>
                    </a:cubicBezTo>
                    <a:close/>
                  </a:path>
                </a:pathLst>
              </a:custGeom>
              <a:solidFill>
                <a:srgbClr val="30FE00"/>
              </a:solidFill>
              <a:ln w="9525" cap="flat" cmpd="sng">
                <a:solidFill>
                  <a:srgbClr val="000000"/>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grpSp>
          <p:nvGrpSpPr>
            <p:cNvPr id="1633" name="Google Shape;2692;p19">
              <a:extLst>
                <a:ext uri="{FF2B5EF4-FFF2-40B4-BE49-F238E27FC236}">
                  <a16:creationId xmlns:a16="http://schemas.microsoft.com/office/drawing/2014/main" id="{F712BBDD-331A-4C59-88BC-DFB1424AF2FD}"/>
                </a:ext>
              </a:extLst>
            </p:cNvPr>
            <p:cNvGrpSpPr/>
            <p:nvPr/>
          </p:nvGrpSpPr>
          <p:grpSpPr>
            <a:xfrm>
              <a:off x="3208043" y="3752268"/>
              <a:ext cx="287060" cy="448320"/>
              <a:chOff x="2468" y="2782"/>
              <a:chExt cx="269" cy="359"/>
            </a:xfrm>
          </p:grpSpPr>
          <p:sp>
            <p:nvSpPr>
              <p:cNvPr id="1634" name="Google Shape;2693;p19">
                <a:extLst>
                  <a:ext uri="{FF2B5EF4-FFF2-40B4-BE49-F238E27FC236}">
                    <a16:creationId xmlns:a16="http://schemas.microsoft.com/office/drawing/2014/main" id="{898647E1-EC9C-4849-9EA8-746A7ED882EE}"/>
                  </a:ext>
                </a:extLst>
              </p:cNvPr>
              <p:cNvSpPr/>
              <p:nvPr/>
            </p:nvSpPr>
            <p:spPr>
              <a:xfrm>
                <a:off x="2468" y="2782"/>
                <a:ext cx="269" cy="291"/>
              </a:xfrm>
              <a:custGeom>
                <a:avLst/>
                <a:gdLst/>
                <a:ahLst/>
                <a:cxnLst/>
                <a:rect l="l" t="t" r="r" b="b"/>
                <a:pathLst>
                  <a:path w="175" h="190" extrusionOk="0">
                    <a:moveTo>
                      <a:pt x="175" y="31"/>
                    </a:moveTo>
                    <a:cubicBezTo>
                      <a:pt x="175" y="31"/>
                      <a:pt x="171" y="25"/>
                      <a:pt x="164" y="24"/>
                    </a:cubicBezTo>
                    <a:cubicBezTo>
                      <a:pt x="158" y="23"/>
                      <a:pt x="143" y="24"/>
                      <a:pt x="125" y="20"/>
                    </a:cubicBezTo>
                    <a:cubicBezTo>
                      <a:pt x="106" y="16"/>
                      <a:pt x="71" y="7"/>
                      <a:pt x="60" y="7"/>
                    </a:cubicBezTo>
                    <a:cubicBezTo>
                      <a:pt x="49" y="6"/>
                      <a:pt x="21" y="0"/>
                      <a:pt x="13" y="4"/>
                    </a:cubicBezTo>
                    <a:cubicBezTo>
                      <a:pt x="4" y="7"/>
                      <a:pt x="0" y="12"/>
                      <a:pt x="1" y="19"/>
                    </a:cubicBezTo>
                    <a:cubicBezTo>
                      <a:pt x="2" y="26"/>
                      <a:pt x="6" y="38"/>
                      <a:pt x="6" y="38"/>
                    </a:cubicBezTo>
                    <a:cubicBezTo>
                      <a:pt x="6" y="38"/>
                      <a:pt x="36" y="30"/>
                      <a:pt x="53" y="33"/>
                    </a:cubicBezTo>
                    <a:cubicBezTo>
                      <a:pt x="71" y="36"/>
                      <a:pt x="89" y="38"/>
                      <a:pt x="95" y="46"/>
                    </a:cubicBezTo>
                    <a:cubicBezTo>
                      <a:pt x="102" y="53"/>
                      <a:pt x="104" y="60"/>
                      <a:pt x="103" y="69"/>
                    </a:cubicBezTo>
                    <a:cubicBezTo>
                      <a:pt x="102" y="78"/>
                      <a:pt x="97" y="114"/>
                      <a:pt x="98" y="122"/>
                    </a:cubicBezTo>
                    <a:cubicBezTo>
                      <a:pt x="99" y="129"/>
                      <a:pt x="100" y="144"/>
                      <a:pt x="98" y="153"/>
                    </a:cubicBezTo>
                    <a:cubicBezTo>
                      <a:pt x="95" y="162"/>
                      <a:pt x="86" y="184"/>
                      <a:pt x="88" y="186"/>
                    </a:cubicBezTo>
                    <a:cubicBezTo>
                      <a:pt x="90" y="189"/>
                      <a:pt x="103" y="190"/>
                      <a:pt x="103" y="190"/>
                    </a:cubicBezTo>
                    <a:cubicBezTo>
                      <a:pt x="103" y="190"/>
                      <a:pt x="110" y="187"/>
                      <a:pt x="111" y="185"/>
                    </a:cubicBezTo>
                    <a:cubicBezTo>
                      <a:pt x="111" y="184"/>
                      <a:pt x="115" y="181"/>
                      <a:pt x="115" y="178"/>
                    </a:cubicBezTo>
                    <a:cubicBezTo>
                      <a:pt x="115" y="175"/>
                      <a:pt x="109" y="175"/>
                      <a:pt x="106" y="159"/>
                    </a:cubicBezTo>
                    <a:cubicBezTo>
                      <a:pt x="102" y="143"/>
                      <a:pt x="99" y="131"/>
                      <a:pt x="99" y="124"/>
                    </a:cubicBezTo>
                    <a:cubicBezTo>
                      <a:pt x="98" y="117"/>
                      <a:pt x="100" y="98"/>
                      <a:pt x="100" y="96"/>
                    </a:cubicBezTo>
                    <a:cubicBezTo>
                      <a:pt x="100" y="94"/>
                      <a:pt x="102" y="74"/>
                      <a:pt x="104" y="71"/>
                    </a:cubicBezTo>
                    <a:cubicBezTo>
                      <a:pt x="105" y="67"/>
                      <a:pt x="110" y="51"/>
                      <a:pt x="114" y="47"/>
                    </a:cubicBezTo>
                    <a:cubicBezTo>
                      <a:pt x="118" y="42"/>
                      <a:pt x="118" y="36"/>
                      <a:pt x="125" y="35"/>
                    </a:cubicBezTo>
                    <a:cubicBezTo>
                      <a:pt x="132" y="34"/>
                      <a:pt x="139" y="35"/>
                      <a:pt x="148" y="35"/>
                    </a:cubicBezTo>
                    <a:cubicBezTo>
                      <a:pt x="157" y="35"/>
                      <a:pt x="162" y="37"/>
                      <a:pt x="168" y="35"/>
                    </a:cubicBezTo>
                    <a:cubicBezTo>
                      <a:pt x="174" y="32"/>
                      <a:pt x="175" y="31"/>
                      <a:pt x="175" y="31"/>
                    </a:cubicBezTo>
                    <a:close/>
                  </a:path>
                </a:pathLst>
              </a:custGeom>
              <a:solidFill>
                <a:srgbClr val="76929B"/>
              </a:solidFill>
              <a:ln w="9525" cap="flat" cmpd="sng">
                <a:solidFill>
                  <a:schemeClr val="accent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635" name="Google Shape;2694;p19">
                <a:extLst>
                  <a:ext uri="{FF2B5EF4-FFF2-40B4-BE49-F238E27FC236}">
                    <a16:creationId xmlns:a16="http://schemas.microsoft.com/office/drawing/2014/main" id="{8E6CB6A7-EABE-4AC9-90D5-87728FEDBE6B}"/>
                  </a:ext>
                </a:extLst>
              </p:cNvPr>
              <p:cNvSpPr/>
              <p:nvPr/>
            </p:nvSpPr>
            <p:spPr>
              <a:xfrm>
                <a:off x="2521" y="2877"/>
                <a:ext cx="183" cy="264"/>
              </a:xfrm>
              <a:custGeom>
                <a:avLst/>
                <a:gdLst/>
                <a:ahLst/>
                <a:cxnLst/>
                <a:rect l="l" t="t" r="r" b="b"/>
                <a:pathLst>
                  <a:path w="119" h="172" extrusionOk="0">
                    <a:moveTo>
                      <a:pt x="82" y="3"/>
                    </a:moveTo>
                    <a:cubicBezTo>
                      <a:pt x="82" y="3"/>
                      <a:pt x="86" y="38"/>
                      <a:pt x="90" y="50"/>
                    </a:cubicBezTo>
                    <a:cubicBezTo>
                      <a:pt x="93" y="62"/>
                      <a:pt x="97" y="79"/>
                      <a:pt x="102" y="84"/>
                    </a:cubicBezTo>
                    <a:cubicBezTo>
                      <a:pt x="106" y="89"/>
                      <a:pt x="112" y="94"/>
                      <a:pt x="114" y="99"/>
                    </a:cubicBezTo>
                    <a:cubicBezTo>
                      <a:pt x="116" y="104"/>
                      <a:pt x="119" y="119"/>
                      <a:pt x="117" y="126"/>
                    </a:cubicBezTo>
                    <a:cubicBezTo>
                      <a:pt x="116" y="133"/>
                      <a:pt x="113" y="144"/>
                      <a:pt x="108" y="148"/>
                    </a:cubicBezTo>
                    <a:cubicBezTo>
                      <a:pt x="104" y="153"/>
                      <a:pt x="99" y="161"/>
                      <a:pt x="84" y="166"/>
                    </a:cubicBezTo>
                    <a:cubicBezTo>
                      <a:pt x="68" y="171"/>
                      <a:pt x="64" y="172"/>
                      <a:pt x="56" y="171"/>
                    </a:cubicBezTo>
                    <a:cubicBezTo>
                      <a:pt x="48" y="171"/>
                      <a:pt x="29" y="160"/>
                      <a:pt x="22" y="152"/>
                    </a:cubicBezTo>
                    <a:cubicBezTo>
                      <a:pt x="15" y="143"/>
                      <a:pt x="5" y="136"/>
                      <a:pt x="2" y="126"/>
                    </a:cubicBezTo>
                    <a:cubicBezTo>
                      <a:pt x="0" y="116"/>
                      <a:pt x="1" y="102"/>
                      <a:pt x="7" y="97"/>
                    </a:cubicBezTo>
                    <a:cubicBezTo>
                      <a:pt x="12" y="92"/>
                      <a:pt x="26" y="76"/>
                      <a:pt x="34" y="68"/>
                    </a:cubicBezTo>
                    <a:cubicBezTo>
                      <a:pt x="42" y="60"/>
                      <a:pt x="45" y="58"/>
                      <a:pt x="48" y="50"/>
                    </a:cubicBezTo>
                    <a:cubicBezTo>
                      <a:pt x="50" y="42"/>
                      <a:pt x="52" y="24"/>
                      <a:pt x="52" y="16"/>
                    </a:cubicBezTo>
                    <a:cubicBezTo>
                      <a:pt x="52" y="8"/>
                      <a:pt x="52" y="5"/>
                      <a:pt x="53" y="3"/>
                    </a:cubicBezTo>
                    <a:cubicBezTo>
                      <a:pt x="55" y="0"/>
                      <a:pt x="57" y="0"/>
                      <a:pt x="59" y="0"/>
                    </a:cubicBezTo>
                    <a:cubicBezTo>
                      <a:pt x="62" y="0"/>
                      <a:pt x="62" y="3"/>
                      <a:pt x="62" y="3"/>
                    </a:cubicBezTo>
                    <a:cubicBezTo>
                      <a:pt x="62" y="3"/>
                      <a:pt x="61" y="46"/>
                      <a:pt x="61" y="50"/>
                    </a:cubicBezTo>
                    <a:cubicBezTo>
                      <a:pt x="61" y="54"/>
                      <a:pt x="63" y="58"/>
                      <a:pt x="58" y="68"/>
                    </a:cubicBezTo>
                    <a:cubicBezTo>
                      <a:pt x="53" y="78"/>
                      <a:pt x="42" y="95"/>
                      <a:pt x="42" y="106"/>
                    </a:cubicBezTo>
                    <a:cubicBezTo>
                      <a:pt x="43" y="117"/>
                      <a:pt x="42" y="125"/>
                      <a:pt x="51" y="133"/>
                    </a:cubicBezTo>
                    <a:cubicBezTo>
                      <a:pt x="60" y="141"/>
                      <a:pt x="62" y="143"/>
                      <a:pt x="69" y="143"/>
                    </a:cubicBezTo>
                    <a:cubicBezTo>
                      <a:pt x="75" y="142"/>
                      <a:pt x="75" y="143"/>
                      <a:pt x="79" y="140"/>
                    </a:cubicBezTo>
                    <a:cubicBezTo>
                      <a:pt x="83" y="136"/>
                      <a:pt x="85" y="133"/>
                      <a:pt x="86" y="124"/>
                    </a:cubicBezTo>
                    <a:cubicBezTo>
                      <a:pt x="87" y="116"/>
                      <a:pt x="86" y="91"/>
                      <a:pt x="82" y="77"/>
                    </a:cubicBezTo>
                    <a:cubicBezTo>
                      <a:pt x="78" y="63"/>
                      <a:pt x="72" y="48"/>
                      <a:pt x="72" y="41"/>
                    </a:cubicBezTo>
                    <a:cubicBezTo>
                      <a:pt x="73" y="33"/>
                      <a:pt x="71" y="16"/>
                      <a:pt x="74" y="11"/>
                    </a:cubicBezTo>
                    <a:cubicBezTo>
                      <a:pt x="76" y="6"/>
                      <a:pt x="76" y="4"/>
                      <a:pt x="78" y="3"/>
                    </a:cubicBezTo>
                    <a:cubicBezTo>
                      <a:pt x="81" y="2"/>
                      <a:pt x="82" y="3"/>
                      <a:pt x="82" y="3"/>
                    </a:cubicBezTo>
                    <a:close/>
                  </a:path>
                </a:pathLst>
              </a:custGeom>
              <a:solidFill>
                <a:srgbClr val="FAC198"/>
              </a:solidFill>
              <a:ln w="9525" cap="flat" cmpd="sng">
                <a:solidFill>
                  <a:schemeClr val="accent1"/>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grpSp>
      <p:cxnSp>
        <p:nvCxnSpPr>
          <p:cNvPr id="30" name="Straight Connector 29">
            <a:extLst>
              <a:ext uri="{FF2B5EF4-FFF2-40B4-BE49-F238E27FC236}">
                <a16:creationId xmlns:a16="http://schemas.microsoft.com/office/drawing/2014/main" id="{FAE4A6AA-AF74-4D9C-884D-EF8F8FE5E79A}"/>
              </a:ext>
            </a:extLst>
          </p:cNvPr>
          <p:cNvCxnSpPr>
            <a:cxnSpLocks/>
          </p:cNvCxnSpPr>
          <p:nvPr/>
        </p:nvCxnSpPr>
        <p:spPr>
          <a:xfrm>
            <a:off x="5797550" y="1702701"/>
            <a:ext cx="296480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55" name="Straight Connector 1654">
            <a:extLst>
              <a:ext uri="{FF2B5EF4-FFF2-40B4-BE49-F238E27FC236}">
                <a16:creationId xmlns:a16="http://schemas.microsoft.com/office/drawing/2014/main" id="{CF950D3C-1ED2-46D1-905C-DF992BAD3B95}"/>
              </a:ext>
            </a:extLst>
          </p:cNvPr>
          <p:cNvCxnSpPr>
            <a:cxnSpLocks/>
          </p:cNvCxnSpPr>
          <p:nvPr/>
        </p:nvCxnSpPr>
        <p:spPr>
          <a:xfrm>
            <a:off x="5797550" y="2655235"/>
            <a:ext cx="296480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56" name="Straight Connector 1655">
            <a:extLst>
              <a:ext uri="{FF2B5EF4-FFF2-40B4-BE49-F238E27FC236}">
                <a16:creationId xmlns:a16="http://schemas.microsoft.com/office/drawing/2014/main" id="{1E06897D-57CC-44A7-8513-80CD212E634D}"/>
              </a:ext>
            </a:extLst>
          </p:cNvPr>
          <p:cNvCxnSpPr>
            <a:cxnSpLocks/>
          </p:cNvCxnSpPr>
          <p:nvPr/>
        </p:nvCxnSpPr>
        <p:spPr>
          <a:xfrm>
            <a:off x="5797550" y="3961712"/>
            <a:ext cx="296480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694" name="Group 1693">
            <a:extLst>
              <a:ext uri="{FF2B5EF4-FFF2-40B4-BE49-F238E27FC236}">
                <a16:creationId xmlns:a16="http://schemas.microsoft.com/office/drawing/2014/main" id="{5A251179-3CE9-4CF1-A57B-483BDD4AE218}"/>
              </a:ext>
            </a:extLst>
          </p:cNvPr>
          <p:cNvGrpSpPr/>
          <p:nvPr/>
        </p:nvGrpSpPr>
        <p:grpSpPr>
          <a:xfrm>
            <a:off x="5254625" y="1209388"/>
            <a:ext cx="3507727" cy="355600"/>
            <a:chOff x="5254625" y="1209388"/>
            <a:chExt cx="3507727" cy="355600"/>
          </a:xfrm>
        </p:grpSpPr>
        <p:sp>
          <p:nvSpPr>
            <p:cNvPr id="1648" name="TextBox 1647">
              <a:extLst>
                <a:ext uri="{FF2B5EF4-FFF2-40B4-BE49-F238E27FC236}">
                  <a16:creationId xmlns:a16="http://schemas.microsoft.com/office/drawing/2014/main" id="{FD92C3AA-5269-4EED-818C-941D0E9EBED9}"/>
                </a:ext>
              </a:extLst>
            </p:cNvPr>
            <p:cNvSpPr txBox="1"/>
            <p:nvPr/>
          </p:nvSpPr>
          <p:spPr>
            <a:xfrm>
              <a:off x="5797550" y="1217911"/>
              <a:ext cx="2964802" cy="33855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
                  <a:srgbClr val="545859"/>
                </a:buClr>
                <a:buSzPts val="16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Corticosteroids have wide-ranging anti-inflammatory and other effects</a:t>
              </a:r>
            </a:p>
          </p:txBody>
        </p:sp>
        <p:sp>
          <p:nvSpPr>
            <p:cNvPr id="23" name="Rectangle 22">
              <a:extLst>
                <a:ext uri="{FF2B5EF4-FFF2-40B4-BE49-F238E27FC236}">
                  <a16:creationId xmlns:a16="http://schemas.microsoft.com/office/drawing/2014/main" id="{0CDE1EAA-F49A-4C40-8E2A-98076FFBD305}"/>
                </a:ext>
              </a:extLst>
            </p:cNvPr>
            <p:cNvSpPr/>
            <p:nvPr/>
          </p:nvSpPr>
          <p:spPr>
            <a:xfrm>
              <a:off x="5254625" y="1209388"/>
              <a:ext cx="355600" cy="355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grpSp>
          <p:nvGrpSpPr>
            <p:cNvPr id="1657" name="Group 1656">
              <a:extLst>
                <a:ext uri="{FF2B5EF4-FFF2-40B4-BE49-F238E27FC236}">
                  <a16:creationId xmlns:a16="http://schemas.microsoft.com/office/drawing/2014/main" id="{E6095F35-6BCB-405B-9728-AFFE446654F8}"/>
                </a:ext>
              </a:extLst>
            </p:cNvPr>
            <p:cNvGrpSpPr/>
            <p:nvPr/>
          </p:nvGrpSpPr>
          <p:grpSpPr>
            <a:xfrm>
              <a:off x="5343298" y="1278643"/>
              <a:ext cx="178254" cy="217091"/>
              <a:chOff x="5599113" y="2562226"/>
              <a:chExt cx="284163" cy="346075"/>
            </a:xfrm>
          </p:grpSpPr>
          <p:sp>
            <p:nvSpPr>
              <p:cNvPr id="1658" name="Freeform 20">
                <a:extLst>
                  <a:ext uri="{FF2B5EF4-FFF2-40B4-BE49-F238E27FC236}">
                    <a16:creationId xmlns:a16="http://schemas.microsoft.com/office/drawing/2014/main" id="{CD89373E-2491-4F93-910D-177D630B008E}"/>
                  </a:ext>
                </a:extLst>
              </p:cNvPr>
              <p:cNvSpPr>
                <a:spLocks/>
              </p:cNvSpPr>
              <p:nvPr/>
            </p:nvSpPr>
            <p:spPr bwMode="auto">
              <a:xfrm>
                <a:off x="5613401" y="2606676"/>
                <a:ext cx="255588" cy="301625"/>
              </a:xfrm>
              <a:custGeom>
                <a:avLst/>
                <a:gdLst>
                  <a:gd name="T0" fmla="*/ 68 w 68"/>
                  <a:gd name="T1" fmla="*/ 0 h 80"/>
                  <a:gd name="T2" fmla="*/ 68 w 68"/>
                  <a:gd name="T3" fmla="*/ 68 h 80"/>
                  <a:gd name="T4" fmla="*/ 56 w 68"/>
                  <a:gd name="T5" fmla="*/ 80 h 80"/>
                  <a:gd name="T6" fmla="*/ 12 w 68"/>
                  <a:gd name="T7" fmla="*/ 80 h 80"/>
                  <a:gd name="T8" fmla="*/ 0 w 68"/>
                  <a:gd name="T9" fmla="*/ 68 h 80"/>
                  <a:gd name="T10" fmla="*/ 0 w 68"/>
                  <a:gd name="T11" fmla="*/ 0 h 80"/>
                </a:gdLst>
                <a:ahLst/>
                <a:cxnLst>
                  <a:cxn ang="0">
                    <a:pos x="T0" y="T1"/>
                  </a:cxn>
                  <a:cxn ang="0">
                    <a:pos x="T2" y="T3"/>
                  </a:cxn>
                  <a:cxn ang="0">
                    <a:pos x="T4" y="T5"/>
                  </a:cxn>
                  <a:cxn ang="0">
                    <a:pos x="T6" y="T7"/>
                  </a:cxn>
                  <a:cxn ang="0">
                    <a:pos x="T8" y="T9"/>
                  </a:cxn>
                  <a:cxn ang="0">
                    <a:pos x="T10" y="T11"/>
                  </a:cxn>
                </a:cxnLst>
                <a:rect l="0" t="0" r="r" b="b"/>
                <a:pathLst>
                  <a:path w="68" h="80">
                    <a:moveTo>
                      <a:pt x="68" y="0"/>
                    </a:moveTo>
                    <a:cubicBezTo>
                      <a:pt x="68" y="68"/>
                      <a:pt x="68" y="68"/>
                      <a:pt x="68" y="68"/>
                    </a:cubicBezTo>
                    <a:cubicBezTo>
                      <a:pt x="68" y="75"/>
                      <a:pt x="63" y="80"/>
                      <a:pt x="56" y="80"/>
                    </a:cubicBezTo>
                    <a:cubicBezTo>
                      <a:pt x="12" y="80"/>
                      <a:pt x="12" y="80"/>
                      <a:pt x="12" y="80"/>
                    </a:cubicBezTo>
                    <a:cubicBezTo>
                      <a:pt x="5" y="80"/>
                      <a:pt x="0" y="75"/>
                      <a:pt x="0" y="68"/>
                    </a:cubicBezTo>
                    <a:cubicBezTo>
                      <a:pt x="0" y="0"/>
                      <a:pt x="0" y="0"/>
                      <a:pt x="0" y="0"/>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59" name="Freeform 21">
                <a:extLst>
                  <a:ext uri="{FF2B5EF4-FFF2-40B4-BE49-F238E27FC236}">
                    <a16:creationId xmlns:a16="http://schemas.microsoft.com/office/drawing/2014/main" id="{516E12FB-3C76-41D8-A3BE-9FBCFC139B12}"/>
                  </a:ext>
                </a:extLst>
              </p:cNvPr>
              <p:cNvSpPr>
                <a:spLocks/>
              </p:cNvSpPr>
              <p:nvPr/>
            </p:nvSpPr>
            <p:spPr bwMode="auto">
              <a:xfrm>
                <a:off x="5599113" y="2562226"/>
                <a:ext cx="284163" cy="44450"/>
              </a:xfrm>
              <a:custGeom>
                <a:avLst/>
                <a:gdLst>
                  <a:gd name="T0" fmla="*/ 76 w 76"/>
                  <a:gd name="T1" fmla="*/ 12 h 12"/>
                  <a:gd name="T2" fmla="*/ 0 w 76"/>
                  <a:gd name="T3" fmla="*/ 12 h 12"/>
                  <a:gd name="T4" fmla="*/ 0 w 76"/>
                  <a:gd name="T5" fmla="*/ 6 h 12"/>
                  <a:gd name="T6" fmla="*/ 6 w 76"/>
                  <a:gd name="T7" fmla="*/ 0 h 12"/>
                  <a:gd name="T8" fmla="*/ 70 w 76"/>
                  <a:gd name="T9" fmla="*/ 0 h 12"/>
                  <a:gd name="T10" fmla="*/ 76 w 76"/>
                  <a:gd name="T11" fmla="*/ 6 h 12"/>
                  <a:gd name="T12" fmla="*/ 76 w 7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6" h="12">
                    <a:moveTo>
                      <a:pt x="76" y="12"/>
                    </a:moveTo>
                    <a:cubicBezTo>
                      <a:pt x="0" y="12"/>
                      <a:pt x="0" y="12"/>
                      <a:pt x="0" y="12"/>
                    </a:cubicBezTo>
                    <a:cubicBezTo>
                      <a:pt x="0" y="6"/>
                      <a:pt x="0" y="6"/>
                      <a:pt x="0" y="6"/>
                    </a:cubicBezTo>
                    <a:cubicBezTo>
                      <a:pt x="0" y="3"/>
                      <a:pt x="3" y="0"/>
                      <a:pt x="6" y="0"/>
                    </a:cubicBezTo>
                    <a:cubicBezTo>
                      <a:pt x="70" y="0"/>
                      <a:pt x="70" y="0"/>
                      <a:pt x="70" y="0"/>
                    </a:cubicBezTo>
                    <a:cubicBezTo>
                      <a:pt x="73" y="0"/>
                      <a:pt x="76" y="3"/>
                      <a:pt x="76" y="6"/>
                    </a:cubicBezTo>
                    <a:lnTo>
                      <a:pt x="76" y="12"/>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60" name="Rectangle 22">
                <a:extLst>
                  <a:ext uri="{FF2B5EF4-FFF2-40B4-BE49-F238E27FC236}">
                    <a16:creationId xmlns:a16="http://schemas.microsoft.com/office/drawing/2014/main" id="{A910495F-091A-4DC2-BBB2-B1B44FA8AEFB}"/>
                  </a:ext>
                </a:extLst>
              </p:cNvPr>
              <p:cNvSpPr>
                <a:spLocks noChangeArrowheads="1"/>
              </p:cNvSpPr>
              <p:nvPr/>
            </p:nvSpPr>
            <p:spPr bwMode="auto">
              <a:xfrm>
                <a:off x="5643563" y="2652713"/>
                <a:ext cx="195263" cy="195263"/>
              </a:xfrm>
              <a:prstGeom prst="rect">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61" name="Freeform 23">
                <a:extLst>
                  <a:ext uri="{FF2B5EF4-FFF2-40B4-BE49-F238E27FC236}">
                    <a16:creationId xmlns:a16="http://schemas.microsoft.com/office/drawing/2014/main" id="{8BB6CF23-3054-4EF6-9316-F077968D1ACB}"/>
                  </a:ext>
                </a:extLst>
              </p:cNvPr>
              <p:cNvSpPr>
                <a:spLocks/>
              </p:cNvSpPr>
              <p:nvPr/>
            </p:nvSpPr>
            <p:spPr bwMode="auto">
              <a:xfrm>
                <a:off x="5673726" y="2682876"/>
                <a:ext cx="134938" cy="134938"/>
              </a:xfrm>
              <a:custGeom>
                <a:avLst/>
                <a:gdLst>
                  <a:gd name="T0" fmla="*/ 85 w 85"/>
                  <a:gd name="T1" fmla="*/ 28 h 85"/>
                  <a:gd name="T2" fmla="*/ 57 w 85"/>
                  <a:gd name="T3" fmla="*/ 28 h 85"/>
                  <a:gd name="T4" fmla="*/ 57 w 85"/>
                  <a:gd name="T5" fmla="*/ 0 h 85"/>
                  <a:gd name="T6" fmla="*/ 28 w 85"/>
                  <a:gd name="T7" fmla="*/ 0 h 85"/>
                  <a:gd name="T8" fmla="*/ 28 w 85"/>
                  <a:gd name="T9" fmla="*/ 28 h 85"/>
                  <a:gd name="T10" fmla="*/ 0 w 85"/>
                  <a:gd name="T11" fmla="*/ 28 h 85"/>
                  <a:gd name="T12" fmla="*/ 0 w 85"/>
                  <a:gd name="T13" fmla="*/ 57 h 85"/>
                  <a:gd name="T14" fmla="*/ 28 w 85"/>
                  <a:gd name="T15" fmla="*/ 57 h 85"/>
                  <a:gd name="T16" fmla="*/ 28 w 85"/>
                  <a:gd name="T17" fmla="*/ 85 h 85"/>
                  <a:gd name="T18" fmla="*/ 57 w 85"/>
                  <a:gd name="T19" fmla="*/ 85 h 85"/>
                  <a:gd name="T20" fmla="*/ 57 w 85"/>
                  <a:gd name="T21" fmla="*/ 57 h 85"/>
                  <a:gd name="T22" fmla="*/ 85 w 85"/>
                  <a:gd name="T23" fmla="*/ 57 h 85"/>
                  <a:gd name="T24" fmla="*/ 85 w 85"/>
                  <a:gd name="T25" fmla="*/ 2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85">
                    <a:moveTo>
                      <a:pt x="85" y="28"/>
                    </a:moveTo>
                    <a:lnTo>
                      <a:pt x="57" y="28"/>
                    </a:lnTo>
                    <a:lnTo>
                      <a:pt x="57" y="0"/>
                    </a:lnTo>
                    <a:lnTo>
                      <a:pt x="28" y="0"/>
                    </a:lnTo>
                    <a:lnTo>
                      <a:pt x="28" y="28"/>
                    </a:lnTo>
                    <a:lnTo>
                      <a:pt x="0" y="28"/>
                    </a:lnTo>
                    <a:lnTo>
                      <a:pt x="0" y="57"/>
                    </a:lnTo>
                    <a:lnTo>
                      <a:pt x="28" y="57"/>
                    </a:lnTo>
                    <a:lnTo>
                      <a:pt x="28" y="85"/>
                    </a:lnTo>
                    <a:lnTo>
                      <a:pt x="57" y="85"/>
                    </a:lnTo>
                    <a:lnTo>
                      <a:pt x="57" y="57"/>
                    </a:lnTo>
                    <a:lnTo>
                      <a:pt x="85" y="57"/>
                    </a:lnTo>
                    <a:lnTo>
                      <a:pt x="85" y="28"/>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1691" name="Group 1690">
            <a:extLst>
              <a:ext uri="{FF2B5EF4-FFF2-40B4-BE49-F238E27FC236}">
                <a16:creationId xmlns:a16="http://schemas.microsoft.com/office/drawing/2014/main" id="{A0A69A17-80C0-4B14-869E-607A7DC5A729}"/>
              </a:ext>
            </a:extLst>
          </p:cNvPr>
          <p:cNvGrpSpPr/>
          <p:nvPr/>
        </p:nvGrpSpPr>
        <p:grpSpPr>
          <a:xfrm>
            <a:off x="5254625" y="4099426"/>
            <a:ext cx="3507727" cy="507831"/>
            <a:chOff x="5254625" y="4192455"/>
            <a:chExt cx="3507727" cy="507831"/>
          </a:xfrm>
        </p:grpSpPr>
        <p:sp>
          <p:nvSpPr>
            <p:cNvPr id="1651" name="TextBox 1650">
              <a:extLst>
                <a:ext uri="{FF2B5EF4-FFF2-40B4-BE49-F238E27FC236}">
                  <a16:creationId xmlns:a16="http://schemas.microsoft.com/office/drawing/2014/main" id="{78E2AB9C-5C05-425C-B175-FED6564DBD9D}"/>
                </a:ext>
              </a:extLst>
            </p:cNvPr>
            <p:cNvSpPr txBox="1"/>
            <p:nvPr/>
          </p:nvSpPr>
          <p:spPr>
            <a:xfrm>
              <a:off x="5797550" y="4192455"/>
              <a:ext cx="2964802" cy="50783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1200"/>
                </a:spcBef>
                <a:spcAft>
                  <a:spcPts val="0"/>
                </a:spcAft>
                <a:buClr>
                  <a:srgbClr val="545859"/>
                </a:buClr>
                <a:buSzPts val="16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Rheumatic </a:t>
              </a:r>
              <a:r>
                <a:rPr kumimoji="0" lang="en-US" sz="11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irAEs</a:t>
              </a: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often require high-dose corticosteroids and may require synthetic or biologic DMARD therapy</a:t>
              </a:r>
              <a:r>
                <a:rPr kumimoji="0" lang="en-US" sz="11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9,10</a:t>
              </a: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a:t>
              </a:r>
              <a:endParaRPr kumimoji="0" lang="en-US" sz="16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1654" name="Rectangle 1653">
              <a:extLst>
                <a:ext uri="{FF2B5EF4-FFF2-40B4-BE49-F238E27FC236}">
                  <a16:creationId xmlns:a16="http://schemas.microsoft.com/office/drawing/2014/main" id="{113DA14C-2B60-4990-90B0-B0AA99CCA9AA}"/>
                </a:ext>
              </a:extLst>
            </p:cNvPr>
            <p:cNvSpPr/>
            <p:nvPr/>
          </p:nvSpPr>
          <p:spPr>
            <a:xfrm>
              <a:off x="5254625" y="4192455"/>
              <a:ext cx="355600" cy="355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grpSp>
          <p:nvGrpSpPr>
            <p:cNvPr id="1662" name="Group 1661">
              <a:extLst>
                <a:ext uri="{FF2B5EF4-FFF2-40B4-BE49-F238E27FC236}">
                  <a16:creationId xmlns:a16="http://schemas.microsoft.com/office/drawing/2014/main" id="{D9949166-C919-4864-9247-42666EE43721}"/>
                </a:ext>
              </a:extLst>
            </p:cNvPr>
            <p:cNvGrpSpPr/>
            <p:nvPr/>
          </p:nvGrpSpPr>
          <p:grpSpPr>
            <a:xfrm>
              <a:off x="5347401" y="4266707"/>
              <a:ext cx="170048" cy="207097"/>
              <a:chOff x="2714626" y="2562226"/>
              <a:chExt cx="284163" cy="346075"/>
            </a:xfrm>
          </p:grpSpPr>
          <p:sp>
            <p:nvSpPr>
              <p:cNvPr id="1663" name="Freeform 149">
                <a:extLst>
                  <a:ext uri="{FF2B5EF4-FFF2-40B4-BE49-F238E27FC236}">
                    <a16:creationId xmlns:a16="http://schemas.microsoft.com/office/drawing/2014/main" id="{3D0D8D1B-FE6C-485D-BAE9-09D211C6DD2F}"/>
                  </a:ext>
                </a:extLst>
              </p:cNvPr>
              <p:cNvSpPr>
                <a:spLocks/>
              </p:cNvSpPr>
              <p:nvPr/>
            </p:nvSpPr>
            <p:spPr bwMode="auto">
              <a:xfrm>
                <a:off x="2714626" y="2562226"/>
                <a:ext cx="284163" cy="346075"/>
              </a:xfrm>
              <a:custGeom>
                <a:avLst/>
                <a:gdLst>
                  <a:gd name="T0" fmla="*/ 76 w 76"/>
                  <a:gd name="T1" fmla="*/ 84 h 92"/>
                  <a:gd name="T2" fmla="*/ 68 w 76"/>
                  <a:gd name="T3" fmla="*/ 92 h 92"/>
                  <a:gd name="T4" fmla="*/ 8 w 76"/>
                  <a:gd name="T5" fmla="*/ 92 h 92"/>
                  <a:gd name="T6" fmla="*/ 0 w 76"/>
                  <a:gd name="T7" fmla="*/ 84 h 92"/>
                  <a:gd name="T8" fmla="*/ 0 w 76"/>
                  <a:gd name="T9" fmla="*/ 8 h 92"/>
                  <a:gd name="T10" fmla="*/ 8 w 76"/>
                  <a:gd name="T11" fmla="*/ 0 h 92"/>
                  <a:gd name="T12" fmla="*/ 68 w 76"/>
                  <a:gd name="T13" fmla="*/ 0 h 92"/>
                  <a:gd name="T14" fmla="*/ 76 w 76"/>
                  <a:gd name="T15" fmla="*/ 8 h 92"/>
                  <a:gd name="T16" fmla="*/ 76 w 76"/>
                  <a:gd name="T17"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92">
                    <a:moveTo>
                      <a:pt x="76" y="84"/>
                    </a:moveTo>
                    <a:cubicBezTo>
                      <a:pt x="76" y="88"/>
                      <a:pt x="72" y="92"/>
                      <a:pt x="68" y="92"/>
                    </a:cubicBezTo>
                    <a:cubicBezTo>
                      <a:pt x="8" y="92"/>
                      <a:pt x="8" y="92"/>
                      <a:pt x="8" y="92"/>
                    </a:cubicBezTo>
                    <a:cubicBezTo>
                      <a:pt x="4" y="92"/>
                      <a:pt x="0" y="88"/>
                      <a:pt x="0" y="84"/>
                    </a:cubicBezTo>
                    <a:cubicBezTo>
                      <a:pt x="0" y="8"/>
                      <a:pt x="0" y="8"/>
                      <a:pt x="0" y="8"/>
                    </a:cubicBezTo>
                    <a:cubicBezTo>
                      <a:pt x="0" y="4"/>
                      <a:pt x="4" y="0"/>
                      <a:pt x="8" y="0"/>
                    </a:cubicBezTo>
                    <a:cubicBezTo>
                      <a:pt x="68" y="0"/>
                      <a:pt x="68" y="0"/>
                      <a:pt x="68" y="0"/>
                    </a:cubicBezTo>
                    <a:cubicBezTo>
                      <a:pt x="72" y="0"/>
                      <a:pt x="76" y="4"/>
                      <a:pt x="76" y="8"/>
                    </a:cubicBezTo>
                    <a:lnTo>
                      <a:pt x="76" y="84"/>
                    </a:ln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64" name="Freeform 150">
                <a:extLst>
                  <a:ext uri="{FF2B5EF4-FFF2-40B4-BE49-F238E27FC236}">
                    <a16:creationId xmlns:a16="http://schemas.microsoft.com/office/drawing/2014/main" id="{3BF18EF4-AC64-4DB0-A4A8-76F197A4D396}"/>
                  </a:ext>
                </a:extLst>
              </p:cNvPr>
              <p:cNvSpPr>
                <a:spLocks/>
              </p:cNvSpPr>
              <p:nvPr/>
            </p:nvSpPr>
            <p:spPr bwMode="auto">
              <a:xfrm>
                <a:off x="2744788" y="2606676"/>
                <a:ext cx="88900" cy="46038"/>
              </a:xfrm>
              <a:custGeom>
                <a:avLst/>
                <a:gdLst>
                  <a:gd name="T0" fmla="*/ 24 w 24"/>
                  <a:gd name="T1" fmla="*/ 6 h 12"/>
                  <a:gd name="T2" fmla="*/ 18 w 24"/>
                  <a:gd name="T3" fmla="*/ 12 h 12"/>
                  <a:gd name="T4" fmla="*/ 6 w 24"/>
                  <a:gd name="T5" fmla="*/ 12 h 12"/>
                  <a:gd name="T6" fmla="*/ 0 w 24"/>
                  <a:gd name="T7" fmla="*/ 6 h 12"/>
                  <a:gd name="T8" fmla="*/ 6 w 24"/>
                  <a:gd name="T9" fmla="*/ 0 h 12"/>
                  <a:gd name="T10" fmla="*/ 18 w 24"/>
                  <a:gd name="T11" fmla="*/ 0 h 12"/>
                  <a:gd name="T12" fmla="*/ 24 w 24"/>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24" y="6"/>
                    </a:moveTo>
                    <a:cubicBezTo>
                      <a:pt x="24" y="9"/>
                      <a:pt x="21" y="12"/>
                      <a:pt x="18" y="12"/>
                    </a:cubicBezTo>
                    <a:cubicBezTo>
                      <a:pt x="6" y="12"/>
                      <a:pt x="6" y="12"/>
                      <a:pt x="6" y="12"/>
                    </a:cubicBezTo>
                    <a:cubicBezTo>
                      <a:pt x="3" y="12"/>
                      <a:pt x="0" y="9"/>
                      <a:pt x="0" y="6"/>
                    </a:cubicBezTo>
                    <a:cubicBezTo>
                      <a:pt x="0" y="3"/>
                      <a:pt x="3" y="0"/>
                      <a:pt x="6" y="0"/>
                    </a:cubicBezTo>
                    <a:cubicBezTo>
                      <a:pt x="18" y="0"/>
                      <a:pt x="18" y="0"/>
                      <a:pt x="18" y="0"/>
                    </a:cubicBezTo>
                    <a:cubicBezTo>
                      <a:pt x="21" y="0"/>
                      <a:pt x="24" y="3"/>
                      <a:pt x="24" y="6"/>
                    </a:cubicBez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65" name="Freeform 151">
                <a:extLst>
                  <a:ext uri="{FF2B5EF4-FFF2-40B4-BE49-F238E27FC236}">
                    <a16:creationId xmlns:a16="http://schemas.microsoft.com/office/drawing/2014/main" id="{3C2B4655-47CB-4B1C-A3CE-7F64FFD418C5}"/>
                  </a:ext>
                </a:extLst>
              </p:cNvPr>
              <p:cNvSpPr>
                <a:spLocks/>
              </p:cNvSpPr>
              <p:nvPr/>
            </p:nvSpPr>
            <p:spPr bwMode="auto">
              <a:xfrm>
                <a:off x="2879726" y="2606676"/>
                <a:ext cx="90488" cy="46038"/>
              </a:xfrm>
              <a:custGeom>
                <a:avLst/>
                <a:gdLst>
                  <a:gd name="T0" fmla="*/ 24 w 24"/>
                  <a:gd name="T1" fmla="*/ 6 h 12"/>
                  <a:gd name="T2" fmla="*/ 18 w 24"/>
                  <a:gd name="T3" fmla="*/ 12 h 12"/>
                  <a:gd name="T4" fmla="*/ 6 w 24"/>
                  <a:gd name="T5" fmla="*/ 12 h 12"/>
                  <a:gd name="T6" fmla="*/ 0 w 24"/>
                  <a:gd name="T7" fmla="*/ 6 h 12"/>
                  <a:gd name="T8" fmla="*/ 6 w 24"/>
                  <a:gd name="T9" fmla="*/ 0 h 12"/>
                  <a:gd name="T10" fmla="*/ 18 w 24"/>
                  <a:gd name="T11" fmla="*/ 0 h 12"/>
                  <a:gd name="T12" fmla="*/ 24 w 24"/>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24" y="6"/>
                    </a:moveTo>
                    <a:cubicBezTo>
                      <a:pt x="24" y="9"/>
                      <a:pt x="21" y="12"/>
                      <a:pt x="18" y="12"/>
                    </a:cubicBezTo>
                    <a:cubicBezTo>
                      <a:pt x="6" y="12"/>
                      <a:pt x="6" y="12"/>
                      <a:pt x="6" y="12"/>
                    </a:cubicBezTo>
                    <a:cubicBezTo>
                      <a:pt x="3" y="12"/>
                      <a:pt x="0" y="9"/>
                      <a:pt x="0" y="6"/>
                    </a:cubicBezTo>
                    <a:cubicBezTo>
                      <a:pt x="0" y="3"/>
                      <a:pt x="3" y="0"/>
                      <a:pt x="6" y="0"/>
                    </a:cubicBezTo>
                    <a:cubicBezTo>
                      <a:pt x="18" y="0"/>
                      <a:pt x="18" y="0"/>
                      <a:pt x="18" y="0"/>
                    </a:cubicBezTo>
                    <a:cubicBezTo>
                      <a:pt x="21" y="0"/>
                      <a:pt x="24" y="3"/>
                      <a:pt x="24" y="6"/>
                    </a:cubicBez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66" name="Line 152">
                <a:extLst>
                  <a:ext uri="{FF2B5EF4-FFF2-40B4-BE49-F238E27FC236}">
                    <a16:creationId xmlns:a16="http://schemas.microsoft.com/office/drawing/2014/main" id="{B3EBC4B1-5499-4E0B-86AC-3DFCFC652705}"/>
                  </a:ext>
                </a:extLst>
              </p:cNvPr>
              <p:cNvSpPr>
                <a:spLocks noChangeShapeType="1"/>
              </p:cNvSpPr>
              <p:nvPr/>
            </p:nvSpPr>
            <p:spPr bwMode="auto">
              <a:xfrm flipV="1">
                <a:off x="2789238" y="2606676"/>
                <a:ext cx="0" cy="46038"/>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67" name="Line 153">
                <a:extLst>
                  <a:ext uri="{FF2B5EF4-FFF2-40B4-BE49-F238E27FC236}">
                    <a16:creationId xmlns:a16="http://schemas.microsoft.com/office/drawing/2014/main" id="{CD42A563-ECDE-4D1A-B232-341FE4B16B05}"/>
                  </a:ext>
                </a:extLst>
              </p:cNvPr>
              <p:cNvSpPr>
                <a:spLocks noChangeShapeType="1"/>
              </p:cNvSpPr>
              <p:nvPr/>
            </p:nvSpPr>
            <p:spPr bwMode="auto">
              <a:xfrm flipV="1">
                <a:off x="2924176" y="2606676"/>
                <a:ext cx="0" cy="46038"/>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68" name="Freeform 154">
                <a:extLst>
                  <a:ext uri="{FF2B5EF4-FFF2-40B4-BE49-F238E27FC236}">
                    <a16:creationId xmlns:a16="http://schemas.microsoft.com/office/drawing/2014/main" id="{C899235B-8F17-44FE-B429-3F521339B4FA}"/>
                  </a:ext>
                </a:extLst>
              </p:cNvPr>
              <p:cNvSpPr>
                <a:spLocks/>
              </p:cNvSpPr>
              <p:nvPr/>
            </p:nvSpPr>
            <p:spPr bwMode="auto">
              <a:xfrm>
                <a:off x="2744788" y="2713038"/>
                <a:ext cx="88900" cy="44450"/>
              </a:xfrm>
              <a:custGeom>
                <a:avLst/>
                <a:gdLst>
                  <a:gd name="T0" fmla="*/ 24 w 24"/>
                  <a:gd name="T1" fmla="*/ 6 h 12"/>
                  <a:gd name="T2" fmla="*/ 18 w 24"/>
                  <a:gd name="T3" fmla="*/ 12 h 12"/>
                  <a:gd name="T4" fmla="*/ 6 w 24"/>
                  <a:gd name="T5" fmla="*/ 12 h 12"/>
                  <a:gd name="T6" fmla="*/ 0 w 24"/>
                  <a:gd name="T7" fmla="*/ 6 h 12"/>
                  <a:gd name="T8" fmla="*/ 6 w 24"/>
                  <a:gd name="T9" fmla="*/ 0 h 12"/>
                  <a:gd name="T10" fmla="*/ 18 w 24"/>
                  <a:gd name="T11" fmla="*/ 0 h 12"/>
                  <a:gd name="T12" fmla="*/ 24 w 24"/>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24" y="6"/>
                    </a:moveTo>
                    <a:cubicBezTo>
                      <a:pt x="24" y="9"/>
                      <a:pt x="21" y="12"/>
                      <a:pt x="18" y="12"/>
                    </a:cubicBezTo>
                    <a:cubicBezTo>
                      <a:pt x="6" y="12"/>
                      <a:pt x="6" y="12"/>
                      <a:pt x="6" y="12"/>
                    </a:cubicBezTo>
                    <a:cubicBezTo>
                      <a:pt x="3" y="12"/>
                      <a:pt x="0" y="9"/>
                      <a:pt x="0" y="6"/>
                    </a:cubicBezTo>
                    <a:cubicBezTo>
                      <a:pt x="0" y="3"/>
                      <a:pt x="3" y="0"/>
                      <a:pt x="6" y="0"/>
                    </a:cubicBezTo>
                    <a:cubicBezTo>
                      <a:pt x="18" y="0"/>
                      <a:pt x="18" y="0"/>
                      <a:pt x="18" y="0"/>
                    </a:cubicBezTo>
                    <a:cubicBezTo>
                      <a:pt x="21" y="0"/>
                      <a:pt x="24" y="3"/>
                      <a:pt x="24" y="6"/>
                    </a:cubicBez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69" name="Freeform 155">
                <a:extLst>
                  <a:ext uri="{FF2B5EF4-FFF2-40B4-BE49-F238E27FC236}">
                    <a16:creationId xmlns:a16="http://schemas.microsoft.com/office/drawing/2014/main" id="{51DB7BA0-422F-44AD-B4B4-9DCDD2DC7957}"/>
                  </a:ext>
                </a:extLst>
              </p:cNvPr>
              <p:cNvSpPr>
                <a:spLocks/>
              </p:cNvSpPr>
              <p:nvPr/>
            </p:nvSpPr>
            <p:spPr bwMode="auto">
              <a:xfrm>
                <a:off x="2879726" y="2713038"/>
                <a:ext cx="90488" cy="44450"/>
              </a:xfrm>
              <a:custGeom>
                <a:avLst/>
                <a:gdLst>
                  <a:gd name="T0" fmla="*/ 24 w 24"/>
                  <a:gd name="T1" fmla="*/ 6 h 12"/>
                  <a:gd name="T2" fmla="*/ 18 w 24"/>
                  <a:gd name="T3" fmla="*/ 12 h 12"/>
                  <a:gd name="T4" fmla="*/ 6 w 24"/>
                  <a:gd name="T5" fmla="*/ 12 h 12"/>
                  <a:gd name="T6" fmla="*/ 0 w 24"/>
                  <a:gd name="T7" fmla="*/ 6 h 12"/>
                  <a:gd name="T8" fmla="*/ 6 w 24"/>
                  <a:gd name="T9" fmla="*/ 0 h 12"/>
                  <a:gd name="T10" fmla="*/ 18 w 24"/>
                  <a:gd name="T11" fmla="*/ 0 h 12"/>
                  <a:gd name="T12" fmla="*/ 24 w 24"/>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24" y="6"/>
                    </a:moveTo>
                    <a:cubicBezTo>
                      <a:pt x="24" y="9"/>
                      <a:pt x="21" y="12"/>
                      <a:pt x="18" y="12"/>
                    </a:cubicBezTo>
                    <a:cubicBezTo>
                      <a:pt x="6" y="12"/>
                      <a:pt x="6" y="12"/>
                      <a:pt x="6" y="12"/>
                    </a:cubicBezTo>
                    <a:cubicBezTo>
                      <a:pt x="3" y="12"/>
                      <a:pt x="0" y="9"/>
                      <a:pt x="0" y="6"/>
                    </a:cubicBezTo>
                    <a:cubicBezTo>
                      <a:pt x="0" y="3"/>
                      <a:pt x="3" y="0"/>
                      <a:pt x="6" y="0"/>
                    </a:cubicBezTo>
                    <a:cubicBezTo>
                      <a:pt x="18" y="0"/>
                      <a:pt x="18" y="0"/>
                      <a:pt x="18" y="0"/>
                    </a:cubicBezTo>
                    <a:cubicBezTo>
                      <a:pt x="21" y="0"/>
                      <a:pt x="24" y="3"/>
                      <a:pt x="24" y="6"/>
                    </a:cubicBez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70" name="Line 156">
                <a:extLst>
                  <a:ext uri="{FF2B5EF4-FFF2-40B4-BE49-F238E27FC236}">
                    <a16:creationId xmlns:a16="http://schemas.microsoft.com/office/drawing/2014/main" id="{08AEB61C-1A4A-40FD-B621-B1954E52055F}"/>
                  </a:ext>
                </a:extLst>
              </p:cNvPr>
              <p:cNvSpPr>
                <a:spLocks noChangeShapeType="1"/>
              </p:cNvSpPr>
              <p:nvPr/>
            </p:nvSpPr>
            <p:spPr bwMode="auto">
              <a:xfrm flipV="1">
                <a:off x="2789238" y="2713038"/>
                <a:ext cx="0" cy="4445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71" name="Line 157">
                <a:extLst>
                  <a:ext uri="{FF2B5EF4-FFF2-40B4-BE49-F238E27FC236}">
                    <a16:creationId xmlns:a16="http://schemas.microsoft.com/office/drawing/2014/main" id="{48F2AB30-793E-4433-AF6F-C3278E020E38}"/>
                  </a:ext>
                </a:extLst>
              </p:cNvPr>
              <p:cNvSpPr>
                <a:spLocks noChangeShapeType="1"/>
              </p:cNvSpPr>
              <p:nvPr/>
            </p:nvSpPr>
            <p:spPr bwMode="auto">
              <a:xfrm flipV="1">
                <a:off x="2924176" y="2713038"/>
                <a:ext cx="0" cy="4445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72" name="Freeform 158">
                <a:extLst>
                  <a:ext uri="{FF2B5EF4-FFF2-40B4-BE49-F238E27FC236}">
                    <a16:creationId xmlns:a16="http://schemas.microsoft.com/office/drawing/2014/main" id="{F660F275-7FF9-4DF9-B89B-3DDFF57BCB39}"/>
                  </a:ext>
                </a:extLst>
              </p:cNvPr>
              <p:cNvSpPr>
                <a:spLocks/>
              </p:cNvSpPr>
              <p:nvPr/>
            </p:nvSpPr>
            <p:spPr bwMode="auto">
              <a:xfrm>
                <a:off x="2744788" y="2817813"/>
                <a:ext cx="88900" cy="44450"/>
              </a:xfrm>
              <a:custGeom>
                <a:avLst/>
                <a:gdLst>
                  <a:gd name="T0" fmla="*/ 24 w 24"/>
                  <a:gd name="T1" fmla="*/ 6 h 12"/>
                  <a:gd name="T2" fmla="*/ 18 w 24"/>
                  <a:gd name="T3" fmla="*/ 12 h 12"/>
                  <a:gd name="T4" fmla="*/ 6 w 24"/>
                  <a:gd name="T5" fmla="*/ 12 h 12"/>
                  <a:gd name="T6" fmla="*/ 0 w 24"/>
                  <a:gd name="T7" fmla="*/ 6 h 12"/>
                  <a:gd name="T8" fmla="*/ 6 w 24"/>
                  <a:gd name="T9" fmla="*/ 0 h 12"/>
                  <a:gd name="T10" fmla="*/ 18 w 24"/>
                  <a:gd name="T11" fmla="*/ 0 h 12"/>
                  <a:gd name="T12" fmla="*/ 24 w 24"/>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24" y="6"/>
                    </a:moveTo>
                    <a:cubicBezTo>
                      <a:pt x="24" y="9"/>
                      <a:pt x="21" y="12"/>
                      <a:pt x="18" y="12"/>
                    </a:cubicBezTo>
                    <a:cubicBezTo>
                      <a:pt x="6" y="12"/>
                      <a:pt x="6" y="12"/>
                      <a:pt x="6" y="12"/>
                    </a:cubicBezTo>
                    <a:cubicBezTo>
                      <a:pt x="3" y="12"/>
                      <a:pt x="0" y="9"/>
                      <a:pt x="0" y="6"/>
                    </a:cubicBezTo>
                    <a:cubicBezTo>
                      <a:pt x="0" y="3"/>
                      <a:pt x="3" y="0"/>
                      <a:pt x="6" y="0"/>
                    </a:cubicBezTo>
                    <a:cubicBezTo>
                      <a:pt x="18" y="0"/>
                      <a:pt x="18" y="0"/>
                      <a:pt x="18" y="0"/>
                    </a:cubicBezTo>
                    <a:cubicBezTo>
                      <a:pt x="21" y="0"/>
                      <a:pt x="24" y="3"/>
                      <a:pt x="24" y="6"/>
                    </a:cubicBez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73" name="Freeform 159">
                <a:extLst>
                  <a:ext uri="{FF2B5EF4-FFF2-40B4-BE49-F238E27FC236}">
                    <a16:creationId xmlns:a16="http://schemas.microsoft.com/office/drawing/2014/main" id="{20F401D2-F962-4016-A479-0761FBA5AE3C}"/>
                  </a:ext>
                </a:extLst>
              </p:cNvPr>
              <p:cNvSpPr>
                <a:spLocks/>
              </p:cNvSpPr>
              <p:nvPr/>
            </p:nvSpPr>
            <p:spPr bwMode="auto">
              <a:xfrm>
                <a:off x="2879726" y="2817813"/>
                <a:ext cx="90488" cy="44450"/>
              </a:xfrm>
              <a:custGeom>
                <a:avLst/>
                <a:gdLst>
                  <a:gd name="T0" fmla="*/ 24 w 24"/>
                  <a:gd name="T1" fmla="*/ 6 h 12"/>
                  <a:gd name="T2" fmla="*/ 18 w 24"/>
                  <a:gd name="T3" fmla="*/ 12 h 12"/>
                  <a:gd name="T4" fmla="*/ 6 w 24"/>
                  <a:gd name="T5" fmla="*/ 12 h 12"/>
                  <a:gd name="T6" fmla="*/ 0 w 24"/>
                  <a:gd name="T7" fmla="*/ 6 h 12"/>
                  <a:gd name="T8" fmla="*/ 6 w 24"/>
                  <a:gd name="T9" fmla="*/ 0 h 12"/>
                  <a:gd name="T10" fmla="*/ 18 w 24"/>
                  <a:gd name="T11" fmla="*/ 0 h 12"/>
                  <a:gd name="T12" fmla="*/ 24 w 24"/>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24" y="6"/>
                    </a:moveTo>
                    <a:cubicBezTo>
                      <a:pt x="24" y="9"/>
                      <a:pt x="21" y="12"/>
                      <a:pt x="18" y="12"/>
                    </a:cubicBezTo>
                    <a:cubicBezTo>
                      <a:pt x="6" y="12"/>
                      <a:pt x="6" y="12"/>
                      <a:pt x="6" y="12"/>
                    </a:cubicBezTo>
                    <a:cubicBezTo>
                      <a:pt x="3" y="12"/>
                      <a:pt x="0" y="9"/>
                      <a:pt x="0" y="6"/>
                    </a:cubicBezTo>
                    <a:cubicBezTo>
                      <a:pt x="0" y="3"/>
                      <a:pt x="3" y="0"/>
                      <a:pt x="6" y="0"/>
                    </a:cubicBezTo>
                    <a:cubicBezTo>
                      <a:pt x="18" y="0"/>
                      <a:pt x="18" y="0"/>
                      <a:pt x="18" y="0"/>
                    </a:cubicBezTo>
                    <a:cubicBezTo>
                      <a:pt x="21" y="0"/>
                      <a:pt x="24" y="3"/>
                      <a:pt x="24" y="6"/>
                    </a:cubicBez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74" name="Line 160">
                <a:extLst>
                  <a:ext uri="{FF2B5EF4-FFF2-40B4-BE49-F238E27FC236}">
                    <a16:creationId xmlns:a16="http://schemas.microsoft.com/office/drawing/2014/main" id="{21079239-A265-41C1-8DDF-79752F729123}"/>
                  </a:ext>
                </a:extLst>
              </p:cNvPr>
              <p:cNvSpPr>
                <a:spLocks noChangeShapeType="1"/>
              </p:cNvSpPr>
              <p:nvPr/>
            </p:nvSpPr>
            <p:spPr bwMode="auto">
              <a:xfrm flipV="1">
                <a:off x="2789238" y="2817813"/>
                <a:ext cx="0" cy="4445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1693" name="Group 1692">
            <a:extLst>
              <a:ext uri="{FF2B5EF4-FFF2-40B4-BE49-F238E27FC236}">
                <a16:creationId xmlns:a16="http://schemas.microsoft.com/office/drawing/2014/main" id="{836D0784-BF1F-48E8-9573-1E2D990011B5}"/>
              </a:ext>
            </a:extLst>
          </p:cNvPr>
          <p:cNvGrpSpPr/>
          <p:nvPr/>
        </p:nvGrpSpPr>
        <p:grpSpPr>
          <a:xfrm>
            <a:off x="5254625" y="1840414"/>
            <a:ext cx="3507727" cy="677108"/>
            <a:chOff x="5254625" y="1865741"/>
            <a:chExt cx="3507727" cy="677108"/>
          </a:xfrm>
        </p:grpSpPr>
        <p:sp>
          <p:nvSpPr>
            <p:cNvPr id="1649" name="TextBox 1648">
              <a:extLst>
                <a:ext uri="{FF2B5EF4-FFF2-40B4-BE49-F238E27FC236}">
                  <a16:creationId xmlns:a16="http://schemas.microsoft.com/office/drawing/2014/main" id="{6A190A73-2154-420D-9D52-0212AB15EC96}"/>
                </a:ext>
              </a:extLst>
            </p:cNvPr>
            <p:cNvSpPr txBox="1"/>
            <p:nvPr/>
          </p:nvSpPr>
          <p:spPr>
            <a:xfrm>
              <a:off x="5797550" y="1865741"/>
              <a:ext cx="2964802" cy="677108"/>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1200"/>
                </a:spcBef>
                <a:spcAft>
                  <a:spcPts val="0"/>
                </a:spcAft>
                <a:buClr>
                  <a:srgbClr val="545859"/>
                </a:buClr>
                <a:buSzPts val="16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Studies have shown similar clinical outcomes in patients who require immunosuppression to treat </a:t>
              </a:r>
              <a:r>
                <a:rPr kumimoji="0" lang="en-US" sz="11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irAEs</a:t>
              </a: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and in those who do not require treatment</a:t>
              </a:r>
              <a:r>
                <a:rPr kumimoji="0" lang="en-US" sz="11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2,3,4</a:t>
              </a: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a:t>
              </a:r>
            </a:p>
          </p:txBody>
        </p:sp>
        <p:sp>
          <p:nvSpPr>
            <p:cNvPr id="1652" name="Rectangle 1651">
              <a:extLst>
                <a:ext uri="{FF2B5EF4-FFF2-40B4-BE49-F238E27FC236}">
                  <a16:creationId xmlns:a16="http://schemas.microsoft.com/office/drawing/2014/main" id="{BF88048D-BD8B-4745-A21B-298BA9DC3014}"/>
                </a:ext>
              </a:extLst>
            </p:cNvPr>
            <p:cNvSpPr/>
            <p:nvPr/>
          </p:nvSpPr>
          <p:spPr>
            <a:xfrm>
              <a:off x="5254625" y="1865741"/>
              <a:ext cx="355600" cy="355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grpSp>
          <p:nvGrpSpPr>
            <p:cNvPr id="1675" name="Group 1674">
              <a:extLst>
                <a:ext uri="{FF2B5EF4-FFF2-40B4-BE49-F238E27FC236}">
                  <a16:creationId xmlns:a16="http://schemas.microsoft.com/office/drawing/2014/main" id="{C2A350BD-39DE-41F7-82D7-5A1B391D99D9}"/>
                </a:ext>
              </a:extLst>
            </p:cNvPr>
            <p:cNvGrpSpPr/>
            <p:nvPr/>
          </p:nvGrpSpPr>
          <p:grpSpPr>
            <a:xfrm>
              <a:off x="5324418" y="1937525"/>
              <a:ext cx="216014" cy="212032"/>
              <a:chOff x="9169401" y="4700588"/>
              <a:chExt cx="344487" cy="338137"/>
            </a:xfrm>
          </p:grpSpPr>
          <p:sp>
            <p:nvSpPr>
              <p:cNvPr id="1676" name="Line 369">
                <a:extLst>
                  <a:ext uri="{FF2B5EF4-FFF2-40B4-BE49-F238E27FC236}">
                    <a16:creationId xmlns:a16="http://schemas.microsoft.com/office/drawing/2014/main" id="{39C81E3D-1158-41EC-BA51-3DF259EEA3A6}"/>
                  </a:ext>
                </a:extLst>
              </p:cNvPr>
              <p:cNvSpPr>
                <a:spLocks noChangeShapeType="1"/>
              </p:cNvSpPr>
              <p:nvPr/>
            </p:nvSpPr>
            <p:spPr bwMode="auto">
              <a:xfrm>
                <a:off x="9213851" y="4789488"/>
                <a:ext cx="68263"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77" name="Line 370">
                <a:extLst>
                  <a:ext uri="{FF2B5EF4-FFF2-40B4-BE49-F238E27FC236}">
                    <a16:creationId xmlns:a16="http://schemas.microsoft.com/office/drawing/2014/main" id="{E84A66A9-47C0-4587-B522-561ED1F55FB9}"/>
                  </a:ext>
                </a:extLst>
              </p:cNvPr>
              <p:cNvSpPr>
                <a:spLocks noChangeShapeType="1"/>
              </p:cNvSpPr>
              <p:nvPr/>
            </p:nvSpPr>
            <p:spPr bwMode="auto">
              <a:xfrm>
                <a:off x="9213851" y="4835525"/>
                <a:ext cx="120650"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78" name="Line 371">
                <a:extLst>
                  <a:ext uri="{FF2B5EF4-FFF2-40B4-BE49-F238E27FC236}">
                    <a16:creationId xmlns:a16="http://schemas.microsoft.com/office/drawing/2014/main" id="{F0867F1B-85DB-4E75-AAD9-78B4E6CAFB97}"/>
                  </a:ext>
                </a:extLst>
              </p:cNvPr>
              <p:cNvSpPr>
                <a:spLocks noChangeShapeType="1"/>
              </p:cNvSpPr>
              <p:nvPr/>
            </p:nvSpPr>
            <p:spPr bwMode="auto">
              <a:xfrm>
                <a:off x="9213851" y="4879975"/>
                <a:ext cx="90488"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79" name="Line 372">
                <a:extLst>
                  <a:ext uri="{FF2B5EF4-FFF2-40B4-BE49-F238E27FC236}">
                    <a16:creationId xmlns:a16="http://schemas.microsoft.com/office/drawing/2014/main" id="{E9DB62E9-007C-4FEF-82D1-952AE0870344}"/>
                  </a:ext>
                </a:extLst>
              </p:cNvPr>
              <p:cNvSpPr>
                <a:spLocks noChangeShapeType="1"/>
              </p:cNvSpPr>
              <p:nvPr/>
            </p:nvSpPr>
            <p:spPr bwMode="auto">
              <a:xfrm>
                <a:off x="9213851" y="4926013"/>
                <a:ext cx="74613"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80" name="Freeform 373">
                <a:extLst>
                  <a:ext uri="{FF2B5EF4-FFF2-40B4-BE49-F238E27FC236}">
                    <a16:creationId xmlns:a16="http://schemas.microsoft.com/office/drawing/2014/main" id="{C150181E-4DDC-4A8D-BC5A-910A37AC1800}"/>
                  </a:ext>
                </a:extLst>
              </p:cNvPr>
              <p:cNvSpPr>
                <a:spLocks/>
              </p:cNvSpPr>
              <p:nvPr/>
            </p:nvSpPr>
            <p:spPr bwMode="auto">
              <a:xfrm>
                <a:off x="9348788" y="4873625"/>
                <a:ext cx="165100" cy="165100"/>
              </a:xfrm>
              <a:custGeom>
                <a:avLst/>
                <a:gdLst>
                  <a:gd name="T0" fmla="*/ 33 w 104"/>
                  <a:gd name="T1" fmla="*/ 94 h 104"/>
                  <a:gd name="T2" fmla="*/ 0 w 104"/>
                  <a:gd name="T3" fmla="*/ 104 h 104"/>
                  <a:gd name="T4" fmla="*/ 10 w 104"/>
                  <a:gd name="T5" fmla="*/ 71 h 104"/>
                  <a:gd name="T6" fmla="*/ 81 w 104"/>
                  <a:gd name="T7" fmla="*/ 0 h 104"/>
                  <a:gd name="T8" fmla="*/ 104 w 104"/>
                  <a:gd name="T9" fmla="*/ 23 h 104"/>
                  <a:gd name="T10" fmla="*/ 33 w 104"/>
                  <a:gd name="T11" fmla="*/ 94 h 104"/>
                </a:gdLst>
                <a:ahLst/>
                <a:cxnLst>
                  <a:cxn ang="0">
                    <a:pos x="T0" y="T1"/>
                  </a:cxn>
                  <a:cxn ang="0">
                    <a:pos x="T2" y="T3"/>
                  </a:cxn>
                  <a:cxn ang="0">
                    <a:pos x="T4" y="T5"/>
                  </a:cxn>
                  <a:cxn ang="0">
                    <a:pos x="T6" y="T7"/>
                  </a:cxn>
                  <a:cxn ang="0">
                    <a:pos x="T8" y="T9"/>
                  </a:cxn>
                  <a:cxn ang="0">
                    <a:pos x="T10" y="T11"/>
                  </a:cxn>
                </a:cxnLst>
                <a:rect l="0" t="0" r="r" b="b"/>
                <a:pathLst>
                  <a:path w="104" h="104">
                    <a:moveTo>
                      <a:pt x="33" y="94"/>
                    </a:moveTo>
                    <a:lnTo>
                      <a:pt x="0" y="104"/>
                    </a:lnTo>
                    <a:lnTo>
                      <a:pt x="10" y="71"/>
                    </a:lnTo>
                    <a:lnTo>
                      <a:pt x="81" y="0"/>
                    </a:lnTo>
                    <a:lnTo>
                      <a:pt x="104" y="23"/>
                    </a:lnTo>
                    <a:lnTo>
                      <a:pt x="33" y="94"/>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81" name="Line 374">
                <a:extLst>
                  <a:ext uri="{FF2B5EF4-FFF2-40B4-BE49-F238E27FC236}">
                    <a16:creationId xmlns:a16="http://schemas.microsoft.com/office/drawing/2014/main" id="{FD03FBC7-DB71-4BC4-93F5-DFC505F1595F}"/>
                  </a:ext>
                </a:extLst>
              </p:cNvPr>
              <p:cNvSpPr>
                <a:spLocks noChangeShapeType="1"/>
              </p:cNvSpPr>
              <p:nvPr/>
            </p:nvSpPr>
            <p:spPr bwMode="auto">
              <a:xfrm>
                <a:off x="9447213" y="4903788"/>
                <a:ext cx="36513" cy="36513"/>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82" name="Line 375">
                <a:extLst>
                  <a:ext uri="{FF2B5EF4-FFF2-40B4-BE49-F238E27FC236}">
                    <a16:creationId xmlns:a16="http://schemas.microsoft.com/office/drawing/2014/main" id="{B9343E3A-0BC7-436B-8654-86752785B919}"/>
                  </a:ext>
                </a:extLst>
              </p:cNvPr>
              <p:cNvSpPr>
                <a:spLocks noChangeShapeType="1"/>
              </p:cNvSpPr>
              <p:nvPr/>
            </p:nvSpPr>
            <p:spPr bwMode="auto">
              <a:xfrm>
                <a:off x="9364663" y="4986338"/>
                <a:ext cx="36513" cy="36513"/>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83" name="Freeform 376">
                <a:extLst>
                  <a:ext uri="{FF2B5EF4-FFF2-40B4-BE49-F238E27FC236}">
                    <a16:creationId xmlns:a16="http://schemas.microsoft.com/office/drawing/2014/main" id="{AF351572-6CAD-461B-883E-B61708343292}"/>
                  </a:ext>
                </a:extLst>
              </p:cNvPr>
              <p:cNvSpPr>
                <a:spLocks/>
              </p:cNvSpPr>
              <p:nvPr/>
            </p:nvSpPr>
            <p:spPr bwMode="auto">
              <a:xfrm>
                <a:off x="9169401" y="4700588"/>
                <a:ext cx="239713" cy="315913"/>
              </a:xfrm>
              <a:custGeom>
                <a:avLst/>
                <a:gdLst>
                  <a:gd name="T0" fmla="*/ 99 w 151"/>
                  <a:gd name="T1" fmla="*/ 199 h 199"/>
                  <a:gd name="T2" fmla="*/ 0 w 151"/>
                  <a:gd name="T3" fmla="*/ 199 h 199"/>
                  <a:gd name="T4" fmla="*/ 0 w 151"/>
                  <a:gd name="T5" fmla="*/ 0 h 199"/>
                  <a:gd name="T6" fmla="*/ 104 w 151"/>
                  <a:gd name="T7" fmla="*/ 0 h 199"/>
                  <a:gd name="T8" fmla="*/ 151 w 151"/>
                  <a:gd name="T9" fmla="*/ 47 h 199"/>
                  <a:gd name="T10" fmla="*/ 151 w 151"/>
                  <a:gd name="T11" fmla="*/ 109 h 199"/>
                </a:gdLst>
                <a:ahLst/>
                <a:cxnLst>
                  <a:cxn ang="0">
                    <a:pos x="T0" y="T1"/>
                  </a:cxn>
                  <a:cxn ang="0">
                    <a:pos x="T2" y="T3"/>
                  </a:cxn>
                  <a:cxn ang="0">
                    <a:pos x="T4" y="T5"/>
                  </a:cxn>
                  <a:cxn ang="0">
                    <a:pos x="T6" y="T7"/>
                  </a:cxn>
                  <a:cxn ang="0">
                    <a:pos x="T8" y="T9"/>
                  </a:cxn>
                  <a:cxn ang="0">
                    <a:pos x="T10" y="T11"/>
                  </a:cxn>
                </a:cxnLst>
                <a:rect l="0" t="0" r="r" b="b"/>
                <a:pathLst>
                  <a:path w="151" h="199">
                    <a:moveTo>
                      <a:pt x="99" y="199"/>
                    </a:moveTo>
                    <a:lnTo>
                      <a:pt x="0" y="199"/>
                    </a:lnTo>
                    <a:lnTo>
                      <a:pt x="0" y="0"/>
                    </a:lnTo>
                    <a:lnTo>
                      <a:pt x="104" y="0"/>
                    </a:lnTo>
                    <a:lnTo>
                      <a:pt x="151" y="47"/>
                    </a:lnTo>
                    <a:lnTo>
                      <a:pt x="151" y="109"/>
                    </a:lnTo>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84" name="Freeform 377">
                <a:extLst>
                  <a:ext uri="{FF2B5EF4-FFF2-40B4-BE49-F238E27FC236}">
                    <a16:creationId xmlns:a16="http://schemas.microsoft.com/office/drawing/2014/main" id="{D9550D0F-1866-45AA-A656-A85B28FE140A}"/>
                  </a:ext>
                </a:extLst>
              </p:cNvPr>
              <p:cNvSpPr>
                <a:spLocks/>
              </p:cNvSpPr>
              <p:nvPr/>
            </p:nvSpPr>
            <p:spPr bwMode="auto">
              <a:xfrm>
                <a:off x="9334501" y="4700588"/>
                <a:ext cx="74613" cy="74613"/>
              </a:xfrm>
              <a:custGeom>
                <a:avLst/>
                <a:gdLst>
                  <a:gd name="T0" fmla="*/ 0 w 47"/>
                  <a:gd name="T1" fmla="*/ 0 h 47"/>
                  <a:gd name="T2" fmla="*/ 0 w 47"/>
                  <a:gd name="T3" fmla="*/ 47 h 47"/>
                  <a:gd name="T4" fmla="*/ 47 w 47"/>
                  <a:gd name="T5" fmla="*/ 47 h 47"/>
                </a:gdLst>
                <a:ahLst/>
                <a:cxnLst>
                  <a:cxn ang="0">
                    <a:pos x="T0" y="T1"/>
                  </a:cxn>
                  <a:cxn ang="0">
                    <a:pos x="T2" y="T3"/>
                  </a:cxn>
                  <a:cxn ang="0">
                    <a:pos x="T4" y="T5"/>
                  </a:cxn>
                </a:cxnLst>
                <a:rect l="0" t="0" r="r" b="b"/>
                <a:pathLst>
                  <a:path w="47" h="47">
                    <a:moveTo>
                      <a:pt x="0" y="0"/>
                    </a:moveTo>
                    <a:lnTo>
                      <a:pt x="0" y="47"/>
                    </a:lnTo>
                    <a:lnTo>
                      <a:pt x="47" y="47"/>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1692" name="Group 1691">
            <a:extLst>
              <a:ext uri="{FF2B5EF4-FFF2-40B4-BE49-F238E27FC236}">
                <a16:creationId xmlns:a16="http://schemas.microsoft.com/office/drawing/2014/main" id="{903BBDB1-B13E-482D-B014-A4F0D96C9AF9}"/>
              </a:ext>
            </a:extLst>
          </p:cNvPr>
          <p:cNvGrpSpPr/>
          <p:nvPr/>
        </p:nvGrpSpPr>
        <p:grpSpPr>
          <a:xfrm>
            <a:off x="5254625" y="2792948"/>
            <a:ext cx="3507727" cy="1031051"/>
            <a:chOff x="5254625" y="2852125"/>
            <a:chExt cx="3507727" cy="1031051"/>
          </a:xfrm>
        </p:grpSpPr>
        <p:sp>
          <p:nvSpPr>
            <p:cNvPr id="1650" name="TextBox 1649">
              <a:extLst>
                <a:ext uri="{FF2B5EF4-FFF2-40B4-BE49-F238E27FC236}">
                  <a16:creationId xmlns:a16="http://schemas.microsoft.com/office/drawing/2014/main" id="{2FA85CAD-A3EA-41C7-A11D-B2E3FDD8AD09}"/>
                </a:ext>
              </a:extLst>
            </p:cNvPr>
            <p:cNvSpPr txBox="1"/>
            <p:nvPr/>
          </p:nvSpPr>
          <p:spPr>
            <a:xfrm>
              <a:off x="5797550" y="2852125"/>
              <a:ext cx="2964802" cy="103105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
                  <a:srgbClr val="545859"/>
                </a:buClr>
                <a:buSzPts val="16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However, more recent studies have questioned this</a:t>
              </a:r>
              <a:r>
                <a:rPr kumimoji="0" lang="en-US" sz="11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5-7</a:t>
              </a: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a:t>
              </a:r>
            </a:p>
            <a:p>
              <a:pPr marL="171450" marR="0" lvl="1"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It is likely that corticosteroids inhibit at least some elements of effective antitumor responses</a:t>
              </a:r>
              <a:r>
                <a:rPr kumimoji="0" lang="en-US" sz="9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5</a:t>
              </a: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a:t>
              </a:r>
            </a:p>
            <a:p>
              <a:pPr marL="171450" marR="0" lvl="1"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The specific cellular and molecular immune mechanisms underlying toxicity are unlikely to precisely match those that cause tumor rejection e.g. IFN-𝛄 vs TNF-⍺</a:t>
              </a:r>
              <a:r>
                <a:rPr kumimoji="0" lang="en-US" sz="9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8</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1653" name="Rectangle 1652">
              <a:extLst>
                <a:ext uri="{FF2B5EF4-FFF2-40B4-BE49-F238E27FC236}">
                  <a16:creationId xmlns:a16="http://schemas.microsoft.com/office/drawing/2014/main" id="{4CA6EF25-4E25-462F-AB99-F3C48B5C9996}"/>
                </a:ext>
              </a:extLst>
            </p:cNvPr>
            <p:cNvSpPr/>
            <p:nvPr/>
          </p:nvSpPr>
          <p:spPr>
            <a:xfrm>
              <a:off x="5254625" y="2852125"/>
              <a:ext cx="355600" cy="355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sym typeface="Arial"/>
              </a:endParaRPr>
            </a:p>
          </p:txBody>
        </p:sp>
        <p:grpSp>
          <p:nvGrpSpPr>
            <p:cNvPr id="1685" name="Group 1684">
              <a:extLst>
                <a:ext uri="{FF2B5EF4-FFF2-40B4-BE49-F238E27FC236}">
                  <a16:creationId xmlns:a16="http://schemas.microsoft.com/office/drawing/2014/main" id="{B1656132-7BE9-4150-A4DD-DE0F0861B6C7}"/>
                </a:ext>
              </a:extLst>
            </p:cNvPr>
            <p:cNvGrpSpPr/>
            <p:nvPr/>
          </p:nvGrpSpPr>
          <p:grpSpPr>
            <a:xfrm>
              <a:off x="5337525" y="2939480"/>
              <a:ext cx="189801" cy="180890"/>
              <a:chOff x="4052888" y="2174875"/>
              <a:chExt cx="338138" cy="322263"/>
            </a:xfrm>
          </p:grpSpPr>
          <p:sp>
            <p:nvSpPr>
              <p:cNvPr id="1686" name="Oval 272">
                <a:extLst>
                  <a:ext uri="{FF2B5EF4-FFF2-40B4-BE49-F238E27FC236}">
                    <a16:creationId xmlns:a16="http://schemas.microsoft.com/office/drawing/2014/main" id="{16A0AEA5-A6E2-4028-860F-4E4841E3B574}"/>
                  </a:ext>
                </a:extLst>
              </p:cNvPr>
              <p:cNvSpPr>
                <a:spLocks noChangeArrowheads="1"/>
              </p:cNvSpPr>
              <p:nvPr/>
            </p:nvSpPr>
            <p:spPr bwMode="auto">
              <a:xfrm>
                <a:off x="4240213" y="2347913"/>
                <a:ext cx="112713" cy="112713"/>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87" name="Line 273">
                <a:extLst>
                  <a:ext uri="{FF2B5EF4-FFF2-40B4-BE49-F238E27FC236}">
                    <a16:creationId xmlns:a16="http://schemas.microsoft.com/office/drawing/2014/main" id="{92C8C36E-E144-4DB0-B49B-6CA1973B437E}"/>
                  </a:ext>
                </a:extLst>
              </p:cNvPr>
              <p:cNvSpPr>
                <a:spLocks noChangeShapeType="1"/>
              </p:cNvSpPr>
              <p:nvPr/>
            </p:nvSpPr>
            <p:spPr bwMode="auto">
              <a:xfrm>
                <a:off x="4338638" y="2444750"/>
                <a:ext cx="52388" cy="52388"/>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1688" name="Freeform 274">
                <a:extLst>
                  <a:ext uri="{FF2B5EF4-FFF2-40B4-BE49-F238E27FC236}">
                    <a16:creationId xmlns:a16="http://schemas.microsoft.com/office/drawing/2014/main" id="{E1536345-FDE7-4DEF-B9BB-ABAF08633B33}"/>
                  </a:ext>
                </a:extLst>
              </p:cNvPr>
              <p:cNvSpPr>
                <a:spLocks/>
              </p:cNvSpPr>
              <p:nvPr/>
            </p:nvSpPr>
            <p:spPr bwMode="auto">
              <a:xfrm>
                <a:off x="4052888" y="2174875"/>
                <a:ext cx="315913" cy="269875"/>
              </a:xfrm>
              <a:custGeom>
                <a:avLst/>
                <a:gdLst>
                  <a:gd name="T0" fmla="*/ 99 w 199"/>
                  <a:gd name="T1" fmla="*/ 132 h 170"/>
                  <a:gd name="T2" fmla="*/ 76 w 199"/>
                  <a:gd name="T3" fmla="*/ 132 h 170"/>
                  <a:gd name="T4" fmla="*/ 38 w 199"/>
                  <a:gd name="T5" fmla="*/ 170 h 170"/>
                  <a:gd name="T6" fmla="*/ 38 w 199"/>
                  <a:gd name="T7" fmla="*/ 132 h 170"/>
                  <a:gd name="T8" fmla="*/ 0 w 199"/>
                  <a:gd name="T9" fmla="*/ 132 h 170"/>
                  <a:gd name="T10" fmla="*/ 0 w 199"/>
                  <a:gd name="T11" fmla="*/ 0 h 170"/>
                  <a:gd name="T12" fmla="*/ 199 w 199"/>
                  <a:gd name="T13" fmla="*/ 0 h 170"/>
                  <a:gd name="T14" fmla="*/ 199 w 199"/>
                  <a:gd name="T15" fmla="*/ 94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170">
                    <a:moveTo>
                      <a:pt x="99" y="132"/>
                    </a:moveTo>
                    <a:lnTo>
                      <a:pt x="76" y="132"/>
                    </a:lnTo>
                    <a:lnTo>
                      <a:pt x="38" y="170"/>
                    </a:lnTo>
                    <a:lnTo>
                      <a:pt x="38" y="132"/>
                    </a:lnTo>
                    <a:lnTo>
                      <a:pt x="0" y="132"/>
                    </a:lnTo>
                    <a:lnTo>
                      <a:pt x="0" y="0"/>
                    </a:lnTo>
                    <a:lnTo>
                      <a:pt x="199" y="0"/>
                    </a:lnTo>
                    <a:lnTo>
                      <a:pt x="199" y="94"/>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grpSp>
    </p:spTree>
    <p:extLst>
      <p:ext uri="{BB962C8B-B14F-4D97-AF65-F5344CB8AC3E}">
        <p14:creationId xmlns:p14="http://schemas.microsoft.com/office/powerpoint/2010/main" val="2082495618"/>
      </p:ext>
    </p:extLst>
  </p:cSld>
  <p:clrMapOvr>
    <a:masterClrMapping/>
  </p:clrMapOvr>
  <p:transition spd="med">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4795856" y="1408406"/>
            <a:ext cx="3966496" cy="215444"/>
            <a:chOff x="4796618" y="753296"/>
            <a:chExt cx="3966496" cy="215444"/>
          </a:xfrm>
        </p:grpSpPr>
        <p:sp>
          <p:nvSpPr>
            <p:cNvPr id="70" name="TextBox 69">
              <a:extLst>
                <a:ext uri="{FF2B5EF4-FFF2-40B4-BE49-F238E27FC236}">
                  <a16:creationId xmlns:a16="http://schemas.microsoft.com/office/drawing/2014/main" id="{DA649335-5BD7-4182-97EC-F5CB692E2790}"/>
                </a:ext>
              </a:extLst>
            </p:cNvPr>
            <p:cNvSpPr txBox="1"/>
            <p:nvPr/>
          </p:nvSpPr>
          <p:spPr>
            <a:xfrm>
              <a:off x="4796618" y="753296"/>
              <a:ext cx="3966496" cy="215444"/>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1" i="0" u="none" strike="noStrike" kern="0" cap="none" spc="0" normalizeH="0" baseline="30000" noProof="0" dirty="0">
                <a:ln>
                  <a:noFill/>
                </a:ln>
                <a:solidFill>
                  <a:srgbClr val="FFFFFF"/>
                </a:solidFill>
                <a:effectLst/>
                <a:uLnTx/>
                <a:uFillTx/>
                <a:latin typeface="Gene Sans" panose="00000500000000000000" pitchFamily="50" charset="0"/>
                <a:cs typeface="Arial"/>
                <a:sym typeface="Arial"/>
              </a:endParaRPr>
            </a:p>
          </p:txBody>
        </p:sp>
        <p:sp>
          <p:nvSpPr>
            <p:cNvPr id="4" name="Rectangle 3"/>
            <p:cNvSpPr/>
            <p:nvPr/>
          </p:nvSpPr>
          <p:spPr>
            <a:xfrm>
              <a:off x="5884269" y="799152"/>
              <a:ext cx="1835780" cy="11287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grpSp>
      <p:graphicFrame>
        <p:nvGraphicFramePr>
          <p:cNvPr id="129" name="Google Shape;2707;p20">
            <a:extLst>
              <a:ext uri="{FF2B5EF4-FFF2-40B4-BE49-F238E27FC236}">
                <a16:creationId xmlns:a16="http://schemas.microsoft.com/office/drawing/2014/main" id="{7FCDC28C-4E42-44ED-A402-9EA7C9235991}"/>
              </a:ext>
            </a:extLst>
          </p:cNvPr>
          <p:cNvGraphicFramePr/>
          <p:nvPr/>
        </p:nvGraphicFramePr>
        <p:xfrm>
          <a:off x="4686300" y="1338201"/>
          <a:ext cx="4076052" cy="2990851"/>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5C95D54E-9E33-44AB-9D5D-7A4703CE0CDE}"/>
              </a:ext>
            </a:extLst>
          </p:cNvPr>
          <p:cNvSpPr>
            <a:spLocks noGrp="1"/>
          </p:cNvSpPr>
          <p:nvPr>
            <p:ph type="body" idx="1"/>
          </p:nvPr>
        </p:nvSpPr>
        <p:spPr/>
        <p:txBody>
          <a:bodyPr/>
          <a:lstStyle/>
          <a:p>
            <a:endParaRPr lang="en-US"/>
          </a:p>
        </p:txBody>
      </p:sp>
      <p:sp>
        <p:nvSpPr>
          <p:cNvPr id="3" name="Text Placeholder 2">
            <a:extLst>
              <a:ext uri="{FF2B5EF4-FFF2-40B4-BE49-F238E27FC236}">
                <a16:creationId xmlns:a16="http://schemas.microsoft.com/office/drawing/2014/main" id="{04F67E10-3325-41B5-B0E4-369B28ADE24E}"/>
              </a:ext>
            </a:extLst>
          </p:cNvPr>
          <p:cNvSpPr>
            <a:spLocks noGrp="1"/>
          </p:cNvSpPr>
          <p:nvPr>
            <p:ph type="body" idx="2"/>
          </p:nvPr>
        </p:nvSpPr>
        <p:spPr>
          <a:xfrm>
            <a:off x="381648" y="4724054"/>
            <a:ext cx="8385048" cy="110800"/>
          </a:xfrm>
        </p:spPr>
        <p:txBody>
          <a:bodyPr anchor="t"/>
          <a:lstStyle/>
          <a:p>
            <a:pPr marL="0" lvl="0" indent="0" algn="l" rtl="0">
              <a:spcBef>
                <a:spcPts val="0"/>
              </a:spcBef>
              <a:spcAft>
                <a:spcPts val="0"/>
              </a:spcAft>
              <a:buClr>
                <a:schemeClr val="dk1"/>
              </a:buClr>
              <a:buSzPts val="800"/>
              <a:buNone/>
            </a:pPr>
            <a:r>
              <a:rPr lang="en-US" sz="600" dirty="0">
                <a:latin typeface="Gene Sans Light" panose="00000400000000000000" pitchFamily="50" charset="0"/>
              </a:rPr>
              <a:t>Response rates, progression-free survival (PFS), and overall survival (OS) of patients treated with programmed death-ligand 1 blockade on the basis of reported corticosteroid usage at Memorial Sloan Kettering Cancer Center (MSKCC) and Gustave </a:t>
            </a:r>
            <a:r>
              <a:rPr lang="en-US" sz="600" dirty="0" err="1">
                <a:latin typeface="Gene Sans Light" panose="00000400000000000000" pitchFamily="50" charset="0"/>
              </a:rPr>
              <a:t>Roussy</a:t>
            </a:r>
            <a:r>
              <a:rPr lang="en-US" sz="600" dirty="0">
                <a:latin typeface="Gene Sans Light" panose="00000400000000000000" pitchFamily="50" charset="0"/>
              </a:rPr>
              <a:t> Cancer Center (GRCC). Four hundred ﬁfty-one of 455 patients were evaluable for response in the MSKCC cohort and 185 of 185 patients were evaluable for response in the GRCC cohort. CR, complete response; POD, progression of disease; PR, partial response; SD, stable disease. </a:t>
            </a:r>
            <a:r>
              <a:rPr lang="en-US" sz="600" dirty="0" err="1">
                <a:latin typeface="Gene Sans Light" panose="00000400000000000000" pitchFamily="50" charset="0"/>
              </a:rPr>
              <a:t>Arbour</a:t>
            </a:r>
            <a:r>
              <a:rPr lang="en-US" sz="600" dirty="0">
                <a:latin typeface="Gene Sans Light" panose="00000400000000000000" pitchFamily="50" charset="0"/>
              </a:rPr>
              <a:t> et al. J Clin Oncol 2018;36:2872-2878.</a:t>
            </a:r>
          </a:p>
        </p:txBody>
      </p:sp>
      <p:sp>
        <p:nvSpPr>
          <p:cNvPr id="5" name="Title 4">
            <a:extLst>
              <a:ext uri="{FF2B5EF4-FFF2-40B4-BE49-F238E27FC236}">
                <a16:creationId xmlns:a16="http://schemas.microsoft.com/office/drawing/2014/main" id="{F01D18BE-0443-4628-94BF-FCFDC3C196C3}"/>
              </a:ext>
            </a:extLst>
          </p:cNvPr>
          <p:cNvSpPr>
            <a:spLocks noGrp="1"/>
          </p:cNvSpPr>
          <p:nvPr>
            <p:ph type="title"/>
          </p:nvPr>
        </p:nvSpPr>
        <p:spPr/>
        <p:txBody>
          <a:bodyPr/>
          <a:lstStyle/>
          <a:p>
            <a:r>
              <a:rPr lang="en-US" dirty="0"/>
              <a:t>Association Between </a:t>
            </a:r>
            <a:r>
              <a:rPr lang="en-US" dirty="0" err="1"/>
              <a:t>irAEs</a:t>
            </a:r>
            <a:r>
              <a:rPr lang="en-US" dirty="0"/>
              <a:t> and Outcomes</a:t>
            </a:r>
          </a:p>
        </p:txBody>
      </p:sp>
      <p:sp>
        <p:nvSpPr>
          <p:cNvPr id="6" name="Google Shape;122;p3">
            <a:extLst>
              <a:ext uri="{FF2B5EF4-FFF2-40B4-BE49-F238E27FC236}">
                <a16:creationId xmlns:a16="http://schemas.microsoft.com/office/drawing/2014/main" id="{E471B720-21C1-4494-8635-9FEBD8B63980}"/>
              </a:ext>
            </a:extLst>
          </p:cNvPr>
          <p:cNvSpPr txBox="1">
            <a:spLocks/>
          </p:cNvSpPr>
          <p:nvPr/>
        </p:nvSpPr>
        <p:spPr>
          <a:xfrm>
            <a:off x="381000" y="94526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cxnSp>
        <p:nvCxnSpPr>
          <p:cNvPr id="130" name="Straight Connector 129">
            <a:extLst>
              <a:ext uri="{FF2B5EF4-FFF2-40B4-BE49-F238E27FC236}">
                <a16:creationId xmlns:a16="http://schemas.microsoft.com/office/drawing/2014/main" id="{D99ED085-B16C-4FCB-AB31-51485C4E05C6}"/>
              </a:ext>
            </a:extLst>
          </p:cNvPr>
          <p:cNvCxnSpPr>
            <a:cxnSpLocks/>
          </p:cNvCxnSpPr>
          <p:nvPr/>
        </p:nvCxnSpPr>
        <p:spPr>
          <a:xfrm>
            <a:off x="922189" y="1708042"/>
            <a:ext cx="30921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B822A6C-CA34-4236-8995-6308A72B2E00}"/>
              </a:ext>
            </a:extLst>
          </p:cNvPr>
          <p:cNvCxnSpPr>
            <a:cxnSpLocks/>
          </p:cNvCxnSpPr>
          <p:nvPr/>
        </p:nvCxnSpPr>
        <p:spPr>
          <a:xfrm>
            <a:off x="922189" y="2236912"/>
            <a:ext cx="30921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EE612589-EDF8-4D8F-8794-9132253E983F}"/>
              </a:ext>
            </a:extLst>
          </p:cNvPr>
          <p:cNvCxnSpPr>
            <a:cxnSpLocks/>
          </p:cNvCxnSpPr>
          <p:nvPr/>
        </p:nvCxnSpPr>
        <p:spPr>
          <a:xfrm>
            <a:off x="922189" y="3104600"/>
            <a:ext cx="30921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C4C6BCCE-498B-49A9-9611-34B42CF29AE3}"/>
              </a:ext>
            </a:extLst>
          </p:cNvPr>
          <p:cNvCxnSpPr>
            <a:cxnSpLocks/>
          </p:cNvCxnSpPr>
          <p:nvPr/>
        </p:nvCxnSpPr>
        <p:spPr>
          <a:xfrm>
            <a:off x="922189" y="3972288"/>
            <a:ext cx="30921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34" name="Group 133">
            <a:extLst>
              <a:ext uri="{FF2B5EF4-FFF2-40B4-BE49-F238E27FC236}">
                <a16:creationId xmlns:a16="http://schemas.microsoft.com/office/drawing/2014/main" id="{D113120C-15B9-4879-AE12-2CD6FD0DB665}"/>
              </a:ext>
            </a:extLst>
          </p:cNvPr>
          <p:cNvGrpSpPr/>
          <p:nvPr/>
        </p:nvGrpSpPr>
        <p:grpSpPr>
          <a:xfrm>
            <a:off x="377952" y="1243684"/>
            <a:ext cx="3636358" cy="399846"/>
            <a:chOff x="377952" y="1243684"/>
            <a:chExt cx="3636358" cy="399846"/>
          </a:xfrm>
        </p:grpSpPr>
        <p:sp>
          <p:nvSpPr>
            <p:cNvPr id="135" name="TextBox 134">
              <a:extLst>
                <a:ext uri="{FF2B5EF4-FFF2-40B4-BE49-F238E27FC236}">
                  <a16:creationId xmlns:a16="http://schemas.microsoft.com/office/drawing/2014/main" id="{995A5618-72EE-47B4-904A-2004F381F32C}"/>
                </a:ext>
              </a:extLst>
            </p:cNvPr>
            <p:cNvSpPr txBox="1"/>
            <p:nvPr/>
          </p:nvSpPr>
          <p:spPr>
            <a:xfrm>
              <a:off x="922189" y="1351274"/>
              <a:ext cx="3092121" cy="184666"/>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
                  <a:srgbClr val="000000"/>
                </a:buClr>
                <a:buSzPts val="1500"/>
                <a:buFont typeface="Arial"/>
                <a:buNone/>
                <a:tabLst/>
                <a:defRPr/>
              </a:pPr>
              <a:r>
                <a:rPr kumimoji="0" lang="en-US" sz="12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Retrospective review (N = 640)</a:t>
              </a:r>
            </a:p>
          </p:txBody>
        </p:sp>
        <p:grpSp>
          <p:nvGrpSpPr>
            <p:cNvPr id="136" name="Group 135">
              <a:extLst>
                <a:ext uri="{FF2B5EF4-FFF2-40B4-BE49-F238E27FC236}">
                  <a16:creationId xmlns:a16="http://schemas.microsoft.com/office/drawing/2014/main" id="{387B050C-B196-454F-96D7-87CD0DDFCBF4}"/>
                </a:ext>
              </a:extLst>
            </p:cNvPr>
            <p:cNvGrpSpPr/>
            <p:nvPr/>
          </p:nvGrpSpPr>
          <p:grpSpPr>
            <a:xfrm>
              <a:off x="377952" y="1243684"/>
              <a:ext cx="399846" cy="399846"/>
              <a:chOff x="377952" y="1243684"/>
              <a:chExt cx="399846" cy="399846"/>
            </a:xfrm>
          </p:grpSpPr>
          <p:sp>
            <p:nvSpPr>
              <p:cNvPr id="137" name="Rectangle 136">
                <a:extLst>
                  <a:ext uri="{FF2B5EF4-FFF2-40B4-BE49-F238E27FC236}">
                    <a16:creationId xmlns:a16="http://schemas.microsoft.com/office/drawing/2014/main" id="{FE5CEE5F-009B-4E37-B57D-5DD4F0867FEA}"/>
                  </a:ext>
                </a:extLst>
              </p:cNvPr>
              <p:cNvSpPr/>
              <p:nvPr/>
            </p:nvSpPr>
            <p:spPr>
              <a:xfrm>
                <a:off x="377952" y="1243684"/>
                <a:ext cx="399846" cy="3998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dirty="0">
                  <a:ln>
                    <a:noFill/>
                  </a:ln>
                  <a:solidFill>
                    <a:srgbClr val="FFFFFF"/>
                  </a:solidFill>
                  <a:effectLst/>
                  <a:uLnTx/>
                  <a:uFillTx/>
                  <a:latin typeface="Gene Sans Light" panose="00000400000000000000" pitchFamily="2" charset="0"/>
                  <a:ea typeface="+mn-ea"/>
                  <a:cs typeface="+mn-cs"/>
                  <a:sym typeface="Arial"/>
                </a:endParaRPr>
              </a:p>
            </p:txBody>
          </p:sp>
          <p:grpSp>
            <p:nvGrpSpPr>
              <p:cNvPr id="138" name="Group 137">
                <a:extLst>
                  <a:ext uri="{FF2B5EF4-FFF2-40B4-BE49-F238E27FC236}">
                    <a16:creationId xmlns:a16="http://schemas.microsoft.com/office/drawing/2014/main" id="{35B3E5B6-AF5E-4EBB-8FAC-7A518E5F6E8E}"/>
                  </a:ext>
                </a:extLst>
              </p:cNvPr>
              <p:cNvGrpSpPr/>
              <p:nvPr/>
            </p:nvGrpSpPr>
            <p:grpSpPr>
              <a:xfrm>
                <a:off x="481037" y="1346769"/>
                <a:ext cx="193675" cy="193675"/>
                <a:chOff x="8435975" y="4329113"/>
                <a:chExt cx="360363" cy="360363"/>
              </a:xfrm>
              <a:solidFill>
                <a:schemeClr val="bg1"/>
              </a:solidFill>
            </p:grpSpPr>
            <p:sp>
              <p:nvSpPr>
                <p:cNvPr id="139" name="Freeform 914">
                  <a:extLst>
                    <a:ext uri="{FF2B5EF4-FFF2-40B4-BE49-F238E27FC236}">
                      <a16:creationId xmlns:a16="http://schemas.microsoft.com/office/drawing/2014/main" id="{5FAAA478-2E7B-4C16-9A43-04C921054CF0}"/>
                    </a:ext>
                  </a:extLst>
                </p:cNvPr>
                <p:cNvSpPr>
                  <a:spLocks noEditPoints="1"/>
                </p:cNvSpPr>
                <p:nvPr/>
              </p:nvSpPr>
              <p:spPr bwMode="auto">
                <a:xfrm>
                  <a:off x="8435975" y="4329113"/>
                  <a:ext cx="360363" cy="239713"/>
                </a:xfrm>
                <a:custGeom>
                  <a:avLst/>
                  <a:gdLst>
                    <a:gd name="T0" fmla="*/ 1554 w 1587"/>
                    <a:gd name="T1" fmla="*/ 1058 h 1058"/>
                    <a:gd name="T2" fmla="*/ 33 w 1587"/>
                    <a:gd name="T3" fmla="*/ 1058 h 1058"/>
                    <a:gd name="T4" fmla="*/ 33 w 1587"/>
                    <a:gd name="T5" fmla="*/ 1058 h 1058"/>
                    <a:gd name="T6" fmla="*/ 25 w 1587"/>
                    <a:gd name="T7" fmla="*/ 1058 h 1058"/>
                    <a:gd name="T8" fmla="*/ 19 w 1587"/>
                    <a:gd name="T9" fmla="*/ 1056 h 1058"/>
                    <a:gd name="T10" fmla="*/ 14 w 1587"/>
                    <a:gd name="T11" fmla="*/ 1053 h 1058"/>
                    <a:gd name="T12" fmla="*/ 9 w 1587"/>
                    <a:gd name="T13" fmla="*/ 1049 h 1058"/>
                    <a:gd name="T14" fmla="*/ 5 w 1587"/>
                    <a:gd name="T15" fmla="*/ 1044 h 1058"/>
                    <a:gd name="T16" fmla="*/ 2 w 1587"/>
                    <a:gd name="T17" fmla="*/ 1039 h 1058"/>
                    <a:gd name="T18" fmla="*/ 1 w 1587"/>
                    <a:gd name="T19" fmla="*/ 1032 h 1058"/>
                    <a:gd name="T20" fmla="*/ 0 w 1587"/>
                    <a:gd name="T21" fmla="*/ 1025 h 1058"/>
                    <a:gd name="T22" fmla="*/ 0 w 1587"/>
                    <a:gd name="T23" fmla="*/ 33 h 1058"/>
                    <a:gd name="T24" fmla="*/ 0 w 1587"/>
                    <a:gd name="T25" fmla="*/ 33 h 1058"/>
                    <a:gd name="T26" fmla="*/ 1 w 1587"/>
                    <a:gd name="T27" fmla="*/ 26 h 1058"/>
                    <a:gd name="T28" fmla="*/ 2 w 1587"/>
                    <a:gd name="T29" fmla="*/ 20 h 1058"/>
                    <a:gd name="T30" fmla="*/ 5 w 1587"/>
                    <a:gd name="T31" fmla="*/ 15 h 1058"/>
                    <a:gd name="T32" fmla="*/ 9 w 1587"/>
                    <a:gd name="T33" fmla="*/ 10 h 1058"/>
                    <a:gd name="T34" fmla="*/ 14 w 1587"/>
                    <a:gd name="T35" fmla="*/ 6 h 1058"/>
                    <a:gd name="T36" fmla="*/ 19 w 1587"/>
                    <a:gd name="T37" fmla="*/ 2 h 1058"/>
                    <a:gd name="T38" fmla="*/ 25 w 1587"/>
                    <a:gd name="T39" fmla="*/ 0 h 1058"/>
                    <a:gd name="T40" fmla="*/ 33 w 1587"/>
                    <a:gd name="T41" fmla="*/ 0 h 1058"/>
                    <a:gd name="T42" fmla="*/ 1554 w 1587"/>
                    <a:gd name="T43" fmla="*/ 0 h 1058"/>
                    <a:gd name="T44" fmla="*/ 1554 w 1587"/>
                    <a:gd name="T45" fmla="*/ 0 h 1058"/>
                    <a:gd name="T46" fmla="*/ 1560 w 1587"/>
                    <a:gd name="T47" fmla="*/ 0 h 1058"/>
                    <a:gd name="T48" fmla="*/ 1566 w 1587"/>
                    <a:gd name="T49" fmla="*/ 2 h 1058"/>
                    <a:gd name="T50" fmla="*/ 1573 w 1587"/>
                    <a:gd name="T51" fmla="*/ 6 h 1058"/>
                    <a:gd name="T52" fmla="*/ 1577 w 1587"/>
                    <a:gd name="T53" fmla="*/ 10 h 1058"/>
                    <a:gd name="T54" fmla="*/ 1581 w 1587"/>
                    <a:gd name="T55" fmla="*/ 15 h 1058"/>
                    <a:gd name="T56" fmla="*/ 1584 w 1587"/>
                    <a:gd name="T57" fmla="*/ 20 h 1058"/>
                    <a:gd name="T58" fmla="*/ 1586 w 1587"/>
                    <a:gd name="T59" fmla="*/ 26 h 1058"/>
                    <a:gd name="T60" fmla="*/ 1587 w 1587"/>
                    <a:gd name="T61" fmla="*/ 33 h 1058"/>
                    <a:gd name="T62" fmla="*/ 1587 w 1587"/>
                    <a:gd name="T63" fmla="*/ 1025 h 1058"/>
                    <a:gd name="T64" fmla="*/ 1587 w 1587"/>
                    <a:gd name="T65" fmla="*/ 1025 h 1058"/>
                    <a:gd name="T66" fmla="*/ 1586 w 1587"/>
                    <a:gd name="T67" fmla="*/ 1032 h 1058"/>
                    <a:gd name="T68" fmla="*/ 1584 w 1587"/>
                    <a:gd name="T69" fmla="*/ 1039 h 1058"/>
                    <a:gd name="T70" fmla="*/ 1581 w 1587"/>
                    <a:gd name="T71" fmla="*/ 1044 h 1058"/>
                    <a:gd name="T72" fmla="*/ 1577 w 1587"/>
                    <a:gd name="T73" fmla="*/ 1049 h 1058"/>
                    <a:gd name="T74" fmla="*/ 1573 w 1587"/>
                    <a:gd name="T75" fmla="*/ 1053 h 1058"/>
                    <a:gd name="T76" fmla="*/ 1566 w 1587"/>
                    <a:gd name="T77" fmla="*/ 1056 h 1058"/>
                    <a:gd name="T78" fmla="*/ 1560 w 1587"/>
                    <a:gd name="T79" fmla="*/ 1058 h 1058"/>
                    <a:gd name="T80" fmla="*/ 1554 w 1587"/>
                    <a:gd name="T81" fmla="*/ 1058 h 1058"/>
                    <a:gd name="T82" fmla="*/ 1554 w 1587"/>
                    <a:gd name="T83" fmla="*/ 1058 h 1058"/>
                    <a:gd name="T84" fmla="*/ 66 w 1587"/>
                    <a:gd name="T85" fmla="*/ 992 h 1058"/>
                    <a:gd name="T86" fmla="*/ 1521 w 1587"/>
                    <a:gd name="T87" fmla="*/ 992 h 1058"/>
                    <a:gd name="T88" fmla="*/ 1521 w 1587"/>
                    <a:gd name="T89" fmla="*/ 67 h 1058"/>
                    <a:gd name="T90" fmla="*/ 66 w 1587"/>
                    <a:gd name="T91" fmla="*/ 67 h 1058"/>
                    <a:gd name="T92" fmla="*/ 66 w 1587"/>
                    <a:gd name="T93" fmla="*/ 992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87" h="1058">
                      <a:moveTo>
                        <a:pt x="1554" y="1058"/>
                      </a:moveTo>
                      <a:lnTo>
                        <a:pt x="33" y="1058"/>
                      </a:lnTo>
                      <a:lnTo>
                        <a:pt x="33" y="1058"/>
                      </a:lnTo>
                      <a:lnTo>
                        <a:pt x="25" y="1058"/>
                      </a:lnTo>
                      <a:lnTo>
                        <a:pt x="19" y="1056"/>
                      </a:lnTo>
                      <a:lnTo>
                        <a:pt x="14" y="1053"/>
                      </a:lnTo>
                      <a:lnTo>
                        <a:pt x="9" y="1049"/>
                      </a:lnTo>
                      <a:lnTo>
                        <a:pt x="5" y="1044"/>
                      </a:lnTo>
                      <a:lnTo>
                        <a:pt x="2" y="1039"/>
                      </a:lnTo>
                      <a:lnTo>
                        <a:pt x="1" y="1032"/>
                      </a:lnTo>
                      <a:lnTo>
                        <a:pt x="0" y="1025"/>
                      </a:lnTo>
                      <a:lnTo>
                        <a:pt x="0" y="33"/>
                      </a:lnTo>
                      <a:lnTo>
                        <a:pt x="0" y="33"/>
                      </a:lnTo>
                      <a:lnTo>
                        <a:pt x="1" y="26"/>
                      </a:lnTo>
                      <a:lnTo>
                        <a:pt x="2" y="20"/>
                      </a:lnTo>
                      <a:lnTo>
                        <a:pt x="5" y="15"/>
                      </a:lnTo>
                      <a:lnTo>
                        <a:pt x="9" y="10"/>
                      </a:lnTo>
                      <a:lnTo>
                        <a:pt x="14" y="6"/>
                      </a:lnTo>
                      <a:lnTo>
                        <a:pt x="19" y="2"/>
                      </a:lnTo>
                      <a:lnTo>
                        <a:pt x="25" y="0"/>
                      </a:lnTo>
                      <a:lnTo>
                        <a:pt x="33" y="0"/>
                      </a:lnTo>
                      <a:lnTo>
                        <a:pt x="1554" y="0"/>
                      </a:lnTo>
                      <a:lnTo>
                        <a:pt x="1554" y="0"/>
                      </a:lnTo>
                      <a:lnTo>
                        <a:pt x="1560" y="0"/>
                      </a:lnTo>
                      <a:lnTo>
                        <a:pt x="1566" y="2"/>
                      </a:lnTo>
                      <a:lnTo>
                        <a:pt x="1573" y="6"/>
                      </a:lnTo>
                      <a:lnTo>
                        <a:pt x="1577" y="10"/>
                      </a:lnTo>
                      <a:lnTo>
                        <a:pt x="1581" y="15"/>
                      </a:lnTo>
                      <a:lnTo>
                        <a:pt x="1584" y="20"/>
                      </a:lnTo>
                      <a:lnTo>
                        <a:pt x="1586" y="26"/>
                      </a:lnTo>
                      <a:lnTo>
                        <a:pt x="1587" y="33"/>
                      </a:lnTo>
                      <a:lnTo>
                        <a:pt x="1587" y="1025"/>
                      </a:lnTo>
                      <a:lnTo>
                        <a:pt x="1587" y="1025"/>
                      </a:lnTo>
                      <a:lnTo>
                        <a:pt x="1586" y="1032"/>
                      </a:lnTo>
                      <a:lnTo>
                        <a:pt x="1584" y="1039"/>
                      </a:lnTo>
                      <a:lnTo>
                        <a:pt x="1581" y="1044"/>
                      </a:lnTo>
                      <a:lnTo>
                        <a:pt x="1577" y="1049"/>
                      </a:lnTo>
                      <a:lnTo>
                        <a:pt x="1573" y="1053"/>
                      </a:lnTo>
                      <a:lnTo>
                        <a:pt x="1566" y="1056"/>
                      </a:lnTo>
                      <a:lnTo>
                        <a:pt x="1560" y="1058"/>
                      </a:lnTo>
                      <a:lnTo>
                        <a:pt x="1554" y="1058"/>
                      </a:lnTo>
                      <a:lnTo>
                        <a:pt x="1554" y="1058"/>
                      </a:lnTo>
                      <a:close/>
                      <a:moveTo>
                        <a:pt x="66" y="992"/>
                      </a:moveTo>
                      <a:lnTo>
                        <a:pt x="1521" y="992"/>
                      </a:lnTo>
                      <a:lnTo>
                        <a:pt x="1521" y="67"/>
                      </a:lnTo>
                      <a:lnTo>
                        <a:pt x="66" y="67"/>
                      </a:lnTo>
                      <a:lnTo>
                        <a:pt x="66" y="9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40" name="Freeform 915">
                  <a:extLst>
                    <a:ext uri="{FF2B5EF4-FFF2-40B4-BE49-F238E27FC236}">
                      <a16:creationId xmlns:a16="http://schemas.microsoft.com/office/drawing/2014/main" id="{3FD906CE-C1B6-46C5-836D-3268E8DFDBD2}"/>
                    </a:ext>
                  </a:extLst>
                </p:cNvPr>
                <p:cNvSpPr>
                  <a:spLocks/>
                </p:cNvSpPr>
                <p:nvPr/>
              </p:nvSpPr>
              <p:spPr bwMode="auto">
                <a:xfrm>
                  <a:off x="8601075" y="4554538"/>
                  <a:ext cx="14288" cy="60325"/>
                </a:xfrm>
                <a:custGeom>
                  <a:avLst/>
                  <a:gdLst>
                    <a:gd name="T0" fmla="*/ 33 w 66"/>
                    <a:gd name="T1" fmla="*/ 265 h 265"/>
                    <a:gd name="T2" fmla="*/ 33 w 66"/>
                    <a:gd name="T3" fmla="*/ 265 h 265"/>
                    <a:gd name="T4" fmla="*/ 26 w 66"/>
                    <a:gd name="T5" fmla="*/ 264 h 265"/>
                    <a:gd name="T6" fmla="*/ 20 w 66"/>
                    <a:gd name="T7" fmla="*/ 262 h 265"/>
                    <a:gd name="T8" fmla="*/ 15 w 66"/>
                    <a:gd name="T9" fmla="*/ 260 h 265"/>
                    <a:gd name="T10" fmla="*/ 9 w 66"/>
                    <a:gd name="T11" fmla="*/ 256 h 265"/>
                    <a:gd name="T12" fmla="*/ 5 w 66"/>
                    <a:gd name="T13" fmla="*/ 251 h 265"/>
                    <a:gd name="T14" fmla="*/ 2 w 66"/>
                    <a:gd name="T15" fmla="*/ 244 h 265"/>
                    <a:gd name="T16" fmla="*/ 1 w 66"/>
                    <a:gd name="T17" fmla="*/ 238 h 265"/>
                    <a:gd name="T18" fmla="*/ 0 w 66"/>
                    <a:gd name="T19" fmla="*/ 232 h 265"/>
                    <a:gd name="T20" fmla="*/ 0 w 66"/>
                    <a:gd name="T21" fmla="*/ 33 h 265"/>
                    <a:gd name="T22" fmla="*/ 0 w 66"/>
                    <a:gd name="T23" fmla="*/ 33 h 265"/>
                    <a:gd name="T24" fmla="*/ 1 w 66"/>
                    <a:gd name="T25" fmla="*/ 27 h 265"/>
                    <a:gd name="T26" fmla="*/ 2 w 66"/>
                    <a:gd name="T27" fmla="*/ 21 h 265"/>
                    <a:gd name="T28" fmla="*/ 5 w 66"/>
                    <a:gd name="T29" fmla="*/ 15 h 265"/>
                    <a:gd name="T30" fmla="*/ 9 w 66"/>
                    <a:gd name="T31" fmla="*/ 10 h 265"/>
                    <a:gd name="T32" fmla="*/ 15 w 66"/>
                    <a:gd name="T33" fmla="*/ 6 h 265"/>
                    <a:gd name="T34" fmla="*/ 20 w 66"/>
                    <a:gd name="T35" fmla="*/ 3 h 265"/>
                    <a:gd name="T36" fmla="*/ 26 w 66"/>
                    <a:gd name="T37" fmla="*/ 1 h 265"/>
                    <a:gd name="T38" fmla="*/ 33 w 66"/>
                    <a:gd name="T39" fmla="*/ 0 h 265"/>
                    <a:gd name="T40" fmla="*/ 33 w 66"/>
                    <a:gd name="T41" fmla="*/ 0 h 265"/>
                    <a:gd name="T42" fmla="*/ 39 w 66"/>
                    <a:gd name="T43" fmla="*/ 1 h 265"/>
                    <a:gd name="T44" fmla="*/ 46 w 66"/>
                    <a:gd name="T45" fmla="*/ 3 h 265"/>
                    <a:gd name="T46" fmla="*/ 52 w 66"/>
                    <a:gd name="T47" fmla="*/ 6 h 265"/>
                    <a:gd name="T48" fmla="*/ 56 w 66"/>
                    <a:gd name="T49" fmla="*/ 10 h 265"/>
                    <a:gd name="T50" fmla="*/ 60 w 66"/>
                    <a:gd name="T51" fmla="*/ 15 h 265"/>
                    <a:gd name="T52" fmla="*/ 63 w 66"/>
                    <a:gd name="T53" fmla="*/ 21 h 265"/>
                    <a:gd name="T54" fmla="*/ 65 w 66"/>
                    <a:gd name="T55" fmla="*/ 27 h 265"/>
                    <a:gd name="T56" fmla="*/ 66 w 66"/>
                    <a:gd name="T57" fmla="*/ 33 h 265"/>
                    <a:gd name="T58" fmla="*/ 66 w 66"/>
                    <a:gd name="T59" fmla="*/ 232 h 265"/>
                    <a:gd name="T60" fmla="*/ 66 w 66"/>
                    <a:gd name="T61" fmla="*/ 232 h 265"/>
                    <a:gd name="T62" fmla="*/ 65 w 66"/>
                    <a:gd name="T63" fmla="*/ 238 h 265"/>
                    <a:gd name="T64" fmla="*/ 63 w 66"/>
                    <a:gd name="T65" fmla="*/ 244 h 265"/>
                    <a:gd name="T66" fmla="*/ 60 w 66"/>
                    <a:gd name="T67" fmla="*/ 251 h 265"/>
                    <a:gd name="T68" fmla="*/ 56 w 66"/>
                    <a:gd name="T69" fmla="*/ 256 h 265"/>
                    <a:gd name="T70" fmla="*/ 52 w 66"/>
                    <a:gd name="T71" fmla="*/ 260 h 265"/>
                    <a:gd name="T72" fmla="*/ 46 w 66"/>
                    <a:gd name="T73" fmla="*/ 262 h 265"/>
                    <a:gd name="T74" fmla="*/ 39 w 66"/>
                    <a:gd name="T75" fmla="*/ 264 h 265"/>
                    <a:gd name="T76" fmla="*/ 33 w 66"/>
                    <a:gd name="T77" fmla="*/ 265 h 265"/>
                    <a:gd name="T78" fmla="*/ 33 w 66"/>
                    <a:gd name="T79"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265">
                      <a:moveTo>
                        <a:pt x="33" y="265"/>
                      </a:moveTo>
                      <a:lnTo>
                        <a:pt x="33" y="265"/>
                      </a:lnTo>
                      <a:lnTo>
                        <a:pt x="26" y="264"/>
                      </a:lnTo>
                      <a:lnTo>
                        <a:pt x="20" y="262"/>
                      </a:lnTo>
                      <a:lnTo>
                        <a:pt x="15" y="260"/>
                      </a:lnTo>
                      <a:lnTo>
                        <a:pt x="9" y="256"/>
                      </a:lnTo>
                      <a:lnTo>
                        <a:pt x="5" y="251"/>
                      </a:lnTo>
                      <a:lnTo>
                        <a:pt x="2" y="244"/>
                      </a:lnTo>
                      <a:lnTo>
                        <a:pt x="1" y="238"/>
                      </a:lnTo>
                      <a:lnTo>
                        <a:pt x="0" y="232"/>
                      </a:lnTo>
                      <a:lnTo>
                        <a:pt x="0" y="33"/>
                      </a:lnTo>
                      <a:lnTo>
                        <a:pt x="0" y="33"/>
                      </a:lnTo>
                      <a:lnTo>
                        <a:pt x="1" y="27"/>
                      </a:lnTo>
                      <a:lnTo>
                        <a:pt x="2" y="21"/>
                      </a:lnTo>
                      <a:lnTo>
                        <a:pt x="5" y="15"/>
                      </a:lnTo>
                      <a:lnTo>
                        <a:pt x="9" y="10"/>
                      </a:lnTo>
                      <a:lnTo>
                        <a:pt x="15" y="6"/>
                      </a:lnTo>
                      <a:lnTo>
                        <a:pt x="20" y="3"/>
                      </a:lnTo>
                      <a:lnTo>
                        <a:pt x="26" y="1"/>
                      </a:lnTo>
                      <a:lnTo>
                        <a:pt x="33" y="0"/>
                      </a:lnTo>
                      <a:lnTo>
                        <a:pt x="33" y="0"/>
                      </a:lnTo>
                      <a:lnTo>
                        <a:pt x="39" y="1"/>
                      </a:lnTo>
                      <a:lnTo>
                        <a:pt x="46" y="3"/>
                      </a:lnTo>
                      <a:lnTo>
                        <a:pt x="52" y="6"/>
                      </a:lnTo>
                      <a:lnTo>
                        <a:pt x="56" y="10"/>
                      </a:lnTo>
                      <a:lnTo>
                        <a:pt x="60" y="15"/>
                      </a:lnTo>
                      <a:lnTo>
                        <a:pt x="63" y="21"/>
                      </a:lnTo>
                      <a:lnTo>
                        <a:pt x="65" y="27"/>
                      </a:lnTo>
                      <a:lnTo>
                        <a:pt x="66" y="33"/>
                      </a:lnTo>
                      <a:lnTo>
                        <a:pt x="66" y="232"/>
                      </a:lnTo>
                      <a:lnTo>
                        <a:pt x="66" y="232"/>
                      </a:lnTo>
                      <a:lnTo>
                        <a:pt x="65" y="238"/>
                      </a:lnTo>
                      <a:lnTo>
                        <a:pt x="63" y="244"/>
                      </a:lnTo>
                      <a:lnTo>
                        <a:pt x="60" y="251"/>
                      </a:lnTo>
                      <a:lnTo>
                        <a:pt x="56" y="256"/>
                      </a:lnTo>
                      <a:lnTo>
                        <a:pt x="52" y="260"/>
                      </a:lnTo>
                      <a:lnTo>
                        <a:pt x="46" y="262"/>
                      </a:lnTo>
                      <a:lnTo>
                        <a:pt x="39" y="264"/>
                      </a:lnTo>
                      <a:lnTo>
                        <a:pt x="33" y="265"/>
                      </a:lnTo>
                      <a:lnTo>
                        <a:pt x="33"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41" name="Freeform 916">
                  <a:extLst>
                    <a:ext uri="{FF2B5EF4-FFF2-40B4-BE49-F238E27FC236}">
                      <a16:creationId xmlns:a16="http://schemas.microsoft.com/office/drawing/2014/main" id="{752D3DDB-8378-4E2D-A20D-906A840ADFBD}"/>
                    </a:ext>
                  </a:extLst>
                </p:cNvPr>
                <p:cNvSpPr>
                  <a:spLocks/>
                </p:cNvSpPr>
                <p:nvPr/>
              </p:nvSpPr>
              <p:spPr bwMode="auto">
                <a:xfrm>
                  <a:off x="8524875" y="4598988"/>
                  <a:ext cx="165100" cy="90488"/>
                </a:xfrm>
                <a:custGeom>
                  <a:avLst/>
                  <a:gdLst>
                    <a:gd name="T0" fmla="*/ 694 w 727"/>
                    <a:gd name="T1" fmla="*/ 396 h 396"/>
                    <a:gd name="T2" fmla="*/ 694 w 727"/>
                    <a:gd name="T3" fmla="*/ 396 h 396"/>
                    <a:gd name="T4" fmla="*/ 688 w 727"/>
                    <a:gd name="T5" fmla="*/ 396 h 396"/>
                    <a:gd name="T6" fmla="*/ 682 w 727"/>
                    <a:gd name="T7" fmla="*/ 394 h 396"/>
                    <a:gd name="T8" fmla="*/ 677 w 727"/>
                    <a:gd name="T9" fmla="*/ 391 h 396"/>
                    <a:gd name="T10" fmla="*/ 672 w 727"/>
                    <a:gd name="T11" fmla="*/ 387 h 396"/>
                    <a:gd name="T12" fmla="*/ 364 w 727"/>
                    <a:gd name="T13" fmla="*/ 79 h 396"/>
                    <a:gd name="T14" fmla="*/ 57 w 727"/>
                    <a:gd name="T15" fmla="*/ 387 h 396"/>
                    <a:gd name="T16" fmla="*/ 57 w 727"/>
                    <a:gd name="T17" fmla="*/ 387 h 396"/>
                    <a:gd name="T18" fmla="*/ 52 w 727"/>
                    <a:gd name="T19" fmla="*/ 391 h 396"/>
                    <a:gd name="T20" fmla="*/ 45 w 727"/>
                    <a:gd name="T21" fmla="*/ 394 h 396"/>
                    <a:gd name="T22" fmla="*/ 39 w 727"/>
                    <a:gd name="T23" fmla="*/ 396 h 396"/>
                    <a:gd name="T24" fmla="*/ 33 w 727"/>
                    <a:gd name="T25" fmla="*/ 396 h 396"/>
                    <a:gd name="T26" fmla="*/ 27 w 727"/>
                    <a:gd name="T27" fmla="*/ 396 h 396"/>
                    <a:gd name="T28" fmla="*/ 21 w 727"/>
                    <a:gd name="T29" fmla="*/ 394 h 396"/>
                    <a:gd name="T30" fmla="*/ 15 w 727"/>
                    <a:gd name="T31" fmla="*/ 391 h 396"/>
                    <a:gd name="T32" fmla="*/ 10 w 727"/>
                    <a:gd name="T33" fmla="*/ 387 h 396"/>
                    <a:gd name="T34" fmla="*/ 10 w 727"/>
                    <a:gd name="T35" fmla="*/ 387 h 396"/>
                    <a:gd name="T36" fmla="*/ 6 w 727"/>
                    <a:gd name="T37" fmla="*/ 382 h 396"/>
                    <a:gd name="T38" fmla="*/ 3 w 727"/>
                    <a:gd name="T39" fmla="*/ 377 h 396"/>
                    <a:gd name="T40" fmla="*/ 1 w 727"/>
                    <a:gd name="T41" fmla="*/ 370 h 396"/>
                    <a:gd name="T42" fmla="*/ 0 w 727"/>
                    <a:gd name="T43" fmla="*/ 364 h 396"/>
                    <a:gd name="T44" fmla="*/ 1 w 727"/>
                    <a:gd name="T45" fmla="*/ 357 h 396"/>
                    <a:gd name="T46" fmla="*/ 3 w 727"/>
                    <a:gd name="T47" fmla="*/ 352 h 396"/>
                    <a:gd name="T48" fmla="*/ 6 w 727"/>
                    <a:gd name="T49" fmla="*/ 346 h 396"/>
                    <a:gd name="T50" fmla="*/ 10 w 727"/>
                    <a:gd name="T51" fmla="*/ 340 h 396"/>
                    <a:gd name="T52" fmla="*/ 340 w 727"/>
                    <a:gd name="T53" fmla="*/ 9 h 396"/>
                    <a:gd name="T54" fmla="*/ 340 w 727"/>
                    <a:gd name="T55" fmla="*/ 9 h 396"/>
                    <a:gd name="T56" fmla="*/ 346 w 727"/>
                    <a:gd name="T57" fmla="*/ 5 h 396"/>
                    <a:gd name="T58" fmla="*/ 352 w 727"/>
                    <a:gd name="T59" fmla="*/ 2 h 396"/>
                    <a:gd name="T60" fmla="*/ 358 w 727"/>
                    <a:gd name="T61" fmla="*/ 1 h 396"/>
                    <a:gd name="T62" fmla="*/ 364 w 727"/>
                    <a:gd name="T63" fmla="*/ 0 h 396"/>
                    <a:gd name="T64" fmla="*/ 370 w 727"/>
                    <a:gd name="T65" fmla="*/ 1 h 396"/>
                    <a:gd name="T66" fmla="*/ 377 w 727"/>
                    <a:gd name="T67" fmla="*/ 2 h 396"/>
                    <a:gd name="T68" fmla="*/ 382 w 727"/>
                    <a:gd name="T69" fmla="*/ 5 h 396"/>
                    <a:gd name="T70" fmla="*/ 387 w 727"/>
                    <a:gd name="T71" fmla="*/ 9 h 396"/>
                    <a:gd name="T72" fmla="*/ 718 w 727"/>
                    <a:gd name="T73" fmla="*/ 340 h 396"/>
                    <a:gd name="T74" fmla="*/ 718 w 727"/>
                    <a:gd name="T75" fmla="*/ 340 h 396"/>
                    <a:gd name="T76" fmla="*/ 722 w 727"/>
                    <a:gd name="T77" fmla="*/ 346 h 396"/>
                    <a:gd name="T78" fmla="*/ 725 w 727"/>
                    <a:gd name="T79" fmla="*/ 352 h 396"/>
                    <a:gd name="T80" fmla="*/ 727 w 727"/>
                    <a:gd name="T81" fmla="*/ 357 h 396"/>
                    <a:gd name="T82" fmla="*/ 727 w 727"/>
                    <a:gd name="T83" fmla="*/ 364 h 396"/>
                    <a:gd name="T84" fmla="*/ 727 w 727"/>
                    <a:gd name="T85" fmla="*/ 370 h 396"/>
                    <a:gd name="T86" fmla="*/ 725 w 727"/>
                    <a:gd name="T87" fmla="*/ 377 h 396"/>
                    <a:gd name="T88" fmla="*/ 722 w 727"/>
                    <a:gd name="T89" fmla="*/ 382 h 396"/>
                    <a:gd name="T90" fmla="*/ 718 w 727"/>
                    <a:gd name="T91" fmla="*/ 387 h 396"/>
                    <a:gd name="T92" fmla="*/ 718 w 727"/>
                    <a:gd name="T93" fmla="*/ 387 h 396"/>
                    <a:gd name="T94" fmla="*/ 713 w 727"/>
                    <a:gd name="T95" fmla="*/ 391 h 396"/>
                    <a:gd name="T96" fmla="*/ 707 w 727"/>
                    <a:gd name="T97" fmla="*/ 394 h 396"/>
                    <a:gd name="T98" fmla="*/ 701 w 727"/>
                    <a:gd name="T99" fmla="*/ 396 h 396"/>
                    <a:gd name="T100" fmla="*/ 694 w 727"/>
                    <a:gd name="T101" fmla="*/ 396 h 396"/>
                    <a:gd name="T102" fmla="*/ 694 w 727"/>
                    <a:gd name="T103" fmla="*/ 39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7" h="396">
                      <a:moveTo>
                        <a:pt x="694" y="396"/>
                      </a:moveTo>
                      <a:lnTo>
                        <a:pt x="694" y="396"/>
                      </a:lnTo>
                      <a:lnTo>
                        <a:pt x="688" y="396"/>
                      </a:lnTo>
                      <a:lnTo>
                        <a:pt x="682" y="394"/>
                      </a:lnTo>
                      <a:lnTo>
                        <a:pt x="677" y="391"/>
                      </a:lnTo>
                      <a:lnTo>
                        <a:pt x="672" y="387"/>
                      </a:lnTo>
                      <a:lnTo>
                        <a:pt x="364" y="79"/>
                      </a:lnTo>
                      <a:lnTo>
                        <a:pt x="57" y="387"/>
                      </a:lnTo>
                      <a:lnTo>
                        <a:pt x="57" y="387"/>
                      </a:lnTo>
                      <a:lnTo>
                        <a:pt x="52" y="391"/>
                      </a:lnTo>
                      <a:lnTo>
                        <a:pt x="45" y="394"/>
                      </a:lnTo>
                      <a:lnTo>
                        <a:pt x="39" y="396"/>
                      </a:lnTo>
                      <a:lnTo>
                        <a:pt x="33" y="396"/>
                      </a:lnTo>
                      <a:lnTo>
                        <a:pt x="27" y="396"/>
                      </a:lnTo>
                      <a:lnTo>
                        <a:pt x="21" y="394"/>
                      </a:lnTo>
                      <a:lnTo>
                        <a:pt x="15" y="391"/>
                      </a:lnTo>
                      <a:lnTo>
                        <a:pt x="10" y="387"/>
                      </a:lnTo>
                      <a:lnTo>
                        <a:pt x="10" y="387"/>
                      </a:lnTo>
                      <a:lnTo>
                        <a:pt x="6" y="382"/>
                      </a:lnTo>
                      <a:lnTo>
                        <a:pt x="3" y="377"/>
                      </a:lnTo>
                      <a:lnTo>
                        <a:pt x="1" y="370"/>
                      </a:lnTo>
                      <a:lnTo>
                        <a:pt x="0" y="364"/>
                      </a:lnTo>
                      <a:lnTo>
                        <a:pt x="1" y="357"/>
                      </a:lnTo>
                      <a:lnTo>
                        <a:pt x="3" y="352"/>
                      </a:lnTo>
                      <a:lnTo>
                        <a:pt x="6" y="346"/>
                      </a:lnTo>
                      <a:lnTo>
                        <a:pt x="10" y="340"/>
                      </a:lnTo>
                      <a:lnTo>
                        <a:pt x="340" y="9"/>
                      </a:lnTo>
                      <a:lnTo>
                        <a:pt x="340" y="9"/>
                      </a:lnTo>
                      <a:lnTo>
                        <a:pt x="346" y="5"/>
                      </a:lnTo>
                      <a:lnTo>
                        <a:pt x="352" y="2"/>
                      </a:lnTo>
                      <a:lnTo>
                        <a:pt x="358" y="1"/>
                      </a:lnTo>
                      <a:lnTo>
                        <a:pt x="364" y="0"/>
                      </a:lnTo>
                      <a:lnTo>
                        <a:pt x="370" y="1"/>
                      </a:lnTo>
                      <a:lnTo>
                        <a:pt x="377" y="2"/>
                      </a:lnTo>
                      <a:lnTo>
                        <a:pt x="382" y="5"/>
                      </a:lnTo>
                      <a:lnTo>
                        <a:pt x="387" y="9"/>
                      </a:lnTo>
                      <a:lnTo>
                        <a:pt x="718" y="340"/>
                      </a:lnTo>
                      <a:lnTo>
                        <a:pt x="718" y="340"/>
                      </a:lnTo>
                      <a:lnTo>
                        <a:pt x="722" y="346"/>
                      </a:lnTo>
                      <a:lnTo>
                        <a:pt x="725" y="352"/>
                      </a:lnTo>
                      <a:lnTo>
                        <a:pt x="727" y="357"/>
                      </a:lnTo>
                      <a:lnTo>
                        <a:pt x="727" y="364"/>
                      </a:lnTo>
                      <a:lnTo>
                        <a:pt x="727" y="370"/>
                      </a:lnTo>
                      <a:lnTo>
                        <a:pt x="725" y="377"/>
                      </a:lnTo>
                      <a:lnTo>
                        <a:pt x="722" y="382"/>
                      </a:lnTo>
                      <a:lnTo>
                        <a:pt x="718" y="387"/>
                      </a:lnTo>
                      <a:lnTo>
                        <a:pt x="718" y="387"/>
                      </a:lnTo>
                      <a:lnTo>
                        <a:pt x="713" y="391"/>
                      </a:lnTo>
                      <a:lnTo>
                        <a:pt x="707" y="394"/>
                      </a:lnTo>
                      <a:lnTo>
                        <a:pt x="701" y="396"/>
                      </a:lnTo>
                      <a:lnTo>
                        <a:pt x="694" y="396"/>
                      </a:lnTo>
                      <a:lnTo>
                        <a:pt x="694" y="3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42" name="Freeform 917">
                  <a:extLst>
                    <a:ext uri="{FF2B5EF4-FFF2-40B4-BE49-F238E27FC236}">
                      <a16:creationId xmlns:a16="http://schemas.microsoft.com/office/drawing/2014/main" id="{1251966B-E826-4EBC-8857-8420B1740550}"/>
                    </a:ext>
                  </a:extLst>
                </p:cNvPr>
                <p:cNvSpPr>
                  <a:spLocks/>
                </p:cNvSpPr>
                <p:nvPr/>
              </p:nvSpPr>
              <p:spPr bwMode="auto">
                <a:xfrm>
                  <a:off x="8466138" y="4389438"/>
                  <a:ext cx="254000" cy="104775"/>
                </a:xfrm>
                <a:custGeom>
                  <a:avLst/>
                  <a:gdLst>
                    <a:gd name="T0" fmla="*/ 562 w 1124"/>
                    <a:gd name="T1" fmla="*/ 464 h 464"/>
                    <a:gd name="T2" fmla="*/ 557 w 1124"/>
                    <a:gd name="T3" fmla="*/ 463 h 464"/>
                    <a:gd name="T4" fmla="*/ 542 w 1124"/>
                    <a:gd name="T5" fmla="*/ 457 h 464"/>
                    <a:gd name="T6" fmla="*/ 532 w 1124"/>
                    <a:gd name="T7" fmla="*/ 444 h 464"/>
                    <a:gd name="T8" fmla="*/ 323 w 1124"/>
                    <a:gd name="T9" fmla="*/ 319 h 464"/>
                    <a:gd name="T10" fmla="*/ 318 w 1124"/>
                    <a:gd name="T11" fmla="*/ 324 h 464"/>
                    <a:gd name="T12" fmla="*/ 304 w 1124"/>
                    <a:gd name="T13" fmla="*/ 331 h 464"/>
                    <a:gd name="T14" fmla="*/ 33 w 1124"/>
                    <a:gd name="T15" fmla="*/ 332 h 464"/>
                    <a:gd name="T16" fmla="*/ 26 w 1124"/>
                    <a:gd name="T17" fmla="*/ 331 h 464"/>
                    <a:gd name="T18" fmla="*/ 15 w 1124"/>
                    <a:gd name="T19" fmla="*/ 325 h 464"/>
                    <a:gd name="T20" fmla="*/ 5 w 1124"/>
                    <a:gd name="T21" fmla="*/ 317 h 464"/>
                    <a:gd name="T22" fmla="*/ 0 w 1124"/>
                    <a:gd name="T23" fmla="*/ 305 h 464"/>
                    <a:gd name="T24" fmla="*/ 0 w 1124"/>
                    <a:gd name="T25" fmla="*/ 298 h 464"/>
                    <a:gd name="T26" fmla="*/ 2 w 1124"/>
                    <a:gd name="T27" fmla="*/ 286 h 464"/>
                    <a:gd name="T28" fmla="*/ 9 w 1124"/>
                    <a:gd name="T29" fmla="*/ 275 h 464"/>
                    <a:gd name="T30" fmla="*/ 20 w 1124"/>
                    <a:gd name="T31" fmla="*/ 268 h 464"/>
                    <a:gd name="T32" fmla="*/ 33 w 1124"/>
                    <a:gd name="T33" fmla="*/ 265 h 464"/>
                    <a:gd name="T34" fmla="*/ 404 w 1124"/>
                    <a:gd name="T35" fmla="*/ 112 h 464"/>
                    <a:gd name="T36" fmla="*/ 410 w 1124"/>
                    <a:gd name="T37" fmla="*/ 107 h 464"/>
                    <a:gd name="T38" fmla="*/ 425 w 1124"/>
                    <a:gd name="T39" fmla="*/ 101 h 464"/>
                    <a:gd name="T40" fmla="*/ 434 w 1124"/>
                    <a:gd name="T41" fmla="*/ 100 h 464"/>
                    <a:gd name="T42" fmla="*/ 449 w 1124"/>
                    <a:gd name="T43" fmla="*/ 107 h 464"/>
                    <a:gd name="T44" fmla="*/ 460 w 1124"/>
                    <a:gd name="T45" fmla="*/ 119 h 464"/>
                    <a:gd name="T46" fmla="*/ 702 w 1124"/>
                    <a:gd name="T47" fmla="*/ 211 h 464"/>
                    <a:gd name="T48" fmla="*/ 707 w 1124"/>
                    <a:gd name="T49" fmla="*/ 206 h 464"/>
                    <a:gd name="T50" fmla="*/ 719 w 1124"/>
                    <a:gd name="T51" fmla="*/ 200 h 464"/>
                    <a:gd name="T52" fmla="*/ 725 w 1124"/>
                    <a:gd name="T53" fmla="*/ 199 h 464"/>
                    <a:gd name="T54" fmla="*/ 739 w 1124"/>
                    <a:gd name="T55" fmla="*/ 201 h 464"/>
                    <a:gd name="T56" fmla="*/ 750 w 1124"/>
                    <a:gd name="T57" fmla="*/ 208 h 464"/>
                    <a:gd name="T58" fmla="*/ 1064 w 1124"/>
                    <a:gd name="T59" fmla="*/ 15 h 464"/>
                    <a:gd name="T60" fmla="*/ 1068 w 1124"/>
                    <a:gd name="T61" fmla="*/ 10 h 464"/>
                    <a:gd name="T62" fmla="*/ 1079 w 1124"/>
                    <a:gd name="T63" fmla="*/ 2 h 464"/>
                    <a:gd name="T64" fmla="*/ 1092 w 1124"/>
                    <a:gd name="T65" fmla="*/ 0 h 464"/>
                    <a:gd name="T66" fmla="*/ 1104 w 1124"/>
                    <a:gd name="T67" fmla="*/ 3 h 464"/>
                    <a:gd name="T68" fmla="*/ 1109 w 1124"/>
                    <a:gd name="T69" fmla="*/ 7 h 464"/>
                    <a:gd name="T70" fmla="*/ 1119 w 1124"/>
                    <a:gd name="T71" fmla="*/ 16 h 464"/>
                    <a:gd name="T72" fmla="*/ 1124 w 1124"/>
                    <a:gd name="T73" fmla="*/ 28 h 464"/>
                    <a:gd name="T74" fmla="*/ 1123 w 1124"/>
                    <a:gd name="T75" fmla="*/ 41 h 464"/>
                    <a:gd name="T76" fmla="*/ 1118 w 1124"/>
                    <a:gd name="T77" fmla="*/ 53 h 464"/>
                    <a:gd name="T78" fmla="*/ 887 w 1124"/>
                    <a:gd name="T79" fmla="*/ 383 h 464"/>
                    <a:gd name="T80" fmla="*/ 876 w 1124"/>
                    <a:gd name="T81" fmla="*/ 394 h 464"/>
                    <a:gd name="T82" fmla="*/ 862 w 1124"/>
                    <a:gd name="T83" fmla="*/ 398 h 464"/>
                    <a:gd name="T84" fmla="*/ 855 w 1124"/>
                    <a:gd name="T85" fmla="*/ 398 h 464"/>
                    <a:gd name="T86" fmla="*/ 841 w 1124"/>
                    <a:gd name="T87" fmla="*/ 393 h 464"/>
                    <a:gd name="T88" fmla="*/ 730 w 1124"/>
                    <a:gd name="T89" fmla="*/ 281 h 464"/>
                    <a:gd name="T90" fmla="*/ 587 w 1124"/>
                    <a:gd name="T91" fmla="*/ 452 h 464"/>
                    <a:gd name="T92" fmla="*/ 575 w 1124"/>
                    <a:gd name="T93" fmla="*/ 461 h 464"/>
                    <a:gd name="T94" fmla="*/ 562 w 1124"/>
                    <a:gd name="T95"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24" h="464">
                      <a:moveTo>
                        <a:pt x="562" y="464"/>
                      </a:moveTo>
                      <a:lnTo>
                        <a:pt x="562" y="464"/>
                      </a:lnTo>
                      <a:lnTo>
                        <a:pt x="557" y="463"/>
                      </a:lnTo>
                      <a:lnTo>
                        <a:pt x="557" y="463"/>
                      </a:lnTo>
                      <a:lnTo>
                        <a:pt x="550" y="461"/>
                      </a:lnTo>
                      <a:lnTo>
                        <a:pt x="542" y="457"/>
                      </a:lnTo>
                      <a:lnTo>
                        <a:pt x="536" y="452"/>
                      </a:lnTo>
                      <a:lnTo>
                        <a:pt x="532" y="444"/>
                      </a:lnTo>
                      <a:lnTo>
                        <a:pt x="421" y="196"/>
                      </a:lnTo>
                      <a:lnTo>
                        <a:pt x="323" y="319"/>
                      </a:lnTo>
                      <a:lnTo>
                        <a:pt x="323" y="319"/>
                      </a:lnTo>
                      <a:lnTo>
                        <a:pt x="318" y="324"/>
                      </a:lnTo>
                      <a:lnTo>
                        <a:pt x="312" y="328"/>
                      </a:lnTo>
                      <a:lnTo>
                        <a:pt x="304" y="331"/>
                      </a:lnTo>
                      <a:lnTo>
                        <a:pt x="297" y="332"/>
                      </a:lnTo>
                      <a:lnTo>
                        <a:pt x="33" y="332"/>
                      </a:lnTo>
                      <a:lnTo>
                        <a:pt x="33" y="332"/>
                      </a:lnTo>
                      <a:lnTo>
                        <a:pt x="26" y="331"/>
                      </a:lnTo>
                      <a:lnTo>
                        <a:pt x="20" y="328"/>
                      </a:lnTo>
                      <a:lnTo>
                        <a:pt x="15" y="325"/>
                      </a:lnTo>
                      <a:lnTo>
                        <a:pt x="9" y="322"/>
                      </a:lnTo>
                      <a:lnTo>
                        <a:pt x="5" y="317"/>
                      </a:lnTo>
                      <a:lnTo>
                        <a:pt x="2" y="311"/>
                      </a:lnTo>
                      <a:lnTo>
                        <a:pt x="0" y="305"/>
                      </a:lnTo>
                      <a:lnTo>
                        <a:pt x="0" y="298"/>
                      </a:lnTo>
                      <a:lnTo>
                        <a:pt x="0" y="298"/>
                      </a:lnTo>
                      <a:lnTo>
                        <a:pt x="0" y="292"/>
                      </a:lnTo>
                      <a:lnTo>
                        <a:pt x="2" y="286"/>
                      </a:lnTo>
                      <a:lnTo>
                        <a:pt x="5" y="280"/>
                      </a:lnTo>
                      <a:lnTo>
                        <a:pt x="9" y="275"/>
                      </a:lnTo>
                      <a:lnTo>
                        <a:pt x="15" y="270"/>
                      </a:lnTo>
                      <a:lnTo>
                        <a:pt x="20" y="268"/>
                      </a:lnTo>
                      <a:lnTo>
                        <a:pt x="26" y="266"/>
                      </a:lnTo>
                      <a:lnTo>
                        <a:pt x="33" y="265"/>
                      </a:lnTo>
                      <a:lnTo>
                        <a:pt x="282" y="265"/>
                      </a:lnTo>
                      <a:lnTo>
                        <a:pt x="404" y="112"/>
                      </a:lnTo>
                      <a:lnTo>
                        <a:pt x="404" y="112"/>
                      </a:lnTo>
                      <a:lnTo>
                        <a:pt x="410" y="107"/>
                      </a:lnTo>
                      <a:lnTo>
                        <a:pt x="417" y="103"/>
                      </a:lnTo>
                      <a:lnTo>
                        <a:pt x="425" y="101"/>
                      </a:lnTo>
                      <a:lnTo>
                        <a:pt x="434" y="100"/>
                      </a:lnTo>
                      <a:lnTo>
                        <a:pt x="434" y="100"/>
                      </a:lnTo>
                      <a:lnTo>
                        <a:pt x="442" y="103"/>
                      </a:lnTo>
                      <a:lnTo>
                        <a:pt x="449" y="107"/>
                      </a:lnTo>
                      <a:lnTo>
                        <a:pt x="455" y="112"/>
                      </a:lnTo>
                      <a:lnTo>
                        <a:pt x="460" y="119"/>
                      </a:lnTo>
                      <a:lnTo>
                        <a:pt x="570" y="369"/>
                      </a:lnTo>
                      <a:lnTo>
                        <a:pt x="702" y="211"/>
                      </a:lnTo>
                      <a:lnTo>
                        <a:pt x="702" y="211"/>
                      </a:lnTo>
                      <a:lnTo>
                        <a:pt x="707" y="206"/>
                      </a:lnTo>
                      <a:lnTo>
                        <a:pt x="712" y="202"/>
                      </a:lnTo>
                      <a:lnTo>
                        <a:pt x="719" y="200"/>
                      </a:lnTo>
                      <a:lnTo>
                        <a:pt x="725" y="199"/>
                      </a:lnTo>
                      <a:lnTo>
                        <a:pt x="725" y="199"/>
                      </a:lnTo>
                      <a:lnTo>
                        <a:pt x="733" y="200"/>
                      </a:lnTo>
                      <a:lnTo>
                        <a:pt x="739" y="201"/>
                      </a:lnTo>
                      <a:lnTo>
                        <a:pt x="745" y="204"/>
                      </a:lnTo>
                      <a:lnTo>
                        <a:pt x="750" y="208"/>
                      </a:lnTo>
                      <a:lnTo>
                        <a:pt x="855" y="313"/>
                      </a:lnTo>
                      <a:lnTo>
                        <a:pt x="1064" y="15"/>
                      </a:lnTo>
                      <a:lnTo>
                        <a:pt x="1064" y="15"/>
                      </a:lnTo>
                      <a:lnTo>
                        <a:pt x="1068" y="10"/>
                      </a:lnTo>
                      <a:lnTo>
                        <a:pt x="1073" y="5"/>
                      </a:lnTo>
                      <a:lnTo>
                        <a:pt x="1079" y="2"/>
                      </a:lnTo>
                      <a:lnTo>
                        <a:pt x="1086" y="1"/>
                      </a:lnTo>
                      <a:lnTo>
                        <a:pt x="1092" y="0"/>
                      </a:lnTo>
                      <a:lnTo>
                        <a:pt x="1098" y="1"/>
                      </a:lnTo>
                      <a:lnTo>
                        <a:pt x="1104" y="3"/>
                      </a:lnTo>
                      <a:lnTo>
                        <a:pt x="1109" y="7"/>
                      </a:lnTo>
                      <a:lnTo>
                        <a:pt x="1109" y="7"/>
                      </a:lnTo>
                      <a:lnTo>
                        <a:pt x="1115" y="11"/>
                      </a:lnTo>
                      <a:lnTo>
                        <a:pt x="1119" y="16"/>
                      </a:lnTo>
                      <a:lnTo>
                        <a:pt x="1122" y="22"/>
                      </a:lnTo>
                      <a:lnTo>
                        <a:pt x="1124" y="28"/>
                      </a:lnTo>
                      <a:lnTo>
                        <a:pt x="1124" y="34"/>
                      </a:lnTo>
                      <a:lnTo>
                        <a:pt x="1123" y="41"/>
                      </a:lnTo>
                      <a:lnTo>
                        <a:pt x="1121" y="47"/>
                      </a:lnTo>
                      <a:lnTo>
                        <a:pt x="1118" y="53"/>
                      </a:lnTo>
                      <a:lnTo>
                        <a:pt x="887" y="383"/>
                      </a:lnTo>
                      <a:lnTo>
                        <a:pt x="887" y="383"/>
                      </a:lnTo>
                      <a:lnTo>
                        <a:pt x="882" y="388"/>
                      </a:lnTo>
                      <a:lnTo>
                        <a:pt x="876" y="394"/>
                      </a:lnTo>
                      <a:lnTo>
                        <a:pt x="869" y="396"/>
                      </a:lnTo>
                      <a:lnTo>
                        <a:pt x="862" y="398"/>
                      </a:lnTo>
                      <a:lnTo>
                        <a:pt x="862" y="398"/>
                      </a:lnTo>
                      <a:lnTo>
                        <a:pt x="855" y="398"/>
                      </a:lnTo>
                      <a:lnTo>
                        <a:pt x="849" y="396"/>
                      </a:lnTo>
                      <a:lnTo>
                        <a:pt x="841" y="393"/>
                      </a:lnTo>
                      <a:lnTo>
                        <a:pt x="836" y="387"/>
                      </a:lnTo>
                      <a:lnTo>
                        <a:pt x="730" y="281"/>
                      </a:lnTo>
                      <a:lnTo>
                        <a:pt x="587" y="452"/>
                      </a:lnTo>
                      <a:lnTo>
                        <a:pt x="587" y="452"/>
                      </a:lnTo>
                      <a:lnTo>
                        <a:pt x="582" y="457"/>
                      </a:lnTo>
                      <a:lnTo>
                        <a:pt x="575" y="461"/>
                      </a:lnTo>
                      <a:lnTo>
                        <a:pt x="569" y="463"/>
                      </a:lnTo>
                      <a:lnTo>
                        <a:pt x="562" y="464"/>
                      </a:lnTo>
                      <a:lnTo>
                        <a:pt x="562"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43" name="Freeform 918">
                  <a:extLst>
                    <a:ext uri="{FF2B5EF4-FFF2-40B4-BE49-F238E27FC236}">
                      <a16:creationId xmlns:a16="http://schemas.microsoft.com/office/drawing/2014/main" id="{A46145FE-B574-43F7-A616-146679708227}"/>
                    </a:ext>
                  </a:extLst>
                </p:cNvPr>
                <p:cNvSpPr>
                  <a:spLocks noEditPoints="1"/>
                </p:cNvSpPr>
                <p:nvPr/>
              </p:nvSpPr>
              <p:spPr bwMode="auto">
                <a:xfrm>
                  <a:off x="8466138" y="4359276"/>
                  <a:ext cx="300038" cy="179388"/>
                </a:xfrm>
                <a:custGeom>
                  <a:avLst/>
                  <a:gdLst>
                    <a:gd name="T0" fmla="*/ 1289 w 1323"/>
                    <a:gd name="T1" fmla="*/ 793 h 793"/>
                    <a:gd name="T2" fmla="*/ 33 w 1323"/>
                    <a:gd name="T3" fmla="*/ 793 h 793"/>
                    <a:gd name="T4" fmla="*/ 33 w 1323"/>
                    <a:gd name="T5" fmla="*/ 793 h 793"/>
                    <a:gd name="T6" fmla="*/ 26 w 1323"/>
                    <a:gd name="T7" fmla="*/ 793 h 793"/>
                    <a:gd name="T8" fmla="*/ 20 w 1323"/>
                    <a:gd name="T9" fmla="*/ 791 h 793"/>
                    <a:gd name="T10" fmla="*/ 15 w 1323"/>
                    <a:gd name="T11" fmla="*/ 788 h 793"/>
                    <a:gd name="T12" fmla="*/ 9 w 1323"/>
                    <a:gd name="T13" fmla="*/ 783 h 793"/>
                    <a:gd name="T14" fmla="*/ 5 w 1323"/>
                    <a:gd name="T15" fmla="*/ 778 h 793"/>
                    <a:gd name="T16" fmla="*/ 2 w 1323"/>
                    <a:gd name="T17" fmla="*/ 773 h 793"/>
                    <a:gd name="T18" fmla="*/ 0 w 1323"/>
                    <a:gd name="T19" fmla="*/ 767 h 793"/>
                    <a:gd name="T20" fmla="*/ 0 w 1323"/>
                    <a:gd name="T21" fmla="*/ 760 h 793"/>
                    <a:gd name="T22" fmla="*/ 0 w 1323"/>
                    <a:gd name="T23" fmla="*/ 33 h 793"/>
                    <a:gd name="T24" fmla="*/ 0 w 1323"/>
                    <a:gd name="T25" fmla="*/ 33 h 793"/>
                    <a:gd name="T26" fmla="*/ 0 w 1323"/>
                    <a:gd name="T27" fmla="*/ 26 h 793"/>
                    <a:gd name="T28" fmla="*/ 2 w 1323"/>
                    <a:gd name="T29" fmla="*/ 20 h 793"/>
                    <a:gd name="T30" fmla="*/ 5 w 1323"/>
                    <a:gd name="T31" fmla="*/ 14 h 793"/>
                    <a:gd name="T32" fmla="*/ 9 w 1323"/>
                    <a:gd name="T33" fmla="*/ 9 h 793"/>
                    <a:gd name="T34" fmla="*/ 15 w 1323"/>
                    <a:gd name="T35" fmla="*/ 5 h 793"/>
                    <a:gd name="T36" fmla="*/ 20 w 1323"/>
                    <a:gd name="T37" fmla="*/ 2 h 793"/>
                    <a:gd name="T38" fmla="*/ 26 w 1323"/>
                    <a:gd name="T39" fmla="*/ 0 h 793"/>
                    <a:gd name="T40" fmla="*/ 33 w 1323"/>
                    <a:gd name="T41" fmla="*/ 0 h 793"/>
                    <a:gd name="T42" fmla="*/ 1289 w 1323"/>
                    <a:gd name="T43" fmla="*/ 0 h 793"/>
                    <a:gd name="T44" fmla="*/ 1289 w 1323"/>
                    <a:gd name="T45" fmla="*/ 0 h 793"/>
                    <a:gd name="T46" fmla="*/ 1296 w 1323"/>
                    <a:gd name="T47" fmla="*/ 0 h 793"/>
                    <a:gd name="T48" fmla="*/ 1302 w 1323"/>
                    <a:gd name="T49" fmla="*/ 2 h 793"/>
                    <a:gd name="T50" fmla="*/ 1308 w 1323"/>
                    <a:gd name="T51" fmla="*/ 5 h 793"/>
                    <a:gd name="T52" fmla="*/ 1312 w 1323"/>
                    <a:gd name="T53" fmla="*/ 9 h 793"/>
                    <a:gd name="T54" fmla="*/ 1316 w 1323"/>
                    <a:gd name="T55" fmla="*/ 14 h 793"/>
                    <a:gd name="T56" fmla="*/ 1319 w 1323"/>
                    <a:gd name="T57" fmla="*/ 20 h 793"/>
                    <a:gd name="T58" fmla="*/ 1322 w 1323"/>
                    <a:gd name="T59" fmla="*/ 26 h 793"/>
                    <a:gd name="T60" fmla="*/ 1323 w 1323"/>
                    <a:gd name="T61" fmla="*/ 33 h 793"/>
                    <a:gd name="T62" fmla="*/ 1323 w 1323"/>
                    <a:gd name="T63" fmla="*/ 760 h 793"/>
                    <a:gd name="T64" fmla="*/ 1323 w 1323"/>
                    <a:gd name="T65" fmla="*/ 760 h 793"/>
                    <a:gd name="T66" fmla="*/ 1322 w 1323"/>
                    <a:gd name="T67" fmla="*/ 767 h 793"/>
                    <a:gd name="T68" fmla="*/ 1319 w 1323"/>
                    <a:gd name="T69" fmla="*/ 773 h 793"/>
                    <a:gd name="T70" fmla="*/ 1316 w 1323"/>
                    <a:gd name="T71" fmla="*/ 778 h 793"/>
                    <a:gd name="T72" fmla="*/ 1312 w 1323"/>
                    <a:gd name="T73" fmla="*/ 783 h 793"/>
                    <a:gd name="T74" fmla="*/ 1308 w 1323"/>
                    <a:gd name="T75" fmla="*/ 788 h 793"/>
                    <a:gd name="T76" fmla="*/ 1302 w 1323"/>
                    <a:gd name="T77" fmla="*/ 791 h 793"/>
                    <a:gd name="T78" fmla="*/ 1296 w 1323"/>
                    <a:gd name="T79" fmla="*/ 793 h 793"/>
                    <a:gd name="T80" fmla="*/ 1289 w 1323"/>
                    <a:gd name="T81" fmla="*/ 793 h 793"/>
                    <a:gd name="T82" fmla="*/ 1289 w 1323"/>
                    <a:gd name="T83" fmla="*/ 793 h 793"/>
                    <a:gd name="T84" fmla="*/ 66 w 1323"/>
                    <a:gd name="T85" fmla="*/ 728 h 793"/>
                    <a:gd name="T86" fmla="*/ 1256 w 1323"/>
                    <a:gd name="T87" fmla="*/ 728 h 793"/>
                    <a:gd name="T88" fmla="*/ 1256 w 1323"/>
                    <a:gd name="T89" fmla="*/ 65 h 793"/>
                    <a:gd name="T90" fmla="*/ 66 w 1323"/>
                    <a:gd name="T91" fmla="*/ 65 h 793"/>
                    <a:gd name="T92" fmla="*/ 66 w 1323"/>
                    <a:gd name="T93" fmla="*/ 728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3" h="793">
                      <a:moveTo>
                        <a:pt x="1289" y="793"/>
                      </a:moveTo>
                      <a:lnTo>
                        <a:pt x="33" y="793"/>
                      </a:lnTo>
                      <a:lnTo>
                        <a:pt x="33" y="793"/>
                      </a:lnTo>
                      <a:lnTo>
                        <a:pt x="26" y="793"/>
                      </a:lnTo>
                      <a:lnTo>
                        <a:pt x="20" y="791"/>
                      </a:lnTo>
                      <a:lnTo>
                        <a:pt x="15" y="788"/>
                      </a:lnTo>
                      <a:lnTo>
                        <a:pt x="9" y="783"/>
                      </a:lnTo>
                      <a:lnTo>
                        <a:pt x="5" y="778"/>
                      </a:lnTo>
                      <a:lnTo>
                        <a:pt x="2" y="773"/>
                      </a:lnTo>
                      <a:lnTo>
                        <a:pt x="0" y="767"/>
                      </a:lnTo>
                      <a:lnTo>
                        <a:pt x="0" y="760"/>
                      </a:lnTo>
                      <a:lnTo>
                        <a:pt x="0" y="33"/>
                      </a:lnTo>
                      <a:lnTo>
                        <a:pt x="0" y="33"/>
                      </a:lnTo>
                      <a:lnTo>
                        <a:pt x="0" y="26"/>
                      </a:lnTo>
                      <a:lnTo>
                        <a:pt x="2" y="20"/>
                      </a:lnTo>
                      <a:lnTo>
                        <a:pt x="5" y="14"/>
                      </a:lnTo>
                      <a:lnTo>
                        <a:pt x="9" y="9"/>
                      </a:lnTo>
                      <a:lnTo>
                        <a:pt x="15" y="5"/>
                      </a:lnTo>
                      <a:lnTo>
                        <a:pt x="20" y="2"/>
                      </a:lnTo>
                      <a:lnTo>
                        <a:pt x="26" y="0"/>
                      </a:lnTo>
                      <a:lnTo>
                        <a:pt x="33" y="0"/>
                      </a:lnTo>
                      <a:lnTo>
                        <a:pt x="1289" y="0"/>
                      </a:lnTo>
                      <a:lnTo>
                        <a:pt x="1289" y="0"/>
                      </a:lnTo>
                      <a:lnTo>
                        <a:pt x="1296" y="0"/>
                      </a:lnTo>
                      <a:lnTo>
                        <a:pt x="1302" y="2"/>
                      </a:lnTo>
                      <a:lnTo>
                        <a:pt x="1308" y="5"/>
                      </a:lnTo>
                      <a:lnTo>
                        <a:pt x="1312" y="9"/>
                      </a:lnTo>
                      <a:lnTo>
                        <a:pt x="1316" y="14"/>
                      </a:lnTo>
                      <a:lnTo>
                        <a:pt x="1319" y="20"/>
                      </a:lnTo>
                      <a:lnTo>
                        <a:pt x="1322" y="26"/>
                      </a:lnTo>
                      <a:lnTo>
                        <a:pt x="1323" y="33"/>
                      </a:lnTo>
                      <a:lnTo>
                        <a:pt x="1323" y="760"/>
                      </a:lnTo>
                      <a:lnTo>
                        <a:pt x="1323" y="760"/>
                      </a:lnTo>
                      <a:lnTo>
                        <a:pt x="1322" y="767"/>
                      </a:lnTo>
                      <a:lnTo>
                        <a:pt x="1319" y="773"/>
                      </a:lnTo>
                      <a:lnTo>
                        <a:pt x="1316" y="778"/>
                      </a:lnTo>
                      <a:lnTo>
                        <a:pt x="1312" y="783"/>
                      </a:lnTo>
                      <a:lnTo>
                        <a:pt x="1308" y="788"/>
                      </a:lnTo>
                      <a:lnTo>
                        <a:pt x="1302" y="791"/>
                      </a:lnTo>
                      <a:lnTo>
                        <a:pt x="1296" y="793"/>
                      </a:lnTo>
                      <a:lnTo>
                        <a:pt x="1289" y="793"/>
                      </a:lnTo>
                      <a:lnTo>
                        <a:pt x="1289" y="793"/>
                      </a:lnTo>
                      <a:close/>
                      <a:moveTo>
                        <a:pt x="66" y="728"/>
                      </a:moveTo>
                      <a:lnTo>
                        <a:pt x="1256" y="728"/>
                      </a:lnTo>
                      <a:lnTo>
                        <a:pt x="1256" y="65"/>
                      </a:lnTo>
                      <a:lnTo>
                        <a:pt x="66" y="65"/>
                      </a:lnTo>
                      <a:lnTo>
                        <a:pt x="66" y="7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grpSp>
        <p:nvGrpSpPr>
          <p:cNvPr id="144" name="Group 143">
            <a:extLst>
              <a:ext uri="{FF2B5EF4-FFF2-40B4-BE49-F238E27FC236}">
                <a16:creationId xmlns:a16="http://schemas.microsoft.com/office/drawing/2014/main" id="{70F15625-3F5C-4B43-94D7-FB441B26329F}"/>
              </a:ext>
            </a:extLst>
          </p:cNvPr>
          <p:cNvGrpSpPr/>
          <p:nvPr/>
        </p:nvGrpSpPr>
        <p:grpSpPr>
          <a:xfrm>
            <a:off x="377952" y="1772554"/>
            <a:ext cx="3636358" cy="399846"/>
            <a:chOff x="377952" y="1808970"/>
            <a:chExt cx="3636358" cy="399846"/>
          </a:xfrm>
        </p:grpSpPr>
        <p:sp>
          <p:nvSpPr>
            <p:cNvPr id="145" name="TextBox 144">
              <a:extLst>
                <a:ext uri="{FF2B5EF4-FFF2-40B4-BE49-F238E27FC236}">
                  <a16:creationId xmlns:a16="http://schemas.microsoft.com/office/drawing/2014/main" id="{33DAE479-AE7E-4BAB-BF77-7B98AFAAE066}"/>
                </a:ext>
              </a:extLst>
            </p:cNvPr>
            <p:cNvSpPr txBox="1"/>
            <p:nvPr/>
          </p:nvSpPr>
          <p:spPr>
            <a:xfrm>
              <a:off x="922189" y="1824227"/>
              <a:ext cx="3092121" cy="369332"/>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
                  <a:srgbClr val="000000"/>
                </a:buClr>
                <a:buSzPts val="1500"/>
                <a:buFont typeface="Arial"/>
                <a:buNone/>
                <a:tabLst/>
                <a:defRPr/>
              </a:pPr>
              <a:r>
                <a:rPr kumimoji="0" lang="en-US" sz="12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Baseline steroid dose ≥10 mg prednisone equivalents (N = 90; 14%)</a:t>
              </a:r>
            </a:p>
          </p:txBody>
        </p:sp>
        <p:grpSp>
          <p:nvGrpSpPr>
            <p:cNvPr id="146" name="Group 145">
              <a:extLst>
                <a:ext uri="{FF2B5EF4-FFF2-40B4-BE49-F238E27FC236}">
                  <a16:creationId xmlns:a16="http://schemas.microsoft.com/office/drawing/2014/main" id="{530E83FE-0271-4C26-A155-7B7C82C6B62E}"/>
                </a:ext>
              </a:extLst>
            </p:cNvPr>
            <p:cNvGrpSpPr/>
            <p:nvPr/>
          </p:nvGrpSpPr>
          <p:grpSpPr>
            <a:xfrm>
              <a:off x="377952" y="1808970"/>
              <a:ext cx="399846" cy="399846"/>
              <a:chOff x="377952" y="1716638"/>
              <a:chExt cx="399846" cy="399846"/>
            </a:xfrm>
          </p:grpSpPr>
          <p:sp>
            <p:nvSpPr>
              <p:cNvPr id="147" name="Rectangle 146">
                <a:extLst>
                  <a:ext uri="{FF2B5EF4-FFF2-40B4-BE49-F238E27FC236}">
                    <a16:creationId xmlns:a16="http://schemas.microsoft.com/office/drawing/2014/main" id="{0F57EC78-9CBB-4EE5-8178-286C60E8BF5B}"/>
                  </a:ext>
                </a:extLst>
              </p:cNvPr>
              <p:cNvSpPr/>
              <p:nvPr/>
            </p:nvSpPr>
            <p:spPr>
              <a:xfrm>
                <a:off x="377952" y="1716638"/>
                <a:ext cx="399846" cy="3998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a:ln>
                    <a:noFill/>
                  </a:ln>
                  <a:solidFill>
                    <a:srgbClr val="FFFFFF"/>
                  </a:solidFill>
                  <a:effectLst/>
                  <a:uLnTx/>
                  <a:uFillTx/>
                  <a:latin typeface="Gene Sans Light" panose="00000400000000000000" pitchFamily="2" charset="0"/>
                  <a:ea typeface="+mn-ea"/>
                  <a:cs typeface="+mn-cs"/>
                  <a:sym typeface="Arial"/>
                </a:endParaRPr>
              </a:p>
            </p:txBody>
          </p:sp>
          <p:grpSp>
            <p:nvGrpSpPr>
              <p:cNvPr id="148" name="Group 147">
                <a:extLst>
                  <a:ext uri="{FF2B5EF4-FFF2-40B4-BE49-F238E27FC236}">
                    <a16:creationId xmlns:a16="http://schemas.microsoft.com/office/drawing/2014/main" id="{36D73BE2-7280-45AA-BC00-BEAEB1C9E84A}"/>
                  </a:ext>
                </a:extLst>
              </p:cNvPr>
              <p:cNvGrpSpPr/>
              <p:nvPr/>
            </p:nvGrpSpPr>
            <p:grpSpPr>
              <a:xfrm>
                <a:off x="473735" y="1812421"/>
                <a:ext cx="208281" cy="208281"/>
                <a:chOff x="9167813" y="1849438"/>
                <a:chExt cx="347663" cy="347663"/>
              </a:xfrm>
              <a:solidFill>
                <a:schemeClr val="bg1"/>
              </a:solidFill>
            </p:grpSpPr>
            <p:sp>
              <p:nvSpPr>
                <p:cNvPr id="149" name="Freeform 14">
                  <a:extLst>
                    <a:ext uri="{FF2B5EF4-FFF2-40B4-BE49-F238E27FC236}">
                      <a16:creationId xmlns:a16="http://schemas.microsoft.com/office/drawing/2014/main" id="{582D184C-376F-4F2B-AE74-B669FB50DF55}"/>
                    </a:ext>
                  </a:extLst>
                </p:cNvPr>
                <p:cNvSpPr>
                  <a:spLocks noEditPoints="1"/>
                </p:cNvSpPr>
                <p:nvPr/>
              </p:nvSpPr>
              <p:spPr bwMode="auto">
                <a:xfrm>
                  <a:off x="9167813" y="1849438"/>
                  <a:ext cx="347663" cy="347663"/>
                </a:xfrm>
                <a:custGeom>
                  <a:avLst/>
                  <a:gdLst>
                    <a:gd name="T0" fmla="*/ 398 w 1536"/>
                    <a:gd name="T1" fmla="*/ 1531 h 1535"/>
                    <a:gd name="T2" fmla="*/ 290 w 1536"/>
                    <a:gd name="T3" fmla="*/ 1501 h 1535"/>
                    <a:gd name="T4" fmla="*/ 190 w 1536"/>
                    <a:gd name="T5" fmla="*/ 1446 h 1535"/>
                    <a:gd name="T6" fmla="*/ 119 w 1536"/>
                    <a:gd name="T7" fmla="*/ 1383 h 1535"/>
                    <a:gd name="T8" fmla="*/ 53 w 1536"/>
                    <a:gd name="T9" fmla="*/ 1288 h 1535"/>
                    <a:gd name="T10" fmla="*/ 14 w 1536"/>
                    <a:gd name="T11" fmla="*/ 1182 h 1535"/>
                    <a:gd name="T12" fmla="*/ 0 w 1536"/>
                    <a:gd name="T13" fmla="*/ 1072 h 1535"/>
                    <a:gd name="T14" fmla="*/ 14 w 1536"/>
                    <a:gd name="T15" fmla="*/ 962 h 1535"/>
                    <a:gd name="T16" fmla="*/ 54 w 1536"/>
                    <a:gd name="T17" fmla="*/ 856 h 1535"/>
                    <a:gd name="T18" fmla="*/ 120 w 1536"/>
                    <a:gd name="T19" fmla="*/ 761 h 1535"/>
                    <a:gd name="T20" fmla="*/ 781 w 1536"/>
                    <a:gd name="T21" fmla="*/ 103 h 1535"/>
                    <a:gd name="T22" fmla="*/ 878 w 1536"/>
                    <a:gd name="T23" fmla="*/ 42 h 1535"/>
                    <a:gd name="T24" fmla="*/ 984 w 1536"/>
                    <a:gd name="T25" fmla="*/ 8 h 1535"/>
                    <a:gd name="T26" fmla="*/ 1095 w 1536"/>
                    <a:gd name="T27" fmla="*/ 0 h 1535"/>
                    <a:gd name="T28" fmla="*/ 1205 w 1536"/>
                    <a:gd name="T29" fmla="*/ 18 h 1535"/>
                    <a:gd name="T30" fmla="*/ 1308 w 1536"/>
                    <a:gd name="T31" fmla="*/ 64 h 1535"/>
                    <a:gd name="T32" fmla="*/ 1401 w 1536"/>
                    <a:gd name="T33" fmla="*/ 135 h 1535"/>
                    <a:gd name="T34" fmla="*/ 1459 w 1536"/>
                    <a:gd name="T35" fmla="*/ 206 h 1535"/>
                    <a:gd name="T36" fmla="*/ 1509 w 1536"/>
                    <a:gd name="T37" fmla="*/ 306 h 1535"/>
                    <a:gd name="T38" fmla="*/ 1534 w 1536"/>
                    <a:gd name="T39" fmla="*/ 417 h 1535"/>
                    <a:gd name="T40" fmla="*/ 1534 w 1536"/>
                    <a:gd name="T41" fmla="*/ 509 h 1535"/>
                    <a:gd name="T42" fmla="*/ 1509 w 1536"/>
                    <a:gd name="T43" fmla="*/ 620 h 1535"/>
                    <a:gd name="T44" fmla="*/ 1459 w 1536"/>
                    <a:gd name="T45" fmla="*/ 721 h 1535"/>
                    <a:gd name="T46" fmla="*/ 792 w 1536"/>
                    <a:gd name="T47" fmla="*/ 1400 h 1535"/>
                    <a:gd name="T48" fmla="*/ 719 w 1536"/>
                    <a:gd name="T49" fmla="*/ 1460 h 1535"/>
                    <a:gd name="T50" fmla="*/ 618 w 1536"/>
                    <a:gd name="T51" fmla="*/ 1509 h 1535"/>
                    <a:gd name="T52" fmla="*/ 508 w 1536"/>
                    <a:gd name="T53" fmla="*/ 1533 h 1535"/>
                    <a:gd name="T54" fmla="*/ 1073 w 1536"/>
                    <a:gd name="T55" fmla="*/ 66 h 1535"/>
                    <a:gd name="T56" fmla="*/ 978 w 1536"/>
                    <a:gd name="T57" fmla="*/ 77 h 1535"/>
                    <a:gd name="T58" fmla="*/ 888 w 1536"/>
                    <a:gd name="T59" fmla="*/ 112 h 1535"/>
                    <a:gd name="T60" fmla="*/ 806 w 1536"/>
                    <a:gd name="T61" fmla="*/ 168 h 1535"/>
                    <a:gd name="T62" fmla="*/ 155 w 1536"/>
                    <a:gd name="T63" fmla="*/ 821 h 1535"/>
                    <a:gd name="T64" fmla="*/ 104 w 1536"/>
                    <a:gd name="T65" fmla="*/ 905 h 1535"/>
                    <a:gd name="T66" fmla="*/ 74 w 1536"/>
                    <a:gd name="T67" fmla="*/ 996 h 1535"/>
                    <a:gd name="T68" fmla="*/ 68 w 1536"/>
                    <a:gd name="T69" fmla="*/ 1091 h 1535"/>
                    <a:gd name="T70" fmla="*/ 83 w 1536"/>
                    <a:gd name="T71" fmla="*/ 1185 h 1535"/>
                    <a:gd name="T72" fmla="*/ 121 w 1536"/>
                    <a:gd name="T73" fmla="*/ 1274 h 1535"/>
                    <a:gd name="T74" fmla="*/ 183 w 1536"/>
                    <a:gd name="T75" fmla="*/ 1353 h 1535"/>
                    <a:gd name="T76" fmla="*/ 246 w 1536"/>
                    <a:gd name="T77" fmla="*/ 1404 h 1535"/>
                    <a:gd name="T78" fmla="*/ 332 w 1536"/>
                    <a:gd name="T79" fmla="*/ 1447 h 1535"/>
                    <a:gd name="T80" fmla="*/ 426 w 1536"/>
                    <a:gd name="T81" fmla="*/ 1468 h 1535"/>
                    <a:gd name="T82" fmla="*/ 521 w 1536"/>
                    <a:gd name="T83" fmla="*/ 1465 h 1535"/>
                    <a:gd name="T84" fmla="*/ 614 w 1536"/>
                    <a:gd name="T85" fmla="*/ 1440 h 1535"/>
                    <a:gd name="T86" fmla="*/ 699 w 1536"/>
                    <a:gd name="T87" fmla="*/ 1392 h 1535"/>
                    <a:gd name="T88" fmla="*/ 1354 w 1536"/>
                    <a:gd name="T89" fmla="*/ 744 h 1535"/>
                    <a:gd name="T90" fmla="*/ 1414 w 1536"/>
                    <a:gd name="T91" fmla="*/ 667 h 1535"/>
                    <a:gd name="T92" fmla="*/ 1453 w 1536"/>
                    <a:gd name="T93" fmla="*/ 579 h 1535"/>
                    <a:gd name="T94" fmla="*/ 1470 w 1536"/>
                    <a:gd name="T95" fmla="*/ 483 h 1535"/>
                    <a:gd name="T96" fmla="*/ 1466 w 1536"/>
                    <a:gd name="T97" fmla="*/ 404 h 1535"/>
                    <a:gd name="T98" fmla="*/ 1440 w 1536"/>
                    <a:gd name="T99" fmla="*/ 311 h 1535"/>
                    <a:gd name="T100" fmla="*/ 1392 w 1536"/>
                    <a:gd name="T101" fmla="*/ 226 h 1535"/>
                    <a:gd name="T102" fmla="*/ 1339 w 1536"/>
                    <a:gd name="T103" fmla="*/ 168 h 1535"/>
                    <a:gd name="T104" fmla="*/ 1258 w 1536"/>
                    <a:gd name="T105" fmla="*/ 112 h 1535"/>
                    <a:gd name="T106" fmla="*/ 1168 w 1536"/>
                    <a:gd name="T107" fmla="*/ 77 h 1535"/>
                    <a:gd name="T108" fmla="*/ 1073 w 1536"/>
                    <a:gd name="T109" fmla="*/ 66 h 1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36" h="1535">
                      <a:moveTo>
                        <a:pt x="464" y="1535"/>
                      </a:moveTo>
                      <a:lnTo>
                        <a:pt x="464" y="1535"/>
                      </a:lnTo>
                      <a:lnTo>
                        <a:pt x="442" y="1535"/>
                      </a:lnTo>
                      <a:lnTo>
                        <a:pt x="419" y="1533"/>
                      </a:lnTo>
                      <a:lnTo>
                        <a:pt x="398" y="1531"/>
                      </a:lnTo>
                      <a:lnTo>
                        <a:pt x="376" y="1527"/>
                      </a:lnTo>
                      <a:lnTo>
                        <a:pt x="353" y="1522"/>
                      </a:lnTo>
                      <a:lnTo>
                        <a:pt x="332" y="1516"/>
                      </a:lnTo>
                      <a:lnTo>
                        <a:pt x="311" y="1509"/>
                      </a:lnTo>
                      <a:lnTo>
                        <a:pt x="290" y="1501"/>
                      </a:lnTo>
                      <a:lnTo>
                        <a:pt x="268" y="1493"/>
                      </a:lnTo>
                      <a:lnTo>
                        <a:pt x="249" y="1482"/>
                      </a:lnTo>
                      <a:lnTo>
                        <a:pt x="228" y="1471"/>
                      </a:lnTo>
                      <a:lnTo>
                        <a:pt x="209" y="1460"/>
                      </a:lnTo>
                      <a:lnTo>
                        <a:pt x="190" y="1446"/>
                      </a:lnTo>
                      <a:lnTo>
                        <a:pt x="171" y="1432"/>
                      </a:lnTo>
                      <a:lnTo>
                        <a:pt x="153" y="1416"/>
                      </a:lnTo>
                      <a:lnTo>
                        <a:pt x="136" y="1400"/>
                      </a:lnTo>
                      <a:lnTo>
                        <a:pt x="136" y="1400"/>
                      </a:lnTo>
                      <a:lnTo>
                        <a:pt x="119" y="1383"/>
                      </a:lnTo>
                      <a:lnTo>
                        <a:pt x="105" y="1364"/>
                      </a:lnTo>
                      <a:lnTo>
                        <a:pt x="90" y="1346"/>
                      </a:lnTo>
                      <a:lnTo>
                        <a:pt x="77" y="1327"/>
                      </a:lnTo>
                      <a:lnTo>
                        <a:pt x="64" y="1308"/>
                      </a:lnTo>
                      <a:lnTo>
                        <a:pt x="53" y="1288"/>
                      </a:lnTo>
                      <a:lnTo>
                        <a:pt x="44" y="1267"/>
                      </a:lnTo>
                      <a:lnTo>
                        <a:pt x="34" y="1246"/>
                      </a:lnTo>
                      <a:lnTo>
                        <a:pt x="26" y="1226"/>
                      </a:lnTo>
                      <a:lnTo>
                        <a:pt x="20" y="1204"/>
                      </a:lnTo>
                      <a:lnTo>
                        <a:pt x="14" y="1182"/>
                      </a:lnTo>
                      <a:lnTo>
                        <a:pt x="9" y="1161"/>
                      </a:lnTo>
                      <a:lnTo>
                        <a:pt x="5" y="1139"/>
                      </a:lnTo>
                      <a:lnTo>
                        <a:pt x="2" y="1116"/>
                      </a:lnTo>
                      <a:lnTo>
                        <a:pt x="1" y="1094"/>
                      </a:lnTo>
                      <a:lnTo>
                        <a:pt x="0" y="1072"/>
                      </a:lnTo>
                      <a:lnTo>
                        <a:pt x="1" y="1050"/>
                      </a:lnTo>
                      <a:lnTo>
                        <a:pt x="2" y="1027"/>
                      </a:lnTo>
                      <a:lnTo>
                        <a:pt x="5" y="1005"/>
                      </a:lnTo>
                      <a:lnTo>
                        <a:pt x="9" y="984"/>
                      </a:lnTo>
                      <a:lnTo>
                        <a:pt x="14" y="962"/>
                      </a:lnTo>
                      <a:lnTo>
                        <a:pt x="20" y="940"/>
                      </a:lnTo>
                      <a:lnTo>
                        <a:pt x="26" y="919"/>
                      </a:lnTo>
                      <a:lnTo>
                        <a:pt x="34" y="898"/>
                      </a:lnTo>
                      <a:lnTo>
                        <a:pt x="44" y="877"/>
                      </a:lnTo>
                      <a:lnTo>
                        <a:pt x="54" y="856"/>
                      </a:lnTo>
                      <a:lnTo>
                        <a:pt x="64" y="837"/>
                      </a:lnTo>
                      <a:lnTo>
                        <a:pt x="77" y="817"/>
                      </a:lnTo>
                      <a:lnTo>
                        <a:pt x="90" y="797"/>
                      </a:lnTo>
                      <a:lnTo>
                        <a:pt x="105" y="779"/>
                      </a:lnTo>
                      <a:lnTo>
                        <a:pt x="120" y="761"/>
                      </a:lnTo>
                      <a:lnTo>
                        <a:pt x="136" y="744"/>
                      </a:lnTo>
                      <a:lnTo>
                        <a:pt x="745" y="135"/>
                      </a:lnTo>
                      <a:lnTo>
                        <a:pt x="745" y="135"/>
                      </a:lnTo>
                      <a:lnTo>
                        <a:pt x="763" y="119"/>
                      </a:lnTo>
                      <a:lnTo>
                        <a:pt x="781" y="103"/>
                      </a:lnTo>
                      <a:lnTo>
                        <a:pt x="799" y="89"/>
                      </a:lnTo>
                      <a:lnTo>
                        <a:pt x="818" y="76"/>
                      </a:lnTo>
                      <a:lnTo>
                        <a:pt x="837" y="64"/>
                      </a:lnTo>
                      <a:lnTo>
                        <a:pt x="857" y="53"/>
                      </a:lnTo>
                      <a:lnTo>
                        <a:pt x="878" y="42"/>
                      </a:lnTo>
                      <a:lnTo>
                        <a:pt x="899" y="34"/>
                      </a:lnTo>
                      <a:lnTo>
                        <a:pt x="919" y="26"/>
                      </a:lnTo>
                      <a:lnTo>
                        <a:pt x="941" y="18"/>
                      </a:lnTo>
                      <a:lnTo>
                        <a:pt x="963" y="13"/>
                      </a:lnTo>
                      <a:lnTo>
                        <a:pt x="984" y="8"/>
                      </a:lnTo>
                      <a:lnTo>
                        <a:pt x="1006" y="5"/>
                      </a:lnTo>
                      <a:lnTo>
                        <a:pt x="1029" y="2"/>
                      </a:lnTo>
                      <a:lnTo>
                        <a:pt x="1051" y="0"/>
                      </a:lnTo>
                      <a:lnTo>
                        <a:pt x="1073" y="0"/>
                      </a:lnTo>
                      <a:lnTo>
                        <a:pt x="1095" y="0"/>
                      </a:lnTo>
                      <a:lnTo>
                        <a:pt x="1118" y="2"/>
                      </a:lnTo>
                      <a:lnTo>
                        <a:pt x="1140" y="5"/>
                      </a:lnTo>
                      <a:lnTo>
                        <a:pt x="1161" y="8"/>
                      </a:lnTo>
                      <a:lnTo>
                        <a:pt x="1183" y="13"/>
                      </a:lnTo>
                      <a:lnTo>
                        <a:pt x="1205" y="18"/>
                      </a:lnTo>
                      <a:lnTo>
                        <a:pt x="1227" y="26"/>
                      </a:lnTo>
                      <a:lnTo>
                        <a:pt x="1247" y="34"/>
                      </a:lnTo>
                      <a:lnTo>
                        <a:pt x="1268" y="42"/>
                      </a:lnTo>
                      <a:lnTo>
                        <a:pt x="1289" y="53"/>
                      </a:lnTo>
                      <a:lnTo>
                        <a:pt x="1308" y="64"/>
                      </a:lnTo>
                      <a:lnTo>
                        <a:pt x="1328" y="76"/>
                      </a:lnTo>
                      <a:lnTo>
                        <a:pt x="1348" y="89"/>
                      </a:lnTo>
                      <a:lnTo>
                        <a:pt x="1366" y="103"/>
                      </a:lnTo>
                      <a:lnTo>
                        <a:pt x="1384" y="119"/>
                      </a:lnTo>
                      <a:lnTo>
                        <a:pt x="1401" y="135"/>
                      </a:lnTo>
                      <a:lnTo>
                        <a:pt x="1401" y="135"/>
                      </a:lnTo>
                      <a:lnTo>
                        <a:pt x="1417" y="152"/>
                      </a:lnTo>
                      <a:lnTo>
                        <a:pt x="1431" y="169"/>
                      </a:lnTo>
                      <a:lnTo>
                        <a:pt x="1446" y="187"/>
                      </a:lnTo>
                      <a:lnTo>
                        <a:pt x="1459" y="206"/>
                      </a:lnTo>
                      <a:lnTo>
                        <a:pt x="1471" y="225"/>
                      </a:lnTo>
                      <a:lnTo>
                        <a:pt x="1482" y="245"/>
                      </a:lnTo>
                      <a:lnTo>
                        <a:pt x="1493" y="265"/>
                      </a:lnTo>
                      <a:lnTo>
                        <a:pt x="1502" y="285"/>
                      </a:lnTo>
                      <a:lnTo>
                        <a:pt x="1509" y="306"/>
                      </a:lnTo>
                      <a:lnTo>
                        <a:pt x="1516" y="328"/>
                      </a:lnTo>
                      <a:lnTo>
                        <a:pt x="1523" y="350"/>
                      </a:lnTo>
                      <a:lnTo>
                        <a:pt x="1528" y="372"/>
                      </a:lnTo>
                      <a:lnTo>
                        <a:pt x="1532" y="394"/>
                      </a:lnTo>
                      <a:lnTo>
                        <a:pt x="1534" y="417"/>
                      </a:lnTo>
                      <a:lnTo>
                        <a:pt x="1536" y="440"/>
                      </a:lnTo>
                      <a:lnTo>
                        <a:pt x="1536" y="463"/>
                      </a:lnTo>
                      <a:lnTo>
                        <a:pt x="1536" y="463"/>
                      </a:lnTo>
                      <a:lnTo>
                        <a:pt x="1536" y="486"/>
                      </a:lnTo>
                      <a:lnTo>
                        <a:pt x="1534" y="509"/>
                      </a:lnTo>
                      <a:lnTo>
                        <a:pt x="1532" y="532"/>
                      </a:lnTo>
                      <a:lnTo>
                        <a:pt x="1528" y="554"/>
                      </a:lnTo>
                      <a:lnTo>
                        <a:pt x="1523" y="577"/>
                      </a:lnTo>
                      <a:lnTo>
                        <a:pt x="1516" y="599"/>
                      </a:lnTo>
                      <a:lnTo>
                        <a:pt x="1509" y="620"/>
                      </a:lnTo>
                      <a:lnTo>
                        <a:pt x="1502" y="641"/>
                      </a:lnTo>
                      <a:lnTo>
                        <a:pt x="1493" y="662"/>
                      </a:lnTo>
                      <a:lnTo>
                        <a:pt x="1482" y="682"/>
                      </a:lnTo>
                      <a:lnTo>
                        <a:pt x="1471" y="701"/>
                      </a:lnTo>
                      <a:lnTo>
                        <a:pt x="1459" y="721"/>
                      </a:lnTo>
                      <a:lnTo>
                        <a:pt x="1446" y="739"/>
                      </a:lnTo>
                      <a:lnTo>
                        <a:pt x="1431" y="757"/>
                      </a:lnTo>
                      <a:lnTo>
                        <a:pt x="1417" y="775"/>
                      </a:lnTo>
                      <a:lnTo>
                        <a:pt x="1401" y="791"/>
                      </a:lnTo>
                      <a:lnTo>
                        <a:pt x="792" y="1400"/>
                      </a:lnTo>
                      <a:lnTo>
                        <a:pt x="792" y="1400"/>
                      </a:lnTo>
                      <a:lnTo>
                        <a:pt x="774" y="1416"/>
                      </a:lnTo>
                      <a:lnTo>
                        <a:pt x="757" y="1432"/>
                      </a:lnTo>
                      <a:lnTo>
                        <a:pt x="738" y="1446"/>
                      </a:lnTo>
                      <a:lnTo>
                        <a:pt x="719" y="1460"/>
                      </a:lnTo>
                      <a:lnTo>
                        <a:pt x="700" y="1471"/>
                      </a:lnTo>
                      <a:lnTo>
                        <a:pt x="680" y="1482"/>
                      </a:lnTo>
                      <a:lnTo>
                        <a:pt x="659" y="1493"/>
                      </a:lnTo>
                      <a:lnTo>
                        <a:pt x="639" y="1501"/>
                      </a:lnTo>
                      <a:lnTo>
                        <a:pt x="618" y="1509"/>
                      </a:lnTo>
                      <a:lnTo>
                        <a:pt x="596" y="1516"/>
                      </a:lnTo>
                      <a:lnTo>
                        <a:pt x="575" y="1522"/>
                      </a:lnTo>
                      <a:lnTo>
                        <a:pt x="553" y="1527"/>
                      </a:lnTo>
                      <a:lnTo>
                        <a:pt x="531" y="1531"/>
                      </a:lnTo>
                      <a:lnTo>
                        <a:pt x="508" y="1533"/>
                      </a:lnTo>
                      <a:lnTo>
                        <a:pt x="487" y="1535"/>
                      </a:lnTo>
                      <a:lnTo>
                        <a:pt x="464" y="1535"/>
                      </a:lnTo>
                      <a:lnTo>
                        <a:pt x="464" y="1535"/>
                      </a:lnTo>
                      <a:close/>
                      <a:moveTo>
                        <a:pt x="1073" y="66"/>
                      </a:moveTo>
                      <a:lnTo>
                        <a:pt x="1073" y="66"/>
                      </a:lnTo>
                      <a:lnTo>
                        <a:pt x="1054" y="66"/>
                      </a:lnTo>
                      <a:lnTo>
                        <a:pt x="1035" y="68"/>
                      </a:lnTo>
                      <a:lnTo>
                        <a:pt x="1015" y="70"/>
                      </a:lnTo>
                      <a:lnTo>
                        <a:pt x="997" y="73"/>
                      </a:lnTo>
                      <a:lnTo>
                        <a:pt x="978" y="77"/>
                      </a:lnTo>
                      <a:lnTo>
                        <a:pt x="960" y="83"/>
                      </a:lnTo>
                      <a:lnTo>
                        <a:pt x="942" y="88"/>
                      </a:lnTo>
                      <a:lnTo>
                        <a:pt x="923" y="95"/>
                      </a:lnTo>
                      <a:lnTo>
                        <a:pt x="906" y="102"/>
                      </a:lnTo>
                      <a:lnTo>
                        <a:pt x="888" y="112"/>
                      </a:lnTo>
                      <a:lnTo>
                        <a:pt x="871" y="121"/>
                      </a:lnTo>
                      <a:lnTo>
                        <a:pt x="854" y="131"/>
                      </a:lnTo>
                      <a:lnTo>
                        <a:pt x="839" y="143"/>
                      </a:lnTo>
                      <a:lnTo>
                        <a:pt x="822" y="155"/>
                      </a:lnTo>
                      <a:lnTo>
                        <a:pt x="806" y="168"/>
                      </a:lnTo>
                      <a:lnTo>
                        <a:pt x="792" y="182"/>
                      </a:lnTo>
                      <a:lnTo>
                        <a:pt x="183" y="791"/>
                      </a:lnTo>
                      <a:lnTo>
                        <a:pt x="183" y="791"/>
                      </a:lnTo>
                      <a:lnTo>
                        <a:pt x="169" y="806"/>
                      </a:lnTo>
                      <a:lnTo>
                        <a:pt x="155" y="821"/>
                      </a:lnTo>
                      <a:lnTo>
                        <a:pt x="143" y="837"/>
                      </a:lnTo>
                      <a:lnTo>
                        <a:pt x="132" y="853"/>
                      </a:lnTo>
                      <a:lnTo>
                        <a:pt x="121" y="870"/>
                      </a:lnTo>
                      <a:lnTo>
                        <a:pt x="112" y="887"/>
                      </a:lnTo>
                      <a:lnTo>
                        <a:pt x="104" y="905"/>
                      </a:lnTo>
                      <a:lnTo>
                        <a:pt x="95" y="923"/>
                      </a:lnTo>
                      <a:lnTo>
                        <a:pt x="89" y="940"/>
                      </a:lnTo>
                      <a:lnTo>
                        <a:pt x="83" y="959"/>
                      </a:lnTo>
                      <a:lnTo>
                        <a:pt x="78" y="977"/>
                      </a:lnTo>
                      <a:lnTo>
                        <a:pt x="74" y="996"/>
                      </a:lnTo>
                      <a:lnTo>
                        <a:pt x="71" y="1015"/>
                      </a:lnTo>
                      <a:lnTo>
                        <a:pt x="69" y="1034"/>
                      </a:lnTo>
                      <a:lnTo>
                        <a:pt x="68" y="1053"/>
                      </a:lnTo>
                      <a:lnTo>
                        <a:pt x="66" y="1072"/>
                      </a:lnTo>
                      <a:lnTo>
                        <a:pt x="68" y="1091"/>
                      </a:lnTo>
                      <a:lnTo>
                        <a:pt x="69" y="1110"/>
                      </a:lnTo>
                      <a:lnTo>
                        <a:pt x="71" y="1130"/>
                      </a:lnTo>
                      <a:lnTo>
                        <a:pt x="74" y="1148"/>
                      </a:lnTo>
                      <a:lnTo>
                        <a:pt x="78" y="1167"/>
                      </a:lnTo>
                      <a:lnTo>
                        <a:pt x="83" y="1185"/>
                      </a:lnTo>
                      <a:lnTo>
                        <a:pt x="89" y="1203"/>
                      </a:lnTo>
                      <a:lnTo>
                        <a:pt x="95" y="1222"/>
                      </a:lnTo>
                      <a:lnTo>
                        <a:pt x="104" y="1239"/>
                      </a:lnTo>
                      <a:lnTo>
                        <a:pt x="112" y="1257"/>
                      </a:lnTo>
                      <a:lnTo>
                        <a:pt x="121" y="1274"/>
                      </a:lnTo>
                      <a:lnTo>
                        <a:pt x="132" y="1291"/>
                      </a:lnTo>
                      <a:lnTo>
                        <a:pt x="143" y="1308"/>
                      </a:lnTo>
                      <a:lnTo>
                        <a:pt x="155" y="1323"/>
                      </a:lnTo>
                      <a:lnTo>
                        <a:pt x="169" y="1339"/>
                      </a:lnTo>
                      <a:lnTo>
                        <a:pt x="183" y="1353"/>
                      </a:lnTo>
                      <a:lnTo>
                        <a:pt x="183" y="1353"/>
                      </a:lnTo>
                      <a:lnTo>
                        <a:pt x="198" y="1368"/>
                      </a:lnTo>
                      <a:lnTo>
                        <a:pt x="213" y="1380"/>
                      </a:lnTo>
                      <a:lnTo>
                        <a:pt x="229" y="1392"/>
                      </a:lnTo>
                      <a:lnTo>
                        <a:pt x="246" y="1404"/>
                      </a:lnTo>
                      <a:lnTo>
                        <a:pt x="262" y="1414"/>
                      </a:lnTo>
                      <a:lnTo>
                        <a:pt x="280" y="1423"/>
                      </a:lnTo>
                      <a:lnTo>
                        <a:pt x="296" y="1433"/>
                      </a:lnTo>
                      <a:lnTo>
                        <a:pt x="315" y="1440"/>
                      </a:lnTo>
                      <a:lnTo>
                        <a:pt x="332" y="1447"/>
                      </a:lnTo>
                      <a:lnTo>
                        <a:pt x="351" y="1452"/>
                      </a:lnTo>
                      <a:lnTo>
                        <a:pt x="370" y="1458"/>
                      </a:lnTo>
                      <a:lnTo>
                        <a:pt x="388" y="1462"/>
                      </a:lnTo>
                      <a:lnTo>
                        <a:pt x="407" y="1465"/>
                      </a:lnTo>
                      <a:lnTo>
                        <a:pt x="426" y="1468"/>
                      </a:lnTo>
                      <a:lnTo>
                        <a:pt x="445" y="1469"/>
                      </a:lnTo>
                      <a:lnTo>
                        <a:pt x="464" y="1469"/>
                      </a:lnTo>
                      <a:lnTo>
                        <a:pt x="484" y="1469"/>
                      </a:lnTo>
                      <a:lnTo>
                        <a:pt x="502" y="1468"/>
                      </a:lnTo>
                      <a:lnTo>
                        <a:pt x="521" y="1465"/>
                      </a:lnTo>
                      <a:lnTo>
                        <a:pt x="540" y="1462"/>
                      </a:lnTo>
                      <a:lnTo>
                        <a:pt x="559" y="1458"/>
                      </a:lnTo>
                      <a:lnTo>
                        <a:pt x="578" y="1452"/>
                      </a:lnTo>
                      <a:lnTo>
                        <a:pt x="595" y="1447"/>
                      </a:lnTo>
                      <a:lnTo>
                        <a:pt x="614" y="1440"/>
                      </a:lnTo>
                      <a:lnTo>
                        <a:pt x="632" y="1433"/>
                      </a:lnTo>
                      <a:lnTo>
                        <a:pt x="649" y="1423"/>
                      </a:lnTo>
                      <a:lnTo>
                        <a:pt x="666" y="1414"/>
                      </a:lnTo>
                      <a:lnTo>
                        <a:pt x="683" y="1404"/>
                      </a:lnTo>
                      <a:lnTo>
                        <a:pt x="699" y="1392"/>
                      </a:lnTo>
                      <a:lnTo>
                        <a:pt x="715" y="1380"/>
                      </a:lnTo>
                      <a:lnTo>
                        <a:pt x="730" y="1368"/>
                      </a:lnTo>
                      <a:lnTo>
                        <a:pt x="745" y="1353"/>
                      </a:lnTo>
                      <a:lnTo>
                        <a:pt x="1354" y="744"/>
                      </a:lnTo>
                      <a:lnTo>
                        <a:pt x="1354" y="744"/>
                      </a:lnTo>
                      <a:lnTo>
                        <a:pt x="1367" y="730"/>
                      </a:lnTo>
                      <a:lnTo>
                        <a:pt x="1381" y="715"/>
                      </a:lnTo>
                      <a:lnTo>
                        <a:pt x="1392" y="699"/>
                      </a:lnTo>
                      <a:lnTo>
                        <a:pt x="1404" y="684"/>
                      </a:lnTo>
                      <a:lnTo>
                        <a:pt x="1414" y="667"/>
                      </a:lnTo>
                      <a:lnTo>
                        <a:pt x="1423" y="651"/>
                      </a:lnTo>
                      <a:lnTo>
                        <a:pt x="1433" y="633"/>
                      </a:lnTo>
                      <a:lnTo>
                        <a:pt x="1440" y="615"/>
                      </a:lnTo>
                      <a:lnTo>
                        <a:pt x="1447" y="598"/>
                      </a:lnTo>
                      <a:lnTo>
                        <a:pt x="1453" y="579"/>
                      </a:lnTo>
                      <a:lnTo>
                        <a:pt x="1458" y="561"/>
                      </a:lnTo>
                      <a:lnTo>
                        <a:pt x="1463" y="542"/>
                      </a:lnTo>
                      <a:lnTo>
                        <a:pt x="1466" y="522"/>
                      </a:lnTo>
                      <a:lnTo>
                        <a:pt x="1468" y="503"/>
                      </a:lnTo>
                      <a:lnTo>
                        <a:pt x="1470" y="483"/>
                      </a:lnTo>
                      <a:lnTo>
                        <a:pt x="1470" y="463"/>
                      </a:lnTo>
                      <a:lnTo>
                        <a:pt x="1470" y="463"/>
                      </a:lnTo>
                      <a:lnTo>
                        <a:pt x="1470" y="444"/>
                      </a:lnTo>
                      <a:lnTo>
                        <a:pt x="1468" y="424"/>
                      </a:lnTo>
                      <a:lnTo>
                        <a:pt x="1466" y="404"/>
                      </a:lnTo>
                      <a:lnTo>
                        <a:pt x="1463" y="385"/>
                      </a:lnTo>
                      <a:lnTo>
                        <a:pt x="1458" y="366"/>
                      </a:lnTo>
                      <a:lnTo>
                        <a:pt x="1453" y="347"/>
                      </a:lnTo>
                      <a:lnTo>
                        <a:pt x="1447" y="329"/>
                      </a:lnTo>
                      <a:lnTo>
                        <a:pt x="1440" y="311"/>
                      </a:lnTo>
                      <a:lnTo>
                        <a:pt x="1433" y="293"/>
                      </a:lnTo>
                      <a:lnTo>
                        <a:pt x="1423" y="276"/>
                      </a:lnTo>
                      <a:lnTo>
                        <a:pt x="1414" y="260"/>
                      </a:lnTo>
                      <a:lnTo>
                        <a:pt x="1404" y="243"/>
                      </a:lnTo>
                      <a:lnTo>
                        <a:pt x="1392" y="226"/>
                      </a:lnTo>
                      <a:lnTo>
                        <a:pt x="1381" y="211"/>
                      </a:lnTo>
                      <a:lnTo>
                        <a:pt x="1367" y="196"/>
                      </a:lnTo>
                      <a:lnTo>
                        <a:pt x="1354" y="182"/>
                      </a:lnTo>
                      <a:lnTo>
                        <a:pt x="1354" y="182"/>
                      </a:lnTo>
                      <a:lnTo>
                        <a:pt x="1339" y="168"/>
                      </a:lnTo>
                      <a:lnTo>
                        <a:pt x="1324" y="155"/>
                      </a:lnTo>
                      <a:lnTo>
                        <a:pt x="1308" y="143"/>
                      </a:lnTo>
                      <a:lnTo>
                        <a:pt x="1292" y="131"/>
                      </a:lnTo>
                      <a:lnTo>
                        <a:pt x="1275" y="121"/>
                      </a:lnTo>
                      <a:lnTo>
                        <a:pt x="1258" y="112"/>
                      </a:lnTo>
                      <a:lnTo>
                        <a:pt x="1240" y="102"/>
                      </a:lnTo>
                      <a:lnTo>
                        <a:pt x="1222" y="95"/>
                      </a:lnTo>
                      <a:lnTo>
                        <a:pt x="1205" y="88"/>
                      </a:lnTo>
                      <a:lnTo>
                        <a:pt x="1186" y="83"/>
                      </a:lnTo>
                      <a:lnTo>
                        <a:pt x="1168" y="77"/>
                      </a:lnTo>
                      <a:lnTo>
                        <a:pt x="1149" y="73"/>
                      </a:lnTo>
                      <a:lnTo>
                        <a:pt x="1130" y="70"/>
                      </a:lnTo>
                      <a:lnTo>
                        <a:pt x="1111" y="68"/>
                      </a:lnTo>
                      <a:lnTo>
                        <a:pt x="1092" y="66"/>
                      </a:lnTo>
                      <a:lnTo>
                        <a:pt x="1073" y="66"/>
                      </a:lnTo>
                      <a:lnTo>
                        <a:pt x="107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50" name="Freeform 15">
                  <a:extLst>
                    <a:ext uri="{FF2B5EF4-FFF2-40B4-BE49-F238E27FC236}">
                      <a16:creationId xmlns:a16="http://schemas.microsoft.com/office/drawing/2014/main" id="{5093F6D1-BE05-4574-AA09-9098DBD05F84}"/>
                    </a:ext>
                  </a:extLst>
                </p:cNvPr>
                <p:cNvSpPr>
                  <a:spLocks/>
                </p:cNvSpPr>
                <p:nvPr/>
              </p:nvSpPr>
              <p:spPr bwMode="auto">
                <a:xfrm>
                  <a:off x="9264650" y="1946276"/>
                  <a:ext cx="153988" cy="153988"/>
                </a:xfrm>
                <a:custGeom>
                  <a:avLst/>
                  <a:gdLst>
                    <a:gd name="T0" fmla="*/ 642 w 676"/>
                    <a:gd name="T1" fmla="*/ 675 h 675"/>
                    <a:gd name="T2" fmla="*/ 642 w 676"/>
                    <a:gd name="T3" fmla="*/ 675 h 675"/>
                    <a:gd name="T4" fmla="*/ 636 w 676"/>
                    <a:gd name="T5" fmla="*/ 675 h 675"/>
                    <a:gd name="T6" fmla="*/ 630 w 676"/>
                    <a:gd name="T7" fmla="*/ 673 h 675"/>
                    <a:gd name="T8" fmla="*/ 624 w 676"/>
                    <a:gd name="T9" fmla="*/ 670 h 675"/>
                    <a:gd name="T10" fmla="*/ 619 w 676"/>
                    <a:gd name="T11" fmla="*/ 665 h 675"/>
                    <a:gd name="T12" fmla="*/ 10 w 676"/>
                    <a:gd name="T13" fmla="*/ 57 h 675"/>
                    <a:gd name="T14" fmla="*/ 10 w 676"/>
                    <a:gd name="T15" fmla="*/ 57 h 675"/>
                    <a:gd name="T16" fmla="*/ 5 w 676"/>
                    <a:gd name="T17" fmla="*/ 52 h 675"/>
                    <a:gd name="T18" fmla="*/ 3 w 676"/>
                    <a:gd name="T19" fmla="*/ 46 h 675"/>
                    <a:gd name="T20" fmla="*/ 1 w 676"/>
                    <a:gd name="T21" fmla="*/ 40 h 675"/>
                    <a:gd name="T22" fmla="*/ 0 w 676"/>
                    <a:gd name="T23" fmla="*/ 33 h 675"/>
                    <a:gd name="T24" fmla="*/ 1 w 676"/>
                    <a:gd name="T25" fmla="*/ 27 h 675"/>
                    <a:gd name="T26" fmla="*/ 3 w 676"/>
                    <a:gd name="T27" fmla="*/ 21 h 675"/>
                    <a:gd name="T28" fmla="*/ 5 w 676"/>
                    <a:gd name="T29" fmla="*/ 15 h 675"/>
                    <a:gd name="T30" fmla="*/ 10 w 676"/>
                    <a:gd name="T31" fmla="*/ 10 h 675"/>
                    <a:gd name="T32" fmla="*/ 10 w 676"/>
                    <a:gd name="T33" fmla="*/ 10 h 675"/>
                    <a:gd name="T34" fmla="*/ 15 w 676"/>
                    <a:gd name="T35" fmla="*/ 5 h 675"/>
                    <a:gd name="T36" fmla="*/ 20 w 676"/>
                    <a:gd name="T37" fmla="*/ 2 h 675"/>
                    <a:gd name="T38" fmla="*/ 27 w 676"/>
                    <a:gd name="T39" fmla="*/ 0 h 675"/>
                    <a:gd name="T40" fmla="*/ 33 w 676"/>
                    <a:gd name="T41" fmla="*/ 0 h 675"/>
                    <a:gd name="T42" fmla="*/ 39 w 676"/>
                    <a:gd name="T43" fmla="*/ 0 h 675"/>
                    <a:gd name="T44" fmla="*/ 45 w 676"/>
                    <a:gd name="T45" fmla="*/ 2 h 675"/>
                    <a:gd name="T46" fmla="*/ 52 w 676"/>
                    <a:gd name="T47" fmla="*/ 5 h 675"/>
                    <a:gd name="T48" fmla="*/ 57 w 676"/>
                    <a:gd name="T49" fmla="*/ 10 h 675"/>
                    <a:gd name="T50" fmla="*/ 665 w 676"/>
                    <a:gd name="T51" fmla="*/ 619 h 675"/>
                    <a:gd name="T52" fmla="*/ 665 w 676"/>
                    <a:gd name="T53" fmla="*/ 619 h 675"/>
                    <a:gd name="T54" fmla="*/ 669 w 676"/>
                    <a:gd name="T55" fmla="*/ 624 h 675"/>
                    <a:gd name="T56" fmla="*/ 672 w 676"/>
                    <a:gd name="T57" fmla="*/ 629 h 675"/>
                    <a:gd name="T58" fmla="*/ 674 w 676"/>
                    <a:gd name="T59" fmla="*/ 635 h 675"/>
                    <a:gd name="T60" fmla="*/ 676 w 676"/>
                    <a:gd name="T61" fmla="*/ 642 h 675"/>
                    <a:gd name="T62" fmla="*/ 674 w 676"/>
                    <a:gd name="T63" fmla="*/ 648 h 675"/>
                    <a:gd name="T64" fmla="*/ 672 w 676"/>
                    <a:gd name="T65" fmla="*/ 654 h 675"/>
                    <a:gd name="T66" fmla="*/ 669 w 676"/>
                    <a:gd name="T67" fmla="*/ 660 h 675"/>
                    <a:gd name="T68" fmla="*/ 665 w 676"/>
                    <a:gd name="T69" fmla="*/ 665 h 675"/>
                    <a:gd name="T70" fmla="*/ 665 w 676"/>
                    <a:gd name="T71" fmla="*/ 665 h 675"/>
                    <a:gd name="T72" fmla="*/ 660 w 676"/>
                    <a:gd name="T73" fmla="*/ 670 h 675"/>
                    <a:gd name="T74" fmla="*/ 655 w 676"/>
                    <a:gd name="T75" fmla="*/ 673 h 675"/>
                    <a:gd name="T76" fmla="*/ 649 w 676"/>
                    <a:gd name="T77" fmla="*/ 675 h 675"/>
                    <a:gd name="T78" fmla="*/ 642 w 676"/>
                    <a:gd name="T79" fmla="*/ 675 h 675"/>
                    <a:gd name="T80" fmla="*/ 642 w 676"/>
                    <a:gd name="T81" fmla="*/ 675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76" h="675">
                      <a:moveTo>
                        <a:pt x="642" y="675"/>
                      </a:moveTo>
                      <a:lnTo>
                        <a:pt x="642" y="675"/>
                      </a:lnTo>
                      <a:lnTo>
                        <a:pt x="636" y="675"/>
                      </a:lnTo>
                      <a:lnTo>
                        <a:pt x="630" y="673"/>
                      </a:lnTo>
                      <a:lnTo>
                        <a:pt x="624" y="670"/>
                      </a:lnTo>
                      <a:lnTo>
                        <a:pt x="619" y="665"/>
                      </a:lnTo>
                      <a:lnTo>
                        <a:pt x="10" y="57"/>
                      </a:lnTo>
                      <a:lnTo>
                        <a:pt x="10" y="57"/>
                      </a:lnTo>
                      <a:lnTo>
                        <a:pt x="5" y="52"/>
                      </a:lnTo>
                      <a:lnTo>
                        <a:pt x="3" y="46"/>
                      </a:lnTo>
                      <a:lnTo>
                        <a:pt x="1" y="40"/>
                      </a:lnTo>
                      <a:lnTo>
                        <a:pt x="0" y="33"/>
                      </a:lnTo>
                      <a:lnTo>
                        <a:pt x="1" y="27"/>
                      </a:lnTo>
                      <a:lnTo>
                        <a:pt x="3" y="21"/>
                      </a:lnTo>
                      <a:lnTo>
                        <a:pt x="5" y="15"/>
                      </a:lnTo>
                      <a:lnTo>
                        <a:pt x="10" y="10"/>
                      </a:lnTo>
                      <a:lnTo>
                        <a:pt x="10" y="10"/>
                      </a:lnTo>
                      <a:lnTo>
                        <a:pt x="15" y="5"/>
                      </a:lnTo>
                      <a:lnTo>
                        <a:pt x="20" y="2"/>
                      </a:lnTo>
                      <a:lnTo>
                        <a:pt x="27" y="0"/>
                      </a:lnTo>
                      <a:lnTo>
                        <a:pt x="33" y="0"/>
                      </a:lnTo>
                      <a:lnTo>
                        <a:pt x="39" y="0"/>
                      </a:lnTo>
                      <a:lnTo>
                        <a:pt x="45" y="2"/>
                      </a:lnTo>
                      <a:lnTo>
                        <a:pt x="52" y="5"/>
                      </a:lnTo>
                      <a:lnTo>
                        <a:pt x="57" y="10"/>
                      </a:lnTo>
                      <a:lnTo>
                        <a:pt x="665" y="619"/>
                      </a:lnTo>
                      <a:lnTo>
                        <a:pt x="665" y="619"/>
                      </a:lnTo>
                      <a:lnTo>
                        <a:pt x="669" y="624"/>
                      </a:lnTo>
                      <a:lnTo>
                        <a:pt x="672" y="629"/>
                      </a:lnTo>
                      <a:lnTo>
                        <a:pt x="674" y="635"/>
                      </a:lnTo>
                      <a:lnTo>
                        <a:pt x="676" y="642"/>
                      </a:lnTo>
                      <a:lnTo>
                        <a:pt x="674" y="648"/>
                      </a:lnTo>
                      <a:lnTo>
                        <a:pt x="672" y="654"/>
                      </a:lnTo>
                      <a:lnTo>
                        <a:pt x="669" y="660"/>
                      </a:lnTo>
                      <a:lnTo>
                        <a:pt x="665" y="665"/>
                      </a:lnTo>
                      <a:lnTo>
                        <a:pt x="665" y="665"/>
                      </a:lnTo>
                      <a:lnTo>
                        <a:pt x="660" y="670"/>
                      </a:lnTo>
                      <a:lnTo>
                        <a:pt x="655" y="673"/>
                      </a:lnTo>
                      <a:lnTo>
                        <a:pt x="649" y="675"/>
                      </a:lnTo>
                      <a:lnTo>
                        <a:pt x="642" y="675"/>
                      </a:lnTo>
                      <a:lnTo>
                        <a:pt x="642" y="6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51" name="Freeform 16">
                  <a:extLst>
                    <a:ext uri="{FF2B5EF4-FFF2-40B4-BE49-F238E27FC236}">
                      <a16:creationId xmlns:a16="http://schemas.microsoft.com/office/drawing/2014/main" id="{608F7ACB-20C1-4AF2-B062-F8C74002A7E1}"/>
                    </a:ext>
                  </a:extLst>
                </p:cNvPr>
                <p:cNvSpPr>
                  <a:spLocks/>
                </p:cNvSpPr>
                <p:nvPr/>
              </p:nvSpPr>
              <p:spPr bwMode="auto">
                <a:xfrm>
                  <a:off x="9323388" y="1892301"/>
                  <a:ext cx="131763" cy="63500"/>
                </a:xfrm>
                <a:custGeom>
                  <a:avLst/>
                  <a:gdLst>
                    <a:gd name="T0" fmla="*/ 34 w 582"/>
                    <a:gd name="T1" fmla="*/ 285 h 285"/>
                    <a:gd name="T2" fmla="*/ 21 w 582"/>
                    <a:gd name="T3" fmla="*/ 283 h 285"/>
                    <a:gd name="T4" fmla="*/ 11 w 582"/>
                    <a:gd name="T5" fmla="*/ 275 h 285"/>
                    <a:gd name="T6" fmla="*/ 7 w 582"/>
                    <a:gd name="T7" fmla="*/ 270 h 285"/>
                    <a:gd name="T8" fmla="*/ 1 w 582"/>
                    <a:gd name="T9" fmla="*/ 258 h 285"/>
                    <a:gd name="T10" fmla="*/ 1 w 582"/>
                    <a:gd name="T11" fmla="*/ 245 h 285"/>
                    <a:gd name="T12" fmla="*/ 7 w 582"/>
                    <a:gd name="T13" fmla="*/ 234 h 285"/>
                    <a:gd name="T14" fmla="*/ 151 w 582"/>
                    <a:gd name="T15" fmla="*/ 88 h 285"/>
                    <a:gd name="T16" fmla="*/ 162 w 582"/>
                    <a:gd name="T17" fmla="*/ 78 h 285"/>
                    <a:gd name="T18" fmla="*/ 186 w 582"/>
                    <a:gd name="T19" fmla="*/ 58 h 285"/>
                    <a:gd name="T20" fmla="*/ 211 w 582"/>
                    <a:gd name="T21" fmla="*/ 42 h 285"/>
                    <a:gd name="T22" fmla="*/ 236 w 582"/>
                    <a:gd name="T23" fmla="*/ 28 h 285"/>
                    <a:gd name="T24" fmla="*/ 263 w 582"/>
                    <a:gd name="T25" fmla="*/ 18 h 285"/>
                    <a:gd name="T26" fmla="*/ 290 w 582"/>
                    <a:gd name="T27" fmla="*/ 9 h 285"/>
                    <a:gd name="T28" fmla="*/ 319 w 582"/>
                    <a:gd name="T29" fmla="*/ 3 h 285"/>
                    <a:gd name="T30" fmla="*/ 347 w 582"/>
                    <a:gd name="T31" fmla="*/ 1 h 285"/>
                    <a:gd name="T32" fmla="*/ 376 w 582"/>
                    <a:gd name="T33" fmla="*/ 1 h 285"/>
                    <a:gd name="T34" fmla="*/ 404 w 582"/>
                    <a:gd name="T35" fmla="*/ 3 h 285"/>
                    <a:gd name="T36" fmla="*/ 433 w 582"/>
                    <a:gd name="T37" fmla="*/ 9 h 285"/>
                    <a:gd name="T38" fmla="*/ 460 w 582"/>
                    <a:gd name="T39" fmla="*/ 18 h 285"/>
                    <a:gd name="T40" fmla="*/ 487 w 582"/>
                    <a:gd name="T41" fmla="*/ 28 h 285"/>
                    <a:gd name="T42" fmla="*/ 514 w 582"/>
                    <a:gd name="T43" fmla="*/ 42 h 285"/>
                    <a:gd name="T44" fmla="*/ 538 w 582"/>
                    <a:gd name="T45" fmla="*/ 58 h 285"/>
                    <a:gd name="T46" fmla="*/ 561 w 582"/>
                    <a:gd name="T47" fmla="*/ 78 h 285"/>
                    <a:gd name="T48" fmla="*/ 573 w 582"/>
                    <a:gd name="T49" fmla="*/ 88 h 285"/>
                    <a:gd name="T50" fmla="*/ 580 w 582"/>
                    <a:gd name="T51" fmla="*/ 98 h 285"/>
                    <a:gd name="T52" fmla="*/ 582 w 582"/>
                    <a:gd name="T53" fmla="*/ 111 h 285"/>
                    <a:gd name="T54" fmla="*/ 580 w 582"/>
                    <a:gd name="T55" fmla="*/ 123 h 285"/>
                    <a:gd name="T56" fmla="*/ 573 w 582"/>
                    <a:gd name="T57" fmla="*/ 135 h 285"/>
                    <a:gd name="T58" fmla="*/ 568 w 582"/>
                    <a:gd name="T59" fmla="*/ 139 h 285"/>
                    <a:gd name="T60" fmla="*/ 555 w 582"/>
                    <a:gd name="T61" fmla="*/ 144 h 285"/>
                    <a:gd name="T62" fmla="*/ 543 w 582"/>
                    <a:gd name="T63" fmla="*/ 144 h 285"/>
                    <a:gd name="T64" fmla="*/ 531 w 582"/>
                    <a:gd name="T65" fmla="*/ 139 h 285"/>
                    <a:gd name="T66" fmla="*/ 526 w 582"/>
                    <a:gd name="T67" fmla="*/ 135 h 285"/>
                    <a:gd name="T68" fmla="*/ 489 w 582"/>
                    <a:gd name="T69" fmla="*/ 105 h 285"/>
                    <a:gd name="T70" fmla="*/ 449 w 582"/>
                    <a:gd name="T71" fmla="*/ 84 h 285"/>
                    <a:gd name="T72" fmla="*/ 406 w 582"/>
                    <a:gd name="T73" fmla="*/ 72 h 285"/>
                    <a:gd name="T74" fmla="*/ 362 w 582"/>
                    <a:gd name="T75" fmla="*/ 66 h 285"/>
                    <a:gd name="T76" fmla="*/ 317 w 582"/>
                    <a:gd name="T77" fmla="*/ 72 h 285"/>
                    <a:gd name="T78" fmla="*/ 275 w 582"/>
                    <a:gd name="T79" fmla="*/ 84 h 285"/>
                    <a:gd name="T80" fmla="*/ 234 w 582"/>
                    <a:gd name="T81" fmla="*/ 105 h 285"/>
                    <a:gd name="T82" fmla="*/ 198 w 582"/>
                    <a:gd name="T83" fmla="*/ 135 h 285"/>
                    <a:gd name="T84" fmla="*/ 57 w 582"/>
                    <a:gd name="T85" fmla="*/ 275 h 285"/>
                    <a:gd name="T86" fmla="*/ 46 w 582"/>
                    <a:gd name="T87" fmla="*/ 283 h 285"/>
                    <a:gd name="T88" fmla="*/ 34 w 582"/>
                    <a:gd name="T89" fmla="*/ 28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2" h="285">
                      <a:moveTo>
                        <a:pt x="34" y="285"/>
                      </a:moveTo>
                      <a:lnTo>
                        <a:pt x="34" y="285"/>
                      </a:lnTo>
                      <a:lnTo>
                        <a:pt x="27" y="285"/>
                      </a:lnTo>
                      <a:lnTo>
                        <a:pt x="21" y="283"/>
                      </a:lnTo>
                      <a:lnTo>
                        <a:pt x="16" y="279"/>
                      </a:lnTo>
                      <a:lnTo>
                        <a:pt x="11" y="275"/>
                      </a:lnTo>
                      <a:lnTo>
                        <a:pt x="11" y="275"/>
                      </a:lnTo>
                      <a:lnTo>
                        <a:pt x="7" y="270"/>
                      </a:lnTo>
                      <a:lnTo>
                        <a:pt x="4" y="264"/>
                      </a:lnTo>
                      <a:lnTo>
                        <a:pt x="1" y="258"/>
                      </a:lnTo>
                      <a:lnTo>
                        <a:pt x="0" y="252"/>
                      </a:lnTo>
                      <a:lnTo>
                        <a:pt x="1" y="245"/>
                      </a:lnTo>
                      <a:lnTo>
                        <a:pt x="4" y="239"/>
                      </a:lnTo>
                      <a:lnTo>
                        <a:pt x="7" y="234"/>
                      </a:lnTo>
                      <a:lnTo>
                        <a:pt x="11" y="229"/>
                      </a:lnTo>
                      <a:lnTo>
                        <a:pt x="151" y="88"/>
                      </a:lnTo>
                      <a:lnTo>
                        <a:pt x="151" y="88"/>
                      </a:lnTo>
                      <a:lnTo>
                        <a:pt x="162" y="78"/>
                      </a:lnTo>
                      <a:lnTo>
                        <a:pt x="173" y="67"/>
                      </a:lnTo>
                      <a:lnTo>
                        <a:pt x="186" y="58"/>
                      </a:lnTo>
                      <a:lnTo>
                        <a:pt x="198" y="50"/>
                      </a:lnTo>
                      <a:lnTo>
                        <a:pt x="211" y="42"/>
                      </a:lnTo>
                      <a:lnTo>
                        <a:pt x="223" y="34"/>
                      </a:lnTo>
                      <a:lnTo>
                        <a:pt x="236" y="28"/>
                      </a:lnTo>
                      <a:lnTo>
                        <a:pt x="250" y="23"/>
                      </a:lnTo>
                      <a:lnTo>
                        <a:pt x="263" y="18"/>
                      </a:lnTo>
                      <a:lnTo>
                        <a:pt x="277" y="13"/>
                      </a:lnTo>
                      <a:lnTo>
                        <a:pt x="290" y="9"/>
                      </a:lnTo>
                      <a:lnTo>
                        <a:pt x="305" y="6"/>
                      </a:lnTo>
                      <a:lnTo>
                        <a:pt x="319" y="3"/>
                      </a:lnTo>
                      <a:lnTo>
                        <a:pt x="333" y="2"/>
                      </a:lnTo>
                      <a:lnTo>
                        <a:pt x="347" y="1"/>
                      </a:lnTo>
                      <a:lnTo>
                        <a:pt x="362" y="0"/>
                      </a:lnTo>
                      <a:lnTo>
                        <a:pt x="376" y="1"/>
                      </a:lnTo>
                      <a:lnTo>
                        <a:pt x="391" y="2"/>
                      </a:lnTo>
                      <a:lnTo>
                        <a:pt x="404" y="3"/>
                      </a:lnTo>
                      <a:lnTo>
                        <a:pt x="419" y="6"/>
                      </a:lnTo>
                      <a:lnTo>
                        <a:pt x="433" y="9"/>
                      </a:lnTo>
                      <a:lnTo>
                        <a:pt x="446" y="13"/>
                      </a:lnTo>
                      <a:lnTo>
                        <a:pt x="460" y="18"/>
                      </a:lnTo>
                      <a:lnTo>
                        <a:pt x="474" y="23"/>
                      </a:lnTo>
                      <a:lnTo>
                        <a:pt x="487" y="28"/>
                      </a:lnTo>
                      <a:lnTo>
                        <a:pt x="500" y="34"/>
                      </a:lnTo>
                      <a:lnTo>
                        <a:pt x="514" y="42"/>
                      </a:lnTo>
                      <a:lnTo>
                        <a:pt x="526" y="50"/>
                      </a:lnTo>
                      <a:lnTo>
                        <a:pt x="538" y="58"/>
                      </a:lnTo>
                      <a:lnTo>
                        <a:pt x="550" y="67"/>
                      </a:lnTo>
                      <a:lnTo>
                        <a:pt x="561" y="78"/>
                      </a:lnTo>
                      <a:lnTo>
                        <a:pt x="573" y="88"/>
                      </a:lnTo>
                      <a:lnTo>
                        <a:pt x="573" y="88"/>
                      </a:lnTo>
                      <a:lnTo>
                        <a:pt x="577" y="93"/>
                      </a:lnTo>
                      <a:lnTo>
                        <a:pt x="580" y="98"/>
                      </a:lnTo>
                      <a:lnTo>
                        <a:pt x="582" y="105"/>
                      </a:lnTo>
                      <a:lnTo>
                        <a:pt x="582" y="111"/>
                      </a:lnTo>
                      <a:lnTo>
                        <a:pt x="582" y="117"/>
                      </a:lnTo>
                      <a:lnTo>
                        <a:pt x="580" y="123"/>
                      </a:lnTo>
                      <a:lnTo>
                        <a:pt x="577" y="129"/>
                      </a:lnTo>
                      <a:lnTo>
                        <a:pt x="573" y="135"/>
                      </a:lnTo>
                      <a:lnTo>
                        <a:pt x="573" y="135"/>
                      </a:lnTo>
                      <a:lnTo>
                        <a:pt x="568" y="139"/>
                      </a:lnTo>
                      <a:lnTo>
                        <a:pt x="561" y="142"/>
                      </a:lnTo>
                      <a:lnTo>
                        <a:pt x="555" y="144"/>
                      </a:lnTo>
                      <a:lnTo>
                        <a:pt x="549" y="144"/>
                      </a:lnTo>
                      <a:lnTo>
                        <a:pt x="543" y="144"/>
                      </a:lnTo>
                      <a:lnTo>
                        <a:pt x="537" y="142"/>
                      </a:lnTo>
                      <a:lnTo>
                        <a:pt x="531" y="139"/>
                      </a:lnTo>
                      <a:lnTo>
                        <a:pt x="526" y="135"/>
                      </a:lnTo>
                      <a:lnTo>
                        <a:pt x="526" y="135"/>
                      </a:lnTo>
                      <a:lnTo>
                        <a:pt x="509" y="119"/>
                      </a:lnTo>
                      <a:lnTo>
                        <a:pt x="489" y="105"/>
                      </a:lnTo>
                      <a:lnTo>
                        <a:pt x="469" y="93"/>
                      </a:lnTo>
                      <a:lnTo>
                        <a:pt x="449" y="84"/>
                      </a:lnTo>
                      <a:lnTo>
                        <a:pt x="428" y="77"/>
                      </a:lnTo>
                      <a:lnTo>
                        <a:pt x="406" y="72"/>
                      </a:lnTo>
                      <a:lnTo>
                        <a:pt x="384" y="67"/>
                      </a:lnTo>
                      <a:lnTo>
                        <a:pt x="362" y="66"/>
                      </a:lnTo>
                      <a:lnTo>
                        <a:pt x="340" y="67"/>
                      </a:lnTo>
                      <a:lnTo>
                        <a:pt x="317" y="72"/>
                      </a:lnTo>
                      <a:lnTo>
                        <a:pt x="295" y="77"/>
                      </a:lnTo>
                      <a:lnTo>
                        <a:pt x="275" y="84"/>
                      </a:lnTo>
                      <a:lnTo>
                        <a:pt x="254" y="93"/>
                      </a:lnTo>
                      <a:lnTo>
                        <a:pt x="234" y="105"/>
                      </a:lnTo>
                      <a:lnTo>
                        <a:pt x="216" y="119"/>
                      </a:lnTo>
                      <a:lnTo>
                        <a:pt x="198" y="135"/>
                      </a:lnTo>
                      <a:lnTo>
                        <a:pt x="57" y="275"/>
                      </a:lnTo>
                      <a:lnTo>
                        <a:pt x="57" y="275"/>
                      </a:lnTo>
                      <a:lnTo>
                        <a:pt x="52" y="279"/>
                      </a:lnTo>
                      <a:lnTo>
                        <a:pt x="46" y="283"/>
                      </a:lnTo>
                      <a:lnTo>
                        <a:pt x="40" y="285"/>
                      </a:lnTo>
                      <a:lnTo>
                        <a:pt x="34" y="285"/>
                      </a:lnTo>
                      <a:lnTo>
                        <a:pt x="34"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sp>
        <p:nvSpPr>
          <p:cNvPr id="153" name="TextBox 152">
            <a:extLst>
              <a:ext uri="{FF2B5EF4-FFF2-40B4-BE49-F238E27FC236}">
                <a16:creationId xmlns:a16="http://schemas.microsoft.com/office/drawing/2014/main" id="{30C1A02D-21DF-4647-BEBB-6FBAE2588F96}"/>
              </a:ext>
            </a:extLst>
          </p:cNvPr>
          <p:cNvSpPr txBox="1"/>
          <p:nvPr/>
        </p:nvSpPr>
        <p:spPr>
          <a:xfrm>
            <a:off x="922189" y="2301424"/>
            <a:ext cx="3092121" cy="73866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
                <a:srgbClr val="000000"/>
              </a:buClr>
              <a:buSzPts val="1500"/>
              <a:buFont typeface="Arial"/>
              <a:buNone/>
              <a:tabLst/>
              <a:defRPr/>
            </a:pPr>
            <a:r>
              <a:rPr kumimoji="0" lang="en-US" sz="12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Indication for corticosteroid use</a:t>
            </a:r>
          </a:p>
          <a:p>
            <a:pPr marL="171450" marR="0" lvl="0" indent="-171450" algn="l" defTabSz="914400" rtl="0" eaLnBrk="1" fontAlgn="auto" latinLnBrk="0" hangingPunct="1">
              <a:lnSpc>
                <a:spcPct val="100000"/>
              </a:lnSpc>
              <a:spcBef>
                <a:spcPts val="0"/>
              </a:spcBef>
              <a:spcAft>
                <a:spcPts val="0"/>
              </a:spcAft>
              <a:buClr>
                <a:srgbClr val="545859"/>
              </a:buClr>
              <a:buSzPct val="100000"/>
              <a:buFont typeface="Arial" panose="020B0604020202020204" pitchFamily="34" charset="0"/>
              <a:buChar char="•"/>
              <a:tabLst/>
              <a:defRPr/>
            </a:pPr>
            <a:r>
              <a:rPr kumimoji="0" lang="fr-FR" sz="12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Dyspnea</a:t>
            </a:r>
            <a:r>
              <a:rPr kumimoji="0" lang="fr-FR" sz="12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 33%</a:t>
            </a:r>
          </a:p>
          <a:p>
            <a:pPr marL="171450" marR="0" lvl="0" indent="-171450" algn="l" defTabSz="914400" rtl="0" eaLnBrk="1" fontAlgn="auto" latinLnBrk="0" hangingPunct="1">
              <a:lnSpc>
                <a:spcPct val="100000"/>
              </a:lnSpc>
              <a:spcBef>
                <a:spcPts val="0"/>
              </a:spcBef>
              <a:spcAft>
                <a:spcPts val="0"/>
              </a:spcAft>
              <a:buClr>
                <a:srgbClr val="545859"/>
              </a:buClr>
              <a:buSzPct val="100000"/>
              <a:buFont typeface="Arial" panose="020B0604020202020204" pitchFamily="34" charset="0"/>
              <a:buChar char="•"/>
              <a:tabLst/>
              <a:defRPr/>
            </a:pPr>
            <a:r>
              <a:rPr kumimoji="0" lang="fr-FR" sz="12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Fatigue – 21%</a:t>
            </a:r>
          </a:p>
          <a:p>
            <a:pPr marL="171450" marR="0" lvl="0" indent="-171450" algn="l" defTabSz="914400" rtl="0" eaLnBrk="1" fontAlgn="auto" latinLnBrk="0" hangingPunct="1">
              <a:lnSpc>
                <a:spcPct val="100000"/>
              </a:lnSpc>
              <a:spcBef>
                <a:spcPts val="0"/>
              </a:spcBef>
              <a:spcAft>
                <a:spcPts val="0"/>
              </a:spcAft>
              <a:buClr>
                <a:srgbClr val="545859"/>
              </a:buClr>
              <a:buSzPct val="100000"/>
              <a:buFont typeface="Arial" panose="020B0604020202020204" pitchFamily="34" charset="0"/>
              <a:buChar char="•"/>
              <a:tabLst/>
              <a:defRPr/>
            </a:pPr>
            <a:r>
              <a:rPr kumimoji="0" lang="fr-FR" sz="12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CNS mets – 19%</a:t>
            </a:r>
          </a:p>
        </p:txBody>
      </p:sp>
      <p:sp>
        <p:nvSpPr>
          <p:cNvPr id="165" name="TextBox 164">
            <a:extLst>
              <a:ext uri="{FF2B5EF4-FFF2-40B4-BE49-F238E27FC236}">
                <a16:creationId xmlns:a16="http://schemas.microsoft.com/office/drawing/2014/main" id="{AE051F1D-8A99-40E1-85A6-F09139E92FB7}"/>
              </a:ext>
            </a:extLst>
          </p:cNvPr>
          <p:cNvSpPr txBox="1"/>
          <p:nvPr/>
        </p:nvSpPr>
        <p:spPr>
          <a:xfrm>
            <a:off x="922189" y="4144386"/>
            <a:ext cx="3092121" cy="184666"/>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
                <a:srgbClr val="000000"/>
              </a:buClr>
              <a:buSzPts val="1500"/>
              <a:buFont typeface="Arial"/>
              <a:buNone/>
              <a:tabLst/>
              <a:defRPr/>
            </a:pPr>
            <a:r>
              <a:rPr kumimoji="0" lang="en-US" sz="12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Dose-related effect observed</a:t>
            </a:r>
          </a:p>
        </p:txBody>
      </p:sp>
      <p:sp>
        <p:nvSpPr>
          <p:cNvPr id="167" name="TextBox 166">
            <a:extLst>
              <a:ext uri="{FF2B5EF4-FFF2-40B4-BE49-F238E27FC236}">
                <a16:creationId xmlns:a16="http://schemas.microsoft.com/office/drawing/2014/main" id="{5C0BB149-54F8-484A-AD0C-A8A5C72256D1}"/>
              </a:ext>
            </a:extLst>
          </p:cNvPr>
          <p:cNvSpPr txBox="1"/>
          <p:nvPr/>
        </p:nvSpPr>
        <p:spPr>
          <a:xfrm>
            <a:off x="922189" y="3169112"/>
            <a:ext cx="3092121" cy="73866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
                <a:srgbClr val="000000"/>
              </a:buClr>
              <a:buSzPts val="1500"/>
              <a:buFont typeface="Arial"/>
              <a:buNone/>
              <a:tabLst/>
              <a:defRPr/>
            </a:pPr>
            <a:r>
              <a:rPr kumimoji="0" lang="en-US" sz="12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Multivariate analysis (smoking history, PS, hx of CNS </a:t>
            </a:r>
            <a:r>
              <a:rPr kumimoji="0" lang="en-US" sz="12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mets</a:t>
            </a:r>
            <a:r>
              <a:rPr kumimoji="0" lang="en-US" sz="12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 prednisone &gt; or &lt; 10 mg</a:t>
            </a:r>
          </a:p>
          <a:p>
            <a:pPr marL="171450" marR="0" lvl="0" indent="-171450" algn="l" defTabSz="914400" rtl="0" eaLnBrk="1" fontAlgn="auto" latinLnBrk="0" hangingPunct="1">
              <a:lnSpc>
                <a:spcPct val="100000"/>
              </a:lnSpc>
              <a:spcBef>
                <a:spcPts val="0"/>
              </a:spcBef>
              <a:spcAft>
                <a:spcPts val="0"/>
              </a:spcAft>
              <a:buClr>
                <a:srgbClr val="545859"/>
              </a:buClr>
              <a:buSzPct val="100000"/>
              <a:buFont typeface="Arial" panose="020B0604020202020204" pitchFamily="34" charset="0"/>
              <a:buChar char="•"/>
              <a:tabLst/>
              <a:defRPr/>
            </a:pPr>
            <a:r>
              <a:rPr kumimoji="0" lang="fr-FR" sz="12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PFS – 1.31 (95% CI 1.03 - 1.67)</a:t>
            </a:r>
          </a:p>
          <a:p>
            <a:pPr marL="171450" marR="0" lvl="0" indent="-171450" algn="l" defTabSz="914400" rtl="0" eaLnBrk="1" fontAlgn="auto" latinLnBrk="0" hangingPunct="1">
              <a:lnSpc>
                <a:spcPct val="100000"/>
              </a:lnSpc>
              <a:spcBef>
                <a:spcPts val="0"/>
              </a:spcBef>
              <a:spcAft>
                <a:spcPts val="0"/>
              </a:spcAft>
              <a:buClr>
                <a:srgbClr val="545859"/>
              </a:buClr>
              <a:buSzPct val="100000"/>
              <a:buFont typeface="Arial" panose="020B0604020202020204" pitchFamily="34" charset="0"/>
              <a:buChar char="•"/>
              <a:tabLst/>
              <a:defRPr/>
            </a:pPr>
            <a:r>
              <a:rPr kumimoji="0" lang="fr-FR" sz="12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OS – 1.66 (95% CI 1.28 – 2.16)</a:t>
            </a:r>
          </a:p>
        </p:txBody>
      </p:sp>
      <p:sp>
        <p:nvSpPr>
          <p:cNvPr id="169" name="Rectangle 168">
            <a:extLst>
              <a:ext uri="{FF2B5EF4-FFF2-40B4-BE49-F238E27FC236}">
                <a16:creationId xmlns:a16="http://schemas.microsoft.com/office/drawing/2014/main" id="{4F0693C1-5B5F-423E-8054-A644543F0B80}"/>
              </a:ext>
            </a:extLst>
          </p:cNvPr>
          <p:cNvSpPr/>
          <p:nvPr/>
        </p:nvSpPr>
        <p:spPr>
          <a:xfrm>
            <a:off x="377952" y="3169112"/>
            <a:ext cx="399846" cy="3998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a:ln>
                <a:noFill/>
              </a:ln>
              <a:solidFill>
                <a:srgbClr val="FFFFFF"/>
              </a:solidFill>
              <a:effectLst/>
              <a:uLnTx/>
              <a:uFillTx/>
              <a:latin typeface="Gene Sans Light" panose="00000400000000000000" pitchFamily="2" charset="0"/>
              <a:ea typeface="+mn-ea"/>
              <a:cs typeface="+mn-cs"/>
              <a:sym typeface="Arial"/>
            </a:endParaRPr>
          </a:p>
        </p:txBody>
      </p:sp>
      <p:grpSp>
        <p:nvGrpSpPr>
          <p:cNvPr id="176" name="Group 175">
            <a:extLst>
              <a:ext uri="{FF2B5EF4-FFF2-40B4-BE49-F238E27FC236}">
                <a16:creationId xmlns:a16="http://schemas.microsoft.com/office/drawing/2014/main" id="{285CEA04-A071-420A-8BA9-CCB73F9284BD}"/>
              </a:ext>
            </a:extLst>
          </p:cNvPr>
          <p:cNvGrpSpPr/>
          <p:nvPr/>
        </p:nvGrpSpPr>
        <p:grpSpPr>
          <a:xfrm>
            <a:off x="377952" y="4036796"/>
            <a:ext cx="399846" cy="399846"/>
            <a:chOff x="377952" y="4036796"/>
            <a:chExt cx="399846" cy="399846"/>
          </a:xfrm>
        </p:grpSpPr>
        <p:sp>
          <p:nvSpPr>
            <p:cNvPr id="177" name="Rectangle 176">
              <a:extLst>
                <a:ext uri="{FF2B5EF4-FFF2-40B4-BE49-F238E27FC236}">
                  <a16:creationId xmlns:a16="http://schemas.microsoft.com/office/drawing/2014/main" id="{B0BE0F4E-DBDB-40AF-84C7-C6D74EB5FA1D}"/>
                </a:ext>
              </a:extLst>
            </p:cNvPr>
            <p:cNvSpPr/>
            <p:nvPr/>
          </p:nvSpPr>
          <p:spPr>
            <a:xfrm>
              <a:off x="377952" y="4036796"/>
              <a:ext cx="399846" cy="3998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a:ln>
                  <a:noFill/>
                </a:ln>
                <a:solidFill>
                  <a:srgbClr val="FFFFFF"/>
                </a:solidFill>
                <a:effectLst/>
                <a:uLnTx/>
                <a:uFillTx/>
                <a:latin typeface="Gene Sans Light" panose="00000400000000000000" pitchFamily="2" charset="0"/>
                <a:ea typeface="+mn-ea"/>
                <a:cs typeface="+mn-cs"/>
                <a:sym typeface="Arial"/>
              </a:endParaRPr>
            </a:p>
          </p:txBody>
        </p:sp>
        <p:grpSp>
          <p:nvGrpSpPr>
            <p:cNvPr id="178" name="Group 177">
              <a:extLst>
                <a:ext uri="{FF2B5EF4-FFF2-40B4-BE49-F238E27FC236}">
                  <a16:creationId xmlns:a16="http://schemas.microsoft.com/office/drawing/2014/main" id="{13E0C361-CDC5-4166-8A4A-84CB84682B10}"/>
                </a:ext>
              </a:extLst>
            </p:cNvPr>
            <p:cNvGrpSpPr/>
            <p:nvPr/>
          </p:nvGrpSpPr>
          <p:grpSpPr>
            <a:xfrm>
              <a:off x="473733" y="4133954"/>
              <a:ext cx="208284" cy="205530"/>
              <a:chOff x="4119563" y="3282951"/>
              <a:chExt cx="360363" cy="355600"/>
            </a:xfrm>
            <a:solidFill>
              <a:schemeClr val="bg1"/>
            </a:solidFill>
          </p:grpSpPr>
          <p:sp>
            <p:nvSpPr>
              <p:cNvPr id="179" name="Freeform 17">
                <a:extLst>
                  <a:ext uri="{FF2B5EF4-FFF2-40B4-BE49-F238E27FC236}">
                    <a16:creationId xmlns:a16="http://schemas.microsoft.com/office/drawing/2014/main" id="{8454AF03-D98F-4FE6-A56B-D2AB4574FB84}"/>
                  </a:ext>
                </a:extLst>
              </p:cNvPr>
              <p:cNvSpPr>
                <a:spLocks noEditPoints="1"/>
              </p:cNvSpPr>
              <p:nvPr/>
            </p:nvSpPr>
            <p:spPr bwMode="auto">
              <a:xfrm>
                <a:off x="4119563" y="3414713"/>
                <a:ext cx="360363" cy="223838"/>
              </a:xfrm>
              <a:custGeom>
                <a:avLst/>
                <a:gdLst>
                  <a:gd name="T0" fmla="*/ 313 w 1591"/>
                  <a:gd name="T1" fmla="*/ 987 h 993"/>
                  <a:gd name="T2" fmla="*/ 298 w 1591"/>
                  <a:gd name="T3" fmla="*/ 960 h 993"/>
                  <a:gd name="T4" fmla="*/ 332 w 1591"/>
                  <a:gd name="T5" fmla="*/ 888 h 993"/>
                  <a:gd name="T6" fmla="*/ 418 w 1591"/>
                  <a:gd name="T7" fmla="*/ 823 h 993"/>
                  <a:gd name="T8" fmla="*/ 474 w 1591"/>
                  <a:gd name="T9" fmla="*/ 775 h 993"/>
                  <a:gd name="T10" fmla="*/ 369 w 1591"/>
                  <a:gd name="T11" fmla="*/ 698 h 993"/>
                  <a:gd name="T12" fmla="*/ 280 w 1591"/>
                  <a:gd name="T13" fmla="*/ 599 h 993"/>
                  <a:gd name="T14" fmla="*/ 208 w 1591"/>
                  <a:gd name="T15" fmla="*/ 484 h 993"/>
                  <a:gd name="T16" fmla="*/ 160 w 1591"/>
                  <a:gd name="T17" fmla="*/ 357 h 993"/>
                  <a:gd name="T18" fmla="*/ 135 w 1591"/>
                  <a:gd name="T19" fmla="*/ 222 h 993"/>
                  <a:gd name="T20" fmla="*/ 71 w 1591"/>
                  <a:gd name="T21" fmla="*/ 194 h 993"/>
                  <a:gd name="T22" fmla="*/ 23 w 1591"/>
                  <a:gd name="T23" fmla="*/ 163 h 993"/>
                  <a:gd name="T24" fmla="*/ 1 w 1591"/>
                  <a:gd name="T25" fmla="*/ 109 h 993"/>
                  <a:gd name="T26" fmla="*/ 9 w 1591"/>
                  <a:gd name="T27" fmla="*/ 60 h 993"/>
                  <a:gd name="T28" fmla="*/ 44 w 1591"/>
                  <a:gd name="T29" fmla="*/ 17 h 993"/>
                  <a:gd name="T30" fmla="*/ 100 w 1591"/>
                  <a:gd name="T31" fmla="*/ 0 h 993"/>
                  <a:gd name="T32" fmla="*/ 1530 w 1591"/>
                  <a:gd name="T33" fmla="*/ 8 h 993"/>
                  <a:gd name="T34" fmla="*/ 1573 w 1591"/>
                  <a:gd name="T35" fmla="*/ 44 h 993"/>
                  <a:gd name="T36" fmla="*/ 1591 w 1591"/>
                  <a:gd name="T37" fmla="*/ 100 h 993"/>
                  <a:gd name="T38" fmla="*/ 1578 w 1591"/>
                  <a:gd name="T39" fmla="*/ 146 h 993"/>
                  <a:gd name="T40" fmla="*/ 1538 w 1591"/>
                  <a:gd name="T41" fmla="*/ 187 h 993"/>
                  <a:gd name="T42" fmla="*/ 1457 w 1591"/>
                  <a:gd name="T43" fmla="*/ 199 h 993"/>
                  <a:gd name="T44" fmla="*/ 1442 w 1591"/>
                  <a:gd name="T45" fmla="*/ 313 h 993"/>
                  <a:gd name="T46" fmla="*/ 1400 w 1591"/>
                  <a:gd name="T47" fmla="*/ 443 h 993"/>
                  <a:gd name="T48" fmla="*/ 1337 w 1591"/>
                  <a:gd name="T49" fmla="*/ 562 h 993"/>
                  <a:gd name="T50" fmla="*/ 1254 w 1591"/>
                  <a:gd name="T51" fmla="*/ 667 h 993"/>
                  <a:gd name="T52" fmla="*/ 1153 w 1591"/>
                  <a:gd name="T53" fmla="*/ 752 h 993"/>
                  <a:gd name="T54" fmla="*/ 1137 w 1591"/>
                  <a:gd name="T55" fmla="*/ 803 h 993"/>
                  <a:gd name="T56" fmla="*/ 1235 w 1591"/>
                  <a:gd name="T57" fmla="*/ 865 h 993"/>
                  <a:gd name="T58" fmla="*/ 1289 w 1591"/>
                  <a:gd name="T59" fmla="*/ 936 h 993"/>
                  <a:gd name="T60" fmla="*/ 1287 w 1591"/>
                  <a:gd name="T61" fmla="*/ 979 h 993"/>
                  <a:gd name="T62" fmla="*/ 1259 w 1591"/>
                  <a:gd name="T63" fmla="*/ 993 h 993"/>
                  <a:gd name="T64" fmla="*/ 1153 w 1591"/>
                  <a:gd name="T65" fmla="*/ 887 h 993"/>
                  <a:gd name="T66" fmla="*/ 998 w 1591"/>
                  <a:gd name="T67" fmla="*/ 823 h 993"/>
                  <a:gd name="T68" fmla="*/ 976 w 1591"/>
                  <a:gd name="T69" fmla="*/ 802 h 993"/>
                  <a:gd name="T70" fmla="*/ 977 w 1591"/>
                  <a:gd name="T71" fmla="*/ 776 h 993"/>
                  <a:gd name="T72" fmla="*/ 996 w 1591"/>
                  <a:gd name="T73" fmla="*/ 760 h 993"/>
                  <a:gd name="T74" fmla="*/ 1118 w 1591"/>
                  <a:gd name="T75" fmla="*/ 697 h 993"/>
                  <a:gd name="T76" fmla="*/ 1221 w 1591"/>
                  <a:gd name="T77" fmla="*/ 604 h 993"/>
                  <a:gd name="T78" fmla="*/ 1305 w 1591"/>
                  <a:gd name="T79" fmla="*/ 490 h 993"/>
                  <a:gd name="T80" fmla="*/ 1362 w 1591"/>
                  <a:gd name="T81" fmla="*/ 357 h 993"/>
                  <a:gd name="T82" fmla="*/ 1390 w 1591"/>
                  <a:gd name="T83" fmla="*/ 214 h 993"/>
                  <a:gd name="T84" fmla="*/ 1397 w 1591"/>
                  <a:gd name="T85" fmla="*/ 147 h 993"/>
                  <a:gd name="T86" fmla="*/ 1490 w 1591"/>
                  <a:gd name="T87" fmla="*/ 133 h 993"/>
                  <a:gd name="T88" fmla="*/ 1518 w 1591"/>
                  <a:gd name="T89" fmla="*/ 117 h 993"/>
                  <a:gd name="T90" fmla="*/ 1522 w 1591"/>
                  <a:gd name="T91" fmla="*/ 86 h 993"/>
                  <a:gd name="T92" fmla="*/ 1490 w 1591"/>
                  <a:gd name="T93" fmla="*/ 67 h 993"/>
                  <a:gd name="T94" fmla="*/ 76 w 1591"/>
                  <a:gd name="T95" fmla="*/ 76 h 993"/>
                  <a:gd name="T96" fmla="*/ 68 w 1591"/>
                  <a:gd name="T97" fmla="*/ 106 h 993"/>
                  <a:gd name="T98" fmla="*/ 93 w 1591"/>
                  <a:gd name="T99" fmla="*/ 132 h 993"/>
                  <a:gd name="T100" fmla="*/ 184 w 1591"/>
                  <a:gd name="T101" fmla="*/ 138 h 993"/>
                  <a:gd name="T102" fmla="*/ 199 w 1591"/>
                  <a:gd name="T103" fmla="*/ 166 h 993"/>
                  <a:gd name="T104" fmla="*/ 216 w 1591"/>
                  <a:gd name="T105" fmla="*/ 311 h 993"/>
                  <a:gd name="T106" fmla="*/ 264 w 1591"/>
                  <a:gd name="T107" fmla="*/ 447 h 993"/>
                  <a:gd name="T108" fmla="*/ 339 w 1591"/>
                  <a:gd name="T109" fmla="*/ 568 h 993"/>
                  <a:gd name="T110" fmla="*/ 436 w 1591"/>
                  <a:gd name="T111" fmla="*/ 669 h 993"/>
                  <a:gd name="T112" fmla="*/ 553 w 1591"/>
                  <a:gd name="T113" fmla="*/ 742 h 993"/>
                  <a:gd name="T114" fmla="*/ 608 w 1591"/>
                  <a:gd name="T115" fmla="*/ 768 h 993"/>
                  <a:gd name="T116" fmla="*/ 617 w 1591"/>
                  <a:gd name="T117" fmla="*/ 792 h 993"/>
                  <a:gd name="T118" fmla="*/ 602 w 1591"/>
                  <a:gd name="T119" fmla="*/ 818 h 993"/>
                  <a:gd name="T120" fmla="*/ 490 w 1591"/>
                  <a:gd name="T121" fmla="*/ 860 h 993"/>
                  <a:gd name="T122" fmla="*/ 385 w 1591"/>
                  <a:gd name="T123" fmla="*/ 927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1" h="993">
                    <a:moveTo>
                      <a:pt x="1259" y="993"/>
                    </a:moveTo>
                    <a:lnTo>
                      <a:pt x="331" y="993"/>
                    </a:lnTo>
                    <a:lnTo>
                      <a:pt x="331" y="993"/>
                    </a:lnTo>
                    <a:lnTo>
                      <a:pt x="325" y="992"/>
                    </a:lnTo>
                    <a:lnTo>
                      <a:pt x="319" y="990"/>
                    </a:lnTo>
                    <a:lnTo>
                      <a:pt x="313" y="987"/>
                    </a:lnTo>
                    <a:lnTo>
                      <a:pt x="309" y="983"/>
                    </a:lnTo>
                    <a:lnTo>
                      <a:pt x="305" y="979"/>
                    </a:lnTo>
                    <a:lnTo>
                      <a:pt x="301" y="973"/>
                    </a:lnTo>
                    <a:lnTo>
                      <a:pt x="299" y="967"/>
                    </a:lnTo>
                    <a:lnTo>
                      <a:pt x="298" y="960"/>
                    </a:lnTo>
                    <a:lnTo>
                      <a:pt x="298" y="960"/>
                    </a:lnTo>
                    <a:lnTo>
                      <a:pt x="299" y="948"/>
                    </a:lnTo>
                    <a:lnTo>
                      <a:pt x="302" y="936"/>
                    </a:lnTo>
                    <a:lnTo>
                      <a:pt x="308" y="923"/>
                    </a:lnTo>
                    <a:lnTo>
                      <a:pt x="314" y="912"/>
                    </a:lnTo>
                    <a:lnTo>
                      <a:pt x="322" y="899"/>
                    </a:lnTo>
                    <a:lnTo>
                      <a:pt x="332" y="888"/>
                    </a:lnTo>
                    <a:lnTo>
                      <a:pt x="344" y="876"/>
                    </a:lnTo>
                    <a:lnTo>
                      <a:pt x="356" y="865"/>
                    </a:lnTo>
                    <a:lnTo>
                      <a:pt x="370" y="854"/>
                    </a:lnTo>
                    <a:lnTo>
                      <a:pt x="385" y="842"/>
                    </a:lnTo>
                    <a:lnTo>
                      <a:pt x="401" y="832"/>
                    </a:lnTo>
                    <a:lnTo>
                      <a:pt x="418" y="823"/>
                    </a:lnTo>
                    <a:lnTo>
                      <a:pt x="436" y="812"/>
                    </a:lnTo>
                    <a:lnTo>
                      <a:pt x="455" y="803"/>
                    </a:lnTo>
                    <a:lnTo>
                      <a:pt x="473" y="795"/>
                    </a:lnTo>
                    <a:lnTo>
                      <a:pt x="493" y="787"/>
                    </a:lnTo>
                    <a:lnTo>
                      <a:pt x="493" y="787"/>
                    </a:lnTo>
                    <a:lnTo>
                      <a:pt x="474" y="775"/>
                    </a:lnTo>
                    <a:lnTo>
                      <a:pt x="456" y="764"/>
                    </a:lnTo>
                    <a:lnTo>
                      <a:pt x="438" y="752"/>
                    </a:lnTo>
                    <a:lnTo>
                      <a:pt x="419" y="740"/>
                    </a:lnTo>
                    <a:lnTo>
                      <a:pt x="403" y="727"/>
                    </a:lnTo>
                    <a:lnTo>
                      <a:pt x="385" y="712"/>
                    </a:lnTo>
                    <a:lnTo>
                      <a:pt x="369" y="698"/>
                    </a:lnTo>
                    <a:lnTo>
                      <a:pt x="353" y="683"/>
                    </a:lnTo>
                    <a:lnTo>
                      <a:pt x="337" y="667"/>
                    </a:lnTo>
                    <a:lnTo>
                      <a:pt x="322" y="651"/>
                    </a:lnTo>
                    <a:lnTo>
                      <a:pt x="308" y="634"/>
                    </a:lnTo>
                    <a:lnTo>
                      <a:pt x="293" y="617"/>
                    </a:lnTo>
                    <a:lnTo>
                      <a:pt x="280" y="599"/>
                    </a:lnTo>
                    <a:lnTo>
                      <a:pt x="266" y="581"/>
                    </a:lnTo>
                    <a:lnTo>
                      <a:pt x="254" y="562"/>
                    </a:lnTo>
                    <a:lnTo>
                      <a:pt x="241" y="543"/>
                    </a:lnTo>
                    <a:lnTo>
                      <a:pt x="230" y="524"/>
                    </a:lnTo>
                    <a:lnTo>
                      <a:pt x="219" y="504"/>
                    </a:lnTo>
                    <a:lnTo>
                      <a:pt x="208" y="484"/>
                    </a:lnTo>
                    <a:lnTo>
                      <a:pt x="199" y="464"/>
                    </a:lnTo>
                    <a:lnTo>
                      <a:pt x="190" y="443"/>
                    </a:lnTo>
                    <a:lnTo>
                      <a:pt x="181" y="421"/>
                    </a:lnTo>
                    <a:lnTo>
                      <a:pt x="173" y="401"/>
                    </a:lnTo>
                    <a:lnTo>
                      <a:pt x="166" y="379"/>
                    </a:lnTo>
                    <a:lnTo>
                      <a:pt x="160" y="357"/>
                    </a:lnTo>
                    <a:lnTo>
                      <a:pt x="153" y="334"/>
                    </a:lnTo>
                    <a:lnTo>
                      <a:pt x="148" y="313"/>
                    </a:lnTo>
                    <a:lnTo>
                      <a:pt x="144" y="290"/>
                    </a:lnTo>
                    <a:lnTo>
                      <a:pt x="140" y="267"/>
                    </a:lnTo>
                    <a:lnTo>
                      <a:pt x="138" y="244"/>
                    </a:lnTo>
                    <a:lnTo>
                      <a:pt x="135" y="222"/>
                    </a:lnTo>
                    <a:lnTo>
                      <a:pt x="134" y="199"/>
                    </a:lnTo>
                    <a:lnTo>
                      <a:pt x="100" y="199"/>
                    </a:lnTo>
                    <a:lnTo>
                      <a:pt x="100" y="199"/>
                    </a:lnTo>
                    <a:lnTo>
                      <a:pt x="89" y="198"/>
                    </a:lnTo>
                    <a:lnTo>
                      <a:pt x="80" y="197"/>
                    </a:lnTo>
                    <a:lnTo>
                      <a:pt x="71" y="194"/>
                    </a:lnTo>
                    <a:lnTo>
                      <a:pt x="61" y="191"/>
                    </a:lnTo>
                    <a:lnTo>
                      <a:pt x="52" y="187"/>
                    </a:lnTo>
                    <a:lnTo>
                      <a:pt x="44" y="181"/>
                    </a:lnTo>
                    <a:lnTo>
                      <a:pt x="37" y="176"/>
                    </a:lnTo>
                    <a:lnTo>
                      <a:pt x="29" y="169"/>
                    </a:lnTo>
                    <a:lnTo>
                      <a:pt x="23" y="163"/>
                    </a:lnTo>
                    <a:lnTo>
                      <a:pt x="17" y="154"/>
                    </a:lnTo>
                    <a:lnTo>
                      <a:pt x="13" y="146"/>
                    </a:lnTo>
                    <a:lnTo>
                      <a:pt x="9" y="138"/>
                    </a:lnTo>
                    <a:lnTo>
                      <a:pt x="4" y="129"/>
                    </a:lnTo>
                    <a:lnTo>
                      <a:pt x="2" y="119"/>
                    </a:lnTo>
                    <a:lnTo>
                      <a:pt x="1" y="109"/>
                    </a:lnTo>
                    <a:lnTo>
                      <a:pt x="0" y="100"/>
                    </a:lnTo>
                    <a:lnTo>
                      <a:pt x="0" y="100"/>
                    </a:lnTo>
                    <a:lnTo>
                      <a:pt x="1" y="89"/>
                    </a:lnTo>
                    <a:lnTo>
                      <a:pt x="2" y="79"/>
                    </a:lnTo>
                    <a:lnTo>
                      <a:pt x="4" y="70"/>
                    </a:lnTo>
                    <a:lnTo>
                      <a:pt x="9" y="60"/>
                    </a:lnTo>
                    <a:lnTo>
                      <a:pt x="13" y="52"/>
                    </a:lnTo>
                    <a:lnTo>
                      <a:pt x="17" y="44"/>
                    </a:lnTo>
                    <a:lnTo>
                      <a:pt x="23" y="37"/>
                    </a:lnTo>
                    <a:lnTo>
                      <a:pt x="29" y="29"/>
                    </a:lnTo>
                    <a:lnTo>
                      <a:pt x="37" y="22"/>
                    </a:lnTo>
                    <a:lnTo>
                      <a:pt x="44" y="17"/>
                    </a:lnTo>
                    <a:lnTo>
                      <a:pt x="52" y="12"/>
                    </a:lnTo>
                    <a:lnTo>
                      <a:pt x="61" y="8"/>
                    </a:lnTo>
                    <a:lnTo>
                      <a:pt x="71" y="4"/>
                    </a:lnTo>
                    <a:lnTo>
                      <a:pt x="80" y="1"/>
                    </a:lnTo>
                    <a:lnTo>
                      <a:pt x="89" y="0"/>
                    </a:lnTo>
                    <a:lnTo>
                      <a:pt x="100" y="0"/>
                    </a:lnTo>
                    <a:lnTo>
                      <a:pt x="1490" y="0"/>
                    </a:lnTo>
                    <a:lnTo>
                      <a:pt x="1490" y="0"/>
                    </a:lnTo>
                    <a:lnTo>
                      <a:pt x="1501" y="0"/>
                    </a:lnTo>
                    <a:lnTo>
                      <a:pt x="1511" y="1"/>
                    </a:lnTo>
                    <a:lnTo>
                      <a:pt x="1521" y="4"/>
                    </a:lnTo>
                    <a:lnTo>
                      <a:pt x="1530" y="8"/>
                    </a:lnTo>
                    <a:lnTo>
                      <a:pt x="1538" y="12"/>
                    </a:lnTo>
                    <a:lnTo>
                      <a:pt x="1546" y="17"/>
                    </a:lnTo>
                    <a:lnTo>
                      <a:pt x="1555" y="22"/>
                    </a:lnTo>
                    <a:lnTo>
                      <a:pt x="1561" y="29"/>
                    </a:lnTo>
                    <a:lnTo>
                      <a:pt x="1568" y="37"/>
                    </a:lnTo>
                    <a:lnTo>
                      <a:pt x="1573" y="44"/>
                    </a:lnTo>
                    <a:lnTo>
                      <a:pt x="1578" y="52"/>
                    </a:lnTo>
                    <a:lnTo>
                      <a:pt x="1583" y="60"/>
                    </a:lnTo>
                    <a:lnTo>
                      <a:pt x="1586" y="70"/>
                    </a:lnTo>
                    <a:lnTo>
                      <a:pt x="1589" y="79"/>
                    </a:lnTo>
                    <a:lnTo>
                      <a:pt x="1590" y="89"/>
                    </a:lnTo>
                    <a:lnTo>
                      <a:pt x="1591" y="100"/>
                    </a:lnTo>
                    <a:lnTo>
                      <a:pt x="1591" y="100"/>
                    </a:lnTo>
                    <a:lnTo>
                      <a:pt x="1590" y="109"/>
                    </a:lnTo>
                    <a:lnTo>
                      <a:pt x="1589" y="119"/>
                    </a:lnTo>
                    <a:lnTo>
                      <a:pt x="1586" y="129"/>
                    </a:lnTo>
                    <a:lnTo>
                      <a:pt x="1583" y="138"/>
                    </a:lnTo>
                    <a:lnTo>
                      <a:pt x="1578" y="146"/>
                    </a:lnTo>
                    <a:lnTo>
                      <a:pt x="1573" y="154"/>
                    </a:lnTo>
                    <a:lnTo>
                      <a:pt x="1568" y="163"/>
                    </a:lnTo>
                    <a:lnTo>
                      <a:pt x="1561" y="169"/>
                    </a:lnTo>
                    <a:lnTo>
                      <a:pt x="1555" y="176"/>
                    </a:lnTo>
                    <a:lnTo>
                      <a:pt x="1546" y="181"/>
                    </a:lnTo>
                    <a:lnTo>
                      <a:pt x="1538" y="187"/>
                    </a:lnTo>
                    <a:lnTo>
                      <a:pt x="1530" y="191"/>
                    </a:lnTo>
                    <a:lnTo>
                      <a:pt x="1521" y="194"/>
                    </a:lnTo>
                    <a:lnTo>
                      <a:pt x="1511" y="197"/>
                    </a:lnTo>
                    <a:lnTo>
                      <a:pt x="1501" y="198"/>
                    </a:lnTo>
                    <a:lnTo>
                      <a:pt x="1490" y="199"/>
                    </a:lnTo>
                    <a:lnTo>
                      <a:pt x="1457" y="199"/>
                    </a:lnTo>
                    <a:lnTo>
                      <a:pt x="1457" y="199"/>
                    </a:lnTo>
                    <a:lnTo>
                      <a:pt x="1455" y="222"/>
                    </a:lnTo>
                    <a:lnTo>
                      <a:pt x="1453" y="244"/>
                    </a:lnTo>
                    <a:lnTo>
                      <a:pt x="1450" y="267"/>
                    </a:lnTo>
                    <a:lnTo>
                      <a:pt x="1447" y="290"/>
                    </a:lnTo>
                    <a:lnTo>
                      <a:pt x="1442" y="313"/>
                    </a:lnTo>
                    <a:lnTo>
                      <a:pt x="1437" y="334"/>
                    </a:lnTo>
                    <a:lnTo>
                      <a:pt x="1432" y="357"/>
                    </a:lnTo>
                    <a:lnTo>
                      <a:pt x="1424" y="379"/>
                    </a:lnTo>
                    <a:lnTo>
                      <a:pt x="1417" y="401"/>
                    </a:lnTo>
                    <a:lnTo>
                      <a:pt x="1410" y="421"/>
                    </a:lnTo>
                    <a:lnTo>
                      <a:pt x="1400" y="443"/>
                    </a:lnTo>
                    <a:lnTo>
                      <a:pt x="1392" y="464"/>
                    </a:lnTo>
                    <a:lnTo>
                      <a:pt x="1382" y="484"/>
                    </a:lnTo>
                    <a:lnTo>
                      <a:pt x="1371" y="504"/>
                    </a:lnTo>
                    <a:lnTo>
                      <a:pt x="1361" y="524"/>
                    </a:lnTo>
                    <a:lnTo>
                      <a:pt x="1350" y="543"/>
                    </a:lnTo>
                    <a:lnTo>
                      <a:pt x="1337" y="562"/>
                    </a:lnTo>
                    <a:lnTo>
                      <a:pt x="1325" y="581"/>
                    </a:lnTo>
                    <a:lnTo>
                      <a:pt x="1311" y="599"/>
                    </a:lnTo>
                    <a:lnTo>
                      <a:pt x="1298" y="617"/>
                    </a:lnTo>
                    <a:lnTo>
                      <a:pt x="1284" y="634"/>
                    </a:lnTo>
                    <a:lnTo>
                      <a:pt x="1269" y="651"/>
                    </a:lnTo>
                    <a:lnTo>
                      <a:pt x="1254" y="667"/>
                    </a:lnTo>
                    <a:lnTo>
                      <a:pt x="1238" y="683"/>
                    </a:lnTo>
                    <a:lnTo>
                      <a:pt x="1221" y="698"/>
                    </a:lnTo>
                    <a:lnTo>
                      <a:pt x="1205" y="712"/>
                    </a:lnTo>
                    <a:lnTo>
                      <a:pt x="1188" y="727"/>
                    </a:lnTo>
                    <a:lnTo>
                      <a:pt x="1171" y="739"/>
                    </a:lnTo>
                    <a:lnTo>
                      <a:pt x="1153" y="752"/>
                    </a:lnTo>
                    <a:lnTo>
                      <a:pt x="1135" y="764"/>
                    </a:lnTo>
                    <a:lnTo>
                      <a:pt x="1116" y="775"/>
                    </a:lnTo>
                    <a:lnTo>
                      <a:pt x="1097" y="787"/>
                    </a:lnTo>
                    <a:lnTo>
                      <a:pt x="1097" y="787"/>
                    </a:lnTo>
                    <a:lnTo>
                      <a:pt x="1117" y="795"/>
                    </a:lnTo>
                    <a:lnTo>
                      <a:pt x="1137" y="803"/>
                    </a:lnTo>
                    <a:lnTo>
                      <a:pt x="1155" y="812"/>
                    </a:lnTo>
                    <a:lnTo>
                      <a:pt x="1173" y="823"/>
                    </a:lnTo>
                    <a:lnTo>
                      <a:pt x="1189" y="832"/>
                    </a:lnTo>
                    <a:lnTo>
                      <a:pt x="1206" y="842"/>
                    </a:lnTo>
                    <a:lnTo>
                      <a:pt x="1220" y="854"/>
                    </a:lnTo>
                    <a:lnTo>
                      <a:pt x="1235" y="865"/>
                    </a:lnTo>
                    <a:lnTo>
                      <a:pt x="1247" y="877"/>
                    </a:lnTo>
                    <a:lnTo>
                      <a:pt x="1259" y="888"/>
                    </a:lnTo>
                    <a:lnTo>
                      <a:pt x="1268" y="899"/>
                    </a:lnTo>
                    <a:lnTo>
                      <a:pt x="1276" y="912"/>
                    </a:lnTo>
                    <a:lnTo>
                      <a:pt x="1284" y="923"/>
                    </a:lnTo>
                    <a:lnTo>
                      <a:pt x="1289" y="936"/>
                    </a:lnTo>
                    <a:lnTo>
                      <a:pt x="1291" y="948"/>
                    </a:lnTo>
                    <a:lnTo>
                      <a:pt x="1292" y="960"/>
                    </a:lnTo>
                    <a:lnTo>
                      <a:pt x="1292" y="960"/>
                    </a:lnTo>
                    <a:lnTo>
                      <a:pt x="1292" y="967"/>
                    </a:lnTo>
                    <a:lnTo>
                      <a:pt x="1290" y="973"/>
                    </a:lnTo>
                    <a:lnTo>
                      <a:pt x="1287" y="979"/>
                    </a:lnTo>
                    <a:lnTo>
                      <a:pt x="1282" y="983"/>
                    </a:lnTo>
                    <a:lnTo>
                      <a:pt x="1277" y="987"/>
                    </a:lnTo>
                    <a:lnTo>
                      <a:pt x="1272" y="990"/>
                    </a:lnTo>
                    <a:lnTo>
                      <a:pt x="1266" y="992"/>
                    </a:lnTo>
                    <a:lnTo>
                      <a:pt x="1259" y="993"/>
                    </a:lnTo>
                    <a:lnTo>
                      <a:pt x="1259" y="993"/>
                    </a:lnTo>
                    <a:close/>
                    <a:moveTo>
                      <a:pt x="385" y="927"/>
                    </a:moveTo>
                    <a:lnTo>
                      <a:pt x="1205" y="927"/>
                    </a:lnTo>
                    <a:lnTo>
                      <a:pt x="1205" y="927"/>
                    </a:lnTo>
                    <a:lnTo>
                      <a:pt x="1191" y="915"/>
                    </a:lnTo>
                    <a:lnTo>
                      <a:pt x="1174" y="901"/>
                    </a:lnTo>
                    <a:lnTo>
                      <a:pt x="1153" y="887"/>
                    </a:lnTo>
                    <a:lnTo>
                      <a:pt x="1129" y="873"/>
                    </a:lnTo>
                    <a:lnTo>
                      <a:pt x="1101" y="860"/>
                    </a:lnTo>
                    <a:lnTo>
                      <a:pt x="1070" y="847"/>
                    </a:lnTo>
                    <a:lnTo>
                      <a:pt x="1036" y="834"/>
                    </a:lnTo>
                    <a:lnTo>
                      <a:pt x="998" y="823"/>
                    </a:lnTo>
                    <a:lnTo>
                      <a:pt x="998" y="823"/>
                    </a:lnTo>
                    <a:lnTo>
                      <a:pt x="994" y="821"/>
                    </a:lnTo>
                    <a:lnTo>
                      <a:pt x="989" y="818"/>
                    </a:lnTo>
                    <a:lnTo>
                      <a:pt x="984" y="814"/>
                    </a:lnTo>
                    <a:lnTo>
                      <a:pt x="981" y="811"/>
                    </a:lnTo>
                    <a:lnTo>
                      <a:pt x="978" y="806"/>
                    </a:lnTo>
                    <a:lnTo>
                      <a:pt x="976" y="802"/>
                    </a:lnTo>
                    <a:lnTo>
                      <a:pt x="975" y="797"/>
                    </a:lnTo>
                    <a:lnTo>
                      <a:pt x="974" y="792"/>
                    </a:lnTo>
                    <a:lnTo>
                      <a:pt x="974" y="792"/>
                    </a:lnTo>
                    <a:lnTo>
                      <a:pt x="974" y="787"/>
                    </a:lnTo>
                    <a:lnTo>
                      <a:pt x="975" y="781"/>
                    </a:lnTo>
                    <a:lnTo>
                      <a:pt x="977" y="776"/>
                    </a:lnTo>
                    <a:lnTo>
                      <a:pt x="979" y="772"/>
                    </a:lnTo>
                    <a:lnTo>
                      <a:pt x="983" y="768"/>
                    </a:lnTo>
                    <a:lnTo>
                      <a:pt x="987" y="764"/>
                    </a:lnTo>
                    <a:lnTo>
                      <a:pt x="991" y="762"/>
                    </a:lnTo>
                    <a:lnTo>
                      <a:pt x="996" y="760"/>
                    </a:lnTo>
                    <a:lnTo>
                      <a:pt x="996" y="760"/>
                    </a:lnTo>
                    <a:lnTo>
                      <a:pt x="1018" y="751"/>
                    </a:lnTo>
                    <a:lnTo>
                      <a:pt x="1038" y="742"/>
                    </a:lnTo>
                    <a:lnTo>
                      <a:pt x="1059" y="732"/>
                    </a:lnTo>
                    <a:lnTo>
                      <a:pt x="1079" y="721"/>
                    </a:lnTo>
                    <a:lnTo>
                      <a:pt x="1098" y="709"/>
                    </a:lnTo>
                    <a:lnTo>
                      <a:pt x="1118" y="697"/>
                    </a:lnTo>
                    <a:lnTo>
                      <a:pt x="1137" y="683"/>
                    </a:lnTo>
                    <a:lnTo>
                      <a:pt x="1154" y="669"/>
                    </a:lnTo>
                    <a:lnTo>
                      <a:pt x="1172" y="654"/>
                    </a:lnTo>
                    <a:lnTo>
                      <a:pt x="1189" y="638"/>
                    </a:lnTo>
                    <a:lnTo>
                      <a:pt x="1206" y="621"/>
                    </a:lnTo>
                    <a:lnTo>
                      <a:pt x="1221" y="604"/>
                    </a:lnTo>
                    <a:lnTo>
                      <a:pt x="1237" y="587"/>
                    </a:lnTo>
                    <a:lnTo>
                      <a:pt x="1252" y="568"/>
                    </a:lnTo>
                    <a:lnTo>
                      <a:pt x="1266" y="550"/>
                    </a:lnTo>
                    <a:lnTo>
                      <a:pt x="1279" y="530"/>
                    </a:lnTo>
                    <a:lnTo>
                      <a:pt x="1293" y="510"/>
                    </a:lnTo>
                    <a:lnTo>
                      <a:pt x="1305" y="490"/>
                    </a:lnTo>
                    <a:lnTo>
                      <a:pt x="1317" y="468"/>
                    </a:lnTo>
                    <a:lnTo>
                      <a:pt x="1327" y="447"/>
                    </a:lnTo>
                    <a:lnTo>
                      <a:pt x="1337" y="426"/>
                    </a:lnTo>
                    <a:lnTo>
                      <a:pt x="1346" y="403"/>
                    </a:lnTo>
                    <a:lnTo>
                      <a:pt x="1355" y="380"/>
                    </a:lnTo>
                    <a:lnTo>
                      <a:pt x="1362" y="357"/>
                    </a:lnTo>
                    <a:lnTo>
                      <a:pt x="1368" y="334"/>
                    </a:lnTo>
                    <a:lnTo>
                      <a:pt x="1375" y="311"/>
                    </a:lnTo>
                    <a:lnTo>
                      <a:pt x="1380" y="287"/>
                    </a:lnTo>
                    <a:lnTo>
                      <a:pt x="1384" y="263"/>
                    </a:lnTo>
                    <a:lnTo>
                      <a:pt x="1387" y="238"/>
                    </a:lnTo>
                    <a:lnTo>
                      <a:pt x="1390" y="214"/>
                    </a:lnTo>
                    <a:lnTo>
                      <a:pt x="1391" y="190"/>
                    </a:lnTo>
                    <a:lnTo>
                      <a:pt x="1391" y="166"/>
                    </a:lnTo>
                    <a:lnTo>
                      <a:pt x="1391" y="166"/>
                    </a:lnTo>
                    <a:lnTo>
                      <a:pt x="1392" y="159"/>
                    </a:lnTo>
                    <a:lnTo>
                      <a:pt x="1394" y="152"/>
                    </a:lnTo>
                    <a:lnTo>
                      <a:pt x="1397" y="147"/>
                    </a:lnTo>
                    <a:lnTo>
                      <a:pt x="1401" y="142"/>
                    </a:lnTo>
                    <a:lnTo>
                      <a:pt x="1407" y="138"/>
                    </a:lnTo>
                    <a:lnTo>
                      <a:pt x="1412" y="135"/>
                    </a:lnTo>
                    <a:lnTo>
                      <a:pt x="1418" y="133"/>
                    </a:lnTo>
                    <a:lnTo>
                      <a:pt x="1424" y="133"/>
                    </a:lnTo>
                    <a:lnTo>
                      <a:pt x="1490" y="133"/>
                    </a:lnTo>
                    <a:lnTo>
                      <a:pt x="1490" y="133"/>
                    </a:lnTo>
                    <a:lnTo>
                      <a:pt x="1498" y="132"/>
                    </a:lnTo>
                    <a:lnTo>
                      <a:pt x="1504" y="130"/>
                    </a:lnTo>
                    <a:lnTo>
                      <a:pt x="1509" y="127"/>
                    </a:lnTo>
                    <a:lnTo>
                      <a:pt x="1514" y="122"/>
                    </a:lnTo>
                    <a:lnTo>
                      <a:pt x="1518" y="117"/>
                    </a:lnTo>
                    <a:lnTo>
                      <a:pt x="1522" y="112"/>
                    </a:lnTo>
                    <a:lnTo>
                      <a:pt x="1524" y="106"/>
                    </a:lnTo>
                    <a:lnTo>
                      <a:pt x="1525" y="100"/>
                    </a:lnTo>
                    <a:lnTo>
                      <a:pt x="1525" y="100"/>
                    </a:lnTo>
                    <a:lnTo>
                      <a:pt x="1524" y="92"/>
                    </a:lnTo>
                    <a:lnTo>
                      <a:pt x="1522" y="86"/>
                    </a:lnTo>
                    <a:lnTo>
                      <a:pt x="1518" y="81"/>
                    </a:lnTo>
                    <a:lnTo>
                      <a:pt x="1514" y="76"/>
                    </a:lnTo>
                    <a:lnTo>
                      <a:pt x="1509" y="72"/>
                    </a:lnTo>
                    <a:lnTo>
                      <a:pt x="1504" y="69"/>
                    </a:lnTo>
                    <a:lnTo>
                      <a:pt x="1498" y="67"/>
                    </a:lnTo>
                    <a:lnTo>
                      <a:pt x="1490" y="67"/>
                    </a:lnTo>
                    <a:lnTo>
                      <a:pt x="100" y="67"/>
                    </a:lnTo>
                    <a:lnTo>
                      <a:pt x="100" y="67"/>
                    </a:lnTo>
                    <a:lnTo>
                      <a:pt x="93" y="67"/>
                    </a:lnTo>
                    <a:lnTo>
                      <a:pt x="87" y="69"/>
                    </a:lnTo>
                    <a:lnTo>
                      <a:pt x="81" y="72"/>
                    </a:lnTo>
                    <a:lnTo>
                      <a:pt x="76" y="76"/>
                    </a:lnTo>
                    <a:lnTo>
                      <a:pt x="73" y="81"/>
                    </a:lnTo>
                    <a:lnTo>
                      <a:pt x="70" y="86"/>
                    </a:lnTo>
                    <a:lnTo>
                      <a:pt x="68" y="92"/>
                    </a:lnTo>
                    <a:lnTo>
                      <a:pt x="67" y="100"/>
                    </a:lnTo>
                    <a:lnTo>
                      <a:pt x="67" y="100"/>
                    </a:lnTo>
                    <a:lnTo>
                      <a:pt x="68" y="106"/>
                    </a:lnTo>
                    <a:lnTo>
                      <a:pt x="70" y="112"/>
                    </a:lnTo>
                    <a:lnTo>
                      <a:pt x="73" y="117"/>
                    </a:lnTo>
                    <a:lnTo>
                      <a:pt x="76" y="122"/>
                    </a:lnTo>
                    <a:lnTo>
                      <a:pt x="81" y="127"/>
                    </a:lnTo>
                    <a:lnTo>
                      <a:pt x="87" y="130"/>
                    </a:lnTo>
                    <a:lnTo>
                      <a:pt x="93" y="132"/>
                    </a:lnTo>
                    <a:lnTo>
                      <a:pt x="100" y="133"/>
                    </a:lnTo>
                    <a:lnTo>
                      <a:pt x="166" y="133"/>
                    </a:lnTo>
                    <a:lnTo>
                      <a:pt x="166" y="133"/>
                    </a:lnTo>
                    <a:lnTo>
                      <a:pt x="173" y="133"/>
                    </a:lnTo>
                    <a:lnTo>
                      <a:pt x="179" y="135"/>
                    </a:lnTo>
                    <a:lnTo>
                      <a:pt x="184" y="138"/>
                    </a:lnTo>
                    <a:lnTo>
                      <a:pt x="190" y="142"/>
                    </a:lnTo>
                    <a:lnTo>
                      <a:pt x="194" y="147"/>
                    </a:lnTo>
                    <a:lnTo>
                      <a:pt x="197" y="152"/>
                    </a:lnTo>
                    <a:lnTo>
                      <a:pt x="198" y="159"/>
                    </a:lnTo>
                    <a:lnTo>
                      <a:pt x="199" y="166"/>
                    </a:lnTo>
                    <a:lnTo>
                      <a:pt x="199" y="166"/>
                    </a:lnTo>
                    <a:lnTo>
                      <a:pt x="200" y="190"/>
                    </a:lnTo>
                    <a:lnTo>
                      <a:pt x="201" y="214"/>
                    </a:lnTo>
                    <a:lnTo>
                      <a:pt x="203" y="238"/>
                    </a:lnTo>
                    <a:lnTo>
                      <a:pt x="206" y="263"/>
                    </a:lnTo>
                    <a:lnTo>
                      <a:pt x="211" y="287"/>
                    </a:lnTo>
                    <a:lnTo>
                      <a:pt x="216" y="311"/>
                    </a:lnTo>
                    <a:lnTo>
                      <a:pt x="222" y="334"/>
                    </a:lnTo>
                    <a:lnTo>
                      <a:pt x="229" y="357"/>
                    </a:lnTo>
                    <a:lnTo>
                      <a:pt x="236" y="380"/>
                    </a:lnTo>
                    <a:lnTo>
                      <a:pt x="245" y="403"/>
                    </a:lnTo>
                    <a:lnTo>
                      <a:pt x="254" y="426"/>
                    </a:lnTo>
                    <a:lnTo>
                      <a:pt x="264" y="447"/>
                    </a:lnTo>
                    <a:lnTo>
                      <a:pt x="275" y="468"/>
                    </a:lnTo>
                    <a:lnTo>
                      <a:pt x="286" y="490"/>
                    </a:lnTo>
                    <a:lnTo>
                      <a:pt x="298" y="510"/>
                    </a:lnTo>
                    <a:lnTo>
                      <a:pt x="311" y="530"/>
                    </a:lnTo>
                    <a:lnTo>
                      <a:pt x="324" y="550"/>
                    </a:lnTo>
                    <a:lnTo>
                      <a:pt x="339" y="568"/>
                    </a:lnTo>
                    <a:lnTo>
                      <a:pt x="353" y="587"/>
                    </a:lnTo>
                    <a:lnTo>
                      <a:pt x="369" y="604"/>
                    </a:lnTo>
                    <a:lnTo>
                      <a:pt x="385" y="622"/>
                    </a:lnTo>
                    <a:lnTo>
                      <a:pt x="402" y="638"/>
                    </a:lnTo>
                    <a:lnTo>
                      <a:pt x="418" y="654"/>
                    </a:lnTo>
                    <a:lnTo>
                      <a:pt x="436" y="669"/>
                    </a:lnTo>
                    <a:lnTo>
                      <a:pt x="455" y="683"/>
                    </a:lnTo>
                    <a:lnTo>
                      <a:pt x="473" y="697"/>
                    </a:lnTo>
                    <a:lnTo>
                      <a:pt x="492" y="709"/>
                    </a:lnTo>
                    <a:lnTo>
                      <a:pt x="512" y="721"/>
                    </a:lnTo>
                    <a:lnTo>
                      <a:pt x="532" y="732"/>
                    </a:lnTo>
                    <a:lnTo>
                      <a:pt x="553" y="742"/>
                    </a:lnTo>
                    <a:lnTo>
                      <a:pt x="574" y="751"/>
                    </a:lnTo>
                    <a:lnTo>
                      <a:pt x="594" y="760"/>
                    </a:lnTo>
                    <a:lnTo>
                      <a:pt x="594" y="760"/>
                    </a:lnTo>
                    <a:lnTo>
                      <a:pt x="599" y="762"/>
                    </a:lnTo>
                    <a:lnTo>
                      <a:pt x="604" y="764"/>
                    </a:lnTo>
                    <a:lnTo>
                      <a:pt x="608" y="768"/>
                    </a:lnTo>
                    <a:lnTo>
                      <a:pt x="611" y="772"/>
                    </a:lnTo>
                    <a:lnTo>
                      <a:pt x="614" y="776"/>
                    </a:lnTo>
                    <a:lnTo>
                      <a:pt x="615" y="781"/>
                    </a:lnTo>
                    <a:lnTo>
                      <a:pt x="616" y="787"/>
                    </a:lnTo>
                    <a:lnTo>
                      <a:pt x="617" y="792"/>
                    </a:lnTo>
                    <a:lnTo>
                      <a:pt x="617" y="792"/>
                    </a:lnTo>
                    <a:lnTo>
                      <a:pt x="616" y="797"/>
                    </a:lnTo>
                    <a:lnTo>
                      <a:pt x="615" y="802"/>
                    </a:lnTo>
                    <a:lnTo>
                      <a:pt x="613" y="806"/>
                    </a:lnTo>
                    <a:lnTo>
                      <a:pt x="610" y="811"/>
                    </a:lnTo>
                    <a:lnTo>
                      <a:pt x="606" y="814"/>
                    </a:lnTo>
                    <a:lnTo>
                      <a:pt x="602" y="818"/>
                    </a:lnTo>
                    <a:lnTo>
                      <a:pt x="597" y="821"/>
                    </a:lnTo>
                    <a:lnTo>
                      <a:pt x="592" y="823"/>
                    </a:lnTo>
                    <a:lnTo>
                      <a:pt x="592" y="823"/>
                    </a:lnTo>
                    <a:lnTo>
                      <a:pt x="555" y="834"/>
                    </a:lnTo>
                    <a:lnTo>
                      <a:pt x="521" y="847"/>
                    </a:lnTo>
                    <a:lnTo>
                      <a:pt x="490" y="860"/>
                    </a:lnTo>
                    <a:lnTo>
                      <a:pt x="462" y="873"/>
                    </a:lnTo>
                    <a:lnTo>
                      <a:pt x="437" y="887"/>
                    </a:lnTo>
                    <a:lnTo>
                      <a:pt x="416" y="901"/>
                    </a:lnTo>
                    <a:lnTo>
                      <a:pt x="399" y="915"/>
                    </a:lnTo>
                    <a:lnTo>
                      <a:pt x="385" y="927"/>
                    </a:lnTo>
                    <a:lnTo>
                      <a:pt x="385" y="9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80" name="Freeform 18">
                <a:extLst>
                  <a:ext uri="{FF2B5EF4-FFF2-40B4-BE49-F238E27FC236}">
                    <a16:creationId xmlns:a16="http://schemas.microsoft.com/office/drawing/2014/main" id="{497CC3FB-F301-4CF1-B5A8-08DF24619FF4}"/>
                  </a:ext>
                </a:extLst>
              </p:cNvPr>
              <p:cNvSpPr>
                <a:spLocks/>
              </p:cNvSpPr>
              <p:nvPr/>
            </p:nvSpPr>
            <p:spPr bwMode="auto">
              <a:xfrm>
                <a:off x="4321175" y="3282951"/>
                <a:ext cx="133350" cy="115888"/>
              </a:xfrm>
              <a:custGeom>
                <a:avLst/>
                <a:gdLst>
                  <a:gd name="T0" fmla="*/ 298 w 586"/>
                  <a:gd name="T1" fmla="*/ 513 h 513"/>
                  <a:gd name="T2" fmla="*/ 289 w 586"/>
                  <a:gd name="T3" fmla="*/ 511 h 513"/>
                  <a:gd name="T4" fmla="*/ 280 w 586"/>
                  <a:gd name="T5" fmla="*/ 507 h 513"/>
                  <a:gd name="T6" fmla="*/ 275 w 586"/>
                  <a:gd name="T7" fmla="*/ 502 h 513"/>
                  <a:gd name="T8" fmla="*/ 267 w 586"/>
                  <a:gd name="T9" fmla="*/ 491 h 513"/>
                  <a:gd name="T10" fmla="*/ 265 w 586"/>
                  <a:gd name="T11" fmla="*/ 479 h 513"/>
                  <a:gd name="T12" fmla="*/ 268 w 586"/>
                  <a:gd name="T13" fmla="*/ 466 h 513"/>
                  <a:gd name="T14" fmla="*/ 272 w 586"/>
                  <a:gd name="T15" fmla="*/ 460 h 513"/>
                  <a:gd name="T16" fmla="*/ 405 w 586"/>
                  <a:gd name="T17" fmla="*/ 273 h 513"/>
                  <a:gd name="T18" fmla="*/ 482 w 586"/>
                  <a:gd name="T19" fmla="*/ 159 h 513"/>
                  <a:gd name="T20" fmla="*/ 502 w 586"/>
                  <a:gd name="T21" fmla="*/ 124 h 513"/>
                  <a:gd name="T22" fmla="*/ 513 w 586"/>
                  <a:gd name="T23" fmla="*/ 99 h 513"/>
                  <a:gd name="T24" fmla="*/ 515 w 586"/>
                  <a:gd name="T25" fmla="*/ 84 h 513"/>
                  <a:gd name="T26" fmla="*/ 510 w 586"/>
                  <a:gd name="T27" fmla="*/ 74 h 513"/>
                  <a:gd name="T28" fmla="*/ 507 w 586"/>
                  <a:gd name="T29" fmla="*/ 72 h 513"/>
                  <a:gd name="T30" fmla="*/ 501 w 586"/>
                  <a:gd name="T31" fmla="*/ 71 h 513"/>
                  <a:gd name="T32" fmla="*/ 489 w 586"/>
                  <a:gd name="T33" fmla="*/ 73 h 513"/>
                  <a:gd name="T34" fmla="*/ 464 w 586"/>
                  <a:gd name="T35" fmla="*/ 87 h 513"/>
                  <a:gd name="T36" fmla="*/ 429 w 586"/>
                  <a:gd name="T37" fmla="*/ 116 h 513"/>
                  <a:gd name="T38" fmla="*/ 379 w 586"/>
                  <a:gd name="T39" fmla="*/ 162 h 513"/>
                  <a:gd name="T40" fmla="*/ 274 w 586"/>
                  <a:gd name="T41" fmla="*/ 271 h 513"/>
                  <a:gd name="T42" fmla="*/ 58 w 586"/>
                  <a:gd name="T43" fmla="*/ 502 h 513"/>
                  <a:gd name="T44" fmla="*/ 53 w 586"/>
                  <a:gd name="T45" fmla="*/ 507 h 513"/>
                  <a:gd name="T46" fmla="*/ 42 w 586"/>
                  <a:gd name="T47" fmla="*/ 512 h 513"/>
                  <a:gd name="T48" fmla="*/ 28 w 586"/>
                  <a:gd name="T49" fmla="*/ 512 h 513"/>
                  <a:gd name="T50" fmla="*/ 17 w 586"/>
                  <a:gd name="T51" fmla="*/ 508 h 513"/>
                  <a:gd name="T52" fmla="*/ 12 w 586"/>
                  <a:gd name="T53" fmla="*/ 504 h 513"/>
                  <a:gd name="T54" fmla="*/ 4 w 586"/>
                  <a:gd name="T55" fmla="*/ 493 h 513"/>
                  <a:gd name="T56" fmla="*/ 0 w 586"/>
                  <a:gd name="T57" fmla="*/ 481 h 513"/>
                  <a:gd name="T58" fmla="*/ 2 w 586"/>
                  <a:gd name="T59" fmla="*/ 469 h 513"/>
                  <a:gd name="T60" fmla="*/ 10 w 586"/>
                  <a:gd name="T61" fmla="*/ 457 h 513"/>
                  <a:gd name="T62" fmla="*/ 150 w 586"/>
                  <a:gd name="T63" fmla="*/ 304 h 513"/>
                  <a:gd name="T64" fmla="*/ 261 w 586"/>
                  <a:gd name="T65" fmla="*/ 187 h 513"/>
                  <a:gd name="T66" fmla="*/ 346 w 586"/>
                  <a:gd name="T67" fmla="*/ 102 h 513"/>
                  <a:gd name="T68" fmla="*/ 409 w 586"/>
                  <a:gd name="T69" fmla="*/ 44 h 513"/>
                  <a:gd name="T70" fmla="*/ 446 w 586"/>
                  <a:gd name="T71" fmla="*/ 19 h 513"/>
                  <a:gd name="T72" fmla="*/ 467 w 586"/>
                  <a:gd name="T73" fmla="*/ 7 h 513"/>
                  <a:gd name="T74" fmla="*/ 485 w 586"/>
                  <a:gd name="T75" fmla="*/ 1 h 513"/>
                  <a:gd name="T76" fmla="*/ 501 w 586"/>
                  <a:gd name="T77" fmla="*/ 0 h 513"/>
                  <a:gd name="T78" fmla="*/ 516 w 586"/>
                  <a:gd name="T79" fmla="*/ 2 h 513"/>
                  <a:gd name="T80" fmla="*/ 530 w 586"/>
                  <a:gd name="T81" fmla="*/ 8 h 513"/>
                  <a:gd name="T82" fmla="*/ 552 w 586"/>
                  <a:gd name="T83" fmla="*/ 24 h 513"/>
                  <a:gd name="T84" fmla="*/ 564 w 586"/>
                  <a:gd name="T85" fmla="*/ 34 h 513"/>
                  <a:gd name="T86" fmla="*/ 578 w 586"/>
                  <a:gd name="T87" fmla="*/ 51 h 513"/>
                  <a:gd name="T88" fmla="*/ 583 w 586"/>
                  <a:gd name="T89" fmla="*/ 63 h 513"/>
                  <a:gd name="T90" fmla="*/ 586 w 586"/>
                  <a:gd name="T91" fmla="*/ 77 h 513"/>
                  <a:gd name="T92" fmla="*/ 585 w 586"/>
                  <a:gd name="T93" fmla="*/ 92 h 513"/>
                  <a:gd name="T94" fmla="*/ 581 w 586"/>
                  <a:gd name="T95" fmla="*/ 110 h 513"/>
                  <a:gd name="T96" fmla="*/ 568 w 586"/>
                  <a:gd name="T97" fmla="*/ 142 h 513"/>
                  <a:gd name="T98" fmla="*/ 535 w 586"/>
                  <a:gd name="T99" fmla="*/ 199 h 513"/>
                  <a:gd name="T100" fmla="*/ 486 w 586"/>
                  <a:gd name="T101" fmla="*/ 274 h 513"/>
                  <a:gd name="T102" fmla="*/ 325 w 586"/>
                  <a:gd name="T103" fmla="*/ 499 h 513"/>
                  <a:gd name="T104" fmla="*/ 320 w 586"/>
                  <a:gd name="T105" fmla="*/ 505 h 513"/>
                  <a:gd name="T106" fmla="*/ 307 w 586"/>
                  <a:gd name="T107" fmla="*/ 512 h 513"/>
                  <a:gd name="T108" fmla="*/ 298 w 586"/>
                  <a:gd name="T109" fmla="*/ 513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6" h="513">
                    <a:moveTo>
                      <a:pt x="298" y="513"/>
                    </a:moveTo>
                    <a:lnTo>
                      <a:pt x="298" y="513"/>
                    </a:lnTo>
                    <a:lnTo>
                      <a:pt x="294" y="512"/>
                    </a:lnTo>
                    <a:lnTo>
                      <a:pt x="289" y="511"/>
                    </a:lnTo>
                    <a:lnTo>
                      <a:pt x="284" y="509"/>
                    </a:lnTo>
                    <a:lnTo>
                      <a:pt x="280" y="507"/>
                    </a:lnTo>
                    <a:lnTo>
                      <a:pt x="280" y="507"/>
                    </a:lnTo>
                    <a:lnTo>
                      <a:pt x="275" y="502"/>
                    </a:lnTo>
                    <a:lnTo>
                      <a:pt x="271" y="497"/>
                    </a:lnTo>
                    <a:lnTo>
                      <a:pt x="267" y="491"/>
                    </a:lnTo>
                    <a:lnTo>
                      <a:pt x="266" y="485"/>
                    </a:lnTo>
                    <a:lnTo>
                      <a:pt x="265" y="479"/>
                    </a:lnTo>
                    <a:lnTo>
                      <a:pt x="266" y="472"/>
                    </a:lnTo>
                    <a:lnTo>
                      <a:pt x="268" y="466"/>
                    </a:lnTo>
                    <a:lnTo>
                      <a:pt x="272" y="460"/>
                    </a:lnTo>
                    <a:lnTo>
                      <a:pt x="272" y="460"/>
                    </a:lnTo>
                    <a:lnTo>
                      <a:pt x="346" y="357"/>
                    </a:lnTo>
                    <a:lnTo>
                      <a:pt x="405" y="273"/>
                    </a:lnTo>
                    <a:lnTo>
                      <a:pt x="450" y="209"/>
                    </a:lnTo>
                    <a:lnTo>
                      <a:pt x="482" y="159"/>
                    </a:lnTo>
                    <a:lnTo>
                      <a:pt x="493" y="141"/>
                    </a:lnTo>
                    <a:lnTo>
                      <a:pt x="502" y="124"/>
                    </a:lnTo>
                    <a:lnTo>
                      <a:pt x="509" y="111"/>
                    </a:lnTo>
                    <a:lnTo>
                      <a:pt x="513" y="99"/>
                    </a:lnTo>
                    <a:lnTo>
                      <a:pt x="515" y="91"/>
                    </a:lnTo>
                    <a:lnTo>
                      <a:pt x="515" y="84"/>
                    </a:lnTo>
                    <a:lnTo>
                      <a:pt x="514" y="79"/>
                    </a:lnTo>
                    <a:lnTo>
                      <a:pt x="510" y="74"/>
                    </a:lnTo>
                    <a:lnTo>
                      <a:pt x="510" y="74"/>
                    </a:lnTo>
                    <a:lnTo>
                      <a:pt x="507" y="72"/>
                    </a:lnTo>
                    <a:lnTo>
                      <a:pt x="504" y="71"/>
                    </a:lnTo>
                    <a:lnTo>
                      <a:pt x="501" y="71"/>
                    </a:lnTo>
                    <a:lnTo>
                      <a:pt x="497" y="71"/>
                    </a:lnTo>
                    <a:lnTo>
                      <a:pt x="489" y="73"/>
                    </a:lnTo>
                    <a:lnTo>
                      <a:pt x="477" y="79"/>
                    </a:lnTo>
                    <a:lnTo>
                      <a:pt x="464" y="87"/>
                    </a:lnTo>
                    <a:lnTo>
                      <a:pt x="449" y="99"/>
                    </a:lnTo>
                    <a:lnTo>
                      <a:pt x="429" y="116"/>
                    </a:lnTo>
                    <a:lnTo>
                      <a:pt x="406" y="138"/>
                    </a:lnTo>
                    <a:lnTo>
                      <a:pt x="379" y="162"/>
                    </a:lnTo>
                    <a:lnTo>
                      <a:pt x="349" y="193"/>
                    </a:lnTo>
                    <a:lnTo>
                      <a:pt x="274" y="271"/>
                    </a:lnTo>
                    <a:lnTo>
                      <a:pt x="177" y="373"/>
                    </a:lnTo>
                    <a:lnTo>
                      <a:pt x="58" y="502"/>
                    </a:lnTo>
                    <a:lnTo>
                      <a:pt x="58" y="502"/>
                    </a:lnTo>
                    <a:lnTo>
                      <a:pt x="53" y="507"/>
                    </a:lnTo>
                    <a:lnTo>
                      <a:pt x="48" y="510"/>
                    </a:lnTo>
                    <a:lnTo>
                      <a:pt x="42" y="512"/>
                    </a:lnTo>
                    <a:lnTo>
                      <a:pt x="36" y="512"/>
                    </a:lnTo>
                    <a:lnTo>
                      <a:pt x="28" y="512"/>
                    </a:lnTo>
                    <a:lnTo>
                      <a:pt x="22" y="511"/>
                    </a:lnTo>
                    <a:lnTo>
                      <a:pt x="17" y="508"/>
                    </a:lnTo>
                    <a:lnTo>
                      <a:pt x="12" y="504"/>
                    </a:lnTo>
                    <a:lnTo>
                      <a:pt x="12" y="504"/>
                    </a:lnTo>
                    <a:lnTo>
                      <a:pt x="7" y="499"/>
                    </a:lnTo>
                    <a:lnTo>
                      <a:pt x="4" y="493"/>
                    </a:lnTo>
                    <a:lnTo>
                      <a:pt x="1" y="487"/>
                    </a:lnTo>
                    <a:lnTo>
                      <a:pt x="0" y="481"/>
                    </a:lnTo>
                    <a:lnTo>
                      <a:pt x="1" y="475"/>
                    </a:lnTo>
                    <a:lnTo>
                      <a:pt x="2" y="469"/>
                    </a:lnTo>
                    <a:lnTo>
                      <a:pt x="6" y="462"/>
                    </a:lnTo>
                    <a:lnTo>
                      <a:pt x="10" y="457"/>
                    </a:lnTo>
                    <a:lnTo>
                      <a:pt x="10" y="457"/>
                    </a:lnTo>
                    <a:lnTo>
                      <a:pt x="150" y="304"/>
                    </a:lnTo>
                    <a:lnTo>
                      <a:pt x="209" y="242"/>
                    </a:lnTo>
                    <a:lnTo>
                      <a:pt x="261" y="187"/>
                    </a:lnTo>
                    <a:lnTo>
                      <a:pt x="307" y="141"/>
                    </a:lnTo>
                    <a:lnTo>
                      <a:pt x="346" y="102"/>
                    </a:lnTo>
                    <a:lnTo>
                      <a:pt x="380" y="70"/>
                    </a:lnTo>
                    <a:lnTo>
                      <a:pt x="409" y="44"/>
                    </a:lnTo>
                    <a:lnTo>
                      <a:pt x="435" y="26"/>
                    </a:lnTo>
                    <a:lnTo>
                      <a:pt x="446" y="19"/>
                    </a:lnTo>
                    <a:lnTo>
                      <a:pt x="457" y="12"/>
                    </a:lnTo>
                    <a:lnTo>
                      <a:pt x="467" y="7"/>
                    </a:lnTo>
                    <a:lnTo>
                      <a:pt x="476" y="3"/>
                    </a:lnTo>
                    <a:lnTo>
                      <a:pt x="485" y="1"/>
                    </a:lnTo>
                    <a:lnTo>
                      <a:pt x="493" y="0"/>
                    </a:lnTo>
                    <a:lnTo>
                      <a:pt x="501" y="0"/>
                    </a:lnTo>
                    <a:lnTo>
                      <a:pt x="509" y="0"/>
                    </a:lnTo>
                    <a:lnTo>
                      <a:pt x="516" y="2"/>
                    </a:lnTo>
                    <a:lnTo>
                      <a:pt x="523" y="5"/>
                    </a:lnTo>
                    <a:lnTo>
                      <a:pt x="530" y="8"/>
                    </a:lnTo>
                    <a:lnTo>
                      <a:pt x="538" y="12"/>
                    </a:lnTo>
                    <a:lnTo>
                      <a:pt x="552" y="24"/>
                    </a:lnTo>
                    <a:lnTo>
                      <a:pt x="552" y="24"/>
                    </a:lnTo>
                    <a:lnTo>
                      <a:pt x="564" y="34"/>
                    </a:lnTo>
                    <a:lnTo>
                      <a:pt x="574" y="45"/>
                    </a:lnTo>
                    <a:lnTo>
                      <a:pt x="578" y="51"/>
                    </a:lnTo>
                    <a:lnTo>
                      <a:pt x="581" y="57"/>
                    </a:lnTo>
                    <a:lnTo>
                      <a:pt x="583" y="63"/>
                    </a:lnTo>
                    <a:lnTo>
                      <a:pt x="585" y="69"/>
                    </a:lnTo>
                    <a:lnTo>
                      <a:pt x="586" y="77"/>
                    </a:lnTo>
                    <a:lnTo>
                      <a:pt x="586" y="84"/>
                    </a:lnTo>
                    <a:lnTo>
                      <a:pt x="585" y="92"/>
                    </a:lnTo>
                    <a:lnTo>
                      <a:pt x="583" y="100"/>
                    </a:lnTo>
                    <a:lnTo>
                      <a:pt x="581" y="110"/>
                    </a:lnTo>
                    <a:lnTo>
                      <a:pt x="577" y="120"/>
                    </a:lnTo>
                    <a:lnTo>
                      <a:pt x="568" y="142"/>
                    </a:lnTo>
                    <a:lnTo>
                      <a:pt x="553" y="168"/>
                    </a:lnTo>
                    <a:lnTo>
                      <a:pt x="535" y="199"/>
                    </a:lnTo>
                    <a:lnTo>
                      <a:pt x="513" y="234"/>
                    </a:lnTo>
                    <a:lnTo>
                      <a:pt x="486" y="274"/>
                    </a:lnTo>
                    <a:lnTo>
                      <a:pt x="416" y="372"/>
                    </a:lnTo>
                    <a:lnTo>
                      <a:pt x="325" y="499"/>
                    </a:lnTo>
                    <a:lnTo>
                      <a:pt x="325" y="499"/>
                    </a:lnTo>
                    <a:lnTo>
                      <a:pt x="320" y="505"/>
                    </a:lnTo>
                    <a:lnTo>
                      <a:pt x="314" y="509"/>
                    </a:lnTo>
                    <a:lnTo>
                      <a:pt x="307" y="512"/>
                    </a:lnTo>
                    <a:lnTo>
                      <a:pt x="298" y="513"/>
                    </a:lnTo>
                    <a:lnTo>
                      <a:pt x="298" y="5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81" name="Freeform 19">
                <a:extLst>
                  <a:ext uri="{FF2B5EF4-FFF2-40B4-BE49-F238E27FC236}">
                    <a16:creationId xmlns:a16="http://schemas.microsoft.com/office/drawing/2014/main" id="{2ACBA6A0-FF2B-48E1-91F8-4EC6645374E5}"/>
                  </a:ext>
                </a:extLst>
              </p:cNvPr>
              <p:cNvSpPr>
                <a:spLocks/>
              </p:cNvSpPr>
              <p:nvPr/>
            </p:nvSpPr>
            <p:spPr bwMode="auto">
              <a:xfrm>
                <a:off x="4202113" y="3489326"/>
                <a:ext cx="66675" cy="66675"/>
              </a:xfrm>
              <a:custGeom>
                <a:avLst/>
                <a:gdLst>
                  <a:gd name="T0" fmla="*/ 264 w 298"/>
                  <a:gd name="T1" fmla="*/ 299 h 299"/>
                  <a:gd name="T2" fmla="*/ 252 w 298"/>
                  <a:gd name="T3" fmla="*/ 296 h 299"/>
                  <a:gd name="T4" fmla="*/ 231 w 298"/>
                  <a:gd name="T5" fmla="*/ 288 h 299"/>
                  <a:gd name="T6" fmla="*/ 191 w 298"/>
                  <a:gd name="T7" fmla="*/ 266 h 299"/>
                  <a:gd name="T8" fmla="*/ 154 w 298"/>
                  <a:gd name="T9" fmla="*/ 240 h 299"/>
                  <a:gd name="T10" fmla="*/ 119 w 298"/>
                  <a:gd name="T11" fmla="*/ 211 h 299"/>
                  <a:gd name="T12" fmla="*/ 86 w 298"/>
                  <a:gd name="T13" fmla="*/ 180 h 299"/>
                  <a:gd name="T14" fmla="*/ 59 w 298"/>
                  <a:gd name="T15" fmla="*/ 145 h 299"/>
                  <a:gd name="T16" fmla="*/ 33 w 298"/>
                  <a:gd name="T17" fmla="*/ 108 h 299"/>
                  <a:gd name="T18" fmla="*/ 11 w 298"/>
                  <a:gd name="T19" fmla="*/ 68 h 299"/>
                  <a:gd name="T20" fmla="*/ 2 w 298"/>
                  <a:gd name="T21" fmla="*/ 47 h 299"/>
                  <a:gd name="T22" fmla="*/ 0 w 298"/>
                  <a:gd name="T23" fmla="*/ 33 h 299"/>
                  <a:gd name="T24" fmla="*/ 2 w 298"/>
                  <a:gd name="T25" fmla="*/ 21 h 299"/>
                  <a:gd name="T26" fmla="*/ 9 w 298"/>
                  <a:gd name="T27" fmla="*/ 11 h 299"/>
                  <a:gd name="T28" fmla="*/ 20 w 298"/>
                  <a:gd name="T29" fmla="*/ 3 h 299"/>
                  <a:gd name="T30" fmla="*/ 26 w 298"/>
                  <a:gd name="T31" fmla="*/ 1 h 299"/>
                  <a:gd name="T32" fmla="*/ 39 w 298"/>
                  <a:gd name="T33" fmla="*/ 1 h 299"/>
                  <a:gd name="T34" fmla="*/ 51 w 298"/>
                  <a:gd name="T35" fmla="*/ 7 h 299"/>
                  <a:gd name="T36" fmla="*/ 60 w 298"/>
                  <a:gd name="T37" fmla="*/ 15 h 299"/>
                  <a:gd name="T38" fmla="*/ 63 w 298"/>
                  <a:gd name="T39" fmla="*/ 21 h 299"/>
                  <a:gd name="T40" fmla="*/ 80 w 298"/>
                  <a:gd name="T41" fmla="*/ 56 h 299"/>
                  <a:gd name="T42" fmla="*/ 100 w 298"/>
                  <a:gd name="T43" fmla="*/ 89 h 299"/>
                  <a:gd name="T44" fmla="*/ 124 w 298"/>
                  <a:gd name="T45" fmla="*/ 120 h 299"/>
                  <a:gd name="T46" fmla="*/ 150 w 298"/>
                  <a:gd name="T47" fmla="*/ 149 h 299"/>
                  <a:gd name="T48" fmla="*/ 178 w 298"/>
                  <a:gd name="T49" fmla="*/ 175 h 299"/>
                  <a:gd name="T50" fmla="*/ 210 w 298"/>
                  <a:gd name="T51" fmla="*/ 199 h 299"/>
                  <a:gd name="T52" fmla="*/ 243 w 298"/>
                  <a:gd name="T53" fmla="*/ 219 h 299"/>
                  <a:gd name="T54" fmla="*/ 278 w 298"/>
                  <a:gd name="T55" fmla="*/ 235 h 299"/>
                  <a:gd name="T56" fmla="*/ 283 w 298"/>
                  <a:gd name="T57" fmla="*/ 238 h 299"/>
                  <a:gd name="T58" fmla="*/ 292 w 298"/>
                  <a:gd name="T59" fmla="*/ 248 h 299"/>
                  <a:gd name="T60" fmla="*/ 298 w 298"/>
                  <a:gd name="T61" fmla="*/ 260 h 299"/>
                  <a:gd name="T62" fmla="*/ 298 w 298"/>
                  <a:gd name="T63" fmla="*/ 272 h 299"/>
                  <a:gd name="T64" fmla="*/ 296 w 298"/>
                  <a:gd name="T65" fmla="*/ 279 h 299"/>
                  <a:gd name="T66" fmla="*/ 290 w 298"/>
                  <a:gd name="T67" fmla="*/ 287 h 299"/>
                  <a:gd name="T68" fmla="*/ 283 w 298"/>
                  <a:gd name="T69" fmla="*/ 294 h 299"/>
                  <a:gd name="T70" fmla="*/ 274 w 298"/>
                  <a:gd name="T71" fmla="*/ 298 h 299"/>
                  <a:gd name="T72" fmla="*/ 264 w 298"/>
                  <a:gd name="T73"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8" h="299">
                    <a:moveTo>
                      <a:pt x="264" y="299"/>
                    </a:moveTo>
                    <a:lnTo>
                      <a:pt x="264" y="299"/>
                    </a:lnTo>
                    <a:lnTo>
                      <a:pt x="258" y="298"/>
                    </a:lnTo>
                    <a:lnTo>
                      <a:pt x="252" y="296"/>
                    </a:lnTo>
                    <a:lnTo>
                      <a:pt x="252" y="296"/>
                    </a:lnTo>
                    <a:lnTo>
                      <a:pt x="231" y="288"/>
                    </a:lnTo>
                    <a:lnTo>
                      <a:pt x="211" y="278"/>
                    </a:lnTo>
                    <a:lnTo>
                      <a:pt x="191" y="266"/>
                    </a:lnTo>
                    <a:lnTo>
                      <a:pt x="172" y="254"/>
                    </a:lnTo>
                    <a:lnTo>
                      <a:pt x="154" y="240"/>
                    </a:lnTo>
                    <a:lnTo>
                      <a:pt x="136" y="227"/>
                    </a:lnTo>
                    <a:lnTo>
                      <a:pt x="119" y="211"/>
                    </a:lnTo>
                    <a:lnTo>
                      <a:pt x="102" y="196"/>
                    </a:lnTo>
                    <a:lnTo>
                      <a:pt x="86" y="180"/>
                    </a:lnTo>
                    <a:lnTo>
                      <a:pt x="72" y="163"/>
                    </a:lnTo>
                    <a:lnTo>
                      <a:pt x="59" y="145"/>
                    </a:lnTo>
                    <a:lnTo>
                      <a:pt x="45" y="127"/>
                    </a:lnTo>
                    <a:lnTo>
                      <a:pt x="33" y="108"/>
                    </a:lnTo>
                    <a:lnTo>
                      <a:pt x="21" y="87"/>
                    </a:lnTo>
                    <a:lnTo>
                      <a:pt x="11" y="68"/>
                    </a:lnTo>
                    <a:lnTo>
                      <a:pt x="2" y="47"/>
                    </a:lnTo>
                    <a:lnTo>
                      <a:pt x="2" y="47"/>
                    </a:lnTo>
                    <a:lnTo>
                      <a:pt x="1" y="41"/>
                    </a:lnTo>
                    <a:lnTo>
                      <a:pt x="0" y="33"/>
                    </a:lnTo>
                    <a:lnTo>
                      <a:pt x="1" y="27"/>
                    </a:lnTo>
                    <a:lnTo>
                      <a:pt x="2" y="21"/>
                    </a:lnTo>
                    <a:lnTo>
                      <a:pt x="5" y="16"/>
                    </a:lnTo>
                    <a:lnTo>
                      <a:pt x="9" y="11"/>
                    </a:lnTo>
                    <a:lnTo>
                      <a:pt x="14" y="7"/>
                    </a:lnTo>
                    <a:lnTo>
                      <a:pt x="20" y="3"/>
                    </a:lnTo>
                    <a:lnTo>
                      <a:pt x="20" y="3"/>
                    </a:lnTo>
                    <a:lnTo>
                      <a:pt x="26" y="1"/>
                    </a:lnTo>
                    <a:lnTo>
                      <a:pt x="33" y="0"/>
                    </a:lnTo>
                    <a:lnTo>
                      <a:pt x="39" y="1"/>
                    </a:lnTo>
                    <a:lnTo>
                      <a:pt x="45" y="3"/>
                    </a:lnTo>
                    <a:lnTo>
                      <a:pt x="51" y="7"/>
                    </a:lnTo>
                    <a:lnTo>
                      <a:pt x="55" y="11"/>
                    </a:lnTo>
                    <a:lnTo>
                      <a:pt x="60" y="15"/>
                    </a:lnTo>
                    <a:lnTo>
                      <a:pt x="63" y="21"/>
                    </a:lnTo>
                    <a:lnTo>
                      <a:pt x="63" y="21"/>
                    </a:lnTo>
                    <a:lnTo>
                      <a:pt x="71" y="39"/>
                    </a:lnTo>
                    <a:lnTo>
                      <a:pt x="80" y="56"/>
                    </a:lnTo>
                    <a:lnTo>
                      <a:pt x="90" y="74"/>
                    </a:lnTo>
                    <a:lnTo>
                      <a:pt x="100" y="89"/>
                    </a:lnTo>
                    <a:lnTo>
                      <a:pt x="111" y="106"/>
                    </a:lnTo>
                    <a:lnTo>
                      <a:pt x="124" y="120"/>
                    </a:lnTo>
                    <a:lnTo>
                      <a:pt x="136" y="136"/>
                    </a:lnTo>
                    <a:lnTo>
                      <a:pt x="150" y="149"/>
                    </a:lnTo>
                    <a:lnTo>
                      <a:pt x="163" y="163"/>
                    </a:lnTo>
                    <a:lnTo>
                      <a:pt x="178" y="175"/>
                    </a:lnTo>
                    <a:lnTo>
                      <a:pt x="193" y="188"/>
                    </a:lnTo>
                    <a:lnTo>
                      <a:pt x="210" y="199"/>
                    </a:lnTo>
                    <a:lnTo>
                      <a:pt x="225" y="209"/>
                    </a:lnTo>
                    <a:lnTo>
                      <a:pt x="243" y="219"/>
                    </a:lnTo>
                    <a:lnTo>
                      <a:pt x="259" y="228"/>
                    </a:lnTo>
                    <a:lnTo>
                      <a:pt x="278" y="235"/>
                    </a:lnTo>
                    <a:lnTo>
                      <a:pt x="278" y="235"/>
                    </a:lnTo>
                    <a:lnTo>
                      <a:pt x="283" y="238"/>
                    </a:lnTo>
                    <a:lnTo>
                      <a:pt x="288" y="242"/>
                    </a:lnTo>
                    <a:lnTo>
                      <a:pt x="292" y="248"/>
                    </a:lnTo>
                    <a:lnTo>
                      <a:pt x="296" y="254"/>
                    </a:lnTo>
                    <a:lnTo>
                      <a:pt x="298" y="260"/>
                    </a:lnTo>
                    <a:lnTo>
                      <a:pt x="298" y="266"/>
                    </a:lnTo>
                    <a:lnTo>
                      <a:pt x="298" y="272"/>
                    </a:lnTo>
                    <a:lnTo>
                      <a:pt x="296" y="279"/>
                    </a:lnTo>
                    <a:lnTo>
                      <a:pt x="296" y="279"/>
                    </a:lnTo>
                    <a:lnTo>
                      <a:pt x="293" y="284"/>
                    </a:lnTo>
                    <a:lnTo>
                      <a:pt x="290" y="287"/>
                    </a:lnTo>
                    <a:lnTo>
                      <a:pt x="287" y="291"/>
                    </a:lnTo>
                    <a:lnTo>
                      <a:pt x="283" y="294"/>
                    </a:lnTo>
                    <a:lnTo>
                      <a:pt x="279" y="296"/>
                    </a:lnTo>
                    <a:lnTo>
                      <a:pt x="274" y="298"/>
                    </a:lnTo>
                    <a:lnTo>
                      <a:pt x="270" y="299"/>
                    </a:lnTo>
                    <a:lnTo>
                      <a:pt x="264" y="299"/>
                    </a:lnTo>
                    <a:lnTo>
                      <a:pt x="264"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39" name="Group 38">
            <a:extLst>
              <a:ext uri="{FF2B5EF4-FFF2-40B4-BE49-F238E27FC236}">
                <a16:creationId xmlns:a16="http://schemas.microsoft.com/office/drawing/2014/main" id="{A327FBDB-5194-4832-9337-A1CD025E6023}"/>
              </a:ext>
            </a:extLst>
          </p:cNvPr>
          <p:cNvGrpSpPr>
            <a:grpSpLocks noChangeAspect="1"/>
          </p:cNvGrpSpPr>
          <p:nvPr/>
        </p:nvGrpSpPr>
        <p:grpSpPr>
          <a:xfrm>
            <a:off x="471501" y="3230344"/>
            <a:ext cx="212748" cy="277382"/>
            <a:chOff x="-838200" y="2716213"/>
            <a:chExt cx="501650" cy="654049"/>
          </a:xfrm>
          <a:solidFill>
            <a:schemeClr val="bg1"/>
          </a:solidFill>
        </p:grpSpPr>
        <p:sp>
          <p:nvSpPr>
            <p:cNvPr id="32" name="Freeform 27">
              <a:extLst>
                <a:ext uri="{FF2B5EF4-FFF2-40B4-BE49-F238E27FC236}">
                  <a16:creationId xmlns:a16="http://schemas.microsoft.com/office/drawing/2014/main" id="{CFD0E992-0DAC-44BA-808B-7808AFA836A6}"/>
                </a:ext>
              </a:extLst>
            </p:cNvPr>
            <p:cNvSpPr>
              <a:spLocks noEditPoints="1"/>
            </p:cNvSpPr>
            <p:nvPr/>
          </p:nvSpPr>
          <p:spPr bwMode="auto">
            <a:xfrm>
              <a:off x="-838200" y="2716213"/>
              <a:ext cx="501650" cy="654049"/>
            </a:xfrm>
            <a:custGeom>
              <a:avLst/>
              <a:gdLst>
                <a:gd name="T0" fmla="*/ 223 w 554"/>
                <a:gd name="T1" fmla="*/ 57 h 721"/>
                <a:gd name="T2" fmla="*/ 275 w 554"/>
                <a:gd name="T3" fmla="*/ 1 h 721"/>
                <a:gd name="T4" fmla="*/ 331 w 554"/>
                <a:gd name="T5" fmla="*/ 57 h 721"/>
                <a:gd name="T6" fmla="*/ 361 w 554"/>
                <a:gd name="T7" fmla="*/ 57 h 721"/>
                <a:gd name="T8" fmla="*/ 412 w 554"/>
                <a:gd name="T9" fmla="*/ 88 h 721"/>
                <a:gd name="T10" fmla="*/ 434 w 554"/>
                <a:gd name="T11" fmla="*/ 100 h 721"/>
                <a:gd name="T12" fmla="*/ 470 w 554"/>
                <a:gd name="T13" fmla="*/ 100 h 721"/>
                <a:gd name="T14" fmla="*/ 554 w 554"/>
                <a:gd name="T15" fmla="*/ 183 h 721"/>
                <a:gd name="T16" fmla="*/ 554 w 554"/>
                <a:gd name="T17" fmla="*/ 487 h 721"/>
                <a:gd name="T18" fmla="*/ 554 w 554"/>
                <a:gd name="T19" fmla="*/ 639 h 721"/>
                <a:gd name="T20" fmla="*/ 472 w 554"/>
                <a:gd name="T21" fmla="*/ 721 h 721"/>
                <a:gd name="T22" fmla="*/ 81 w 554"/>
                <a:gd name="T23" fmla="*/ 721 h 721"/>
                <a:gd name="T24" fmla="*/ 0 w 554"/>
                <a:gd name="T25" fmla="*/ 640 h 721"/>
                <a:gd name="T26" fmla="*/ 0 w 554"/>
                <a:gd name="T27" fmla="*/ 180 h 721"/>
                <a:gd name="T28" fmla="*/ 81 w 554"/>
                <a:gd name="T29" fmla="*/ 100 h 721"/>
                <a:gd name="T30" fmla="*/ 99 w 554"/>
                <a:gd name="T31" fmla="*/ 100 h 721"/>
                <a:gd name="T32" fmla="*/ 150 w 554"/>
                <a:gd name="T33" fmla="*/ 77 h 721"/>
                <a:gd name="T34" fmla="*/ 188 w 554"/>
                <a:gd name="T35" fmla="*/ 57 h 721"/>
                <a:gd name="T36" fmla="*/ 223 w 554"/>
                <a:gd name="T37" fmla="*/ 57 h 721"/>
                <a:gd name="T38" fmla="*/ 136 w 554"/>
                <a:gd name="T39" fmla="*/ 125 h 721"/>
                <a:gd name="T40" fmla="*/ 81 w 554"/>
                <a:gd name="T41" fmla="*/ 125 h 721"/>
                <a:gd name="T42" fmla="*/ 25 w 554"/>
                <a:gd name="T43" fmla="*/ 182 h 721"/>
                <a:gd name="T44" fmla="*/ 25 w 554"/>
                <a:gd name="T45" fmla="*/ 638 h 721"/>
                <a:gd name="T46" fmla="*/ 82 w 554"/>
                <a:gd name="T47" fmla="*/ 696 h 721"/>
                <a:gd name="T48" fmla="*/ 472 w 554"/>
                <a:gd name="T49" fmla="*/ 696 h 721"/>
                <a:gd name="T50" fmla="*/ 529 w 554"/>
                <a:gd name="T51" fmla="*/ 639 h 721"/>
                <a:gd name="T52" fmla="*/ 529 w 554"/>
                <a:gd name="T53" fmla="*/ 475 h 721"/>
                <a:gd name="T54" fmla="*/ 529 w 554"/>
                <a:gd name="T55" fmla="*/ 187 h 721"/>
                <a:gd name="T56" fmla="*/ 468 w 554"/>
                <a:gd name="T57" fmla="*/ 125 h 721"/>
                <a:gd name="T58" fmla="*/ 428 w 554"/>
                <a:gd name="T59" fmla="*/ 125 h 721"/>
                <a:gd name="T60" fmla="*/ 414 w 554"/>
                <a:gd name="T61" fmla="*/ 133 h 721"/>
                <a:gd name="T62" fmla="*/ 352 w 554"/>
                <a:gd name="T63" fmla="*/ 168 h 721"/>
                <a:gd name="T64" fmla="*/ 209 w 554"/>
                <a:gd name="T65" fmla="*/ 168 h 721"/>
                <a:gd name="T66" fmla="*/ 136 w 554"/>
                <a:gd name="T67" fmla="*/ 125 h 721"/>
                <a:gd name="T68" fmla="*/ 275 w 554"/>
                <a:gd name="T69" fmla="*/ 142 h 721"/>
                <a:gd name="T70" fmla="*/ 361 w 554"/>
                <a:gd name="T71" fmla="*/ 142 h 721"/>
                <a:gd name="T72" fmla="*/ 393 w 554"/>
                <a:gd name="T73" fmla="*/ 113 h 721"/>
                <a:gd name="T74" fmla="*/ 361 w 554"/>
                <a:gd name="T75" fmla="*/ 82 h 721"/>
                <a:gd name="T76" fmla="*/ 323 w 554"/>
                <a:gd name="T77" fmla="*/ 82 h 721"/>
                <a:gd name="T78" fmla="*/ 301 w 554"/>
                <a:gd name="T79" fmla="*/ 59 h 721"/>
                <a:gd name="T80" fmla="*/ 294 w 554"/>
                <a:gd name="T81" fmla="*/ 34 h 721"/>
                <a:gd name="T82" fmla="*/ 267 w 554"/>
                <a:gd name="T83" fmla="*/ 30 h 721"/>
                <a:gd name="T84" fmla="*/ 253 w 554"/>
                <a:gd name="T85" fmla="*/ 57 h 721"/>
                <a:gd name="T86" fmla="*/ 229 w 554"/>
                <a:gd name="T87" fmla="*/ 82 h 721"/>
                <a:gd name="T88" fmla="*/ 195 w 554"/>
                <a:gd name="T89" fmla="*/ 82 h 721"/>
                <a:gd name="T90" fmla="*/ 161 w 554"/>
                <a:gd name="T91" fmla="*/ 113 h 721"/>
                <a:gd name="T92" fmla="*/ 195 w 554"/>
                <a:gd name="T93" fmla="*/ 142 h 721"/>
                <a:gd name="T94" fmla="*/ 275 w 554"/>
                <a:gd name="T95" fmla="*/ 142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54" h="721">
                  <a:moveTo>
                    <a:pt x="223" y="57"/>
                  </a:moveTo>
                  <a:cubicBezTo>
                    <a:pt x="232" y="19"/>
                    <a:pt x="248" y="2"/>
                    <a:pt x="275" y="1"/>
                  </a:cubicBezTo>
                  <a:cubicBezTo>
                    <a:pt x="303" y="0"/>
                    <a:pt x="320" y="17"/>
                    <a:pt x="331" y="57"/>
                  </a:cubicBezTo>
                  <a:cubicBezTo>
                    <a:pt x="341" y="57"/>
                    <a:pt x="351" y="57"/>
                    <a:pt x="361" y="57"/>
                  </a:cubicBezTo>
                  <a:cubicBezTo>
                    <a:pt x="384" y="56"/>
                    <a:pt x="402" y="66"/>
                    <a:pt x="412" y="88"/>
                  </a:cubicBezTo>
                  <a:cubicBezTo>
                    <a:pt x="417" y="98"/>
                    <a:pt x="424" y="100"/>
                    <a:pt x="434" y="100"/>
                  </a:cubicBezTo>
                  <a:cubicBezTo>
                    <a:pt x="446" y="99"/>
                    <a:pt x="458" y="100"/>
                    <a:pt x="470" y="100"/>
                  </a:cubicBezTo>
                  <a:cubicBezTo>
                    <a:pt x="525" y="100"/>
                    <a:pt x="554" y="128"/>
                    <a:pt x="554" y="183"/>
                  </a:cubicBezTo>
                  <a:cubicBezTo>
                    <a:pt x="554" y="284"/>
                    <a:pt x="554" y="386"/>
                    <a:pt x="554" y="487"/>
                  </a:cubicBezTo>
                  <a:cubicBezTo>
                    <a:pt x="554" y="538"/>
                    <a:pt x="554" y="588"/>
                    <a:pt x="554" y="639"/>
                  </a:cubicBezTo>
                  <a:cubicBezTo>
                    <a:pt x="554" y="691"/>
                    <a:pt x="524" y="721"/>
                    <a:pt x="472" y="721"/>
                  </a:cubicBezTo>
                  <a:cubicBezTo>
                    <a:pt x="342" y="721"/>
                    <a:pt x="211" y="721"/>
                    <a:pt x="81" y="721"/>
                  </a:cubicBezTo>
                  <a:cubicBezTo>
                    <a:pt x="30" y="721"/>
                    <a:pt x="0" y="691"/>
                    <a:pt x="0" y="640"/>
                  </a:cubicBezTo>
                  <a:cubicBezTo>
                    <a:pt x="0" y="487"/>
                    <a:pt x="0" y="333"/>
                    <a:pt x="0" y="180"/>
                  </a:cubicBezTo>
                  <a:cubicBezTo>
                    <a:pt x="0" y="129"/>
                    <a:pt x="29" y="100"/>
                    <a:pt x="81" y="100"/>
                  </a:cubicBezTo>
                  <a:cubicBezTo>
                    <a:pt x="87" y="100"/>
                    <a:pt x="93" y="99"/>
                    <a:pt x="99" y="100"/>
                  </a:cubicBezTo>
                  <a:cubicBezTo>
                    <a:pt x="119" y="100"/>
                    <a:pt x="138" y="102"/>
                    <a:pt x="150" y="77"/>
                  </a:cubicBezTo>
                  <a:cubicBezTo>
                    <a:pt x="155" y="67"/>
                    <a:pt x="174" y="62"/>
                    <a:pt x="188" y="57"/>
                  </a:cubicBezTo>
                  <a:cubicBezTo>
                    <a:pt x="199" y="54"/>
                    <a:pt x="211" y="57"/>
                    <a:pt x="223" y="57"/>
                  </a:cubicBezTo>
                  <a:close/>
                  <a:moveTo>
                    <a:pt x="136" y="125"/>
                  </a:moveTo>
                  <a:cubicBezTo>
                    <a:pt x="117" y="125"/>
                    <a:pt x="99" y="125"/>
                    <a:pt x="81" y="125"/>
                  </a:cubicBezTo>
                  <a:cubicBezTo>
                    <a:pt x="44" y="125"/>
                    <a:pt x="25" y="144"/>
                    <a:pt x="25" y="182"/>
                  </a:cubicBezTo>
                  <a:cubicBezTo>
                    <a:pt x="25" y="334"/>
                    <a:pt x="25" y="486"/>
                    <a:pt x="25" y="638"/>
                  </a:cubicBezTo>
                  <a:cubicBezTo>
                    <a:pt x="25" y="676"/>
                    <a:pt x="44" y="696"/>
                    <a:pt x="82" y="696"/>
                  </a:cubicBezTo>
                  <a:cubicBezTo>
                    <a:pt x="212" y="696"/>
                    <a:pt x="342" y="696"/>
                    <a:pt x="472" y="696"/>
                  </a:cubicBezTo>
                  <a:cubicBezTo>
                    <a:pt x="510" y="696"/>
                    <a:pt x="529" y="676"/>
                    <a:pt x="529" y="639"/>
                  </a:cubicBezTo>
                  <a:cubicBezTo>
                    <a:pt x="529" y="584"/>
                    <a:pt x="529" y="529"/>
                    <a:pt x="529" y="475"/>
                  </a:cubicBezTo>
                  <a:cubicBezTo>
                    <a:pt x="529" y="379"/>
                    <a:pt x="529" y="283"/>
                    <a:pt x="529" y="187"/>
                  </a:cubicBezTo>
                  <a:cubicBezTo>
                    <a:pt x="529" y="142"/>
                    <a:pt x="512" y="125"/>
                    <a:pt x="468" y="125"/>
                  </a:cubicBezTo>
                  <a:cubicBezTo>
                    <a:pt x="454" y="125"/>
                    <a:pt x="441" y="124"/>
                    <a:pt x="428" y="125"/>
                  </a:cubicBezTo>
                  <a:cubicBezTo>
                    <a:pt x="423" y="126"/>
                    <a:pt x="416" y="129"/>
                    <a:pt x="414" y="133"/>
                  </a:cubicBezTo>
                  <a:cubicBezTo>
                    <a:pt x="402" y="160"/>
                    <a:pt x="380" y="169"/>
                    <a:pt x="352" y="168"/>
                  </a:cubicBezTo>
                  <a:cubicBezTo>
                    <a:pt x="304" y="168"/>
                    <a:pt x="256" y="167"/>
                    <a:pt x="209" y="168"/>
                  </a:cubicBezTo>
                  <a:cubicBezTo>
                    <a:pt x="174" y="169"/>
                    <a:pt x="148" y="160"/>
                    <a:pt x="136" y="125"/>
                  </a:cubicBezTo>
                  <a:close/>
                  <a:moveTo>
                    <a:pt x="275" y="142"/>
                  </a:moveTo>
                  <a:cubicBezTo>
                    <a:pt x="304" y="142"/>
                    <a:pt x="332" y="142"/>
                    <a:pt x="361" y="142"/>
                  </a:cubicBezTo>
                  <a:cubicBezTo>
                    <a:pt x="380" y="141"/>
                    <a:pt x="392" y="130"/>
                    <a:pt x="393" y="113"/>
                  </a:cubicBezTo>
                  <a:cubicBezTo>
                    <a:pt x="394" y="96"/>
                    <a:pt x="381" y="83"/>
                    <a:pt x="361" y="82"/>
                  </a:cubicBezTo>
                  <a:cubicBezTo>
                    <a:pt x="349" y="81"/>
                    <a:pt x="336" y="81"/>
                    <a:pt x="323" y="82"/>
                  </a:cubicBezTo>
                  <a:cubicBezTo>
                    <a:pt x="307" y="82"/>
                    <a:pt x="300" y="76"/>
                    <a:pt x="301" y="59"/>
                  </a:cubicBezTo>
                  <a:cubicBezTo>
                    <a:pt x="302" y="51"/>
                    <a:pt x="299" y="39"/>
                    <a:pt x="294" y="34"/>
                  </a:cubicBezTo>
                  <a:cubicBezTo>
                    <a:pt x="287" y="29"/>
                    <a:pt x="273" y="26"/>
                    <a:pt x="267" y="30"/>
                  </a:cubicBezTo>
                  <a:cubicBezTo>
                    <a:pt x="259" y="35"/>
                    <a:pt x="252" y="48"/>
                    <a:pt x="253" y="57"/>
                  </a:cubicBezTo>
                  <a:cubicBezTo>
                    <a:pt x="253" y="76"/>
                    <a:pt x="247" y="83"/>
                    <a:pt x="229" y="82"/>
                  </a:cubicBezTo>
                  <a:cubicBezTo>
                    <a:pt x="217" y="81"/>
                    <a:pt x="206" y="81"/>
                    <a:pt x="195" y="82"/>
                  </a:cubicBezTo>
                  <a:cubicBezTo>
                    <a:pt x="173" y="82"/>
                    <a:pt x="160" y="95"/>
                    <a:pt x="161" y="113"/>
                  </a:cubicBezTo>
                  <a:cubicBezTo>
                    <a:pt x="162" y="131"/>
                    <a:pt x="174" y="142"/>
                    <a:pt x="195" y="142"/>
                  </a:cubicBezTo>
                  <a:cubicBezTo>
                    <a:pt x="222" y="142"/>
                    <a:pt x="248" y="142"/>
                    <a:pt x="275"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Freeform 28">
              <a:extLst>
                <a:ext uri="{FF2B5EF4-FFF2-40B4-BE49-F238E27FC236}">
                  <a16:creationId xmlns:a16="http://schemas.microsoft.com/office/drawing/2014/main" id="{64C5DE04-1DCC-4923-A27A-A6BF7EC0F42E}"/>
                </a:ext>
              </a:extLst>
            </p:cNvPr>
            <p:cNvSpPr>
              <a:spLocks/>
            </p:cNvSpPr>
            <p:nvPr/>
          </p:nvSpPr>
          <p:spPr bwMode="auto">
            <a:xfrm>
              <a:off x="-633413" y="2973388"/>
              <a:ext cx="214312" cy="22225"/>
            </a:xfrm>
            <a:custGeom>
              <a:avLst/>
              <a:gdLst>
                <a:gd name="T0" fmla="*/ 119 w 236"/>
                <a:gd name="T1" fmla="*/ 0 h 26"/>
                <a:gd name="T2" fmla="*/ 215 w 236"/>
                <a:gd name="T3" fmla="*/ 0 h 26"/>
                <a:gd name="T4" fmla="*/ 234 w 236"/>
                <a:gd name="T5" fmla="*/ 13 h 26"/>
                <a:gd name="T6" fmla="*/ 214 w 236"/>
                <a:gd name="T7" fmla="*/ 25 h 26"/>
                <a:gd name="T8" fmla="*/ 21 w 236"/>
                <a:gd name="T9" fmla="*/ 25 h 26"/>
                <a:gd name="T10" fmla="*/ 2 w 236"/>
                <a:gd name="T11" fmla="*/ 14 h 26"/>
                <a:gd name="T12" fmla="*/ 21 w 236"/>
                <a:gd name="T13" fmla="*/ 0 h 26"/>
                <a:gd name="T14" fmla="*/ 119 w 236"/>
                <a:gd name="T15" fmla="*/ 0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6">
                  <a:moveTo>
                    <a:pt x="119" y="0"/>
                  </a:moveTo>
                  <a:cubicBezTo>
                    <a:pt x="151" y="0"/>
                    <a:pt x="183" y="0"/>
                    <a:pt x="215" y="0"/>
                  </a:cubicBezTo>
                  <a:cubicBezTo>
                    <a:pt x="224" y="1"/>
                    <a:pt x="236" y="0"/>
                    <a:pt x="234" y="13"/>
                  </a:cubicBezTo>
                  <a:cubicBezTo>
                    <a:pt x="233" y="18"/>
                    <a:pt x="221" y="25"/>
                    <a:pt x="214" y="25"/>
                  </a:cubicBezTo>
                  <a:cubicBezTo>
                    <a:pt x="150" y="26"/>
                    <a:pt x="85" y="26"/>
                    <a:pt x="21" y="25"/>
                  </a:cubicBezTo>
                  <a:cubicBezTo>
                    <a:pt x="14" y="25"/>
                    <a:pt x="3" y="19"/>
                    <a:pt x="2" y="14"/>
                  </a:cubicBezTo>
                  <a:cubicBezTo>
                    <a:pt x="0" y="1"/>
                    <a:pt x="12" y="0"/>
                    <a:pt x="21" y="0"/>
                  </a:cubicBezTo>
                  <a:cubicBezTo>
                    <a:pt x="54" y="0"/>
                    <a:pt x="86" y="0"/>
                    <a:pt x="1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Freeform 29">
              <a:extLst>
                <a:ext uri="{FF2B5EF4-FFF2-40B4-BE49-F238E27FC236}">
                  <a16:creationId xmlns:a16="http://schemas.microsoft.com/office/drawing/2014/main" id="{D791CB35-8151-4070-8378-4824B4AB52B0}"/>
                </a:ext>
              </a:extLst>
            </p:cNvPr>
            <p:cNvSpPr>
              <a:spLocks/>
            </p:cNvSpPr>
            <p:nvPr/>
          </p:nvSpPr>
          <p:spPr bwMode="auto">
            <a:xfrm>
              <a:off x="-631825" y="3081338"/>
              <a:ext cx="212725" cy="25400"/>
            </a:xfrm>
            <a:custGeom>
              <a:avLst/>
              <a:gdLst>
                <a:gd name="T0" fmla="*/ 117 w 235"/>
                <a:gd name="T1" fmla="*/ 26 h 27"/>
                <a:gd name="T2" fmla="*/ 21 w 235"/>
                <a:gd name="T3" fmla="*/ 25 h 27"/>
                <a:gd name="T4" fmla="*/ 0 w 235"/>
                <a:gd name="T5" fmla="*/ 13 h 27"/>
                <a:gd name="T6" fmla="*/ 21 w 235"/>
                <a:gd name="T7" fmla="*/ 1 h 27"/>
                <a:gd name="T8" fmla="*/ 213 w 235"/>
                <a:gd name="T9" fmla="*/ 1 h 27"/>
                <a:gd name="T10" fmla="*/ 233 w 235"/>
                <a:gd name="T11" fmla="*/ 12 h 27"/>
                <a:gd name="T12" fmla="*/ 212 w 235"/>
                <a:gd name="T13" fmla="*/ 26 h 27"/>
                <a:gd name="T14" fmla="*/ 117 w 235"/>
                <a:gd name="T15" fmla="*/ 26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 h="27">
                  <a:moveTo>
                    <a:pt x="117" y="26"/>
                  </a:moveTo>
                  <a:cubicBezTo>
                    <a:pt x="85" y="26"/>
                    <a:pt x="53" y="26"/>
                    <a:pt x="21" y="25"/>
                  </a:cubicBezTo>
                  <a:cubicBezTo>
                    <a:pt x="14" y="25"/>
                    <a:pt x="7" y="17"/>
                    <a:pt x="0" y="13"/>
                  </a:cubicBezTo>
                  <a:cubicBezTo>
                    <a:pt x="7" y="9"/>
                    <a:pt x="14" y="1"/>
                    <a:pt x="21" y="1"/>
                  </a:cubicBezTo>
                  <a:cubicBezTo>
                    <a:pt x="85" y="0"/>
                    <a:pt x="149" y="0"/>
                    <a:pt x="213" y="1"/>
                  </a:cubicBezTo>
                  <a:cubicBezTo>
                    <a:pt x="220" y="1"/>
                    <a:pt x="232" y="7"/>
                    <a:pt x="233" y="12"/>
                  </a:cubicBezTo>
                  <a:cubicBezTo>
                    <a:pt x="235" y="27"/>
                    <a:pt x="222" y="26"/>
                    <a:pt x="212" y="26"/>
                  </a:cubicBezTo>
                  <a:cubicBezTo>
                    <a:pt x="180" y="26"/>
                    <a:pt x="148" y="26"/>
                    <a:pt x="117"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Freeform 30">
              <a:extLst>
                <a:ext uri="{FF2B5EF4-FFF2-40B4-BE49-F238E27FC236}">
                  <a16:creationId xmlns:a16="http://schemas.microsoft.com/office/drawing/2014/main" id="{C7297DAC-3FBC-49EC-9AF7-AE7E78337281}"/>
                </a:ext>
              </a:extLst>
            </p:cNvPr>
            <p:cNvSpPr>
              <a:spLocks/>
            </p:cNvSpPr>
            <p:nvPr/>
          </p:nvSpPr>
          <p:spPr bwMode="auto">
            <a:xfrm>
              <a:off x="-631825" y="3195638"/>
              <a:ext cx="211137" cy="23812"/>
            </a:xfrm>
            <a:custGeom>
              <a:avLst/>
              <a:gdLst>
                <a:gd name="T0" fmla="*/ 117 w 234"/>
                <a:gd name="T1" fmla="*/ 25 h 26"/>
                <a:gd name="T2" fmla="*/ 22 w 234"/>
                <a:gd name="T3" fmla="*/ 25 h 26"/>
                <a:gd name="T4" fmla="*/ 0 w 234"/>
                <a:gd name="T5" fmla="*/ 13 h 26"/>
                <a:gd name="T6" fmla="*/ 21 w 234"/>
                <a:gd name="T7" fmla="*/ 1 h 26"/>
                <a:gd name="T8" fmla="*/ 214 w 234"/>
                <a:gd name="T9" fmla="*/ 1 h 26"/>
                <a:gd name="T10" fmla="*/ 234 w 234"/>
                <a:gd name="T11" fmla="*/ 13 h 26"/>
                <a:gd name="T12" fmla="*/ 213 w 234"/>
                <a:gd name="T13" fmla="*/ 25 h 26"/>
                <a:gd name="T14" fmla="*/ 117 w 234"/>
                <a:gd name="T15" fmla="*/ 25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26">
                  <a:moveTo>
                    <a:pt x="117" y="25"/>
                  </a:moveTo>
                  <a:cubicBezTo>
                    <a:pt x="85" y="25"/>
                    <a:pt x="53" y="26"/>
                    <a:pt x="22" y="25"/>
                  </a:cubicBezTo>
                  <a:cubicBezTo>
                    <a:pt x="14" y="24"/>
                    <a:pt x="7" y="17"/>
                    <a:pt x="0" y="13"/>
                  </a:cubicBezTo>
                  <a:cubicBezTo>
                    <a:pt x="7" y="9"/>
                    <a:pt x="14" y="1"/>
                    <a:pt x="21" y="1"/>
                  </a:cubicBezTo>
                  <a:cubicBezTo>
                    <a:pt x="85" y="0"/>
                    <a:pt x="149" y="0"/>
                    <a:pt x="214" y="1"/>
                  </a:cubicBezTo>
                  <a:cubicBezTo>
                    <a:pt x="221" y="1"/>
                    <a:pt x="227" y="9"/>
                    <a:pt x="234" y="13"/>
                  </a:cubicBezTo>
                  <a:cubicBezTo>
                    <a:pt x="227" y="17"/>
                    <a:pt x="220" y="24"/>
                    <a:pt x="213" y="25"/>
                  </a:cubicBezTo>
                  <a:cubicBezTo>
                    <a:pt x="181" y="26"/>
                    <a:pt x="149" y="25"/>
                    <a:pt x="117"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Freeform 31">
              <a:extLst>
                <a:ext uri="{FF2B5EF4-FFF2-40B4-BE49-F238E27FC236}">
                  <a16:creationId xmlns:a16="http://schemas.microsoft.com/office/drawing/2014/main" id="{54DEF33D-D3C6-450A-AA66-78E3C6CEC493}"/>
                </a:ext>
              </a:extLst>
            </p:cNvPr>
            <p:cNvSpPr>
              <a:spLocks/>
            </p:cNvSpPr>
            <p:nvPr/>
          </p:nvSpPr>
          <p:spPr bwMode="auto">
            <a:xfrm>
              <a:off x="-752475" y="3146425"/>
              <a:ext cx="88900" cy="77787"/>
            </a:xfrm>
            <a:custGeom>
              <a:avLst/>
              <a:gdLst>
                <a:gd name="T0" fmla="*/ 36 w 98"/>
                <a:gd name="T1" fmla="*/ 53 h 86"/>
                <a:gd name="T2" fmla="*/ 72 w 98"/>
                <a:gd name="T3" fmla="*/ 15 h 86"/>
                <a:gd name="T4" fmla="*/ 95 w 98"/>
                <a:gd name="T5" fmla="*/ 10 h 86"/>
                <a:gd name="T6" fmla="*/ 90 w 98"/>
                <a:gd name="T7" fmla="*/ 33 h 86"/>
                <a:gd name="T8" fmla="*/ 53 w 98"/>
                <a:gd name="T9" fmla="*/ 72 h 86"/>
                <a:gd name="T10" fmla="*/ 15 w 98"/>
                <a:gd name="T11" fmla="*/ 69 h 86"/>
                <a:gd name="T12" fmla="*/ 2 w 98"/>
                <a:gd name="T13" fmla="*/ 49 h 86"/>
                <a:gd name="T14" fmla="*/ 4 w 98"/>
                <a:gd name="T15" fmla="*/ 30 h 86"/>
                <a:gd name="T16" fmla="*/ 23 w 98"/>
                <a:gd name="T17" fmla="*/ 37 h 86"/>
                <a:gd name="T18" fmla="*/ 36 w 98"/>
                <a:gd name="T19" fmla="*/ 5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86">
                  <a:moveTo>
                    <a:pt x="36" y="53"/>
                  </a:moveTo>
                  <a:cubicBezTo>
                    <a:pt x="48" y="40"/>
                    <a:pt x="60" y="27"/>
                    <a:pt x="72" y="15"/>
                  </a:cubicBezTo>
                  <a:cubicBezTo>
                    <a:pt x="79" y="8"/>
                    <a:pt x="87" y="0"/>
                    <a:pt x="95" y="10"/>
                  </a:cubicBezTo>
                  <a:cubicBezTo>
                    <a:pt x="98" y="14"/>
                    <a:pt x="94" y="27"/>
                    <a:pt x="90" y="33"/>
                  </a:cubicBezTo>
                  <a:cubicBezTo>
                    <a:pt x="79" y="47"/>
                    <a:pt x="66" y="60"/>
                    <a:pt x="53" y="72"/>
                  </a:cubicBezTo>
                  <a:cubicBezTo>
                    <a:pt x="39" y="86"/>
                    <a:pt x="27" y="85"/>
                    <a:pt x="15" y="69"/>
                  </a:cubicBezTo>
                  <a:cubicBezTo>
                    <a:pt x="10" y="63"/>
                    <a:pt x="4" y="57"/>
                    <a:pt x="2" y="49"/>
                  </a:cubicBezTo>
                  <a:cubicBezTo>
                    <a:pt x="0" y="44"/>
                    <a:pt x="3" y="37"/>
                    <a:pt x="4" y="30"/>
                  </a:cubicBezTo>
                  <a:cubicBezTo>
                    <a:pt x="10" y="32"/>
                    <a:pt x="18" y="33"/>
                    <a:pt x="23" y="37"/>
                  </a:cubicBezTo>
                  <a:cubicBezTo>
                    <a:pt x="28" y="40"/>
                    <a:pt x="31" y="47"/>
                    <a:pt x="3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Freeform 32">
              <a:extLst>
                <a:ext uri="{FF2B5EF4-FFF2-40B4-BE49-F238E27FC236}">
                  <a16:creationId xmlns:a16="http://schemas.microsoft.com/office/drawing/2014/main" id="{25447FD8-66AC-4A42-9DAE-B9CA6C2C3668}"/>
                </a:ext>
              </a:extLst>
            </p:cNvPr>
            <p:cNvSpPr>
              <a:spLocks/>
            </p:cNvSpPr>
            <p:nvPr/>
          </p:nvSpPr>
          <p:spPr bwMode="auto">
            <a:xfrm>
              <a:off x="-750888" y="2932113"/>
              <a:ext cx="85725" cy="69850"/>
            </a:xfrm>
            <a:custGeom>
              <a:avLst/>
              <a:gdLst>
                <a:gd name="T0" fmla="*/ 33 w 94"/>
                <a:gd name="T1" fmla="*/ 44 h 76"/>
                <a:gd name="T2" fmla="*/ 72 w 94"/>
                <a:gd name="T3" fmla="*/ 4 h 76"/>
                <a:gd name="T4" fmla="*/ 94 w 94"/>
                <a:gd name="T5" fmla="*/ 0 h 76"/>
                <a:gd name="T6" fmla="*/ 90 w 94"/>
                <a:gd name="T7" fmla="*/ 20 h 76"/>
                <a:gd name="T8" fmla="*/ 49 w 94"/>
                <a:gd name="T9" fmla="*/ 64 h 76"/>
                <a:gd name="T10" fmla="*/ 14 w 94"/>
                <a:gd name="T11" fmla="*/ 61 h 76"/>
                <a:gd name="T12" fmla="*/ 2 w 94"/>
                <a:gd name="T13" fmla="*/ 43 h 76"/>
                <a:gd name="T14" fmla="*/ 2 w 94"/>
                <a:gd name="T15" fmla="*/ 20 h 76"/>
                <a:gd name="T16" fmla="*/ 22 w 94"/>
                <a:gd name="T17" fmla="*/ 28 h 76"/>
                <a:gd name="T18" fmla="*/ 33 w 94"/>
                <a:gd name="T19"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6">
                  <a:moveTo>
                    <a:pt x="33" y="44"/>
                  </a:moveTo>
                  <a:cubicBezTo>
                    <a:pt x="47" y="30"/>
                    <a:pt x="58" y="16"/>
                    <a:pt x="72" y="4"/>
                  </a:cubicBezTo>
                  <a:cubicBezTo>
                    <a:pt x="77" y="0"/>
                    <a:pt x="86" y="1"/>
                    <a:pt x="94" y="0"/>
                  </a:cubicBezTo>
                  <a:cubicBezTo>
                    <a:pt x="93" y="7"/>
                    <a:pt x="94" y="16"/>
                    <a:pt x="90" y="20"/>
                  </a:cubicBezTo>
                  <a:cubicBezTo>
                    <a:pt x="78" y="36"/>
                    <a:pt x="64" y="50"/>
                    <a:pt x="49" y="64"/>
                  </a:cubicBezTo>
                  <a:cubicBezTo>
                    <a:pt x="37" y="76"/>
                    <a:pt x="24" y="74"/>
                    <a:pt x="14" y="61"/>
                  </a:cubicBezTo>
                  <a:cubicBezTo>
                    <a:pt x="9" y="55"/>
                    <a:pt x="4" y="49"/>
                    <a:pt x="2" y="43"/>
                  </a:cubicBezTo>
                  <a:cubicBezTo>
                    <a:pt x="0" y="36"/>
                    <a:pt x="2" y="28"/>
                    <a:pt x="2" y="20"/>
                  </a:cubicBezTo>
                  <a:cubicBezTo>
                    <a:pt x="9" y="23"/>
                    <a:pt x="16" y="24"/>
                    <a:pt x="22" y="28"/>
                  </a:cubicBezTo>
                  <a:cubicBezTo>
                    <a:pt x="26" y="31"/>
                    <a:pt x="28" y="37"/>
                    <a:pt x="33"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Freeform 33">
              <a:extLst>
                <a:ext uri="{FF2B5EF4-FFF2-40B4-BE49-F238E27FC236}">
                  <a16:creationId xmlns:a16="http://schemas.microsoft.com/office/drawing/2014/main" id="{0621F5A7-5D09-45FE-92EF-8D6449E014A3}"/>
                </a:ext>
              </a:extLst>
            </p:cNvPr>
            <p:cNvSpPr>
              <a:spLocks/>
            </p:cNvSpPr>
            <p:nvPr/>
          </p:nvSpPr>
          <p:spPr bwMode="auto">
            <a:xfrm>
              <a:off x="-752475" y="3040063"/>
              <a:ext cx="87312" cy="69850"/>
            </a:xfrm>
            <a:custGeom>
              <a:avLst/>
              <a:gdLst>
                <a:gd name="T0" fmla="*/ 32 w 95"/>
                <a:gd name="T1" fmla="*/ 42 h 77"/>
                <a:gd name="T2" fmla="*/ 73 w 95"/>
                <a:gd name="T3" fmla="*/ 5 h 77"/>
                <a:gd name="T4" fmla="*/ 94 w 95"/>
                <a:gd name="T5" fmla="*/ 0 h 77"/>
                <a:gd name="T6" fmla="*/ 91 w 95"/>
                <a:gd name="T7" fmla="*/ 22 h 77"/>
                <a:gd name="T8" fmla="*/ 51 w 95"/>
                <a:gd name="T9" fmla="*/ 64 h 77"/>
                <a:gd name="T10" fmla="*/ 14 w 95"/>
                <a:gd name="T11" fmla="*/ 61 h 77"/>
                <a:gd name="T12" fmla="*/ 2 w 95"/>
                <a:gd name="T13" fmla="*/ 43 h 77"/>
                <a:gd name="T14" fmla="*/ 3 w 95"/>
                <a:gd name="T15" fmla="*/ 22 h 77"/>
                <a:gd name="T16" fmla="*/ 23 w 95"/>
                <a:gd name="T17" fmla="*/ 30 h 77"/>
                <a:gd name="T18" fmla="*/ 32 w 95"/>
                <a:gd name="T19" fmla="*/ 4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7">
                  <a:moveTo>
                    <a:pt x="32" y="42"/>
                  </a:moveTo>
                  <a:cubicBezTo>
                    <a:pt x="47" y="29"/>
                    <a:pt x="59" y="16"/>
                    <a:pt x="73" y="5"/>
                  </a:cubicBezTo>
                  <a:cubicBezTo>
                    <a:pt x="78" y="1"/>
                    <a:pt x="87" y="1"/>
                    <a:pt x="94" y="0"/>
                  </a:cubicBezTo>
                  <a:cubicBezTo>
                    <a:pt x="93" y="7"/>
                    <a:pt x="95" y="17"/>
                    <a:pt x="91" y="22"/>
                  </a:cubicBezTo>
                  <a:cubicBezTo>
                    <a:pt x="79" y="37"/>
                    <a:pt x="65" y="50"/>
                    <a:pt x="51" y="64"/>
                  </a:cubicBezTo>
                  <a:cubicBezTo>
                    <a:pt x="38" y="77"/>
                    <a:pt x="25" y="76"/>
                    <a:pt x="14" y="61"/>
                  </a:cubicBezTo>
                  <a:cubicBezTo>
                    <a:pt x="10" y="55"/>
                    <a:pt x="4" y="49"/>
                    <a:pt x="2" y="43"/>
                  </a:cubicBezTo>
                  <a:cubicBezTo>
                    <a:pt x="0" y="36"/>
                    <a:pt x="2" y="29"/>
                    <a:pt x="3" y="22"/>
                  </a:cubicBezTo>
                  <a:cubicBezTo>
                    <a:pt x="10" y="24"/>
                    <a:pt x="17" y="26"/>
                    <a:pt x="23" y="30"/>
                  </a:cubicBezTo>
                  <a:cubicBezTo>
                    <a:pt x="27" y="32"/>
                    <a:pt x="30" y="38"/>
                    <a:pt x="3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69" name="Title 4">
            <a:extLst>
              <a:ext uri="{FF2B5EF4-FFF2-40B4-BE49-F238E27FC236}">
                <a16:creationId xmlns:a16="http://schemas.microsoft.com/office/drawing/2014/main" id="{F01D18BE-0443-4628-94BF-FCFDC3C196C3}"/>
              </a:ext>
            </a:extLst>
          </p:cNvPr>
          <p:cNvSpPr txBox="1">
            <a:spLocks/>
          </p:cNvSpPr>
          <p:nvPr/>
        </p:nvSpPr>
        <p:spPr>
          <a:xfrm>
            <a:off x="379476" y="585807"/>
            <a:ext cx="8384400" cy="652455"/>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100" b="1" i="0" u="none" strike="noStrike" cap="none">
                <a:solidFill>
                  <a:srgbClr val="003087"/>
                </a:solidFill>
                <a:latin typeface="Gene Sans" panose="00000500000000000000" pitchFamily="50" charset="0"/>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2100" b="1" i="0" u="none" strike="noStrike" kern="0" cap="none" spc="0" normalizeH="0" baseline="0" noProof="0">
                <a:ln>
                  <a:noFill/>
                </a:ln>
                <a:solidFill>
                  <a:srgbClr val="003087"/>
                </a:solidFill>
                <a:effectLst/>
                <a:uLnTx/>
                <a:uFillTx/>
                <a:latin typeface="Gene Sans" panose="00000500000000000000" pitchFamily="50" charset="0"/>
                <a:cs typeface="Arial"/>
                <a:sym typeface="Arial"/>
              </a:rPr>
              <a:t>Association Between irAEs and Outcomes</a:t>
            </a:r>
            <a:endParaRPr kumimoji="0" lang="en-US" sz="2100" b="1" i="0" u="none" strike="noStrike" kern="0" cap="none" spc="0" normalizeH="0" baseline="0" noProof="0" dirty="0">
              <a:ln>
                <a:noFill/>
              </a:ln>
              <a:solidFill>
                <a:srgbClr val="003087"/>
              </a:solidFill>
              <a:effectLst/>
              <a:uLnTx/>
              <a:uFillTx/>
              <a:latin typeface="Gene Sans" panose="00000500000000000000" pitchFamily="50" charset="0"/>
              <a:cs typeface="Arial"/>
              <a:sym typeface="Arial"/>
            </a:endParaRPr>
          </a:p>
        </p:txBody>
      </p:sp>
      <p:grpSp>
        <p:nvGrpSpPr>
          <p:cNvPr id="72" name="Group 71">
            <a:extLst>
              <a:ext uri="{FF2B5EF4-FFF2-40B4-BE49-F238E27FC236}">
                <a16:creationId xmlns:a16="http://schemas.microsoft.com/office/drawing/2014/main" id="{087BDB14-741E-4668-BF30-BBADFFC84E63}"/>
              </a:ext>
            </a:extLst>
          </p:cNvPr>
          <p:cNvGrpSpPr/>
          <p:nvPr/>
        </p:nvGrpSpPr>
        <p:grpSpPr>
          <a:xfrm>
            <a:off x="373259" y="2344513"/>
            <a:ext cx="399846" cy="399846"/>
            <a:chOff x="377952" y="3186030"/>
            <a:chExt cx="399846" cy="399846"/>
          </a:xfrm>
        </p:grpSpPr>
        <p:sp>
          <p:nvSpPr>
            <p:cNvPr id="73" name="Rectangle 72">
              <a:extLst>
                <a:ext uri="{FF2B5EF4-FFF2-40B4-BE49-F238E27FC236}">
                  <a16:creationId xmlns:a16="http://schemas.microsoft.com/office/drawing/2014/main" id="{4F0693C1-5B5F-423E-8054-A644543F0B80}"/>
                </a:ext>
              </a:extLst>
            </p:cNvPr>
            <p:cNvSpPr/>
            <p:nvPr/>
          </p:nvSpPr>
          <p:spPr>
            <a:xfrm>
              <a:off x="377952" y="3186030"/>
              <a:ext cx="399846" cy="3998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a:ln>
                  <a:noFill/>
                </a:ln>
                <a:solidFill>
                  <a:srgbClr val="FFFFFF"/>
                </a:solidFill>
                <a:effectLst/>
                <a:uLnTx/>
                <a:uFillTx/>
                <a:latin typeface="Gene Sans Light" panose="00000400000000000000" pitchFamily="2" charset="0"/>
                <a:ea typeface="+mn-ea"/>
                <a:cs typeface="+mn-cs"/>
                <a:sym typeface="Arial"/>
              </a:endParaRPr>
            </a:p>
          </p:txBody>
        </p:sp>
        <p:grpSp>
          <p:nvGrpSpPr>
            <p:cNvPr id="74" name="Group 73">
              <a:extLst>
                <a:ext uri="{FF2B5EF4-FFF2-40B4-BE49-F238E27FC236}">
                  <a16:creationId xmlns:a16="http://schemas.microsoft.com/office/drawing/2014/main" id="{48667314-6C75-4BBD-B3D4-BED47D17A57E}"/>
                </a:ext>
              </a:extLst>
            </p:cNvPr>
            <p:cNvGrpSpPr/>
            <p:nvPr/>
          </p:nvGrpSpPr>
          <p:grpSpPr>
            <a:xfrm>
              <a:off x="481038" y="3275491"/>
              <a:ext cx="193674" cy="220924"/>
              <a:chOff x="4870450" y="3278188"/>
              <a:chExt cx="315913" cy="360363"/>
            </a:xfrm>
            <a:solidFill>
              <a:schemeClr val="bg1"/>
            </a:solidFill>
          </p:grpSpPr>
          <p:sp>
            <p:nvSpPr>
              <p:cNvPr id="75" name="Freeform 75">
                <a:extLst>
                  <a:ext uri="{FF2B5EF4-FFF2-40B4-BE49-F238E27FC236}">
                    <a16:creationId xmlns:a16="http://schemas.microsoft.com/office/drawing/2014/main" id="{01443E8F-BB65-40AD-A099-3C7014187060}"/>
                  </a:ext>
                </a:extLst>
              </p:cNvPr>
              <p:cNvSpPr>
                <a:spLocks noEditPoints="1"/>
              </p:cNvSpPr>
              <p:nvPr/>
            </p:nvSpPr>
            <p:spPr bwMode="auto">
              <a:xfrm>
                <a:off x="5110163" y="3398838"/>
                <a:ext cx="76200" cy="74613"/>
              </a:xfrm>
              <a:custGeom>
                <a:avLst/>
                <a:gdLst>
                  <a:gd name="T0" fmla="*/ 149 w 331"/>
                  <a:gd name="T1" fmla="*/ 330 h 331"/>
                  <a:gd name="T2" fmla="*/ 101 w 331"/>
                  <a:gd name="T3" fmla="*/ 318 h 331"/>
                  <a:gd name="T4" fmla="*/ 61 w 331"/>
                  <a:gd name="T5" fmla="*/ 293 h 331"/>
                  <a:gd name="T6" fmla="*/ 29 w 331"/>
                  <a:gd name="T7" fmla="*/ 258 h 331"/>
                  <a:gd name="T8" fmla="*/ 8 w 331"/>
                  <a:gd name="T9" fmla="*/ 214 h 331"/>
                  <a:gd name="T10" fmla="*/ 0 w 331"/>
                  <a:gd name="T11" fmla="*/ 166 h 331"/>
                  <a:gd name="T12" fmla="*/ 4 w 331"/>
                  <a:gd name="T13" fmla="*/ 131 h 331"/>
                  <a:gd name="T14" fmla="*/ 20 w 331"/>
                  <a:gd name="T15" fmla="*/ 86 h 331"/>
                  <a:gd name="T16" fmla="*/ 48 w 331"/>
                  <a:gd name="T17" fmla="*/ 48 h 331"/>
                  <a:gd name="T18" fmla="*/ 87 w 331"/>
                  <a:gd name="T19" fmla="*/ 20 h 331"/>
                  <a:gd name="T20" fmla="*/ 132 w 331"/>
                  <a:gd name="T21" fmla="*/ 3 h 331"/>
                  <a:gd name="T22" fmla="*/ 165 w 331"/>
                  <a:gd name="T23" fmla="*/ 0 h 331"/>
                  <a:gd name="T24" fmla="*/ 215 w 331"/>
                  <a:gd name="T25" fmla="*/ 7 h 331"/>
                  <a:gd name="T26" fmla="*/ 258 w 331"/>
                  <a:gd name="T27" fmla="*/ 28 h 331"/>
                  <a:gd name="T28" fmla="*/ 293 w 331"/>
                  <a:gd name="T29" fmla="*/ 60 h 331"/>
                  <a:gd name="T30" fmla="*/ 318 w 331"/>
                  <a:gd name="T31" fmla="*/ 100 h 331"/>
                  <a:gd name="T32" fmla="*/ 331 w 331"/>
                  <a:gd name="T33" fmla="*/ 148 h 331"/>
                  <a:gd name="T34" fmla="*/ 331 w 331"/>
                  <a:gd name="T35" fmla="*/ 182 h 331"/>
                  <a:gd name="T36" fmla="*/ 318 w 331"/>
                  <a:gd name="T37" fmla="*/ 230 h 331"/>
                  <a:gd name="T38" fmla="*/ 293 w 331"/>
                  <a:gd name="T39" fmla="*/ 270 h 331"/>
                  <a:gd name="T40" fmla="*/ 258 w 331"/>
                  <a:gd name="T41" fmla="*/ 302 h 331"/>
                  <a:gd name="T42" fmla="*/ 215 w 331"/>
                  <a:gd name="T43" fmla="*/ 323 h 331"/>
                  <a:gd name="T44" fmla="*/ 165 w 331"/>
                  <a:gd name="T45" fmla="*/ 331 h 331"/>
                  <a:gd name="T46" fmla="*/ 165 w 331"/>
                  <a:gd name="T47" fmla="*/ 66 h 331"/>
                  <a:gd name="T48" fmla="*/ 136 w 331"/>
                  <a:gd name="T49" fmla="*/ 70 h 331"/>
                  <a:gd name="T50" fmla="*/ 110 w 331"/>
                  <a:gd name="T51" fmla="*/ 83 h 331"/>
                  <a:gd name="T52" fmla="*/ 89 w 331"/>
                  <a:gd name="T53" fmla="*/ 103 h 331"/>
                  <a:gd name="T54" fmla="*/ 74 w 331"/>
                  <a:gd name="T55" fmla="*/ 126 h 331"/>
                  <a:gd name="T56" fmla="*/ 67 w 331"/>
                  <a:gd name="T57" fmla="*/ 155 h 331"/>
                  <a:gd name="T58" fmla="*/ 67 w 331"/>
                  <a:gd name="T59" fmla="*/ 175 h 331"/>
                  <a:gd name="T60" fmla="*/ 74 w 331"/>
                  <a:gd name="T61" fmla="*/ 204 h 331"/>
                  <a:gd name="T62" fmla="*/ 89 w 331"/>
                  <a:gd name="T63" fmla="*/ 229 h 331"/>
                  <a:gd name="T64" fmla="*/ 110 w 331"/>
                  <a:gd name="T65" fmla="*/ 247 h 331"/>
                  <a:gd name="T66" fmla="*/ 136 w 331"/>
                  <a:gd name="T67" fmla="*/ 260 h 331"/>
                  <a:gd name="T68" fmla="*/ 165 w 331"/>
                  <a:gd name="T69" fmla="*/ 265 h 331"/>
                  <a:gd name="T70" fmla="*/ 186 w 331"/>
                  <a:gd name="T71" fmla="*/ 263 h 331"/>
                  <a:gd name="T72" fmla="*/ 213 w 331"/>
                  <a:gd name="T73" fmla="*/ 253 h 331"/>
                  <a:gd name="T74" fmla="*/ 236 w 331"/>
                  <a:gd name="T75" fmla="*/ 235 h 331"/>
                  <a:gd name="T76" fmla="*/ 253 w 331"/>
                  <a:gd name="T77" fmla="*/ 212 h 331"/>
                  <a:gd name="T78" fmla="*/ 262 w 331"/>
                  <a:gd name="T79" fmla="*/ 185 h 331"/>
                  <a:gd name="T80" fmla="*/ 265 w 331"/>
                  <a:gd name="T81" fmla="*/ 166 h 331"/>
                  <a:gd name="T82" fmla="*/ 260 w 331"/>
                  <a:gd name="T83" fmla="*/ 136 h 331"/>
                  <a:gd name="T84" fmla="*/ 248 w 331"/>
                  <a:gd name="T85" fmla="*/ 110 h 331"/>
                  <a:gd name="T86" fmla="*/ 228 w 331"/>
                  <a:gd name="T87" fmla="*/ 88 h 331"/>
                  <a:gd name="T88" fmla="*/ 205 w 331"/>
                  <a:gd name="T89" fmla="*/ 74 h 331"/>
                  <a:gd name="T90" fmla="*/ 176 w 331"/>
                  <a:gd name="T91" fmla="*/ 6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1" h="331">
                    <a:moveTo>
                      <a:pt x="165" y="331"/>
                    </a:moveTo>
                    <a:lnTo>
                      <a:pt x="165" y="331"/>
                    </a:lnTo>
                    <a:lnTo>
                      <a:pt x="149" y="330"/>
                    </a:lnTo>
                    <a:lnTo>
                      <a:pt x="132" y="327"/>
                    </a:lnTo>
                    <a:lnTo>
                      <a:pt x="117" y="323"/>
                    </a:lnTo>
                    <a:lnTo>
                      <a:pt x="101" y="318"/>
                    </a:lnTo>
                    <a:lnTo>
                      <a:pt x="87" y="310"/>
                    </a:lnTo>
                    <a:lnTo>
                      <a:pt x="73" y="302"/>
                    </a:lnTo>
                    <a:lnTo>
                      <a:pt x="61" y="293"/>
                    </a:lnTo>
                    <a:lnTo>
                      <a:pt x="48" y="283"/>
                    </a:lnTo>
                    <a:lnTo>
                      <a:pt x="38" y="270"/>
                    </a:lnTo>
                    <a:lnTo>
                      <a:pt x="29" y="258"/>
                    </a:lnTo>
                    <a:lnTo>
                      <a:pt x="20" y="244"/>
                    </a:lnTo>
                    <a:lnTo>
                      <a:pt x="13" y="230"/>
                    </a:lnTo>
                    <a:lnTo>
                      <a:pt x="8" y="214"/>
                    </a:lnTo>
                    <a:lnTo>
                      <a:pt x="4" y="199"/>
                    </a:lnTo>
                    <a:lnTo>
                      <a:pt x="1" y="182"/>
                    </a:lnTo>
                    <a:lnTo>
                      <a:pt x="0" y="166"/>
                    </a:lnTo>
                    <a:lnTo>
                      <a:pt x="0" y="166"/>
                    </a:lnTo>
                    <a:lnTo>
                      <a:pt x="1" y="148"/>
                    </a:lnTo>
                    <a:lnTo>
                      <a:pt x="4" y="131"/>
                    </a:lnTo>
                    <a:lnTo>
                      <a:pt x="8" y="116"/>
                    </a:lnTo>
                    <a:lnTo>
                      <a:pt x="13" y="100"/>
                    </a:lnTo>
                    <a:lnTo>
                      <a:pt x="20" y="86"/>
                    </a:lnTo>
                    <a:lnTo>
                      <a:pt x="29" y="73"/>
                    </a:lnTo>
                    <a:lnTo>
                      <a:pt x="38" y="60"/>
                    </a:lnTo>
                    <a:lnTo>
                      <a:pt x="48" y="48"/>
                    </a:lnTo>
                    <a:lnTo>
                      <a:pt x="61" y="37"/>
                    </a:lnTo>
                    <a:lnTo>
                      <a:pt x="73" y="28"/>
                    </a:lnTo>
                    <a:lnTo>
                      <a:pt x="87" y="20"/>
                    </a:lnTo>
                    <a:lnTo>
                      <a:pt x="101" y="13"/>
                    </a:lnTo>
                    <a:lnTo>
                      <a:pt x="117" y="7"/>
                    </a:lnTo>
                    <a:lnTo>
                      <a:pt x="132" y="3"/>
                    </a:lnTo>
                    <a:lnTo>
                      <a:pt x="149" y="0"/>
                    </a:lnTo>
                    <a:lnTo>
                      <a:pt x="165" y="0"/>
                    </a:lnTo>
                    <a:lnTo>
                      <a:pt x="165" y="0"/>
                    </a:lnTo>
                    <a:lnTo>
                      <a:pt x="183" y="0"/>
                    </a:lnTo>
                    <a:lnTo>
                      <a:pt x="199" y="3"/>
                    </a:lnTo>
                    <a:lnTo>
                      <a:pt x="215" y="7"/>
                    </a:lnTo>
                    <a:lnTo>
                      <a:pt x="230" y="13"/>
                    </a:lnTo>
                    <a:lnTo>
                      <a:pt x="245" y="20"/>
                    </a:lnTo>
                    <a:lnTo>
                      <a:pt x="258" y="28"/>
                    </a:lnTo>
                    <a:lnTo>
                      <a:pt x="271" y="37"/>
                    </a:lnTo>
                    <a:lnTo>
                      <a:pt x="283" y="48"/>
                    </a:lnTo>
                    <a:lnTo>
                      <a:pt x="293" y="60"/>
                    </a:lnTo>
                    <a:lnTo>
                      <a:pt x="303" y="73"/>
                    </a:lnTo>
                    <a:lnTo>
                      <a:pt x="311" y="86"/>
                    </a:lnTo>
                    <a:lnTo>
                      <a:pt x="318" y="100"/>
                    </a:lnTo>
                    <a:lnTo>
                      <a:pt x="324" y="116"/>
                    </a:lnTo>
                    <a:lnTo>
                      <a:pt x="328" y="131"/>
                    </a:lnTo>
                    <a:lnTo>
                      <a:pt x="331" y="148"/>
                    </a:lnTo>
                    <a:lnTo>
                      <a:pt x="331" y="166"/>
                    </a:lnTo>
                    <a:lnTo>
                      <a:pt x="331" y="166"/>
                    </a:lnTo>
                    <a:lnTo>
                      <a:pt x="331" y="182"/>
                    </a:lnTo>
                    <a:lnTo>
                      <a:pt x="328" y="199"/>
                    </a:lnTo>
                    <a:lnTo>
                      <a:pt x="324" y="214"/>
                    </a:lnTo>
                    <a:lnTo>
                      <a:pt x="318" y="230"/>
                    </a:lnTo>
                    <a:lnTo>
                      <a:pt x="311" y="244"/>
                    </a:lnTo>
                    <a:lnTo>
                      <a:pt x="303" y="258"/>
                    </a:lnTo>
                    <a:lnTo>
                      <a:pt x="293" y="270"/>
                    </a:lnTo>
                    <a:lnTo>
                      <a:pt x="283" y="283"/>
                    </a:lnTo>
                    <a:lnTo>
                      <a:pt x="271" y="293"/>
                    </a:lnTo>
                    <a:lnTo>
                      <a:pt x="258" y="302"/>
                    </a:lnTo>
                    <a:lnTo>
                      <a:pt x="245" y="310"/>
                    </a:lnTo>
                    <a:lnTo>
                      <a:pt x="230" y="318"/>
                    </a:lnTo>
                    <a:lnTo>
                      <a:pt x="215" y="323"/>
                    </a:lnTo>
                    <a:lnTo>
                      <a:pt x="199" y="327"/>
                    </a:lnTo>
                    <a:lnTo>
                      <a:pt x="183" y="330"/>
                    </a:lnTo>
                    <a:lnTo>
                      <a:pt x="165" y="331"/>
                    </a:lnTo>
                    <a:lnTo>
                      <a:pt x="165" y="331"/>
                    </a:lnTo>
                    <a:close/>
                    <a:moveTo>
                      <a:pt x="165" y="66"/>
                    </a:moveTo>
                    <a:lnTo>
                      <a:pt x="165" y="66"/>
                    </a:lnTo>
                    <a:lnTo>
                      <a:pt x="156" y="66"/>
                    </a:lnTo>
                    <a:lnTo>
                      <a:pt x="146" y="67"/>
                    </a:lnTo>
                    <a:lnTo>
                      <a:pt x="136" y="70"/>
                    </a:lnTo>
                    <a:lnTo>
                      <a:pt x="127" y="74"/>
                    </a:lnTo>
                    <a:lnTo>
                      <a:pt x="119" y="78"/>
                    </a:lnTo>
                    <a:lnTo>
                      <a:pt x="110" y="83"/>
                    </a:lnTo>
                    <a:lnTo>
                      <a:pt x="102" y="88"/>
                    </a:lnTo>
                    <a:lnTo>
                      <a:pt x="96" y="95"/>
                    </a:lnTo>
                    <a:lnTo>
                      <a:pt x="89" y="103"/>
                    </a:lnTo>
                    <a:lnTo>
                      <a:pt x="83" y="110"/>
                    </a:lnTo>
                    <a:lnTo>
                      <a:pt x="78" y="118"/>
                    </a:lnTo>
                    <a:lnTo>
                      <a:pt x="74" y="126"/>
                    </a:lnTo>
                    <a:lnTo>
                      <a:pt x="71" y="136"/>
                    </a:lnTo>
                    <a:lnTo>
                      <a:pt x="68" y="145"/>
                    </a:lnTo>
                    <a:lnTo>
                      <a:pt x="67" y="155"/>
                    </a:lnTo>
                    <a:lnTo>
                      <a:pt x="66" y="166"/>
                    </a:lnTo>
                    <a:lnTo>
                      <a:pt x="66" y="166"/>
                    </a:lnTo>
                    <a:lnTo>
                      <a:pt x="67" y="175"/>
                    </a:lnTo>
                    <a:lnTo>
                      <a:pt x="68" y="185"/>
                    </a:lnTo>
                    <a:lnTo>
                      <a:pt x="71" y="195"/>
                    </a:lnTo>
                    <a:lnTo>
                      <a:pt x="74" y="204"/>
                    </a:lnTo>
                    <a:lnTo>
                      <a:pt x="78" y="212"/>
                    </a:lnTo>
                    <a:lnTo>
                      <a:pt x="83" y="220"/>
                    </a:lnTo>
                    <a:lnTo>
                      <a:pt x="89" y="229"/>
                    </a:lnTo>
                    <a:lnTo>
                      <a:pt x="96" y="235"/>
                    </a:lnTo>
                    <a:lnTo>
                      <a:pt x="102" y="242"/>
                    </a:lnTo>
                    <a:lnTo>
                      <a:pt x="110" y="247"/>
                    </a:lnTo>
                    <a:lnTo>
                      <a:pt x="119" y="253"/>
                    </a:lnTo>
                    <a:lnTo>
                      <a:pt x="127" y="257"/>
                    </a:lnTo>
                    <a:lnTo>
                      <a:pt x="136" y="260"/>
                    </a:lnTo>
                    <a:lnTo>
                      <a:pt x="146" y="263"/>
                    </a:lnTo>
                    <a:lnTo>
                      <a:pt x="156" y="264"/>
                    </a:lnTo>
                    <a:lnTo>
                      <a:pt x="165" y="265"/>
                    </a:lnTo>
                    <a:lnTo>
                      <a:pt x="165" y="265"/>
                    </a:lnTo>
                    <a:lnTo>
                      <a:pt x="176" y="264"/>
                    </a:lnTo>
                    <a:lnTo>
                      <a:pt x="186" y="263"/>
                    </a:lnTo>
                    <a:lnTo>
                      <a:pt x="195" y="260"/>
                    </a:lnTo>
                    <a:lnTo>
                      <a:pt x="205" y="257"/>
                    </a:lnTo>
                    <a:lnTo>
                      <a:pt x="213" y="253"/>
                    </a:lnTo>
                    <a:lnTo>
                      <a:pt x="221" y="247"/>
                    </a:lnTo>
                    <a:lnTo>
                      <a:pt x="228" y="242"/>
                    </a:lnTo>
                    <a:lnTo>
                      <a:pt x="236" y="235"/>
                    </a:lnTo>
                    <a:lnTo>
                      <a:pt x="242" y="229"/>
                    </a:lnTo>
                    <a:lnTo>
                      <a:pt x="248" y="220"/>
                    </a:lnTo>
                    <a:lnTo>
                      <a:pt x="253" y="212"/>
                    </a:lnTo>
                    <a:lnTo>
                      <a:pt x="257" y="204"/>
                    </a:lnTo>
                    <a:lnTo>
                      <a:pt x="260" y="195"/>
                    </a:lnTo>
                    <a:lnTo>
                      <a:pt x="262" y="185"/>
                    </a:lnTo>
                    <a:lnTo>
                      <a:pt x="265" y="175"/>
                    </a:lnTo>
                    <a:lnTo>
                      <a:pt x="265" y="166"/>
                    </a:lnTo>
                    <a:lnTo>
                      <a:pt x="265" y="166"/>
                    </a:lnTo>
                    <a:lnTo>
                      <a:pt x="265" y="155"/>
                    </a:lnTo>
                    <a:lnTo>
                      <a:pt x="262" y="145"/>
                    </a:lnTo>
                    <a:lnTo>
                      <a:pt x="260" y="136"/>
                    </a:lnTo>
                    <a:lnTo>
                      <a:pt x="257" y="126"/>
                    </a:lnTo>
                    <a:lnTo>
                      <a:pt x="253" y="118"/>
                    </a:lnTo>
                    <a:lnTo>
                      <a:pt x="248" y="110"/>
                    </a:lnTo>
                    <a:lnTo>
                      <a:pt x="242" y="103"/>
                    </a:lnTo>
                    <a:lnTo>
                      <a:pt x="236" y="95"/>
                    </a:lnTo>
                    <a:lnTo>
                      <a:pt x="228" y="88"/>
                    </a:lnTo>
                    <a:lnTo>
                      <a:pt x="221" y="83"/>
                    </a:lnTo>
                    <a:lnTo>
                      <a:pt x="213" y="78"/>
                    </a:lnTo>
                    <a:lnTo>
                      <a:pt x="205" y="74"/>
                    </a:lnTo>
                    <a:lnTo>
                      <a:pt x="195" y="70"/>
                    </a:lnTo>
                    <a:lnTo>
                      <a:pt x="186" y="67"/>
                    </a:lnTo>
                    <a:lnTo>
                      <a:pt x="176" y="66"/>
                    </a:lnTo>
                    <a:lnTo>
                      <a:pt x="165" y="66"/>
                    </a:lnTo>
                    <a:lnTo>
                      <a:pt x="165"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Freeform 76">
                <a:extLst>
                  <a:ext uri="{FF2B5EF4-FFF2-40B4-BE49-F238E27FC236}">
                    <a16:creationId xmlns:a16="http://schemas.microsoft.com/office/drawing/2014/main" id="{B8DB9114-85DD-42FE-920D-F37DDA58C591}"/>
                  </a:ext>
                </a:extLst>
              </p:cNvPr>
              <p:cNvSpPr>
                <a:spLocks/>
              </p:cNvSpPr>
              <p:nvPr/>
            </p:nvSpPr>
            <p:spPr bwMode="auto">
              <a:xfrm>
                <a:off x="4870450" y="3302001"/>
                <a:ext cx="165100" cy="195263"/>
              </a:xfrm>
              <a:custGeom>
                <a:avLst/>
                <a:gdLst>
                  <a:gd name="T0" fmla="*/ 327 w 728"/>
                  <a:gd name="T1" fmla="*/ 859 h 861"/>
                  <a:gd name="T2" fmla="*/ 257 w 728"/>
                  <a:gd name="T3" fmla="*/ 845 h 861"/>
                  <a:gd name="T4" fmla="*/ 190 w 728"/>
                  <a:gd name="T5" fmla="*/ 817 h 861"/>
                  <a:gd name="T6" fmla="*/ 132 w 728"/>
                  <a:gd name="T7" fmla="*/ 778 h 861"/>
                  <a:gd name="T8" fmla="*/ 84 w 728"/>
                  <a:gd name="T9" fmla="*/ 728 h 861"/>
                  <a:gd name="T10" fmla="*/ 44 w 728"/>
                  <a:gd name="T11" fmla="*/ 670 h 861"/>
                  <a:gd name="T12" fmla="*/ 16 w 728"/>
                  <a:gd name="T13" fmla="*/ 605 h 861"/>
                  <a:gd name="T14" fmla="*/ 2 w 728"/>
                  <a:gd name="T15" fmla="*/ 534 h 861"/>
                  <a:gd name="T16" fmla="*/ 0 w 728"/>
                  <a:gd name="T17" fmla="*/ 165 h 861"/>
                  <a:gd name="T18" fmla="*/ 13 w 728"/>
                  <a:gd name="T19" fmla="*/ 101 h 861"/>
                  <a:gd name="T20" fmla="*/ 49 w 728"/>
                  <a:gd name="T21" fmla="*/ 48 h 861"/>
                  <a:gd name="T22" fmla="*/ 101 w 728"/>
                  <a:gd name="T23" fmla="*/ 13 h 861"/>
                  <a:gd name="T24" fmla="*/ 165 w 728"/>
                  <a:gd name="T25" fmla="*/ 0 h 861"/>
                  <a:gd name="T26" fmla="*/ 184 w 728"/>
                  <a:gd name="T27" fmla="*/ 6 h 861"/>
                  <a:gd name="T28" fmla="*/ 198 w 728"/>
                  <a:gd name="T29" fmla="*/ 27 h 861"/>
                  <a:gd name="T30" fmla="*/ 197 w 728"/>
                  <a:gd name="T31" fmla="*/ 46 h 861"/>
                  <a:gd name="T32" fmla="*/ 179 w 728"/>
                  <a:gd name="T33" fmla="*/ 64 h 861"/>
                  <a:gd name="T34" fmla="*/ 155 w 728"/>
                  <a:gd name="T35" fmla="*/ 67 h 861"/>
                  <a:gd name="T36" fmla="*/ 118 w 728"/>
                  <a:gd name="T37" fmla="*/ 78 h 861"/>
                  <a:gd name="T38" fmla="*/ 89 w 728"/>
                  <a:gd name="T39" fmla="*/ 102 h 861"/>
                  <a:gd name="T40" fmla="*/ 70 w 728"/>
                  <a:gd name="T41" fmla="*/ 136 h 861"/>
                  <a:gd name="T42" fmla="*/ 66 w 728"/>
                  <a:gd name="T43" fmla="*/ 497 h 861"/>
                  <a:gd name="T44" fmla="*/ 69 w 728"/>
                  <a:gd name="T45" fmla="*/ 542 h 861"/>
                  <a:gd name="T46" fmla="*/ 85 w 728"/>
                  <a:gd name="T47" fmla="*/ 599 h 861"/>
                  <a:gd name="T48" fmla="*/ 110 w 728"/>
                  <a:gd name="T49" fmla="*/ 651 h 861"/>
                  <a:gd name="T50" fmla="*/ 144 w 728"/>
                  <a:gd name="T51" fmla="*/ 697 h 861"/>
                  <a:gd name="T52" fmla="*/ 186 w 728"/>
                  <a:gd name="T53" fmla="*/ 735 h 861"/>
                  <a:gd name="T54" fmla="*/ 235 w 728"/>
                  <a:gd name="T55" fmla="*/ 765 h 861"/>
                  <a:gd name="T56" fmla="*/ 290 w 728"/>
                  <a:gd name="T57" fmla="*/ 786 h 861"/>
                  <a:gd name="T58" fmla="*/ 349 w 728"/>
                  <a:gd name="T59" fmla="*/ 794 h 861"/>
                  <a:gd name="T60" fmla="*/ 395 w 728"/>
                  <a:gd name="T61" fmla="*/ 793 h 861"/>
                  <a:gd name="T62" fmla="*/ 453 w 728"/>
                  <a:gd name="T63" fmla="*/ 782 h 861"/>
                  <a:gd name="T64" fmla="*/ 506 w 728"/>
                  <a:gd name="T65" fmla="*/ 759 h 861"/>
                  <a:gd name="T66" fmla="*/ 554 w 728"/>
                  <a:gd name="T67" fmla="*/ 727 h 861"/>
                  <a:gd name="T68" fmla="*/ 594 w 728"/>
                  <a:gd name="T69" fmla="*/ 687 h 861"/>
                  <a:gd name="T70" fmla="*/ 626 w 728"/>
                  <a:gd name="T71" fmla="*/ 639 h 861"/>
                  <a:gd name="T72" fmla="*/ 649 w 728"/>
                  <a:gd name="T73" fmla="*/ 585 h 861"/>
                  <a:gd name="T74" fmla="*/ 661 w 728"/>
                  <a:gd name="T75" fmla="*/ 527 h 861"/>
                  <a:gd name="T76" fmla="*/ 662 w 728"/>
                  <a:gd name="T77" fmla="*/ 165 h 861"/>
                  <a:gd name="T78" fmla="*/ 655 w 728"/>
                  <a:gd name="T79" fmla="*/ 127 h 861"/>
                  <a:gd name="T80" fmla="*/ 633 w 728"/>
                  <a:gd name="T81" fmla="*/ 96 h 861"/>
                  <a:gd name="T82" fmla="*/ 602 w 728"/>
                  <a:gd name="T83" fmla="*/ 74 h 861"/>
                  <a:gd name="T84" fmla="*/ 563 w 728"/>
                  <a:gd name="T85" fmla="*/ 66 h 861"/>
                  <a:gd name="T86" fmla="*/ 544 w 728"/>
                  <a:gd name="T87" fmla="*/ 61 h 861"/>
                  <a:gd name="T88" fmla="*/ 531 w 728"/>
                  <a:gd name="T89" fmla="*/ 40 h 861"/>
                  <a:gd name="T90" fmla="*/ 533 w 728"/>
                  <a:gd name="T91" fmla="*/ 20 h 861"/>
                  <a:gd name="T92" fmla="*/ 550 w 728"/>
                  <a:gd name="T93" fmla="*/ 3 h 861"/>
                  <a:gd name="T94" fmla="*/ 580 w 728"/>
                  <a:gd name="T95" fmla="*/ 1 h 861"/>
                  <a:gd name="T96" fmla="*/ 642 w 728"/>
                  <a:gd name="T97" fmla="*/ 20 h 861"/>
                  <a:gd name="T98" fmla="*/ 691 w 728"/>
                  <a:gd name="T99" fmla="*/ 61 h 861"/>
                  <a:gd name="T100" fmla="*/ 721 w 728"/>
                  <a:gd name="T101" fmla="*/ 117 h 861"/>
                  <a:gd name="T102" fmla="*/ 728 w 728"/>
                  <a:gd name="T103" fmla="*/ 497 h 861"/>
                  <a:gd name="T104" fmla="*/ 724 w 728"/>
                  <a:gd name="T105" fmla="*/ 552 h 861"/>
                  <a:gd name="T106" fmla="*/ 707 w 728"/>
                  <a:gd name="T107" fmla="*/ 621 h 861"/>
                  <a:gd name="T108" fmla="*/ 676 w 728"/>
                  <a:gd name="T109" fmla="*/ 686 h 861"/>
                  <a:gd name="T110" fmla="*/ 634 w 728"/>
                  <a:gd name="T111" fmla="*/ 741 h 861"/>
                  <a:gd name="T112" fmla="*/ 583 w 728"/>
                  <a:gd name="T113" fmla="*/ 789 h 861"/>
                  <a:gd name="T114" fmla="*/ 523 w 728"/>
                  <a:gd name="T115" fmla="*/ 825 h 861"/>
                  <a:gd name="T116" fmla="*/ 455 w 728"/>
                  <a:gd name="T117" fmla="*/ 850 h 861"/>
                  <a:gd name="T118" fmla="*/ 383 w 728"/>
                  <a:gd name="T119" fmla="*/ 86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28" h="861">
                    <a:moveTo>
                      <a:pt x="364" y="861"/>
                    </a:moveTo>
                    <a:lnTo>
                      <a:pt x="364" y="861"/>
                    </a:lnTo>
                    <a:lnTo>
                      <a:pt x="346" y="860"/>
                    </a:lnTo>
                    <a:lnTo>
                      <a:pt x="327" y="859"/>
                    </a:lnTo>
                    <a:lnTo>
                      <a:pt x="309" y="857"/>
                    </a:lnTo>
                    <a:lnTo>
                      <a:pt x="291" y="853"/>
                    </a:lnTo>
                    <a:lnTo>
                      <a:pt x="273" y="850"/>
                    </a:lnTo>
                    <a:lnTo>
                      <a:pt x="257" y="845"/>
                    </a:lnTo>
                    <a:lnTo>
                      <a:pt x="239" y="839"/>
                    </a:lnTo>
                    <a:lnTo>
                      <a:pt x="222" y="833"/>
                    </a:lnTo>
                    <a:lnTo>
                      <a:pt x="207" y="825"/>
                    </a:lnTo>
                    <a:lnTo>
                      <a:pt x="190" y="817"/>
                    </a:lnTo>
                    <a:lnTo>
                      <a:pt x="176" y="809"/>
                    </a:lnTo>
                    <a:lnTo>
                      <a:pt x="160" y="798"/>
                    </a:lnTo>
                    <a:lnTo>
                      <a:pt x="147" y="789"/>
                    </a:lnTo>
                    <a:lnTo>
                      <a:pt x="132" y="778"/>
                    </a:lnTo>
                    <a:lnTo>
                      <a:pt x="120" y="766"/>
                    </a:lnTo>
                    <a:lnTo>
                      <a:pt x="106" y="754"/>
                    </a:lnTo>
                    <a:lnTo>
                      <a:pt x="95" y="741"/>
                    </a:lnTo>
                    <a:lnTo>
                      <a:pt x="84" y="728"/>
                    </a:lnTo>
                    <a:lnTo>
                      <a:pt x="72" y="715"/>
                    </a:lnTo>
                    <a:lnTo>
                      <a:pt x="62" y="700"/>
                    </a:lnTo>
                    <a:lnTo>
                      <a:pt x="53" y="686"/>
                    </a:lnTo>
                    <a:lnTo>
                      <a:pt x="44" y="670"/>
                    </a:lnTo>
                    <a:lnTo>
                      <a:pt x="36" y="655"/>
                    </a:lnTo>
                    <a:lnTo>
                      <a:pt x="29" y="638"/>
                    </a:lnTo>
                    <a:lnTo>
                      <a:pt x="22" y="621"/>
                    </a:lnTo>
                    <a:lnTo>
                      <a:pt x="16" y="605"/>
                    </a:lnTo>
                    <a:lnTo>
                      <a:pt x="11" y="587"/>
                    </a:lnTo>
                    <a:lnTo>
                      <a:pt x="7" y="570"/>
                    </a:lnTo>
                    <a:lnTo>
                      <a:pt x="4" y="552"/>
                    </a:lnTo>
                    <a:lnTo>
                      <a:pt x="2" y="534"/>
                    </a:lnTo>
                    <a:lnTo>
                      <a:pt x="0" y="516"/>
                    </a:lnTo>
                    <a:lnTo>
                      <a:pt x="0" y="497"/>
                    </a:lnTo>
                    <a:lnTo>
                      <a:pt x="0" y="165"/>
                    </a:lnTo>
                    <a:lnTo>
                      <a:pt x="0" y="165"/>
                    </a:lnTo>
                    <a:lnTo>
                      <a:pt x="1" y="149"/>
                    </a:lnTo>
                    <a:lnTo>
                      <a:pt x="3" y="132"/>
                    </a:lnTo>
                    <a:lnTo>
                      <a:pt x="7" y="117"/>
                    </a:lnTo>
                    <a:lnTo>
                      <a:pt x="13" y="101"/>
                    </a:lnTo>
                    <a:lnTo>
                      <a:pt x="20" y="87"/>
                    </a:lnTo>
                    <a:lnTo>
                      <a:pt x="28" y="73"/>
                    </a:lnTo>
                    <a:lnTo>
                      <a:pt x="38" y="61"/>
                    </a:lnTo>
                    <a:lnTo>
                      <a:pt x="49" y="48"/>
                    </a:lnTo>
                    <a:lnTo>
                      <a:pt x="60" y="38"/>
                    </a:lnTo>
                    <a:lnTo>
                      <a:pt x="73" y="29"/>
                    </a:lnTo>
                    <a:lnTo>
                      <a:pt x="87" y="20"/>
                    </a:lnTo>
                    <a:lnTo>
                      <a:pt x="101" y="13"/>
                    </a:lnTo>
                    <a:lnTo>
                      <a:pt x="117" y="8"/>
                    </a:lnTo>
                    <a:lnTo>
                      <a:pt x="132" y="4"/>
                    </a:lnTo>
                    <a:lnTo>
                      <a:pt x="149" y="1"/>
                    </a:lnTo>
                    <a:lnTo>
                      <a:pt x="165" y="0"/>
                    </a:lnTo>
                    <a:lnTo>
                      <a:pt x="165" y="0"/>
                    </a:lnTo>
                    <a:lnTo>
                      <a:pt x="173" y="1"/>
                    </a:lnTo>
                    <a:lnTo>
                      <a:pt x="179" y="3"/>
                    </a:lnTo>
                    <a:lnTo>
                      <a:pt x="184" y="6"/>
                    </a:lnTo>
                    <a:lnTo>
                      <a:pt x="189" y="10"/>
                    </a:lnTo>
                    <a:lnTo>
                      <a:pt x="193" y="14"/>
                    </a:lnTo>
                    <a:lnTo>
                      <a:pt x="197" y="20"/>
                    </a:lnTo>
                    <a:lnTo>
                      <a:pt x="198" y="27"/>
                    </a:lnTo>
                    <a:lnTo>
                      <a:pt x="199" y="33"/>
                    </a:lnTo>
                    <a:lnTo>
                      <a:pt x="199" y="33"/>
                    </a:lnTo>
                    <a:lnTo>
                      <a:pt x="198" y="40"/>
                    </a:lnTo>
                    <a:lnTo>
                      <a:pt x="197" y="46"/>
                    </a:lnTo>
                    <a:lnTo>
                      <a:pt x="193" y="51"/>
                    </a:lnTo>
                    <a:lnTo>
                      <a:pt x="189" y="57"/>
                    </a:lnTo>
                    <a:lnTo>
                      <a:pt x="184" y="61"/>
                    </a:lnTo>
                    <a:lnTo>
                      <a:pt x="179" y="64"/>
                    </a:lnTo>
                    <a:lnTo>
                      <a:pt x="173" y="66"/>
                    </a:lnTo>
                    <a:lnTo>
                      <a:pt x="165" y="66"/>
                    </a:lnTo>
                    <a:lnTo>
                      <a:pt x="165" y="66"/>
                    </a:lnTo>
                    <a:lnTo>
                      <a:pt x="155" y="67"/>
                    </a:lnTo>
                    <a:lnTo>
                      <a:pt x="146" y="68"/>
                    </a:lnTo>
                    <a:lnTo>
                      <a:pt x="136" y="71"/>
                    </a:lnTo>
                    <a:lnTo>
                      <a:pt x="127" y="74"/>
                    </a:lnTo>
                    <a:lnTo>
                      <a:pt x="118" y="78"/>
                    </a:lnTo>
                    <a:lnTo>
                      <a:pt x="110" y="83"/>
                    </a:lnTo>
                    <a:lnTo>
                      <a:pt x="102" y="89"/>
                    </a:lnTo>
                    <a:lnTo>
                      <a:pt x="95" y="96"/>
                    </a:lnTo>
                    <a:lnTo>
                      <a:pt x="89" y="102"/>
                    </a:lnTo>
                    <a:lnTo>
                      <a:pt x="83" y="110"/>
                    </a:lnTo>
                    <a:lnTo>
                      <a:pt x="79" y="119"/>
                    </a:lnTo>
                    <a:lnTo>
                      <a:pt x="74" y="127"/>
                    </a:lnTo>
                    <a:lnTo>
                      <a:pt x="70" y="136"/>
                    </a:lnTo>
                    <a:lnTo>
                      <a:pt x="68" y="146"/>
                    </a:lnTo>
                    <a:lnTo>
                      <a:pt x="67" y="156"/>
                    </a:lnTo>
                    <a:lnTo>
                      <a:pt x="66" y="165"/>
                    </a:lnTo>
                    <a:lnTo>
                      <a:pt x="66" y="497"/>
                    </a:lnTo>
                    <a:lnTo>
                      <a:pt x="66" y="497"/>
                    </a:lnTo>
                    <a:lnTo>
                      <a:pt x="66" y="512"/>
                    </a:lnTo>
                    <a:lnTo>
                      <a:pt x="68" y="527"/>
                    </a:lnTo>
                    <a:lnTo>
                      <a:pt x="69" y="542"/>
                    </a:lnTo>
                    <a:lnTo>
                      <a:pt x="72" y="557"/>
                    </a:lnTo>
                    <a:lnTo>
                      <a:pt x="75" y="571"/>
                    </a:lnTo>
                    <a:lnTo>
                      <a:pt x="80" y="585"/>
                    </a:lnTo>
                    <a:lnTo>
                      <a:pt x="85" y="599"/>
                    </a:lnTo>
                    <a:lnTo>
                      <a:pt x="90" y="613"/>
                    </a:lnTo>
                    <a:lnTo>
                      <a:pt x="96" y="626"/>
                    </a:lnTo>
                    <a:lnTo>
                      <a:pt x="102" y="639"/>
                    </a:lnTo>
                    <a:lnTo>
                      <a:pt x="110" y="651"/>
                    </a:lnTo>
                    <a:lnTo>
                      <a:pt x="117" y="663"/>
                    </a:lnTo>
                    <a:lnTo>
                      <a:pt x="125" y="675"/>
                    </a:lnTo>
                    <a:lnTo>
                      <a:pt x="134" y="687"/>
                    </a:lnTo>
                    <a:lnTo>
                      <a:pt x="144" y="697"/>
                    </a:lnTo>
                    <a:lnTo>
                      <a:pt x="154" y="707"/>
                    </a:lnTo>
                    <a:lnTo>
                      <a:pt x="164" y="718"/>
                    </a:lnTo>
                    <a:lnTo>
                      <a:pt x="175" y="727"/>
                    </a:lnTo>
                    <a:lnTo>
                      <a:pt x="186" y="735"/>
                    </a:lnTo>
                    <a:lnTo>
                      <a:pt x="198" y="744"/>
                    </a:lnTo>
                    <a:lnTo>
                      <a:pt x="210" y="752"/>
                    </a:lnTo>
                    <a:lnTo>
                      <a:pt x="222" y="759"/>
                    </a:lnTo>
                    <a:lnTo>
                      <a:pt x="235" y="765"/>
                    </a:lnTo>
                    <a:lnTo>
                      <a:pt x="248" y="771"/>
                    </a:lnTo>
                    <a:lnTo>
                      <a:pt x="262" y="777"/>
                    </a:lnTo>
                    <a:lnTo>
                      <a:pt x="276" y="782"/>
                    </a:lnTo>
                    <a:lnTo>
                      <a:pt x="290" y="786"/>
                    </a:lnTo>
                    <a:lnTo>
                      <a:pt x="304" y="789"/>
                    </a:lnTo>
                    <a:lnTo>
                      <a:pt x="319" y="791"/>
                    </a:lnTo>
                    <a:lnTo>
                      <a:pt x="334" y="793"/>
                    </a:lnTo>
                    <a:lnTo>
                      <a:pt x="349" y="794"/>
                    </a:lnTo>
                    <a:lnTo>
                      <a:pt x="364" y="795"/>
                    </a:lnTo>
                    <a:lnTo>
                      <a:pt x="364" y="795"/>
                    </a:lnTo>
                    <a:lnTo>
                      <a:pt x="380" y="794"/>
                    </a:lnTo>
                    <a:lnTo>
                      <a:pt x="395" y="793"/>
                    </a:lnTo>
                    <a:lnTo>
                      <a:pt x="410" y="791"/>
                    </a:lnTo>
                    <a:lnTo>
                      <a:pt x="424" y="789"/>
                    </a:lnTo>
                    <a:lnTo>
                      <a:pt x="439" y="786"/>
                    </a:lnTo>
                    <a:lnTo>
                      <a:pt x="453" y="782"/>
                    </a:lnTo>
                    <a:lnTo>
                      <a:pt x="467" y="777"/>
                    </a:lnTo>
                    <a:lnTo>
                      <a:pt x="480" y="771"/>
                    </a:lnTo>
                    <a:lnTo>
                      <a:pt x="494" y="765"/>
                    </a:lnTo>
                    <a:lnTo>
                      <a:pt x="506" y="759"/>
                    </a:lnTo>
                    <a:lnTo>
                      <a:pt x="518" y="752"/>
                    </a:lnTo>
                    <a:lnTo>
                      <a:pt x="531" y="744"/>
                    </a:lnTo>
                    <a:lnTo>
                      <a:pt x="542" y="735"/>
                    </a:lnTo>
                    <a:lnTo>
                      <a:pt x="554" y="727"/>
                    </a:lnTo>
                    <a:lnTo>
                      <a:pt x="565" y="718"/>
                    </a:lnTo>
                    <a:lnTo>
                      <a:pt x="575" y="707"/>
                    </a:lnTo>
                    <a:lnTo>
                      <a:pt x="585" y="697"/>
                    </a:lnTo>
                    <a:lnTo>
                      <a:pt x="594" y="687"/>
                    </a:lnTo>
                    <a:lnTo>
                      <a:pt x="603" y="675"/>
                    </a:lnTo>
                    <a:lnTo>
                      <a:pt x="611" y="663"/>
                    </a:lnTo>
                    <a:lnTo>
                      <a:pt x="619" y="651"/>
                    </a:lnTo>
                    <a:lnTo>
                      <a:pt x="626" y="639"/>
                    </a:lnTo>
                    <a:lnTo>
                      <a:pt x="633" y="626"/>
                    </a:lnTo>
                    <a:lnTo>
                      <a:pt x="639" y="613"/>
                    </a:lnTo>
                    <a:lnTo>
                      <a:pt x="645" y="599"/>
                    </a:lnTo>
                    <a:lnTo>
                      <a:pt x="649" y="585"/>
                    </a:lnTo>
                    <a:lnTo>
                      <a:pt x="653" y="571"/>
                    </a:lnTo>
                    <a:lnTo>
                      <a:pt x="656" y="557"/>
                    </a:lnTo>
                    <a:lnTo>
                      <a:pt x="659" y="542"/>
                    </a:lnTo>
                    <a:lnTo>
                      <a:pt x="661" y="527"/>
                    </a:lnTo>
                    <a:lnTo>
                      <a:pt x="662" y="512"/>
                    </a:lnTo>
                    <a:lnTo>
                      <a:pt x="662" y="497"/>
                    </a:lnTo>
                    <a:lnTo>
                      <a:pt x="662" y="165"/>
                    </a:lnTo>
                    <a:lnTo>
                      <a:pt x="662" y="165"/>
                    </a:lnTo>
                    <a:lnTo>
                      <a:pt x="662" y="156"/>
                    </a:lnTo>
                    <a:lnTo>
                      <a:pt x="660" y="146"/>
                    </a:lnTo>
                    <a:lnTo>
                      <a:pt x="658" y="136"/>
                    </a:lnTo>
                    <a:lnTo>
                      <a:pt x="655" y="127"/>
                    </a:lnTo>
                    <a:lnTo>
                      <a:pt x="651" y="119"/>
                    </a:lnTo>
                    <a:lnTo>
                      <a:pt x="646" y="110"/>
                    </a:lnTo>
                    <a:lnTo>
                      <a:pt x="639" y="102"/>
                    </a:lnTo>
                    <a:lnTo>
                      <a:pt x="633" y="96"/>
                    </a:lnTo>
                    <a:lnTo>
                      <a:pt x="626" y="89"/>
                    </a:lnTo>
                    <a:lnTo>
                      <a:pt x="619" y="83"/>
                    </a:lnTo>
                    <a:lnTo>
                      <a:pt x="610" y="78"/>
                    </a:lnTo>
                    <a:lnTo>
                      <a:pt x="602" y="74"/>
                    </a:lnTo>
                    <a:lnTo>
                      <a:pt x="593" y="71"/>
                    </a:lnTo>
                    <a:lnTo>
                      <a:pt x="584" y="68"/>
                    </a:lnTo>
                    <a:lnTo>
                      <a:pt x="573" y="67"/>
                    </a:lnTo>
                    <a:lnTo>
                      <a:pt x="563" y="66"/>
                    </a:lnTo>
                    <a:lnTo>
                      <a:pt x="563" y="66"/>
                    </a:lnTo>
                    <a:lnTo>
                      <a:pt x="557" y="66"/>
                    </a:lnTo>
                    <a:lnTo>
                      <a:pt x="550" y="64"/>
                    </a:lnTo>
                    <a:lnTo>
                      <a:pt x="544" y="61"/>
                    </a:lnTo>
                    <a:lnTo>
                      <a:pt x="540" y="57"/>
                    </a:lnTo>
                    <a:lnTo>
                      <a:pt x="536" y="51"/>
                    </a:lnTo>
                    <a:lnTo>
                      <a:pt x="533" y="46"/>
                    </a:lnTo>
                    <a:lnTo>
                      <a:pt x="531" y="40"/>
                    </a:lnTo>
                    <a:lnTo>
                      <a:pt x="530" y="33"/>
                    </a:lnTo>
                    <a:lnTo>
                      <a:pt x="530" y="33"/>
                    </a:lnTo>
                    <a:lnTo>
                      <a:pt x="531" y="27"/>
                    </a:lnTo>
                    <a:lnTo>
                      <a:pt x="533" y="20"/>
                    </a:lnTo>
                    <a:lnTo>
                      <a:pt x="536" y="14"/>
                    </a:lnTo>
                    <a:lnTo>
                      <a:pt x="540" y="10"/>
                    </a:lnTo>
                    <a:lnTo>
                      <a:pt x="544" y="6"/>
                    </a:lnTo>
                    <a:lnTo>
                      <a:pt x="550" y="3"/>
                    </a:lnTo>
                    <a:lnTo>
                      <a:pt x="557" y="1"/>
                    </a:lnTo>
                    <a:lnTo>
                      <a:pt x="563" y="0"/>
                    </a:lnTo>
                    <a:lnTo>
                      <a:pt x="563" y="0"/>
                    </a:lnTo>
                    <a:lnTo>
                      <a:pt x="580" y="1"/>
                    </a:lnTo>
                    <a:lnTo>
                      <a:pt x="596" y="4"/>
                    </a:lnTo>
                    <a:lnTo>
                      <a:pt x="613" y="8"/>
                    </a:lnTo>
                    <a:lnTo>
                      <a:pt x="627" y="13"/>
                    </a:lnTo>
                    <a:lnTo>
                      <a:pt x="642" y="20"/>
                    </a:lnTo>
                    <a:lnTo>
                      <a:pt x="656" y="29"/>
                    </a:lnTo>
                    <a:lnTo>
                      <a:pt x="668" y="38"/>
                    </a:lnTo>
                    <a:lnTo>
                      <a:pt x="680" y="48"/>
                    </a:lnTo>
                    <a:lnTo>
                      <a:pt x="691" y="61"/>
                    </a:lnTo>
                    <a:lnTo>
                      <a:pt x="700" y="73"/>
                    </a:lnTo>
                    <a:lnTo>
                      <a:pt x="709" y="87"/>
                    </a:lnTo>
                    <a:lnTo>
                      <a:pt x="716" y="101"/>
                    </a:lnTo>
                    <a:lnTo>
                      <a:pt x="721" y="117"/>
                    </a:lnTo>
                    <a:lnTo>
                      <a:pt x="725" y="132"/>
                    </a:lnTo>
                    <a:lnTo>
                      <a:pt x="727" y="149"/>
                    </a:lnTo>
                    <a:lnTo>
                      <a:pt x="728" y="165"/>
                    </a:lnTo>
                    <a:lnTo>
                      <a:pt x="728" y="497"/>
                    </a:lnTo>
                    <a:lnTo>
                      <a:pt x="728" y="497"/>
                    </a:lnTo>
                    <a:lnTo>
                      <a:pt x="728" y="516"/>
                    </a:lnTo>
                    <a:lnTo>
                      <a:pt x="726" y="534"/>
                    </a:lnTo>
                    <a:lnTo>
                      <a:pt x="724" y="552"/>
                    </a:lnTo>
                    <a:lnTo>
                      <a:pt x="721" y="570"/>
                    </a:lnTo>
                    <a:lnTo>
                      <a:pt x="717" y="587"/>
                    </a:lnTo>
                    <a:lnTo>
                      <a:pt x="712" y="605"/>
                    </a:lnTo>
                    <a:lnTo>
                      <a:pt x="707" y="621"/>
                    </a:lnTo>
                    <a:lnTo>
                      <a:pt x="700" y="638"/>
                    </a:lnTo>
                    <a:lnTo>
                      <a:pt x="692" y="655"/>
                    </a:lnTo>
                    <a:lnTo>
                      <a:pt x="685" y="670"/>
                    </a:lnTo>
                    <a:lnTo>
                      <a:pt x="676" y="686"/>
                    </a:lnTo>
                    <a:lnTo>
                      <a:pt x="666" y="700"/>
                    </a:lnTo>
                    <a:lnTo>
                      <a:pt x="656" y="715"/>
                    </a:lnTo>
                    <a:lnTo>
                      <a:pt x="646" y="728"/>
                    </a:lnTo>
                    <a:lnTo>
                      <a:pt x="634" y="741"/>
                    </a:lnTo>
                    <a:lnTo>
                      <a:pt x="622" y="754"/>
                    </a:lnTo>
                    <a:lnTo>
                      <a:pt x="609" y="766"/>
                    </a:lnTo>
                    <a:lnTo>
                      <a:pt x="596" y="778"/>
                    </a:lnTo>
                    <a:lnTo>
                      <a:pt x="583" y="789"/>
                    </a:lnTo>
                    <a:lnTo>
                      <a:pt x="568" y="798"/>
                    </a:lnTo>
                    <a:lnTo>
                      <a:pt x="554" y="809"/>
                    </a:lnTo>
                    <a:lnTo>
                      <a:pt x="538" y="817"/>
                    </a:lnTo>
                    <a:lnTo>
                      <a:pt x="523" y="825"/>
                    </a:lnTo>
                    <a:lnTo>
                      <a:pt x="506" y="833"/>
                    </a:lnTo>
                    <a:lnTo>
                      <a:pt x="489" y="839"/>
                    </a:lnTo>
                    <a:lnTo>
                      <a:pt x="473" y="845"/>
                    </a:lnTo>
                    <a:lnTo>
                      <a:pt x="455" y="850"/>
                    </a:lnTo>
                    <a:lnTo>
                      <a:pt x="438" y="853"/>
                    </a:lnTo>
                    <a:lnTo>
                      <a:pt x="420" y="857"/>
                    </a:lnTo>
                    <a:lnTo>
                      <a:pt x="401" y="859"/>
                    </a:lnTo>
                    <a:lnTo>
                      <a:pt x="383" y="860"/>
                    </a:lnTo>
                    <a:lnTo>
                      <a:pt x="364" y="861"/>
                    </a:lnTo>
                    <a:lnTo>
                      <a:pt x="364" y="8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Freeform 77">
                <a:extLst>
                  <a:ext uri="{FF2B5EF4-FFF2-40B4-BE49-F238E27FC236}">
                    <a16:creationId xmlns:a16="http://schemas.microsoft.com/office/drawing/2014/main" id="{4DE5F3BD-1FA2-4A1F-9FBE-D5F459925672}"/>
                  </a:ext>
                </a:extLst>
              </p:cNvPr>
              <p:cNvSpPr>
                <a:spLocks/>
              </p:cNvSpPr>
              <p:nvPr/>
            </p:nvSpPr>
            <p:spPr bwMode="auto">
              <a:xfrm>
                <a:off x="4945063" y="3459163"/>
                <a:ext cx="211138" cy="179388"/>
              </a:xfrm>
              <a:custGeom>
                <a:avLst/>
                <a:gdLst>
                  <a:gd name="T0" fmla="*/ 133 w 927"/>
                  <a:gd name="T1" fmla="*/ 791 h 794"/>
                  <a:gd name="T2" fmla="*/ 74 w 927"/>
                  <a:gd name="T3" fmla="*/ 766 h 794"/>
                  <a:gd name="T4" fmla="*/ 29 w 927"/>
                  <a:gd name="T5" fmla="*/ 721 h 794"/>
                  <a:gd name="T6" fmla="*/ 3 w 927"/>
                  <a:gd name="T7" fmla="*/ 662 h 794"/>
                  <a:gd name="T8" fmla="*/ 0 w 927"/>
                  <a:gd name="T9" fmla="*/ 132 h 794"/>
                  <a:gd name="T10" fmla="*/ 10 w 927"/>
                  <a:gd name="T11" fmla="*/ 109 h 794"/>
                  <a:gd name="T12" fmla="*/ 33 w 927"/>
                  <a:gd name="T13" fmla="*/ 99 h 794"/>
                  <a:gd name="T14" fmla="*/ 52 w 927"/>
                  <a:gd name="T15" fmla="*/ 104 h 794"/>
                  <a:gd name="T16" fmla="*/ 66 w 927"/>
                  <a:gd name="T17" fmla="*/ 125 h 794"/>
                  <a:gd name="T18" fmla="*/ 67 w 927"/>
                  <a:gd name="T19" fmla="*/ 639 h 794"/>
                  <a:gd name="T20" fmla="*/ 79 w 927"/>
                  <a:gd name="T21" fmla="*/ 677 h 794"/>
                  <a:gd name="T22" fmla="*/ 103 w 927"/>
                  <a:gd name="T23" fmla="*/ 706 h 794"/>
                  <a:gd name="T24" fmla="*/ 137 w 927"/>
                  <a:gd name="T25" fmla="*/ 723 h 794"/>
                  <a:gd name="T26" fmla="*/ 166 w 927"/>
                  <a:gd name="T27" fmla="*/ 728 h 794"/>
                  <a:gd name="T28" fmla="*/ 205 w 927"/>
                  <a:gd name="T29" fmla="*/ 720 h 794"/>
                  <a:gd name="T30" fmla="*/ 236 w 927"/>
                  <a:gd name="T31" fmla="*/ 699 h 794"/>
                  <a:gd name="T32" fmla="*/ 258 w 927"/>
                  <a:gd name="T33" fmla="*/ 667 h 794"/>
                  <a:gd name="T34" fmla="*/ 265 w 927"/>
                  <a:gd name="T35" fmla="*/ 629 h 794"/>
                  <a:gd name="T36" fmla="*/ 269 w 927"/>
                  <a:gd name="T37" fmla="*/ 258 h 794"/>
                  <a:gd name="T38" fmla="*/ 299 w 927"/>
                  <a:gd name="T39" fmla="*/ 186 h 794"/>
                  <a:gd name="T40" fmla="*/ 353 w 927"/>
                  <a:gd name="T41" fmla="*/ 132 h 794"/>
                  <a:gd name="T42" fmla="*/ 424 w 927"/>
                  <a:gd name="T43" fmla="*/ 103 h 794"/>
                  <a:gd name="T44" fmla="*/ 484 w 927"/>
                  <a:gd name="T45" fmla="*/ 100 h 794"/>
                  <a:gd name="T46" fmla="*/ 559 w 927"/>
                  <a:gd name="T47" fmla="*/ 123 h 794"/>
                  <a:gd name="T48" fmla="*/ 617 w 927"/>
                  <a:gd name="T49" fmla="*/ 172 h 794"/>
                  <a:gd name="T50" fmla="*/ 654 w 927"/>
                  <a:gd name="T51" fmla="*/ 239 h 794"/>
                  <a:gd name="T52" fmla="*/ 662 w 927"/>
                  <a:gd name="T53" fmla="*/ 497 h 794"/>
                  <a:gd name="T54" fmla="*/ 668 w 927"/>
                  <a:gd name="T55" fmla="*/ 525 h 794"/>
                  <a:gd name="T56" fmla="*/ 685 w 927"/>
                  <a:gd name="T57" fmla="*/ 560 h 794"/>
                  <a:gd name="T58" fmla="*/ 715 w 927"/>
                  <a:gd name="T59" fmla="*/ 583 h 794"/>
                  <a:gd name="T60" fmla="*/ 752 w 927"/>
                  <a:gd name="T61" fmla="*/ 595 h 794"/>
                  <a:gd name="T62" fmla="*/ 782 w 927"/>
                  <a:gd name="T63" fmla="*/ 594 h 794"/>
                  <a:gd name="T64" fmla="*/ 818 w 927"/>
                  <a:gd name="T65" fmla="*/ 578 h 794"/>
                  <a:gd name="T66" fmla="*/ 845 w 927"/>
                  <a:gd name="T67" fmla="*/ 551 h 794"/>
                  <a:gd name="T68" fmla="*/ 859 w 927"/>
                  <a:gd name="T69" fmla="*/ 516 h 794"/>
                  <a:gd name="T70" fmla="*/ 861 w 927"/>
                  <a:gd name="T71" fmla="*/ 33 h 794"/>
                  <a:gd name="T72" fmla="*/ 871 w 927"/>
                  <a:gd name="T73" fmla="*/ 9 h 794"/>
                  <a:gd name="T74" fmla="*/ 894 w 927"/>
                  <a:gd name="T75" fmla="*/ 0 h 794"/>
                  <a:gd name="T76" fmla="*/ 913 w 927"/>
                  <a:gd name="T77" fmla="*/ 5 h 794"/>
                  <a:gd name="T78" fmla="*/ 927 w 927"/>
                  <a:gd name="T79" fmla="*/ 26 h 794"/>
                  <a:gd name="T80" fmla="*/ 927 w 927"/>
                  <a:gd name="T81" fmla="*/ 513 h 794"/>
                  <a:gd name="T82" fmla="*/ 908 w 927"/>
                  <a:gd name="T83" fmla="*/ 575 h 794"/>
                  <a:gd name="T84" fmla="*/ 867 w 927"/>
                  <a:gd name="T85" fmla="*/ 624 h 794"/>
                  <a:gd name="T86" fmla="*/ 811 w 927"/>
                  <a:gd name="T87" fmla="*/ 655 h 794"/>
                  <a:gd name="T88" fmla="*/ 762 w 927"/>
                  <a:gd name="T89" fmla="*/ 662 h 794"/>
                  <a:gd name="T90" fmla="*/ 698 w 927"/>
                  <a:gd name="T91" fmla="*/ 649 h 794"/>
                  <a:gd name="T92" fmla="*/ 645 w 927"/>
                  <a:gd name="T93" fmla="*/ 613 h 794"/>
                  <a:gd name="T94" fmla="*/ 610 w 927"/>
                  <a:gd name="T95" fmla="*/ 561 h 794"/>
                  <a:gd name="T96" fmla="*/ 596 w 927"/>
                  <a:gd name="T97" fmla="*/ 497 h 794"/>
                  <a:gd name="T98" fmla="*/ 594 w 927"/>
                  <a:gd name="T99" fmla="*/ 271 h 794"/>
                  <a:gd name="T100" fmla="*/ 573 w 927"/>
                  <a:gd name="T101" fmla="*/ 223 h 794"/>
                  <a:gd name="T102" fmla="*/ 538 w 927"/>
                  <a:gd name="T103" fmla="*/ 188 h 794"/>
                  <a:gd name="T104" fmla="*/ 491 w 927"/>
                  <a:gd name="T105" fmla="*/ 168 h 794"/>
                  <a:gd name="T106" fmla="*/ 450 w 927"/>
                  <a:gd name="T107" fmla="*/ 165 h 794"/>
                  <a:gd name="T108" fmla="*/ 401 w 927"/>
                  <a:gd name="T109" fmla="*/ 181 h 794"/>
                  <a:gd name="T110" fmla="*/ 361 w 927"/>
                  <a:gd name="T111" fmla="*/ 213 h 794"/>
                  <a:gd name="T112" fmla="*/ 337 w 927"/>
                  <a:gd name="T113" fmla="*/ 259 h 794"/>
                  <a:gd name="T114" fmla="*/ 331 w 927"/>
                  <a:gd name="T115" fmla="*/ 629 h 794"/>
                  <a:gd name="T116" fmla="*/ 324 w 927"/>
                  <a:gd name="T117" fmla="*/ 678 h 794"/>
                  <a:gd name="T118" fmla="*/ 294 w 927"/>
                  <a:gd name="T119" fmla="*/ 734 h 794"/>
                  <a:gd name="T120" fmla="*/ 244 w 927"/>
                  <a:gd name="T121" fmla="*/ 774 h 794"/>
                  <a:gd name="T122" fmla="*/ 183 w 927"/>
                  <a:gd name="T123" fmla="*/ 793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7" h="794">
                    <a:moveTo>
                      <a:pt x="166" y="794"/>
                    </a:moveTo>
                    <a:lnTo>
                      <a:pt x="166" y="794"/>
                    </a:lnTo>
                    <a:lnTo>
                      <a:pt x="149" y="793"/>
                    </a:lnTo>
                    <a:lnTo>
                      <a:pt x="133" y="791"/>
                    </a:lnTo>
                    <a:lnTo>
                      <a:pt x="117" y="787"/>
                    </a:lnTo>
                    <a:lnTo>
                      <a:pt x="101" y="781"/>
                    </a:lnTo>
                    <a:lnTo>
                      <a:pt x="87" y="774"/>
                    </a:lnTo>
                    <a:lnTo>
                      <a:pt x="74" y="766"/>
                    </a:lnTo>
                    <a:lnTo>
                      <a:pt x="60" y="756"/>
                    </a:lnTo>
                    <a:lnTo>
                      <a:pt x="49" y="746"/>
                    </a:lnTo>
                    <a:lnTo>
                      <a:pt x="38" y="734"/>
                    </a:lnTo>
                    <a:lnTo>
                      <a:pt x="29" y="721"/>
                    </a:lnTo>
                    <a:lnTo>
                      <a:pt x="20" y="708"/>
                    </a:lnTo>
                    <a:lnTo>
                      <a:pt x="14" y="693"/>
                    </a:lnTo>
                    <a:lnTo>
                      <a:pt x="7" y="678"/>
                    </a:lnTo>
                    <a:lnTo>
                      <a:pt x="3" y="662"/>
                    </a:lnTo>
                    <a:lnTo>
                      <a:pt x="1" y="646"/>
                    </a:lnTo>
                    <a:lnTo>
                      <a:pt x="0" y="629"/>
                    </a:lnTo>
                    <a:lnTo>
                      <a:pt x="0" y="132"/>
                    </a:lnTo>
                    <a:lnTo>
                      <a:pt x="0" y="132"/>
                    </a:lnTo>
                    <a:lnTo>
                      <a:pt x="1" y="125"/>
                    </a:lnTo>
                    <a:lnTo>
                      <a:pt x="3" y="119"/>
                    </a:lnTo>
                    <a:lnTo>
                      <a:pt x="6" y="114"/>
                    </a:lnTo>
                    <a:lnTo>
                      <a:pt x="10" y="109"/>
                    </a:lnTo>
                    <a:lnTo>
                      <a:pt x="15" y="104"/>
                    </a:lnTo>
                    <a:lnTo>
                      <a:pt x="21" y="101"/>
                    </a:lnTo>
                    <a:lnTo>
                      <a:pt x="27" y="99"/>
                    </a:lnTo>
                    <a:lnTo>
                      <a:pt x="33" y="99"/>
                    </a:lnTo>
                    <a:lnTo>
                      <a:pt x="33" y="99"/>
                    </a:lnTo>
                    <a:lnTo>
                      <a:pt x="40" y="99"/>
                    </a:lnTo>
                    <a:lnTo>
                      <a:pt x="47" y="101"/>
                    </a:lnTo>
                    <a:lnTo>
                      <a:pt x="52" y="104"/>
                    </a:lnTo>
                    <a:lnTo>
                      <a:pt x="57" y="109"/>
                    </a:lnTo>
                    <a:lnTo>
                      <a:pt x="61" y="114"/>
                    </a:lnTo>
                    <a:lnTo>
                      <a:pt x="64" y="119"/>
                    </a:lnTo>
                    <a:lnTo>
                      <a:pt x="66" y="125"/>
                    </a:lnTo>
                    <a:lnTo>
                      <a:pt x="66" y="132"/>
                    </a:lnTo>
                    <a:lnTo>
                      <a:pt x="66" y="629"/>
                    </a:lnTo>
                    <a:lnTo>
                      <a:pt x="66" y="629"/>
                    </a:lnTo>
                    <a:lnTo>
                      <a:pt x="67" y="639"/>
                    </a:lnTo>
                    <a:lnTo>
                      <a:pt x="68" y="649"/>
                    </a:lnTo>
                    <a:lnTo>
                      <a:pt x="70" y="658"/>
                    </a:lnTo>
                    <a:lnTo>
                      <a:pt x="75" y="667"/>
                    </a:lnTo>
                    <a:lnTo>
                      <a:pt x="79" y="677"/>
                    </a:lnTo>
                    <a:lnTo>
                      <a:pt x="84" y="684"/>
                    </a:lnTo>
                    <a:lnTo>
                      <a:pt x="89" y="692"/>
                    </a:lnTo>
                    <a:lnTo>
                      <a:pt x="95" y="699"/>
                    </a:lnTo>
                    <a:lnTo>
                      <a:pt x="103" y="706"/>
                    </a:lnTo>
                    <a:lnTo>
                      <a:pt x="111" y="711"/>
                    </a:lnTo>
                    <a:lnTo>
                      <a:pt x="118" y="716"/>
                    </a:lnTo>
                    <a:lnTo>
                      <a:pt x="127" y="720"/>
                    </a:lnTo>
                    <a:lnTo>
                      <a:pt x="137" y="723"/>
                    </a:lnTo>
                    <a:lnTo>
                      <a:pt x="146" y="726"/>
                    </a:lnTo>
                    <a:lnTo>
                      <a:pt x="155" y="727"/>
                    </a:lnTo>
                    <a:lnTo>
                      <a:pt x="166" y="728"/>
                    </a:lnTo>
                    <a:lnTo>
                      <a:pt x="166" y="728"/>
                    </a:lnTo>
                    <a:lnTo>
                      <a:pt x="176" y="727"/>
                    </a:lnTo>
                    <a:lnTo>
                      <a:pt x="186" y="726"/>
                    </a:lnTo>
                    <a:lnTo>
                      <a:pt x="196" y="723"/>
                    </a:lnTo>
                    <a:lnTo>
                      <a:pt x="205" y="720"/>
                    </a:lnTo>
                    <a:lnTo>
                      <a:pt x="213" y="716"/>
                    </a:lnTo>
                    <a:lnTo>
                      <a:pt x="222" y="711"/>
                    </a:lnTo>
                    <a:lnTo>
                      <a:pt x="229" y="706"/>
                    </a:lnTo>
                    <a:lnTo>
                      <a:pt x="236" y="699"/>
                    </a:lnTo>
                    <a:lnTo>
                      <a:pt x="242" y="692"/>
                    </a:lnTo>
                    <a:lnTo>
                      <a:pt x="248" y="684"/>
                    </a:lnTo>
                    <a:lnTo>
                      <a:pt x="254" y="677"/>
                    </a:lnTo>
                    <a:lnTo>
                      <a:pt x="258" y="667"/>
                    </a:lnTo>
                    <a:lnTo>
                      <a:pt x="261" y="658"/>
                    </a:lnTo>
                    <a:lnTo>
                      <a:pt x="263" y="649"/>
                    </a:lnTo>
                    <a:lnTo>
                      <a:pt x="265" y="639"/>
                    </a:lnTo>
                    <a:lnTo>
                      <a:pt x="265" y="629"/>
                    </a:lnTo>
                    <a:lnTo>
                      <a:pt x="265" y="298"/>
                    </a:lnTo>
                    <a:lnTo>
                      <a:pt x="265" y="298"/>
                    </a:lnTo>
                    <a:lnTo>
                      <a:pt x="266" y="277"/>
                    </a:lnTo>
                    <a:lnTo>
                      <a:pt x="269" y="258"/>
                    </a:lnTo>
                    <a:lnTo>
                      <a:pt x="274" y="239"/>
                    </a:lnTo>
                    <a:lnTo>
                      <a:pt x="280" y="220"/>
                    </a:lnTo>
                    <a:lnTo>
                      <a:pt x="289" y="203"/>
                    </a:lnTo>
                    <a:lnTo>
                      <a:pt x="299" y="186"/>
                    </a:lnTo>
                    <a:lnTo>
                      <a:pt x="311" y="172"/>
                    </a:lnTo>
                    <a:lnTo>
                      <a:pt x="324" y="157"/>
                    </a:lnTo>
                    <a:lnTo>
                      <a:pt x="337" y="145"/>
                    </a:lnTo>
                    <a:lnTo>
                      <a:pt x="353" y="132"/>
                    </a:lnTo>
                    <a:lnTo>
                      <a:pt x="369" y="123"/>
                    </a:lnTo>
                    <a:lnTo>
                      <a:pt x="387" y="115"/>
                    </a:lnTo>
                    <a:lnTo>
                      <a:pt x="405" y="108"/>
                    </a:lnTo>
                    <a:lnTo>
                      <a:pt x="424" y="103"/>
                    </a:lnTo>
                    <a:lnTo>
                      <a:pt x="444" y="100"/>
                    </a:lnTo>
                    <a:lnTo>
                      <a:pt x="464" y="99"/>
                    </a:lnTo>
                    <a:lnTo>
                      <a:pt x="464" y="99"/>
                    </a:lnTo>
                    <a:lnTo>
                      <a:pt x="484" y="100"/>
                    </a:lnTo>
                    <a:lnTo>
                      <a:pt x="504" y="103"/>
                    </a:lnTo>
                    <a:lnTo>
                      <a:pt x="523" y="108"/>
                    </a:lnTo>
                    <a:lnTo>
                      <a:pt x="541" y="115"/>
                    </a:lnTo>
                    <a:lnTo>
                      <a:pt x="559" y="123"/>
                    </a:lnTo>
                    <a:lnTo>
                      <a:pt x="575" y="132"/>
                    </a:lnTo>
                    <a:lnTo>
                      <a:pt x="590" y="145"/>
                    </a:lnTo>
                    <a:lnTo>
                      <a:pt x="604" y="157"/>
                    </a:lnTo>
                    <a:lnTo>
                      <a:pt x="617" y="172"/>
                    </a:lnTo>
                    <a:lnTo>
                      <a:pt x="628" y="186"/>
                    </a:lnTo>
                    <a:lnTo>
                      <a:pt x="639" y="203"/>
                    </a:lnTo>
                    <a:lnTo>
                      <a:pt x="647" y="220"/>
                    </a:lnTo>
                    <a:lnTo>
                      <a:pt x="654" y="239"/>
                    </a:lnTo>
                    <a:lnTo>
                      <a:pt x="658" y="258"/>
                    </a:lnTo>
                    <a:lnTo>
                      <a:pt x="661" y="277"/>
                    </a:lnTo>
                    <a:lnTo>
                      <a:pt x="662" y="298"/>
                    </a:lnTo>
                    <a:lnTo>
                      <a:pt x="662" y="497"/>
                    </a:lnTo>
                    <a:lnTo>
                      <a:pt x="662" y="497"/>
                    </a:lnTo>
                    <a:lnTo>
                      <a:pt x="663" y="507"/>
                    </a:lnTo>
                    <a:lnTo>
                      <a:pt x="664" y="516"/>
                    </a:lnTo>
                    <a:lnTo>
                      <a:pt x="668" y="525"/>
                    </a:lnTo>
                    <a:lnTo>
                      <a:pt x="671" y="535"/>
                    </a:lnTo>
                    <a:lnTo>
                      <a:pt x="675" y="543"/>
                    </a:lnTo>
                    <a:lnTo>
                      <a:pt x="680" y="551"/>
                    </a:lnTo>
                    <a:lnTo>
                      <a:pt x="685" y="560"/>
                    </a:lnTo>
                    <a:lnTo>
                      <a:pt x="691" y="567"/>
                    </a:lnTo>
                    <a:lnTo>
                      <a:pt x="699" y="573"/>
                    </a:lnTo>
                    <a:lnTo>
                      <a:pt x="707" y="578"/>
                    </a:lnTo>
                    <a:lnTo>
                      <a:pt x="715" y="583"/>
                    </a:lnTo>
                    <a:lnTo>
                      <a:pt x="723" y="588"/>
                    </a:lnTo>
                    <a:lnTo>
                      <a:pt x="733" y="591"/>
                    </a:lnTo>
                    <a:lnTo>
                      <a:pt x="742" y="594"/>
                    </a:lnTo>
                    <a:lnTo>
                      <a:pt x="752" y="595"/>
                    </a:lnTo>
                    <a:lnTo>
                      <a:pt x="762" y="596"/>
                    </a:lnTo>
                    <a:lnTo>
                      <a:pt x="762" y="596"/>
                    </a:lnTo>
                    <a:lnTo>
                      <a:pt x="772" y="595"/>
                    </a:lnTo>
                    <a:lnTo>
                      <a:pt x="782" y="594"/>
                    </a:lnTo>
                    <a:lnTo>
                      <a:pt x="792" y="591"/>
                    </a:lnTo>
                    <a:lnTo>
                      <a:pt x="801" y="588"/>
                    </a:lnTo>
                    <a:lnTo>
                      <a:pt x="809" y="583"/>
                    </a:lnTo>
                    <a:lnTo>
                      <a:pt x="818" y="578"/>
                    </a:lnTo>
                    <a:lnTo>
                      <a:pt x="825" y="573"/>
                    </a:lnTo>
                    <a:lnTo>
                      <a:pt x="832" y="567"/>
                    </a:lnTo>
                    <a:lnTo>
                      <a:pt x="838" y="560"/>
                    </a:lnTo>
                    <a:lnTo>
                      <a:pt x="845" y="551"/>
                    </a:lnTo>
                    <a:lnTo>
                      <a:pt x="850" y="543"/>
                    </a:lnTo>
                    <a:lnTo>
                      <a:pt x="854" y="535"/>
                    </a:lnTo>
                    <a:lnTo>
                      <a:pt x="857" y="525"/>
                    </a:lnTo>
                    <a:lnTo>
                      <a:pt x="859" y="516"/>
                    </a:lnTo>
                    <a:lnTo>
                      <a:pt x="861" y="507"/>
                    </a:lnTo>
                    <a:lnTo>
                      <a:pt x="861" y="497"/>
                    </a:lnTo>
                    <a:lnTo>
                      <a:pt x="861" y="33"/>
                    </a:lnTo>
                    <a:lnTo>
                      <a:pt x="861" y="33"/>
                    </a:lnTo>
                    <a:lnTo>
                      <a:pt x="862" y="26"/>
                    </a:lnTo>
                    <a:lnTo>
                      <a:pt x="864" y="20"/>
                    </a:lnTo>
                    <a:lnTo>
                      <a:pt x="867" y="14"/>
                    </a:lnTo>
                    <a:lnTo>
                      <a:pt x="871" y="9"/>
                    </a:lnTo>
                    <a:lnTo>
                      <a:pt x="876" y="5"/>
                    </a:lnTo>
                    <a:lnTo>
                      <a:pt x="882" y="2"/>
                    </a:lnTo>
                    <a:lnTo>
                      <a:pt x="888" y="0"/>
                    </a:lnTo>
                    <a:lnTo>
                      <a:pt x="894" y="0"/>
                    </a:lnTo>
                    <a:lnTo>
                      <a:pt x="894" y="0"/>
                    </a:lnTo>
                    <a:lnTo>
                      <a:pt x="901" y="0"/>
                    </a:lnTo>
                    <a:lnTo>
                      <a:pt x="908" y="2"/>
                    </a:lnTo>
                    <a:lnTo>
                      <a:pt x="913" y="5"/>
                    </a:lnTo>
                    <a:lnTo>
                      <a:pt x="918" y="9"/>
                    </a:lnTo>
                    <a:lnTo>
                      <a:pt x="922" y="14"/>
                    </a:lnTo>
                    <a:lnTo>
                      <a:pt x="925" y="20"/>
                    </a:lnTo>
                    <a:lnTo>
                      <a:pt x="927" y="26"/>
                    </a:lnTo>
                    <a:lnTo>
                      <a:pt x="927" y="33"/>
                    </a:lnTo>
                    <a:lnTo>
                      <a:pt x="927" y="497"/>
                    </a:lnTo>
                    <a:lnTo>
                      <a:pt x="927" y="497"/>
                    </a:lnTo>
                    <a:lnTo>
                      <a:pt x="927" y="513"/>
                    </a:lnTo>
                    <a:lnTo>
                      <a:pt x="924" y="530"/>
                    </a:lnTo>
                    <a:lnTo>
                      <a:pt x="920" y="545"/>
                    </a:lnTo>
                    <a:lnTo>
                      <a:pt x="915" y="561"/>
                    </a:lnTo>
                    <a:lnTo>
                      <a:pt x="908" y="575"/>
                    </a:lnTo>
                    <a:lnTo>
                      <a:pt x="899" y="589"/>
                    </a:lnTo>
                    <a:lnTo>
                      <a:pt x="890" y="601"/>
                    </a:lnTo>
                    <a:lnTo>
                      <a:pt x="879" y="613"/>
                    </a:lnTo>
                    <a:lnTo>
                      <a:pt x="867" y="624"/>
                    </a:lnTo>
                    <a:lnTo>
                      <a:pt x="855" y="633"/>
                    </a:lnTo>
                    <a:lnTo>
                      <a:pt x="841" y="641"/>
                    </a:lnTo>
                    <a:lnTo>
                      <a:pt x="827" y="649"/>
                    </a:lnTo>
                    <a:lnTo>
                      <a:pt x="811" y="655"/>
                    </a:lnTo>
                    <a:lnTo>
                      <a:pt x="796" y="659"/>
                    </a:lnTo>
                    <a:lnTo>
                      <a:pt x="779" y="661"/>
                    </a:lnTo>
                    <a:lnTo>
                      <a:pt x="762" y="662"/>
                    </a:lnTo>
                    <a:lnTo>
                      <a:pt x="762" y="662"/>
                    </a:lnTo>
                    <a:lnTo>
                      <a:pt x="745" y="661"/>
                    </a:lnTo>
                    <a:lnTo>
                      <a:pt x="729" y="659"/>
                    </a:lnTo>
                    <a:lnTo>
                      <a:pt x="713" y="655"/>
                    </a:lnTo>
                    <a:lnTo>
                      <a:pt x="698" y="649"/>
                    </a:lnTo>
                    <a:lnTo>
                      <a:pt x="683" y="641"/>
                    </a:lnTo>
                    <a:lnTo>
                      <a:pt x="670" y="633"/>
                    </a:lnTo>
                    <a:lnTo>
                      <a:pt x="657" y="624"/>
                    </a:lnTo>
                    <a:lnTo>
                      <a:pt x="645" y="613"/>
                    </a:lnTo>
                    <a:lnTo>
                      <a:pt x="634" y="601"/>
                    </a:lnTo>
                    <a:lnTo>
                      <a:pt x="625" y="589"/>
                    </a:lnTo>
                    <a:lnTo>
                      <a:pt x="617" y="575"/>
                    </a:lnTo>
                    <a:lnTo>
                      <a:pt x="610" y="561"/>
                    </a:lnTo>
                    <a:lnTo>
                      <a:pt x="604" y="545"/>
                    </a:lnTo>
                    <a:lnTo>
                      <a:pt x="600" y="530"/>
                    </a:lnTo>
                    <a:lnTo>
                      <a:pt x="597" y="513"/>
                    </a:lnTo>
                    <a:lnTo>
                      <a:pt x="596" y="497"/>
                    </a:lnTo>
                    <a:lnTo>
                      <a:pt x="596" y="298"/>
                    </a:lnTo>
                    <a:lnTo>
                      <a:pt x="596" y="298"/>
                    </a:lnTo>
                    <a:lnTo>
                      <a:pt x="596" y="284"/>
                    </a:lnTo>
                    <a:lnTo>
                      <a:pt x="594" y="271"/>
                    </a:lnTo>
                    <a:lnTo>
                      <a:pt x="591" y="259"/>
                    </a:lnTo>
                    <a:lnTo>
                      <a:pt x="586" y="246"/>
                    </a:lnTo>
                    <a:lnTo>
                      <a:pt x="581" y="235"/>
                    </a:lnTo>
                    <a:lnTo>
                      <a:pt x="573" y="223"/>
                    </a:lnTo>
                    <a:lnTo>
                      <a:pt x="566" y="213"/>
                    </a:lnTo>
                    <a:lnTo>
                      <a:pt x="558" y="204"/>
                    </a:lnTo>
                    <a:lnTo>
                      <a:pt x="549" y="195"/>
                    </a:lnTo>
                    <a:lnTo>
                      <a:pt x="538" y="188"/>
                    </a:lnTo>
                    <a:lnTo>
                      <a:pt x="527" y="181"/>
                    </a:lnTo>
                    <a:lnTo>
                      <a:pt x="515" y="176"/>
                    </a:lnTo>
                    <a:lnTo>
                      <a:pt x="503" y="171"/>
                    </a:lnTo>
                    <a:lnTo>
                      <a:pt x="491" y="168"/>
                    </a:lnTo>
                    <a:lnTo>
                      <a:pt x="477" y="165"/>
                    </a:lnTo>
                    <a:lnTo>
                      <a:pt x="464" y="165"/>
                    </a:lnTo>
                    <a:lnTo>
                      <a:pt x="464" y="165"/>
                    </a:lnTo>
                    <a:lnTo>
                      <a:pt x="450" y="165"/>
                    </a:lnTo>
                    <a:lnTo>
                      <a:pt x="437" y="168"/>
                    </a:lnTo>
                    <a:lnTo>
                      <a:pt x="424" y="171"/>
                    </a:lnTo>
                    <a:lnTo>
                      <a:pt x="412" y="176"/>
                    </a:lnTo>
                    <a:lnTo>
                      <a:pt x="401" y="181"/>
                    </a:lnTo>
                    <a:lnTo>
                      <a:pt x="390" y="188"/>
                    </a:lnTo>
                    <a:lnTo>
                      <a:pt x="380" y="195"/>
                    </a:lnTo>
                    <a:lnTo>
                      <a:pt x="371" y="204"/>
                    </a:lnTo>
                    <a:lnTo>
                      <a:pt x="361" y="213"/>
                    </a:lnTo>
                    <a:lnTo>
                      <a:pt x="354" y="223"/>
                    </a:lnTo>
                    <a:lnTo>
                      <a:pt x="348" y="235"/>
                    </a:lnTo>
                    <a:lnTo>
                      <a:pt x="342" y="246"/>
                    </a:lnTo>
                    <a:lnTo>
                      <a:pt x="337" y="259"/>
                    </a:lnTo>
                    <a:lnTo>
                      <a:pt x="334" y="271"/>
                    </a:lnTo>
                    <a:lnTo>
                      <a:pt x="332" y="284"/>
                    </a:lnTo>
                    <a:lnTo>
                      <a:pt x="331" y="298"/>
                    </a:lnTo>
                    <a:lnTo>
                      <a:pt x="331" y="629"/>
                    </a:lnTo>
                    <a:lnTo>
                      <a:pt x="331" y="629"/>
                    </a:lnTo>
                    <a:lnTo>
                      <a:pt x="330" y="646"/>
                    </a:lnTo>
                    <a:lnTo>
                      <a:pt x="328" y="662"/>
                    </a:lnTo>
                    <a:lnTo>
                      <a:pt x="324" y="678"/>
                    </a:lnTo>
                    <a:lnTo>
                      <a:pt x="319" y="693"/>
                    </a:lnTo>
                    <a:lnTo>
                      <a:pt x="312" y="708"/>
                    </a:lnTo>
                    <a:lnTo>
                      <a:pt x="303" y="721"/>
                    </a:lnTo>
                    <a:lnTo>
                      <a:pt x="294" y="734"/>
                    </a:lnTo>
                    <a:lnTo>
                      <a:pt x="283" y="746"/>
                    </a:lnTo>
                    <a:lnTo>
                      <a:pt x="271" y="756"/>
                    </a:lnTo>
                    <a:lnTo>
                      <a:pt x="259" y="766"/>
                    </a:lnTo>
                    <a:lnTo>
                      <a:pt x="244" y="774"/>
                    </a:lnTo>
                    <a:lnTo>
                      <a:pt x="230" y="781"/>
                    </a:lnTo>
                    <a:lnTo>
                      <a:pt x="215" y="787"/>
                    </a:lnTo>
                    <a:lnTo>
                      <a:pt x="199" y="791"/>
                    </a:lnTo>
                    <a:lnTo>
                      <a:pt x="183" y="793"/>
                    </a:lnTo>
                    <a:lnTo>
                      <a:pt x="166" y="794"/>
                    </a:lnTo>
                    <a:lnTo>
                      <a:pt x="166" y="7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Freeform 78">
                <a:extLst>
                  <a:ext uri="{FF2B5EF4-FFF2-40B4-BE49-F238E27FC236}">
                    <a16:creationId xmlns:a16="http://schemas.microsoft.com/office/drawing/2014/main" id="{71419986-B090-487E-85F2-404572258C43}"/>
                  </a:ext>
                </a:extLst>
              </p:cNvPr>
              <p:cNvSpPr>
                <a:spLocks noEditPoints="1"/>
              </p:cNvSpPr>
              <p:nvPr/>
            </p:nvSpPr>
            <p:spPr bwMode="auto">
              <a:xfrm>
                <a:off x="4900613" y="3278188"/>
                <a:ext cx="36513" cy="60325"/>
              </a:xfrm>
              <a:custGeom>
                <a:avLst/>
                <a:gdLst>
                  <a:gd name="T0" fmla="*/ 33 w 166"/>
                  <a:gd name="T1" fmla="*/ 265 h 265"/>
                  <a:gd name="T2" fmla="*/ 21 w 166"/>
                  <a:gd name="T3" fmla="*/ 263 h 265"/>
                  <a:gd name="T4" fmla="*/ 10 w 166"/>
                  <a:gd name="T5" fmla="*/ 256 h 265"/>
                  <a:gd name="T6" fmla="*/ 3 w 166"/>
                  <a:gd name="T7" fmla="*/ 246 h 265"/>
                  <a:gd name="T8" fmla="*/ 0 w 166"/>
                  <a:gd name="T9" fmla="*/ 232 h 265"/>
                  <a:gd name="T10" fmla="*/ 0 w 166"/>
                  <a:gd name="T11" fmla="*/ 33 h 265"/>
                  <a:gd name="T12" fmla="*/ 3 w 166"/>
                  <a:gd name="T13" fmla="*/ 21 h 265"/>
                  <a:gd name="T14" fmla="*/ 10 w 166"/>
                  <a:gd name="T15" fmla="*/ 11 h 265"/>
                  <a:gd name="T16" fmla="*/ 21 w 166"/>
                  <a:gd name="T17" fmla="*/ 3 h 265"/>
                  <a:gd name="T18" fmla="*/ 33 w 166"/>
                  <a:gd name="T19" fmla="*/ 0 h 265"/>
                  <a:gd name="T20" fmla="*/ 44 w 166"/>
                  <a:gd name="T21" fmla="*/ 1 h 265"/>
                  <a:gd name="T22" fmla="*/ 66 w 166"/>
                  <a:gd name="T23" fmla="*/ 5 h 265"/>
                  <a:gd name="T24" fmla="*/ 88 w 166"/>
                  <a:gd name="T25" fmla="*/ 12 h 265"/>
                  <a:gd name="T26" fmla="*/ 110 w 166"/>
                  <a:gd name="T27" fmla="*/ 23 h 265"/>
                  <a:gd name="T28" fmla="*/ 130 w 166"/>
                  <a:gd name="T29" fmla="*/ 39 h 265"/>
                  <a:gd name="T30" fmla="*/ 146 w 166"/>
                  <a:gd name="T31" fmla="*/ 59 h 265"/>
                  <a:gd name="T32" fmla="*/ 159 w 166"/>
                  <a:gd name="T33" fmla="*/ 85 h 265"/>
                  <a:gd name="T34" fmla="*/ 165 w 166"/>
                  <a:gd name="T35" fmla="*/ 115 h 265"/>
                  <a:gd name="T36" fmla="*/ 166 w 166"/>
                  <a:gd name="T37" fmla="*/ 133 h 265"/>
                  <a:gd name="T38" fmla="*/ 163 w 166"/>
                  <a:gd name="T39" fmla="*/ 167 h 265"/>
                  <a:gd name="T40" fmla="*/ 152 w 166"/>
                  <a:gd name="T41" fmla="*/ 195 h 265"/>
                  <a:gd name="T42" fmla="*/ 138 w 166"/>
                  <a:gd name="T43" fmla="*/ 218 h 265"/>
                  <a:gd name="T44" fmla="*/ 119 w 166"/>
                  <a:gd name="T45" fmla="*/ 236 h 265"/>
                  <a:gd name="T46" fmla="*/ 99 w 166"/>
                  <a:gd name="T47" fmla="*/ 250 h 265"/>
                  <a:gd name="T48" fmla="*/ 77 w 166"/>
                  <a:gd name="T49" fmla="*/ 259 h 265"/>
                  <a:gd name="T50" fmla="*/ 54 w 166"/>
                  <a:gd name="T51" fmla="*/ 264 h 265"/>
                  <a:gd name="T52" fmla="*/ 33 w 166"/>
                  <a:gd name="T53" fmla="*/ 265 h 265"/>
                  <a:gd name="T54" fmla="*/ 67 w 166"/>
                  <a:gd name="T55" fmla="*/ 74 h 265"/>
                  <a:gd name="T56" fmla="*/ 67 w 166"/>
                  <a:gd name="T57" fmla="*/ 192 h 265"/>
                  <a:gd name="T58" fmla="*/ 79 w 166"/>
                  <a:gd name="T59" fmla="*/ 185 h 265"/>
                  <a:gd name="T60" fmla="*/ 89 w 166"/>
                  <a:gd name="T61" fmla="*/ 172 h 265"/>
                  <a:gd name="T62" fmla="*/ 97 w 166"/>
                  <a:gd name="T63" fmla="*/ 156 h 265"/>
                  <a:gd name="T64" fmla="*/ 100 w 166"/>
                  <a:gd name="T65" fmla="*/ 133 h 265"/>
                  <a:gd name="T66" fmla="*/ 99 w 166"/>
                  <a:gd name="T67" fmla="*/ 121 h 265"/>
                  <a:gd name="T68" fmla="*/ 93 w 166"/>
                  <a:gd name="T69" fmla="*/ 102 h 265"/>
                  <a:gd name="T70" fmla="*/ 84 w 166"/>
                  <a:gd name="T71" fmla="*/ 87 h 265"/>
                  <a:gd name="T72" fmla="*/ 73 w 166"/>
                  <a:gd name="T73" fmla="*/ 78 h 265"/>
                  <a:gd name="T74" fmla="*/ 67 w 166"/>
                  <a:gd name="T75"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 h="265">
                    <a:moveTo>
                      <a:pt x="33" y="265"/>
                    </a:moveTo>
                    <a:lnTo>
                      <a:pt x="33" y="265"/>
                    </a:lnTo>
                    <a:lnTo>
                      <a:pt x="27" y="265"/>
                    </a:lnTo>
                    <a:lnTo>
                      <a:pt x="21" y="263"/>
                    </a:lnTo>
                    <a:lnTo>
                      <a:pt x="15" y="260"/>
                    </a:lnTo>
                    <a:lnTo>
                      <a:pt x="10" y="256"/>
                    </a:lnTo>
                    <a:lnTo>
                      <a:pt x="7" y="251"/>
                    </a:lnTo>
                    <a:lnTo>
                      <a:pt x="3" y="246"/>
                    </a:lnTo>
                    <a:lnTo>
                      <a:pt x="1" y="239"/>
                    </a:lnTo>
                    <a:lnTo>
                      <a:pt x="0" y="232"/>
                    </a:lnTo>
                    <a:lnTo>
                      <a:pt x="0" y="33"/>
                    </a:lnTo>
                    <a:lnTo>
                      <a:pt x="0" y="33"/>
                    </a:lnTo>
                    <a:lnTo>
                      <a:pt x="1" y="27"/>
                    </a:lnTo>
                    <a:lnTo>
                      <a:pt x="3" y="21"/>
                    </a:lnTo>
                    <a:lnTo>
                      <a:pt x="7" y="15"/>
                    </a:lnTo>
                    <a:lnTo>
                      <a:pt x="10" y="11"/>
                    </a:lnTo>
                    <a:lnTo>
                      <a:pt x="15" y="7"/>
                    </a:lnTo>
                    <a:lnTo>
                      <a:pt x="21" y="3"/>
                    </a:lnTo>
                    <a:lnTo>
                      <a:pt x="27" y="1"/>
                    </a:lnTo>
                    <a:lnTo>
                      <a:pt x="33" y="0"/>
                    </a:lnTo>
                    <a:lnTo>
                      <a:pt x="33" y="0"/>
                    </a:lnTo>
                    <a:lnTo>
                      <a:pt x="44" y="1"/>
                    </a:lnTo>
                    <a:lnTo>
                      <a:pt x="54" y="2"/>
                    </a:lnTo>
                    <a:lnTo>
                      <a:pt x="66" y="5"/>
                    </a:lnTo>
                    <a:lnTo>
                      <a:pt x="77" y="8"/>
                    </a:lnTo>
                    <a:lnTo>
                      <a:pt x="88" y="12"/>
                    </a:lnTo>
                    <a:lnTo>
                      <a:pt x="99" y="17"/>
                    </a:lnTo>
                    <a:lnTo>
                      <a:pt x="110" y="23"/>
                    </a:lnTo>
                    <a:lnTo>
                      <a:pt x="119" y="30"/>
                    </a:lnTo>
                    <a:lnTo>
                      <a:pt x="130" y="39"/>
                    </a:lnTo>
                    <a:lnTo>
                      <a:pt x="138" y="49"/>
                    </a:lnTo>
                    <a:lnTo>
                      <a:pt x="146" y="59"/>
                    </a:lnTo>
                    <a:lnTo>
                      <a:pt x="152" y="72"/>
                    </a:lnTo>
                    <a:lnTo>
                      <a:pt x="159" y="85"/>
                    </a:lnTo>
                    <a:lnTo>
                      <a:pt x="163" y="100"/>
                    </a:lnTo>
                    <a:lnTo>
                      <a:pt x="165" y="115"/>
                    </a:lnTo>
                    <a:lnTo>
                      <a:pt x="166" y="133"/>
                    </a:lnTo>
                    <a:lnTo>
                      <a:pt x="166" y="133"/>
                    </a:lnTo>
                    <a:lnTo>
                      <a:pt x="165" y="150"/>
                    </a:lnTo>
                    <a:lnTo>
                      <a:pt x="163" y="167"/>
                    </a:lnTo>
                    <a:lnTo>
                      <a:pt x="159" y="181"/>
                    </a:lnTo>
                    <a:lnTo>
                      <a:pt x="152" y="195"/>
                    </a:lnTo>
                    <a:lnTo>
                      <a:pt x="146" y="207"/>
                    </a:lnTo>
                    <a:lnTo>
                      <a:pt x="138" y="218"/>
                    </a:lnTo>
                    <a:lnTo>
                      <a:pt x="130" y="227"/>
                    </a:lnTo>
                    <a:lnTo>
                      <a:pt x="119" y="236"/>
                    </a:lnTo>
                    <a:lnTo>
                      <a:pt x="110" y="243"/>
                    </a:lnTo>
                    <a:lnTo>
                      <a:pt x="99" y="250"/>
                    </a:lnTo>
                    <a:lnTo>
                      <a:pt x="88" y="255"/>
                    </a:lnTo>
                    <a:lnTo>
                      <a:pt x="77" y="259"/>
                    </a:lnTo>
                    <a:lnTo>
                      <a:pt x="66" y="262"/>
                    </a:lnTo>
                    <a:lnTo>
                      <a:pt x="54" y="264"/>
                    </a:lnTo>
                    <a:lnTo>
                      <a:pt x="44" y="265"/>
                    </a:lnTo>
                    <a:lnTo>
                      <a:pt x="33" y="265"/>
                    </a:lnTo>
                    <a:lnTo>
                      <a:pt x="33" y="265"/>
                    </a:lnTo>
                    <a:close/>
                    <a:moveTo>
                      <a:pt x="67" y="74"/>
                    </a:moveTo>
                    <a:lnTo>
                      <a:pt x="67" y="192"/>
                    </a:lnTo>
                    <a:lnTo>
                      <a:pt x="67" y="192"/>
                    </a:lnTo>
                    <a:lnTo>
                      <a:pt x="73" y="189"/>
                    </a:lnTo>
                    <a:lnTo>
                      <a:pt x="79" y="185"/>
                    </a:lnTo>
                    <a:lnTo>
                      <a:pt x="84" y="179"/>
                    </a:lnTo>
                    <a:lnTo>
                      <a:pt x="89" y="172"/>
                    </a:lnTo>
                    <a:lnTo>
                      <a:pt x="93" y="165"/>
                    </a:lnTo>
                    <a:lnTo>
                      <a:pt x="97" y="156"/>
                    </a:lnTo>
                    <a:lnTo>
                      <a:pt x="99" y="145"/>
                    </a:lnTo>
                    <a:lnTo>
                      <a:pt x="100" y="133"/>
                    </a:lnTo>
                    <a:lnTo>
                      <a:pt x="100" y="133"/>
                    </a:lnTo>
                    <a:lnTo>
                      <a:pt x="99" y="121"/>
                    </a:lnTo>
                    <a:lnTo>
                      <a:pt x="97" y="111"/>
                    </a:lnTo>
                    <a:lnTo>
                      <a:pt x="93" y="102"/>
                    </a:lnTo>
                    <a:lnTo>
                      <a:pt x="89" y="93"/>
                    </a:lnTo>
                    <a:lnTo>
                      <a:pt x="84" y="87"/>
                    </a:lnTo>
                    <a:lnTo>
                      <a:pt x="79" y="82"/>
                    </a:lnTo>
                    <a:lnTo>
                      <a:pt x="73" y="78"/>
                    </a:lnTo>
                    <a:lnTo>
                      <a:pt x="67" y="74"/>
                    </a:lnTo>
                    <a:lnTo>
                      <a:pt x="67"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Freeform 79">
                <a:extLst>
                  <a:ext uri="{FF2B5EF4-FFF2-40B4-BE49-F238E27FC236}">
                    <a16:creationId xmlns:a16="http://schemas.microsoft.com/office/drawing/2014/main" id="{D600EA57-3B13-44C4-AB66-64C1079B7A55}"/>
                  </a:ext>
                </a:extLst>
              </p:cNvPr>
              <p:cNvSpPr>
                <a:spLocks noEditPoints="1"/>
              </p:cNvSpPr>
              <p:nvPr/>
            </p:nvSpPr>
            <p:spPr bwMode="auto">
              <a:xfrm>
                <a:off x="4967288" y="3278188"/>
                <a:ext cx="38100" cy="60325"/>
              </a:xfrm>
              <a:custGeom>
                <a:avLst/>
                <a:gdLst>
                  <a:gd name="T0" fmla="*/ 133 w 166"/>
                  <a:gd name="T1" fmla="*/ 265 h 265"/>
                  <a:gd name="T2" fmla="*/ 112 w 166"/>
                  <a:gd name="T3" fmla="*/ 264 h 265"/>
                  <a:gd name="T4" fmla="*/ 89 w 166"/>
                  <a:gd name="T5" fmla="*/ 259 h 265"/>
                  <a:gd name="T6" fmla="*/ 68 w 166"/>
                  <a:gd name="T7" fmla="*/ 250 h 265"/>
                  <a:gd name="T8" fmla="*/ 47 w 166"/>
                  <a:gd name="T9" fmla="*/ 236 h 265"/>
                  <a:gd name="T10" fmla="*/ 28 w 166"/>
                  <a:gd name="T11" fmla="*/ 218 h 265"/>
                  <a:gd name="T12" fmla="*/ 14 w 166"/>
                  <a:gd name="T13" fmla="*/ 195 h 265"/>
                  <a:gd name="T14" fmla="*/ 5 w 166"/>
                  <a:gd name="T15" fmla="*/ 167 h 265"/>
                  <a:gd name="T16" fmla="*/ 0 w 166"/>
                  <a:gd name="T17" fmla="*/ 133 h 265"/>
                  <a:gd name="T18" fmla="*/ 1 w 166"/>
                  <a:gd name="T19" fmla="*/ 115 h 265"/>
                  <a:gd name="T20" fmla="*/ 9 w 166"/>
                  <a:gd name="T21" fmla="*/ 85 h 265"/>
                  <a:gd name="T22" fmla="*/ 20 w 166"/>
                  <a:gd name="T23" fmla="*/ 59 h 265"/>
                  <a:gd name="T24" fmla="*/ 38 w 166"/>
                  <a:gd name="T25" fmla="*/ 39 h 265"/>
                  <a:gd name="T26" fmla="*/ 57 w 166"/>
                  <a:gd name="T27" fmla="*/ 23 h 265"/>
                  <a:gd name="T28" fmla="*/ 79 w 166"/>
                  <a:gd name="T29" fmla="*/ 12 h 265"/>
                  <a:gd name="T30" fmla="*/ 101 w 166"/>
                  <a:gd name="T31" fmla="*/ 5 h 265"/>
                  <a:gd name="T32" fmla="*/ 123 w 166"/>
                  <a:gd name="T33" fmla="*/ 1 h 265"/>
                  <a:gd name="T34" fmla="*/ 133 w 166"/>
                  <a:gd name="T35" fmla="*/ 0 h 265"/>
                  <a:gd name="T36" fmla="*/ 146 w 166"/>
                  <a:gd name="T37" fmla="*/ 3 h 265"/>
                  <a:gd name="T38" fmla="*/ 157 w 166"/>
                  <a:gd name="T39" fmla="*/ 11 h 265"/>
                  <a:gd name="T40" fmla="*/ 164 w 166"/>
                  <a:gd name="T41" fmla="*/ 21 h 265"/>
                  <a:gd name="T42" fmla="*/ 166 w 166"/>
                  <a:gd name="T43" fmla="*/ 33 h 265"/>
                  <a:gd name="T44" fmla="*/ 166 w 166"/>
                  <a:gd name="T45" fmla="*/ 232 h 265"/>
                  <a:gd name="T46" fmla="*/ 164 w 166"/>
                  <a:gd name="T47" fmla="*/ 246 h 265"/>
                  <a:gd name="T48" fmla="*/ 157 w 166"/>
                  <a:gd name="T49" fmla="*/ 256 h 265"/>
                  <a:gd name="T50" fmla="*/ 146 w 166"/>
                  <a:gd name="T51" fmla="*/ 263 h 265"/>
                  <a:gd name="T52" fmla="*/ 133 w 166"/>
                  <a:gd name="T53" fmla="*/ 265 h 265"/>
                  <a:gd name="T54" fmla="*/ 100 w 166"/>
                  <a:gd name="T55" fmla="*/ 75 h 265"/>
                  <a:gd name="T56" fmla="*/ 94 w 166"/>
                  <a:gd name="T57" fmla="*/ 78 h 265"/>
                  <a:gd name="T58" fmla="*/ 82 w 166"/>
                  <a:gd name="T59" fmla="*/ 87 h 265"/>
                  <a:gd name="T60" fmla="*/ 73 w 166"/>
                  <a:gd name="T61" fmla="*/ 102 h 265"/>
                  <a:gd name="T62" fmla="*/ 68 w 166"/>
                  <a:gd name="T63" fmla="*/ 121 h 265"/>
                  <a:gd name="T64" fmla="*/ 67 w 166"/>
                  <a:gd name="T65" fmla="*/ 133 h 265"/>
                  <a:gd name="T66" fmla="*/ 70 w 166"/>
                  <a:gd name="T67" fmla="*/ 156 h 265"/>
                  <a:gd name="T68" fmla="*/ 77 w 166"/>
                  <a:gd name="T69" fmla="*/ 172 h 265"/>
                  <a:gd name="T70" fmla="*/ 87 w 166"/>
                  <a:gd name="T71" fmla="*/ 185 h 265"/>
                  <a:gd name="T72" fmla="*/ 100 w 166"/>
                  <a:gd name="T73" fmla="*/ 19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6" h="265">
                    <a:moveTo>
                      <a:pt x="133" y="265"/>
                    </a:moveTo>
                    <a:lnTo>
                      <a:pt x="133" y="265"/>
                    </a:lnTo>
                    <a:lnTo>
                      <a:pt x="123" y="265"/>
                    </a:lnTo>
                    <a:lnTo>
                      <a:pt x="112" y="264"/>
                    </a:lnTo>
                    <a:lnTo>
                      <a:pt x="101" y="262"/>
                    </a:lnTo>
                    <a:lnTo>
                      <a:pt x="89" y="259"/>
                    </a:lnTo>
                    <a:lnTo>
                      <a:pt x="79" y="255"/>
                    </a:lnTo>
                    <a:lnTo>
                      <a:pt x="68" y="250"/>
                    </a:lnTo>
                    <a:lnTo>
                      <a:pt x="57" y="243"/>
                    </a:lnTo>
                    <a:lnTo>
                      <a:pt x="47" y="236"/>
                    </a:lnTo>
                    <a:lnTo>
                      <a:pt x="38" y="227"/>
                    </a:lnTo>
                    <a:lnTo>
                      <a:pt x="28" y="218"/>
                    </a:lnTo>
                    <a:lnTo>
                      <a:pt x="20" y="207"/>
                    </a:lnTo>
                    <a:lnTo>
                      <a:pt x="14" y="195"/>
                    </a:lnTo>
                    <a:lnTo>
                      <a:pt x="9" y="181"/>
                    </a:lnTo>
                    <a:lnTo>
                      <a:pt x="5" y="167"/>
                    </a:lnTo>
                    <a:lnTo>
                      <a:pt x="1" y="150"/>
                    </a:lnTo>
                    <a:lnTo>
                      <a:pt x="0" y="133"/>
                    </a:lnTo>
                    <a:lnTo>
                      <a:pt x="0" y="133"/>
                    </a:lnTo>
                    <a:lnTo>
                      <a:pt x="1" y="115"/>
                    </a:lnTo>
                    <a:lnTo>
                      <a:pt x="5" y="100"/>
                    </a:lnTo>
                    <a:lnTo>
                      <a:pt x="9" y="85"/>
                    </a:lnTo>
                    <a:lnTo>
                      <a:pt x="14" y="72"/>
                    </a:lnTo>
                    <a:lnTo>
                      <a:pt x="20" y="59"/>
                    </a:lnTo>
                    <a:lnTo>
                      <a:pt x="28" y="49"/>
                    </a:lnTo>
                    <a:lnTo>
                      <a:pt x="38" y="39"/>
                    </a:lnTo>
                    <a:lnTo>
                      <a:pt x="47" y="30"/>
                    </a:lnTo>
                    <a:lnTo>
                      <a:pt x="57" y="23"/>
                    </a:lnTo>
                    <a:lnTo>
                      <a:pt x="68" y="17"/>
                    </a:lnTo>
                    <a:lnTo>
                      <a:pt x="79" y="12"/>
                    </a:lnTo>
                    <a:lnTo>
                      <a:pt x="89" y="8"/>
                    </a:lnTo>
                    <a:lnTo>
                      <a:pt x="101" y="5"/>
                    </a:lnTo>
                    <a:lnTo>
                      <a:pt x="112" y="2"/>
                    </a:lnTo>
                    <a:lnTo>
                      <a:pt x="123" y="1"/>
                    </a:lnTo>
                    <a:lnTo>
                      <a:pt x="133" y="0"/>
                    </a:lnTo>
                    <a:lnTo>
                      <a:pt x="133" y="0"/>
                    </a:lnTo>
                    <a:lnTo>
                      <a:pt x="140" y="1"/>
                    </a:lnTo>
                    <a:lnTo>
                      <a:pt x="146" y="3"/>
                    </a:lnTo>
                    <a:lnTo>
                      <a:pt x="151" y="7"/>
                    </a:lnTo>
                    <a:lnTo>
                      <a:pt x="157" y="11"/>
                    </a:lnTo>
                    <a:lnTo>
                      <a:pt x="161" y="15"/>
                    </a:lnTo>
                    <a:lnTo>
                      <a:pt x="164" y="21"/>
                    </a:lnTo>
                    <a:lnTo>
                      <a:pt x="166" y="27"/>
                    </a:lnTo>
                    <a:lnTo>
                      <a:pt x="166" y="33"/>
                    </a:lnTo>
                    <a:lnTo>
                      <a:pt x="166" y="232"/>
                    </a:lnTo>
                    <a:lnTo>
                      <a:pt x="166" y="232"/>
                    </a:lnTo>
                    <a:lnTo>
                      <a:pt x="166" y="239"/>
                    </a:lnTo>
                    <a:lnTo>
                      <a:pt x="164" y="246"/>
                    </a:lnTo>
                    <a:lnTo>
                      <a:pt x="161" y="251"/>
                    </a:lnTo>
                    <a:lnTo>
                      <a:pt x="157" y="256"/>
                    </a:lnTo>
                    <a:lnTo>
                      <a:pt x="151" y="260"/>
                    </a:lnTo>
                    <a:lnTo>
                      <a:pt x="146" y="263"/>
                    </a:lnTo>
                    <a:lnTo>
                      <a:pt x="140" y="265"/>
                    </a:lnTo>
                    <a:lnTo>
                      <a:pt x="133" y="265"/>
                    </a:lnTo>
                    <a:lnTo>
                      <a:pt x="133" y="265"/>
                    </a:lnTo>
                    <a:close/>
                    <a:moveTo>
                      <a:pt x="100" y="75"/>
                    </a:moveTo>
                    <a:lnTo>
                      <a:pt x="100" y="75"/>
                    </a:lnTo>
                    <a:lnTo>
                      <a:pt x="94" y="78"/>
                    </a:lnTo>
                    <a:lnTo>
                      <a:pt x="87" y="82"/>
                    </a:lnTo>
                    <a:lnTo>
                      <a:pt x="82" y="87"/>
                    </a:lnTo>
                    <a:lnTo>
                      <a:pt x="77" y="95"/>
                    </a:lnTo>
                    <a:lnTo>
                      <a:pt x="73" y="102"/>
                    </a:lnTo>
                    <a:lnTo>
                      <a:pt x="70" y="111"/>
                    </a:lnTo>
                    <a:lnTo>
                      <a:pt x="68" y="121"/>
                    </a:lnTo>
                    <a:lnTo>
                      <a:pt x="67" y="133"/>
                    </a:lnTo>
                    <a:lnTo>
                      <a:pt x="67" y="133"/>
                    </a:lnTo>
                    <a:lnTo>
                      <a:pt x="68" y="145"/>
                    </a:lnTo>
                    <a:lnTo>
                      <a:pt x="70" y="156"/>
                    </a:lnTo>
                    <a:lnTo>
                      <a:pt x="73" y="165"/>
                    </a:lnTo>
                    <a:lnTo>
                      <a:pt x="77" y="172"/>
                    </a:lnTo>
                    <a:lnTo>
                      <a:pt x="82" y="179"/>
                    </a:lnTo>
                    <a:lnTo>
                      <a:pt x="87" y="185"/>
                    </a:lnTo>
                    <a:lnTo>
                      <a:pt x="94" y="189"/>
                    </a:lnTo>
                    <a:lnTo>
                      <a:pt x="100" y="192"/>
                    </a:lnTo>
                    <a:lnTo>
                      <a:pt x="10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spTree>
    <p:extLst>
      <p:ext uri="{BB962C8B-B14F-4D97-AF65-F5344CB8AC3E}">
        <p14:creationId xmlns:p14="http://schemas.microsoft.com/office/powerpoint/2010/main" val="1011604567"/>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8D8022E-28A5-48A3-A031-4E43F2208ACC}"/>
              </a:ext>
            </a:extLst>
          </p:cNvPr>
          <p:cNvSpPr>
            <a:spLocks noGrp="1"/>
          </p:cNvSpPr>
          <p:nvPr>
            <p:ph type="body" idx="1"/>
          </p:nvPr>
        </p:nvSpPr>
        <p:spPr/>
        <p:txBody>
          <a:bodyPr/>
          <a:lstStyle/>
          <a:p>
            <a:endParaRPr lang="en-ID"/>
          </a:p>
        </p:txBody>
      </p:sp>
      <p:sp>
        <p:nvSpPr>
          <p:cNvPr id="10" name="Text Placeholder 9">
            <a:extLst>
              <a:ext uri="{FF2B5EF4-FFF2-40B4-BE49-F238E27FC236}">
                <a16:creationId xmlns:a16="http://schemas.microsoft.com/office/drawing/2014/main" id="{7B3BC086-AB13-4F47-A627-4C10D5B2A771}"/>
              </a:ext>
            </a:extLst>
          </p:cNvPr>
          <p:cNvSpPr>
            <a:spLocks noGrp="1"/>
          </p:cNvSpPr>
          <p:nvPr>
            <p:ph type="body" idx="2"/>
          </p:nvPr>
        </p:nvSpPr>
        <p:spPr/>
        <p:txBody>
          <a:bodyPr/>
          <a:lstStyle/>
          <a:p>
            <a:pPr marL="0" indent="0"/>
            <a:r>
              <a:rPr lang="en-US" sz="700" dirty="0">
                <a:latin typeface="Gene Sans Light" panose="00000400000000000000" pitchFamily="2" charset="0"/>
              </a:rPr>
              <a:t>Response rates, progression-free survival (PFS), and overall survival (OS) of patients treated with programmed death-ligand 1 blockade on the basis of reported corticosteroid usage at Memorial Sloan Kettering Cancer Center (MSKCC) and Gustave </a:t>
            </a:r>
            <a:r>
              <a:rPr lang="en-US" sz="700" dirty="0" err="1">
                <a:latin typeface="Gene Sans Light" panose="00000400000000000000" pitchFamily="2" charset="0"/>
              </a:rPr>
              <a:t>Roussy</a:t>
            </a:r>
            <a:r>
              <a:rPr lang="en-US" sz="700" dirty="0">
                <a:latin typeface="Gene Sans Light" panose="00000400000000000000" pitchFamily="2" charset="0"/>
              </a:rPr>
              <a:t> Cancer Center (GRCC). Four hundred ﬁfty-one of 455 patients were evaluable for response in the MSKCC cohort and 185 of 185 patients were evaluable for response in the GRCC cohort. CR, complete response; POD, progression of disease; PR, partial response; SD, stable disease. </a:t>
            </a:r>
            <a:r>
              <a:rPr lang="en-US" sz="700" dirty="0" err="1">
                <a:latin typeface="Gene Sans Light" panose="00000400000000000000" pitchFamily="2" charset="0"/>
              </a:rPr>
              <a:t>Arbour</a:t>
            </a:r>
            <a:r>
              <a:rPr lang="en-US" sz="700" dirty="0">
                <a:latin typeface="Gene Sans Light" panose="00000400000000000000" pitchFamily="2" charset="0"/>
              </a:rPr>
              <a:t> et al. J Clin Oncol 2018;36:2872-2878.</a:t>
            </a:r>
          </a:p>
        </p:txBody>
      </p:sp>
      <p:sp>
        <p:nvSpPr>
          <p:cNvPr id="8" name="Title 7">
            <a:extLst>
              <a:ext uri="{FF2B5EF4-FFF2-40B4-BE49-F238E27FC236}">
                <a16:creationId xmlns:a16="http://schemas.microsoft.com/office/drawing/2014/main" id="{CFE12123-D4DF-4E7A-B5B1-A37CEADD848E}"/>
              </a:ext>
            </a:extLst>
          </p:cNvPr>
          <p:cNvSpPr>
            <a:spLocks noGrp="1"/>
          </p:cNvSpPr>
          <p:nvPr>
            <p:ph type="title"/>
          </p:nvPr>
        </p:nvSpPr>
        <p:spPr>
          <a:xfrm>
            <a:off x="381648" y="585795"/>
            <a:ext cx="8384400" cy="652455"/>
          </a:xfrm>
        </p:spPr>
        <p:txBody>
          <a:bodyPr/>
          <a:lstStyle/>
          <a:p>
            <a:pPr>
              <a:defRPr/>
            </a:pPr>
            <a:r>
              <a:rPr lang="en-US" dirty="0"/>
              <a:t>Effect of Baseline Corticosteroid Use on Outcome with ICIs</a:t>
            </a:r>
            <a:endParaRPr lang="en-ID" dirty="0"/>
          </a:p>
        </p:txBody>
      </p:sp>
      <p:sp>
        <p:nvSpPr>
          <p:cNvPr id="250" name="Google Shape;122;p3">
            <a:extLst>
              <a:ext uri="{FF2B5EF4-FFF2-40B4-BE49-F238E27FC236}">
                <a16:creationId xmlns:a16="http://schemas.microsoft.com/office/drawing/2014/main" id="{CFC4C5BB-3CF1-42D1-A43D-E71B17E01D43}"/>
              </a:ext>
            </a:extLst>
          </p:cNvPr>
          <p:cNvSpPr txBox="1">
            <a:spLocks/>
          </p:cNvSpPr>
          <p:nvPr/>
        </p:nvSpPr>
        <p:spPr>
          <a:xfrm>
            <a:off x="381000" y="94545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graphicFrame>
        <p:nvGraphicFramePr>
          <p:cNvPr id="659" name="Google Shape;3433;p24">
            <a:extLst>
              <a:ext uri="{FF2B5EF4-FFF2-40B4-BE49-F238E27FC236}">
                <a16:creationId xmlns:a16="http://schemas.microsoft.com/office/drawing/2014/main" id="{75FD85FD-5A35-4850-827A-B7D2CE39FD57}"/>
              </a:ext>
            </a:extLst>
          </p:cNvPr>
          <p:cNvGraphicFramePr/>
          <p:nvPr/>
        </p:nvGraphicFramePr>
        <p:xfrm>
          <a:off x="4852896" y="3877345"/>
          <a:ext cx="3895344" cy="390216"/>
        </p:xfrm>
        <a:graphic>
          <a:graphicData uri="http://schemas.openxmlformats.org/drawingml/2006/table">
            <a:tbl>
              <a:tblPr firstRow="1" bandRow="1">
                <a:noFill/>
              </a:tblPr>
              <a:tblGrid>
                <a:gridCol w="630936">
                  <a:extLst>
                    <a:ext uri="{9D8B030D-6E8A-4147-A177-3AD203B41FA5}">
                      <a16:colId xmlns:a16="http://schemas.microsoft.com/office/drawing/2014/main" val="20000"/>
                    </a:ext>
                  </a:extLst>
                </a:gridCol>
                <a:gridCol w="466344">
                  <a:extLst>
                    <a:ext uri="{9D8B030D-6E8A-4147-A177-3AD203B41FA5}">
                      <a16:colId xmlns:a16="http://schemas.microsoft.com/office/drawing/2014/main" val="20001"/>
                    </a:ext>
                  </a:extLst>
                </a:gridCol>
                <a:gridCol w="466344">
                  <a:extLst>
                    <a:ext uri="{9D8B030D-6E8A-4147-A177-3AD203B41FA5}">
                      <a16:colId xmlns:a16="http://schemas.microsoft.com/office/drawing/2014/main" val="20002"/>
                    </a:ext>
                  </a:extLst>
                </a:gridCol>
                <a:gridCol w="466344">
                  <a:extLst>
                    <a:ext uri="{9D8B030D-6E8A-4147-A177-3AD203B41FA5}">
                      <a16:colId xmlns:a16="http://schemas.microsoft.com/office/drawing/2014/main" val="20003"/>
                    </a:ext>
                  </a:extLst>
                </a:gridCol>
                <a:gridCol w="466344">
                  <a:extLst>
                    <a:ext uri="{9D8B030D-6E8A-4147-A177-3AD203B41FA5}">
                      <a16:colId xmlns:a16="http://schemas.microsoft.com/office/drawing/2014/main" val="20004"/>
                    </a:ext>
                  </a:extLst>
                </a:gridCol>
                <a:gridCol w="466344">
                  <a:extLst>
                    <a:ext uri="{9D8B030D-6E8A-4147-A177-3AD203B41FA5}">
                      <a16:colId xmlns:a16="http://schemas.microsoft.com/office/drawing/2014/main" val="20005"/>
                    </a:ext>
                  </a:extLst>
                </a:gridCol>
                <a:gridCol w="466344">
                  <a:extLst>
                    <a:ext uri="{9D8B030D-6E8A-4147-A177-3AD203B41FA5}">
                      <a16:colId xmlns:a16="http://schemas.microsoft.com/office/drawing/2014/main" val="20006"/>
                    </a:ext>
                  </a:extLst>
                </a:gridCol>
                <a:gridCol w="466344">
                  <a:extLst>
                    <a:ext uri="{9D8B030D-6E8A-4147-A177-3AD203B41FA5}">
                      <a16:colId xmlns:a16="http://schemas.microsoft.com/office/drawing/2014/main" val="959262445"/>
                    </a:ext>
                  </a:extLst>
                </a:gridCol>
              </a:tblGrid>
              <a:tr h="195108">
                <a:tc>
                  <a:txBody>
                    <a:bodyPr/>
                    <a:lstStyle/>
                    <a:p>
                      <a:pPr marL="0" marR="0" lvl="0" indent="0" algn="l" rtl="0">
                        <a:lnSpc>
                          <a:spcPct val="100000"/>
                        </a:lnSpc>
                        <a:spcBef>
                          <a:spcPts val="0"/>
                        </a:spcBef>
                        <a:spcAft>
                          <a:spcPts val="0"/>
                        </a:spcAft>
                        <a:buClr>
                          <a:schemeClr val="accent1"/>
                        </a:buClr>
                        <a:buSzPts val="900"/>
                        <a:buFont typeface="Arial"/>
                        <a:buNone/>
                      </a:pPr>
                      <a:r>
                        <a:rPr lang="en-US" sz="800" b="1" dirty="0">
                          <a:solidFill>
                            <a:schemeClr val="accent4"/>
                          </a:solidFill>
                          <a:latin typeface="Gene Sans Light" panose="00000400000000000000" pitchFamily="2" charset="0"/>
                        </a:rPr>
                        <a:t>&lt; 10 mg:</a:t>
                      </a:r>
                    </a:p>
                  </a:txBody>
                  <a:tcPr marL="0" marR="72000" marT="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accent4"/>
                          </a:solidFill>
                          <a:latin typeface="Gene Sans Light" panose="00000400000000000000" pitchFamily="2" charset="0"/>
                        </a:rPr>
                        <a:t>402</a:t>
                      </a:r>
                      <a:endParaRPr sz="8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accent4"/>
                          </a:solidFill>
                          <a:latin typeface="Gene Sans Light" panose="00000400000000000000" pitchFamily="2" charset="0"/>
                        </a:rPr>
                        <a:t>180</a:t>
                      </a:r>
                      <a:endParaRPr sz="8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accent4"/>
                          </a:solidFill>
                          <a:latin typeface="Gene Sans Light" panose="00000400000000000000" pitchFamily="2" charset="0"/>
                        </a:rPr>
                        <a:t>67</a:t>
                      </a:r>
                      <a:endParaRPr sz="8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accent4"/>
                          </a:solidFill>
                          <a:latin typeface="Gene Sans Light" panose="00000400000000000000" pitchFamily="2" charset="0"/>
                        </a:rPr>
                        <a:t>28</a:t>
                      </a:r>
                      <a:endParaRPr sz="8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accent4"/>
                          </a:solidFill>
                          <a:latin typeface="Gene Sans Light" panose="00000400000000000000" pitchFamily="2" charset="0"/>
                        </a:rPr>
                        <a:t>13</a:t>
                      </a:r>
                      <a:endParaRPr sz="8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accent4"/>
                          </a:solidFill>
                          <a:latin typeface="Gene Sans Light" panose="00000400000000000000" pitchFamily="2" charset="0"/>
                        </a:rPr>
                        <a:t>2</a:t>
                      </a:r>
                      <a:endParaRPr sz="8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accent4"/>
                          </a:solidFill>
                          <a:latin typeface="Gene Sans Light" panose="00000400000000000000" pitchFamily="2" charset="0"/>
                        </a:rPr>
                        <a:t>2</a:t>
                      </a:r>
                      <a:endParaRPr sz="8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0"/>
                  </a:ext>
                </a:extLst>
              </a:tr>
              <a:tr h="195108">
                <a:tc>
                  <a:txBody>
                    <a:bodyPr/>
                    <a:lstStyle/>
                    <a:p>
                      <a:pPr marL="0" marR="0" lvl="0" indent="0" algn="l" rtl="0">
                        <a:lnSpc>
                          <a:spcPct val="100000"/>
                        </a:lnSpc>
                        <a:spcBef>
                          <a:spcPts val="0"/>
                        </a:spcBef>
                        <a:spcAft>
                          <a:spcPts val="0"/>
                        </a:spcAft>
                        <a:buClr>
                          <a:schemeClr val="dk2"/>
                        </a:buClr>
                        <a:buSzPts val="900"/>
                        <a:buFont typeface="Arial"/>
                        <a:buNone/>
                      </a:pPr>
                      <a:r>
                        <a:rPr lang="en-US" sz="800" b="1" dirty="0">
                          <a:solidFill>
                            <a:schemeClr val="tx1"/>
                          </a:solidFill>
                          <a:latin typeface="Gene Sans Light" panose="00000400000000000000" pitchFamily="2" charset="0"/>
                        </a:rPr>
                        <a:t>≥ 10 mg:</a:t>
                      </a:r>
                    </a:p>
                  </a:txBody>
                  <a:tcPr marL="0" marR="72000" marT="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tx1"/>
                          </a:solidFill>
                          <a:latin typeface="Gene Sans Light" panose="00000400000000000000" pitchFamily="2" charset="0"/>
                        </a:rPr>
                        <a:t>53</a:t>
                      </a:r>
                      <a:endParaRPr sz="8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tx1"/>
                          </a:solidFill>
                          <a:latin typeface="Gene Sans Light" panose="00000400000000000000" pitchFamily="2" charset="0"/>
                        </a:rPr>
                        <a:t>11</a:t>
                      </a:r>
                      <a:endParaRPr sz="8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tx1"/>
                          </a:solidFill>
                          <a:latin typeface="Gene Sans Light" panose="00000400000000000000" pitchFamily="2" charset="0"/>
                        </a:rPr>
                        <a:t>1</a:t>
                      </a:r>
                      <a:endParaRPr sz="8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tx1"/>
                          </a:solidFill>
                          <a:latin typeface="Gene Sans Light" panose="00000400000000000000" pitchFamily="2" charset="0"/>
                        </a:rPr>
                        <a:t>0</a:t>
                      </a:r>
                      <a:endParaRPr sz="8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tx1"/>
                          </a:solidFill>
                          <a:latin typeface="Gene Sans Light" panose="00000400000000000000" pitchFamily="2" charset="0"/>
                        </a:rPr>
                        <a:t>0</a:t>
                      </a:r>
                      <a:endParaRPr sz="8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tx1"/>
                          </a:solidFill>
                          <a:latin typeface="Gene Sans Light" panose="00000400000000000000" pitchFamily="2" charset="0"/>
                        </a:rPr>
                        <a:t>0</a:t>
                      </a:r>
                      <a:endParaRPr sz="8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tx1"/>
                          </a:solidFill>
                          <a:latin typeface="Gene Sans Light" panose="00000400000000000000" pitchFamily="2" charset="0"/>
                        </a:rPr>
                        <a:t>0</a:t>
                      </a:r>
                      <a:endParaRPr sz="8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473" name="Google Shape;3434;p24">
            <a:extLst>
              <a:ext uri="{FF2B5EF4-FFF2-40B4-BE49-F238E27FC236}">
                <a16:creationId xmlns:a16="http://schemas.microsoft.com/office/drawing/2014/main" id="{82C78EDD-B241-42B6-B8AE-82ADE90E9425}"/>
              </a:ext>
            </a:extLst>
          </p:cNvPr>
          <p:cNvSpPr txBox="1"/>
          <p:nvPr/>
        </p:nvSpPr>
        <p:spPr>
          <a:xfrm>
            <a:off x="448287" y="3632666"/>
            <a:ext cx="769135" cy="138499"/>
          </a:xfrm>
          <a:prstGeom prst="rect">
            <a:avLst/>
          </a:prstGeom>
          <a:noFill/>
          <a:ln>
            <a:noFill/>
          </a:ln>
        </p:spPr>
        <p:txBody>
          <a:bodyPr spcFirstLastPara="1" wrap="square" lIns="0" tIns="0" rIns="0" bIns="0" anchor="ctr" anchorCtr="0">
            <a:spAutoFit/>
          </a:bodyPr>
          <a:lstStyle/>
          <a:p>
            <a:pPr marL="127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1" i="0" u="none" strike="noStrike" kern="0" cap="none" spc="0" normalizeH="0" baseline="0" noProof="0" dirty="0">
                <a:ln>
                  <a:noFill/>
                </a:ln>
                <a:solidFill>
                  <a:srgbClr val="004677"/>
                </a:solidFill>
                <a:effectLst/>
                <a:uLnTx/>
                <a:uFillTx/>
                <a:latin typeface="Gene Sans Light" panose="00000400000000000000" pitchFamily="2" charset="0"/>
                <a:cs typeface="Arial"/>
                <a:sym typeface="Arial"/>
              </a:rPr>
              <a:t>No. at risk:</a:t>
            </a:r>
            <a:endParaRPr kumimoji="0" sz="900" b="1" i="0" u="none" strike="noStrike" kern="0" cap="none" spc="0" normalizeH="0" baseline="0" noProof="0" dirty="0">
              <a:ln>
                <a:noFill/>
              </a:ln>
              <a:solidFill>
                <a:srgbClr val="004677"/>
              </a:solidFill>
              <a:effectLst/>
              <a:uLnTx/>
              <a:uFillTx/>
              <a:latin typeface="Gene Sans Light" panose="00000400000000000000" pitchFamily="2" charset="0"/>
              <a:cs typeface="Arial"/>
              <a:sym typeface="Arial"/>
            </a:endParaRPr>
          </a:p>
        </p:txBody>
      </p:sp>
      <p:graphicFrame>
        <p:nvGraphicFramePr>
          <p:cNvPr id="472" name="Shape1_20200925_154825">
            <a:extLst>
              <a:ext uri="{FF2B5EF4-FFF2-40B4-BE49-F238E27FC236}">
                <a16:creationId xmlns:a16="http://schemas.microsoft.com/office/drawing/2014/main" id="{26A4D264-CBB6-457A-A949-108C1975581A}"/>
              </a:ext>
            </a:extLst>
          </p:cNvPr>
          <p:cNvGraphicFramePr/>
          <p:nvPr/>
        </p:nvGraphicFramePr>
        <p:xfrm>
          <a:off x="768306" y="1500100"/>
          <a:ext cx="3582497" cy="2350726"/>
        </p:xfrm>
        <a:graphic>
          <a:graphicData uri="http://schemas.openxmlformats.org/drawingml/2006/chart">
            <c:chart xmlns:c="http://schemas.openxmlformats.org/drawingml/2006/chart" xmlns:r="http://schemas.openxmlformats.org/officeDocument/2006/relationships" r:id="rId3"/>
          </a:graphicData>
        </a:graphic>
      </p:graphicFrame>
      <p:grpSp>
        <p:nvGrpSpPr>
          <p:cNvPr id="5" name="Group 4">
            <a:extLst>
              <a:ext uri="{FF2B5EF4-FFF2-40B4-BE49-F238E27FC236}">
                <a16:creationId xmlns:a16="http://schemas.microsoft.com/office/drawing/2014/main" id="{C09ADF43-472A-4CC1-AEC1-C8654F907EA3}"/>
              </a:ext>
            </a:extLst>
          </p:cNvPr>
          <p:cNvGrpSpPr/>
          <p:nvPr/>
        </p:nvGrpSpPr>
        <p:grpSpPr>
          <a:xfrm>
            <a:off x="3057835" y="4313884"/>
            <a:ext cx="3031377" cy="200014"/>
            <a:chOff x="3057839" y="1564203"/>
            <a:chExt cx="3031377" cy="200014"/>
          </a:xfrm>
        </p:grpSpPr>
        <p:grpSp>
          <p:nvGrpSpPr>
            <p:cNvPr id="16" name="Group 15">
              <a:extLst>
                <a:ext uri="{FF2B5EF4-FFF2-40B4-BE49-F238E27FC236}">
                  <a16:creationId xmlns:a16="http://schemas.microsoft.com/office/drawing/2014/main" id="{99DE07D1-BFCA-4765-B153-87D0B5DC0B22}"/>
                </a:ext>
              </a:extLst>
            </p:cNvPr>
            <p:cNvGrpSpPr/>
            <p:nvPr/>
          </p:nvGrpSpPr>
          <p:grpSpPr>
            <a:xfrm>
              <a:off x="3057839" y="1564203"/>
              <a:ext cx="1513837" cy="200014"/>
              <a:chOff x="3057563" y="1590560"/>
              <a:chExt cx="1513837" cy="200014"/>
            </a:xfrm>
          </p:grpSpPr>
          <p:grpSp>
            <p:nvGrpSpPr>
              <p:cNvPr id="482" name="Google Shape;2722;p21">
                <a:extLst>
                  <a:ext uri="{FF2B5EF4-FFF2-40B4-BE49-F238E27FC236}">
                    <a16:creationId xmlns:a16="http://schemas.microsoft.com/office/drawing/2014/main" id="{F5781FA6-B602-48DF-88E1-E9A397B7C61D}"/>
                  </a:ext>
                </a:extLst>
              </p:cNvPr>
              <p:cNvGrpSpPr/>
              <p:nvPr/>
            </p:nvGrpSpPr>
            <p:grpSpPr>
              <a:xfrm>
                <a:off x="3057563" y="1670808"/>
                <a:ext cx="122080" cy="39518"/>
                <a:chOff x="8940800" y="1822076"/>
                <a:chExt cx="237863" cy="64586"/>
              </a:xfrm>
            </p:grpSpPr>
            <p:cxnSp>
              <p:nvCxnSpPr>
                <p:cNvPr id="484" name="Google Shape;2723;p21">
                  <a:extLst>
                    <a:ext uri="{FF2B5EF4-FFF2-40B4-BE49-F238E27FC236}">
                      <a16:creationId xmlns:a16="http://schemas.microsoft.com/office/drawing/2014/main" id="{B05C669B-7960-43CE-AD66-EFC7B0F51281}"/>
                    </a:ext>
                  </a:extLst>
                </p:cNvPr>
                <p:cNvCxnSpPr/>
                <p:nvPr/>
              </p:nvCxnSpPr>
              <p:spPr>
                <a:xfrm>
                  <a:off x="8940800" y="1886662"/>
                  <a:ext cx="237863" cy="0"/>
                </a:xfrm>
                <a:prstGeom prst="straightConnector1">
                  <a:avLst/>
                </a:prstGeom>
                <a:noFill/>
                <a:ln w="19050" cap="flat" cmpd="sng">
                  <a:solidFill>
                    <a:schemeClr val="accent4"/>
                  </a:solidFill>
                  <a:prstDash val="solid"/>
                  <a:round/>
                  <a:headEnd type="none" w="sm" len="sm"/>
                  <a:tailEnd type="none" w="sm" len="sm"/>
                </a:ln>
              </p:spPr>
            </p:cxnSp>
            <p:cxnSp>
              <p:nvCxnSpPr>
                <p:cNvPr id="485" name="Google Shape;2724;p21">
                  <a:extLst>
                    <a:ext uri="{FF2B5EF4-FFF2-40B4-BE49-F238E27FC236}">
                      <a16:creationId xmlns:a16="http://schemas.microsoft.com/office/drawing/2014/main" id="{DD6DE89B-93FE-4670-9619-7B768E7E452E}"/>
                    </a:ext>
                  </a:extLst>
                </p:cNvPr>
                <p:cNvCxnSpPr/>
                <p:nvPr/>
              </p:nvCxnSpPr>
              <p:spPr>
                <a:xfrm rot="10800000">
                  <a:off x="9059731" y="1822076"/>
                  <a:ext cx="0" cy="64586"/>
                </a:xfrm>
                <a:prstGeom prst="straightConnector1">
                  <a:avLst/>
                </a:prstGeom>
                <a:noFill/>
                <a:ln w="19050" cap="flat" cmpd="sng">
                  <a:solidFill>
                    <a:schemeClr val="accent2"/>
                  </a:solidFill>
                  <a:prstDash val="solid"/>
                  <a:round/>
                  <a:headEnd type="none" w="sm" len="sm"/>
                  <a:tailEnd type="none" w="sm" len="sm"/>
                </a:ln>
              </p:spPr>
            </p:cxnSp>
          </p:grpSp>
          <p:sp>
            <p:nvSpPr>
              <p:cNvPr id="483" name="Google Shape;2725;p21">
                <a:extLst>
                  <a:ext uri="{FF2B5EF4-FFF2-40B4-BE49-F238E27FC236}">
                    <a16:creationId xmlns:a16="http://schemas.microsoft.com/office/drawing/2014/main" id="{CFB63365-9F79-4F0B-AF39-EF26D303859C}"/>
                  </a:ext>
                </a:extLst>
              </p:cNvPr>
              <p:cNvSpPr txBox="1"/>
              <p:nvPr/>
            </p:nvSpPr>
            <p:spPr>
              <a:xfrm>
                <a:off x="3199800" y="1590560"/>
                <a:ext cx="1371600" cy="200014"/>
              </a:xfrm>
              <a:prstGeom prst="rect">
                <a:avLst/>
              </a:prstGeom>
              <a:noFill/>
              <a:ln>
                <a:noFill/>
              </a:ln>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Prednisone &lt; 10 mg (n = 402) </a:t>
                </a:r>
                <a:endParaRPr kumimoji="0" sz="800" b="0" i="0" u="none" strike="noStrike" kern="0" cap="none" spc="0" normalizeH="0" baseline="0" noProof="0" dirty="0">
                  <a:ln>
                    <a:noFill/>
                  </a:ln>
                  <a:solidFill>
                    <a:srgbClr val="000000"/>
                  </a:solidFill>
                  <a:effectLst/>
                  <a:uLnTx/>
                  <a:uFillTx/>
                  <a:latin typeface="Gene Sans Light" panose="00000400000000000000" pitchFamily="2" charset="0"/>
                  <a:cs typeface="Arial"/>
                  <a:sym typeface="Arial"/>
                </a:endParaRPr>
              </a:p>
            </p:txBody>
          </p:sp>
        </p:grpSp>
        <p:grpSp>
          <p:nvGrpSpPr>
            <p:cNvPr id="15" name="Group 14">
              <a:extLst>
                <a:ext uri="{FF2B5EF4-FFF2-40B4-BE49-F238E27FC236}">
                  <a16:creationId xmlns:a16="http://schemas.microsoft.com/office/drawing/2014/main" id="{68CD42A6-8CD3-4B2E-AF4B-6D65B673D5F8}"/>
                </a:ext>
              </a:extLst>
            </p:cNvPr>
            <p:cNvGrpSpPr/>
            <p:nvPr/>
          </p:nvGrpSpPr>
          <p:grpSpPr>
            <a:xfrm>
              <a:off x="4575379" y="1564203"/>
              <a:ext cx="1513837" cy="200014"/>
              <a:chOff x="3057563" y="1803442"/>
              <a:chExt cx="1513837" cy="200014"/>
            </a:xfrm>
          </p:grpSpPr>
          <p:grpSp>
            <p:nvGrpSpPr>
              <p:cNvPr id="478" name="Google Shape;2727;p21">
                <a:extLst>
                  <a:ext uri="{FF2B5EF4-FFF2-40B4-BE49-F238E27FC236}">
                    <a16:creationId xmlns:a16="http://schemas.microsoft.com/office/drawing/2014/main" id="{AB5378A0-8D84-4EFD-B566-5E84499F40C9}"/>
                  </a:ext>
                </a:extLst>
              </p:cNvPr>
              <p:cNvGrpSpPr/>
              <p:nvPr/>
            </p:nvGrpSpPr>
            <p:grpSpPr>
              <a:xfrm>
                <a:off x="3057563" y="1883690"/>
                <a:ext cx="122080" cy="39518"/>
                <a:chOff x="8940800" y="2215271"/>
                <a:chExt cx="237863" cy="64586"/>
              </a:xfrm>
            </p:grpSpPr>
            <p:cxnSp>
              <p:nvCxnSpPr>
                <p:cNvPr id="480" name="Google Shape;2728;p21">
                  <a:extLst>
                    <a:ext uri="{FF2B5EF4-FFF2-40B4-BE49-F238E27FC236}">
                      <a16:creationId xmlns:a16="http://schemas.microsoft.com/office/drawing/2014/main" id="{AAA55065-FA65-4DC9-8ABE-A37F31F124F2}"/>
                    </a:ext>
                  </a:extLst>
                </p:cNvPr>
                <p:cNvCxnSpPr/>
                <p:nvPr/>
              </p:nvCxnSpPr>
              <p:spPr>
                <a:xfrm>
                  <a:off x="8940800" y="2279857"/>
                  <a:ext cx="237863" cy="0"/>
                </a:xfrm>
                <a:prstGeom prst="straightConnector1">
                  <a:avLst/>
                </a:prstGeom>
                <a:noFill/>
                <a:ln w="19050" cap="flat" cmpd="sng">
                  <a:solidFill>
                    <a:schemeClr val="dk2"/>
                  </a:solidFill>
                  <a:prstDash val="solid"/>
                  <a:round/>
                  <a:headEnd type="none" w="sm" len="sm"/>
                  <a:tailEnd type="none" w="sm" len="sm"/>
                </a:ln>
              </p:spPr>
            </p:cxnSp>
            <p:cxnSp>
              <p:nvCxnSpPr>
                <p:cNvPr id="481" name="Google Shape;2729;p21">
                  <a:extLst>
                    <a:ext uri="{FF2B5EF4-FFF2-40B4-BE49-F238E27FC236}">
                      <a16:creationId xmlns:a16="http://schemas.microsoft.com/office/drawing/2014/main" id="{4CAEC445-D269-4237-BAD4-F7729F027ADD}"/>
                    </a:ext>
                  </a:extLst>
                </p:cNvPr>
                <p:cNvCxnSpPr/>
                <p:nvPr/>
              </p:nvCxnSpPr>
              <p:spPr>
                <a:xfrm rot="10800000">
                  <a:off x="9059731" y="2215271"/>
                  <a:ext cx="0" cy="64586"/>
                </a:xfrm>
                <a:prstGeom prst="straightConnector1">
                  <a:avLst/>
                </a:prstGeom>
                <a:noFill/>
                <a:ln w="19050" cap="flat" cmpd="sng">
                  <a:solidFill>
                    <a:schemeClr val="dk1"/>
                  </a:solidFill>
                  <a:prstDash val="solid"/>
                  <a:round/>
                  <a:headEnd type="none" w="sm" len="sm"/>
                  <a:tailEnd type="none" w="sm" len="sm"/>
                </a:ln>
              </p:spPr>
            </p:cxnSp>
          </p:grpSp>
          <p:sp>
            <p:nvSpPr>
              <p:cNvPr id="479" name="Google Shape;2730;p21">
                <a:extLst>
                  <a:ext uri="{FF2B5EF4-FFF2-40B4-BE49-F238E27FC236}">
                    <a16:creationId xmlns:a16="http://schemas.microsoft.com/office/drawing/2014/main" id="{2537AD22-E088-436D-8556-CC551C4A086F}"/>
                  </a:ext>
                </a:extLst>
              </p:cNvPr>
              <p:cNvSpPr txBox="1"/>
              <p:nvPr/>
            </p:nvSpPr>
            <p:spPr>
              <a:xfrm>
                <a:off x="3199800" y="1803442"/>
                <a:ext cx="1371600" cy="200014"/>
              </a:xfrm>
              <a:prstGeom prst="rect">
                <a:avLst/>
              </a:prstGeom>
              <a:noFill/>
              <a:ln>
                <a:noFill/>
              </a:ln>
            </p:spPr>
            <p:txBody>
              <a:bodyPr spcFirstLastPara="1" wrap="square" lIns="91425" tIns="45700" rIns="91425" bIns="4570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Prednisone ≥ 10 mg (n = 53)</a:t>
                </a:r>
                <a:endParaRPr kumimoji="0" sz="7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endParaRPr>
              </a:p>
            </p:txBody>
          </p:sp>
        </p:grpSp>
      </p:grpSp>
      <p:grpSp>
        <p:nvGrpSpPr>
          <p:cNvPr id="486" name="Group 485">
            <a:extLst>
              <a:ext uri="{FF2B5EF4-FFF2-40B4-BE49-F238E27FC236}">
                <a16:creationId xmlns:a16="http://schemas.microsoft.com/office/drawing/2014/main" id="{31AFB0F5-22F5-417A-9481-AB2A29F223B9}"/>
              </a:ext>
            </a:extLst>
          </p:cNvPr>
          <p:cNvGrpSpPr/>
          <p:nvPr/>
        </p:nvGrpSpPr>
        <p:grpSpPr>
          <a:xfrm>
            <a:off x="1396287" y="1669599"/>
            <a:ext cx="860032" cy="1683419"/>
            <a:chOff x="8761891" y="1524125"/>
            <a:chExt cx="943139" cy="1703134"/>
          </a:xfrm>
        </p:grpSpPr>
        <p:sp>
          <p:nvSpPr>
            <p:cNvPr id="487" name="Google Shape;2716;p21">
              <a:extLst>
                <a:ext uri="{FF2B5EF4-FFF2-40B4-BE49-F238E27FC236}">
                  <a16:creationId xmlns:a16="http://schemas.microsoft.com/office/drawing/2014/main" id="{E3634B26-2A2B-47B4-8F05-05F460932886}"/>
                </a:ext>
              </a:extLst>
            </p:cNvPr>
            <p:cNvSpPr/>
            <p:nvPr/>
          </p:nvSpPr>
          <p:spPr>
            <a:xfrm>
              <a:off x="8761891" y="1524125"/>
              <a:ext cx="943139" cy="1702998"/>
            </a:xfrm>
            <a:custGeom>
              <a:avLst/>
              <a:gdLst/>
              <a:ahLst/>
              <a:cxnLst/>
              <a:rect l="l" t="t" r="r" b="b"/>
              <a:pathLst>
                <a:path w="788669" h="1440179" extrusionOk="0">
                  <a:moveTo>
                    <a:pt x="0" y="0"/>
                  </a:moveTo>
                  <a:lnTo>
                    <a:pt x="5816" y="0"/>
                  </a:lnTo>
                  <a:lnTo>
                    <a:pt x="5816" y="26860"/>
                  </a:lnTo>
                  <a:lnTo>
                    <a:pt x="12344" y="26860"/>
                  </a:lnTo>
                  <a:lnTo>
                    <a:pt x="12344" y="159740"/>
                  </a:lnTo>
                  <a:lnTo>
                    <a:pt x="15240" y="159740"/>
                  </a:lnTo>
                  <a:lnTo>
                    <a:pt x="15240" y="187325"/>
                  </a:lnTo>
                  <a:lnTo>
                    <a:pt x="24676" y="187325"/>
                  </a:lnTo>
                  <a:lnTo>
                    <a:pt x="24676" y="214185"/>
                  </a:lnTo>
                  <a:lnTo>
                    <a:pt x="28321" y="214185"/>
                  </a:lnTo>
                  <a:lnTo>
                    <a:pt x="28321" y="241769"/>
                  </a:lnTo>
                  <a:lnTo>
                    <a:pt x="31216" y="241769"/>
                  </a:lnTo>
                  <a:lnTo>
                    <a:pt x="31216" y="268643"/>
                  </a:lnTo>
                  <a:lnTo>
                    <a:pt x="37744" y="268643"/>
                  </a:lnTo>
                  <a:lnTo>
                    <a:pt x="37744" y="377545"/>
                  </a:lnTo>
                  <a:lnTo>
                    <a:pt x="40652" y="377545"/>
                  </a:lnTo>
                  <a:lnTo>
                    <a:pt x="40652" y="432003"/>
                  </a:lnTo>
                  <a:lnTo>
                    <a:pt x="44284" y="432003"/>
                  </a:lnTo>
                  <a:lnTo>
                    <a:pt x="44284" y="459587"/>
                  </a:lnTo>
                  <a:lnTo>
                    <a:pt x="47193" y="459587"/>
                  </a:lnTo>
                  <a:lnTo>
                    <a:pt x="47193" y="486460"/>
                  </a:lnTo>
                  <a:lnTo>
                    <a:pt x="50101" y="486460"/>
                  </a:lnTo>
                  <a:lnTo>
                    <a:pt x="50101" y="596087"/>
                  </a:lnTo>
                  <a:lnTo>
                    <a:pt x="53721" y="596087"/>
                  </a:lnTo>
                  <a:lnTo>
                    <a:pt x="53721" y="677405"/>
                  </a:lnTo>
                  <a:lnTo>
                    <a:pt x="56629" y="677405"/>
                  </a:lnTo>
                  <a:lnTo>
                    <a:pt x="56629" y="704989"/>
                  </a:lnTo>
                  <a:lnTo>
                    <a:pt x="59524" y="704989"/>
                  </a:lnTo>
                  <a:lnTo>
                    <a:pt x="59524" y="731862"/>
                  </a:lnTo>
                  <a:lnTo>
                    <a:pt x="69697" y="731862"/>
                  </a:lnTo>
                  <a:lnTo>
                    <a:pt x="69697" y="759460"/>
                  </a:lnTo>
                  <a:lnTo>
                    <a:pt x="72605" y="759460"/>
                  </a:lnTo>
                  <a:lnTo>
                    <a:pt x="72605" y="786307"/>
                  </a:lnTo>
                  <a:lnTo>
                    <a:pt x="75488" y="786307"/>
                  </a:lnTo>
                  <a:lnTo>
                    <a:pt x="75488" y="840778"/>
                  </a:lnTo>
                  <a:lnTo>
                    <a:pt x="79133" y="840778"/>
                  </a:lnTo>
                  <a:lnTo>
                    <a:pt x="79133" y="922807"/>
                  </a:lnTo>
                  <a:lnTo>
                    <a:pt x="82042" y="922807"/>
                  </a:lnTo>
                  <a:lnTo>
                    <a:pt x="82042" y="949680"/>
                  </a:lnTo>
                  <a:lnTo>
                    <a:pt x="84950" y="949680"/>
                  </a:lnTo>
                  <a:lnTo>
                    <a:pt x="84950" y="1086167"/>
                  </a:lnTo>
                  <a:lnTo>
                    <a:pt x="91503" y="1086167"/>
                  </a:lnTo>
                  <a:lnTo>
                    <a:pt x="91503" y="1140625"/>
                  </a:lnTo>
                  <a:lnTo>
                    <a:pt x="100914" y="1140625"/>
                  </a:lnTo>
                  <a:lnTo>
                    <a:pt x="100914" y="1195082"/>
                  </a:lnTo>
                  <a:lnTo>
                    <a:pt x="119799" y="1195082"/>
                  </a:lnTo>
                  <a:lnTo>
                    <a:pt x="119799" y="1221943"/>
                  </a:lnTo>
                  <a:lnTo>
                    <a:pt x="135763" y="1221943"/>
                  </a:lnTo>
                  <a:lnTo>
                    <a:pt x="135763" y="1249527"/>
                  </a:lnTo>
                  <a:lnTo>
                    <a:pt x="158292" y="1249527"/>
                  </a:lnTo>
                  <a:lnTo>
                    <a:pt x="158292" y="1276388"/>
                  </a:lnTo>
                  <a:lnTo>
                    <a:pt x="227977" y="1276388"/>
                  </a:lnTo>
                  <a:lnTo>
                    <a:pt x="227977" y="1309065"/>
                  </a:lnTo>
                  <a:lnTo>
                    <a:pt x="275170" y="1309065"/>
                  </a:lnTo>
                  <a:lnTo>
                    <a:pt x="275170" y="1352613"/>
                  </a:lnTo>
                  <a:lnTo>
                    <a:pt x="477735" y="1352613"/>
                  </a:lnTo>
                  <a:lnTo>
                    <a:pt x="477735" y="1396199"/>
                  </a:lnTo>
                  <a:lnTo>
                    <a:pt x="788492" y="1396199"/>
                  </a:lnTo>
                  <a:lnTo>
                    <a:pt x="788492" y="1439773"/>
                  </a:lnTo>
                </a:path>
              </a:pathLst>
            </a:custGeom>
            <a:noFill/>
            <a:ln w="19050" cap="flat" cmpd="sng">
              <a:solidFill>
                <a:schemeClr val="bg2">
                  <a:lumMod val="90000"/>
                </a:schemeClr>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grpSp>
          <p:nvGrpSpPr>
            <p:cNvPr id="488" name="Group 487">
              <a:extLst>
                <a:ext uri="{FF2B5EF4-FFF2-40B4-BE49-F238E27FC236}">
                  <a16:creationId xmlns:a16="http://schemas.microsoft.com/office/drawing/2014/main" id="{B69380B9-4FDF-42A9-BA9B-F08992A9CC6E}"/>
                </a:ext>
              </a:extLst>
            </p:cNvPr>
            <p:cNvGrpSpPr/>
            <p:nvPr/>
          </p:nvGrpSpPr>
          <p:grpSpPr>
            <a:xfrm>
              <a:off x="8776654" y="1682080"/>
              <a:ext cx="928224" cy="1545179"/>
              <a:chOff x="8776654" y="1682080"/>
              <a:chExt cx="928224" cy="1545179"/>
            </a:xfrm>
          </p:grpSpPr>
          <p:sp>
            <p:nvSpPr>
              <p:cNvPr id="489" name="Google Shape;2869;p21">
                <a:extLst>
                  <a:ext uri="{FF2B5EF4-FFF2-40B4-BE49-F238E27FC236}">
                    <a16:creationId xmlns:a16="http://schemas.microsoft.com/office/drawing/2014/main" id="{B9CA96BD-F3B5-487C-978B-8B7242292169}"/>
                  </a:ext>
                </a:extLst>
              </p:cNvPr>
              <p:cNvSpPr/>
              <p:nvPr/>
            </p:nvSpPr>
            <p:spPr>
              <a:xfrm>
                <a:off x="8776654" y="1682080"/>
                <a:ext cx="0" cy="31537"/>
              </a:xfrm>
              <a:custGeom>
                <a:avLst/>
                <a:gdLst/>
                <a:ahLst/>
                <a:cxnLst/>
                <a:rect l="l" t="t" r="r" b="b"/>
                <a:pathLst>
                  <a:path w="120000" h="26670" extrusionOk="0">
                    <a:moveTo>
                      <a:pt x="0" y="0"/>
                    </a:moveTo>
                    <a:lnTo>
                      <a:pt x="0" y="26149"/>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490" name="Google Shape;2870;p21">
                <a:extLst>
                  <a:ext uri="{FF2B5EF4-FFF2-40B4-BE49-F238E27FC236}">
                    <a16:creationId xmlns:a16="http://schemas.microsoft.com/office/drawing/2014/main" id="{0D29C6AF-F343-45CC-AD64-3E62332C1E0E}"/>
                  </a:ext>
                </a:extLst>
              </p:cNvPr>
              <p:cNvSpPr/>
              <p:nvPr/>
            </p:nvSpPr>
            <p:spPr>
              <a:xfrm>
                <a:off x="8780116" y="1714714"/>
                <a:ext cx="0" cy="31537"/>
              </a:xfrm>
              <a:custGeom>
                <a:avLst/>
                <a:gdLst/>
                <a:ahLst/>
                <a:cxnLst/>
                <a:rect l="l" t="t" r="r" b="b"/>
                <a:pathLst>
                  <a:path w="120000" h="26670" extrusionOk="0">
                    <a:moveTo>
                      <a:pt x="0" y="0"/>
                    </a:moveTo>
                    <a:lnTo>
                      <a:pt x="0" y="26149"/>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491" name="Google Shape;2871;p21">
                <a:extLst>
                  <a:ext uri="{FF2B5EF4-FFF2-40B4-BE49-F238E27FC236}">
                    <a16:creationId xmlns:a16="http://schemas.microsoft.com/office/drawing/2014/main" id="{C7D6817C-3C3D-430D-8BC1-EA92B2F1BDF1}"/>
                  </a:ext>
                </a:extLst>
              </p:cNvPr>
              <p:cNvSpPr/>
              <p:nvPr/>
            </p:nvSpPr>
            <p:spPr>
              <a:xfrm>
                <a:off x="8791400" y="1746491"/>
                <a:ext cx="0" cy="31537"/>
              </a:xfrm>
              <a:custGeom>
                <a:avLst/>
                <a:gdLst/>
                <a:ahLst/>
                <a:cxnLst/>
                <a:rect l="l" t="t" r="r" b="b"/>
                <a:pathLst>
                  <a:path w="120000" h="26670" extrusionOk="0">
                    <a:moveTo>
                      <a:pt x="0" y="0"/>
                    </a:moveTo>
                    <a:lnTo>
                      <a:pt x="0" y="26149"/>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492" name="Google Shape;2872;p21">
                <a:extLst>
                  <a:ext uri="{FF2B5EF4-FFF2-40B4-BE49-F238E27FC236}">
                    <a16:creationId xmlns:a16="http://schemas.microsoft.com/office/drawing/2014/main" id="{7B5FFDA3-0A62-4E20-AA98-11FBDE3A2D0A}"/>
                  </a:ext>
                </a:extLst>
              </p:cNvPr>
              <p:cNvSpPr/>
              <p:nvPr/>
            </p:nvSpPr>
            <p:spPr>
              <a:xfrm>
                <a:off x="8795759" y="1779109"/>
                <a:ext cx="0" cy="31537"/>
              </a:xfrm>
              <a:custGeom>
                <a:avLst/>
                <a:gdLst/>
                <a:ahLst/>
                <a:cxnLst/>
                <a:rect l="l" t="t" r="r" b="b"/>
                <a:pathLst>
                  <a:path w="120000" h="26670" extrusionOk="0">
                    <a:moveTo>
                      <a:pt x="0" y="0"/>
                    </a:moveTo>
                    <a:lnTo>
                      <a:pt x="0" y="26136"/>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493" name="Google Shape;2873;p21">
                <a:extLst>
                  <a:ext uri="{FF2B5EF4-FFF2-40B4-BE49-F238E27FC236}">
                    <a16:creationId xmlns:a16="http://schemas.microsoft.com/office/drawing/2014/main" id="{FF5085B6-2F1C-4617-8619-6967333D101E}"/>
                  </a:ext>
                </a:extLst>
              </p:cNvPr>
              <p:cNvSpPr/>
              <p:nvPr/>
            </p:nvSpPr>
            <p:spPr>
              <a:xfrm>
                <a:off x="8791628" y="1810887"/>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solidFill>
                <a:schemeClr val="dk1"/>
              </a:solidFill>
              <a:ln>
                <a:solidFill>
                  <a:schemeClr val="tx1"/>
                </a:solid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494" name="Google Shape;2874;p21">
                <a:extLst>
                  <a:ext uri="{FF2B5EF4-FFF2-40B4-BE49-F238E27FC236}">
                    <a16:creationId xmlns:a16="http://schemas.microsoft.com/office/drawing/2014/main" id="{A624483B-522A-48C3-89AE-A29A1D2C87F6}"/>
                  </a:ext>
                </a:extLst>
              </p:cNvPr>
              <p:cNvSpPr/>
              <p:nvPr/>
            </p:nvSpPr>
            <p:spPr>
              <a:xfrm>
                <a:off x="8799449" y="1939663"/>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solidFill>
                <a:schemeClr val="dk1"/>
              </a:solidFill>
              <a:ln>
                <a:solidFill>
                  <a:schemeClr val="tx1"/>
                </a:solid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495" name="Google Shape;2875;p21">
                <a:extLst>
                  <a:ext uri="{FF2B5EF4-FFF2-40B4-BE49-F238E27FC236}">
                    <a16:creationId xmlns:a16="http://schemas.microsoft.com/office/drawing/2014/main" id="{9B6520ED-9D4B-40AD-AC09-F0D4607D9220}"/>
                  </a:ext>
                </a:extLst>
              </p:cNvPr>
              <p:cNvSpPr/>
              <p:nvPr/>
            </p:nvSpPr>
            <p:spPr>
              <a:xfrm>
                <a:off x="8802928" y="2004058"/>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solidFill>
                <a:schemeClr val="dk1"/>
              </a:solidFill>
              <a:ln>
                <a:solidFill>
                  <a:schemeClr val="tx1"/>
                </a:solid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496" name="Google Shape;2876;p21">
                <a:extLst>
                  <a:ext uri="{FF2B5EF4-FFF2-40B4-BE49-F238E27FC236}">
                    <a16:creationId xmlns:a16="http://schemas.microsoft.com/office/drawing/2014/main" id="{B3A5503D-FDAF-4979-97B5-C7BBDF66BD41}"/>
                  </a:ext>
                </a:extLst>
              </p:cNvPr>
              <p:cNvSpPr/>
              <p:nvPr/>
            </p:nvSpPr>
            <p:spPr>
              <a:xfrm>
                <a:off x="8814865" y="2036676"/>
                <a:ext cx="0" cy="31537"/>
              </a:xfrm>
              <a:custGeom>
                <a:avLst/>
                <a:gdLst/>
                <a:ahLst/>
                <a:cxnLst/>
                <a:rect l="l" t="t" r="r" b="b"/>
                <a:pathLst>
                  <a:path w="120000" h="26670" extrusionOk="0">
                    <a:moveTo>
                      <a:pt x="0" y="0"/>
                    </a:moveTo>
                    <a:lnTo>
                      <a:pt x="0" y="26149"/>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497" name="Google Shape;2877;p21">
                <a:extLst>
                  <a:ext uri="{FF2B5EF4-FFF2-40B4-BE49-F238E27FC236}">
                    <a16:creationId xmlns:a16="http://schemas.microsoft.com/office/drawing/2014/main" id="{C4F5A309-9087-4F2C-8180-D111A81FAFB4}"/>
                  </a:ext>
                </a:extLst>
              </p:cNvPr>
              <p:cNvSpPr/>
              <p:nvPr/>
            </p:nvSpPr>
            <p:spPr>
              <a:xfrm>
                <a:off x="8818342" y="2068440"/>
                <a:ext cx="0" cy="31537"/>
              </a:xfrm>
              <a:custGeom>
                <a:avLst/>
                <a:gdLst/>
                <a:ahLst/>
                <a:cxnLst/>
                <a:rect l="l" t="t" r="r" b="b"/>
                <a:pathLst>
                  <a:path w="120000" h="26670" extrusionOk="0">
                    <a:moveTo>
                      <a:pt x="0" y="0"/>
                    </a:moveTo>
                    <a:lnTo>
                      <a:pt x="0" y="26149"/>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498" name="Google Shape;2878;p21">
                <a:extLst>
                  <a:ext uri="{FF2B5EF4-FFF2-40B4-BE49-F238E27FC236}">
                    <a16:creationId xmlns:a16="http://schemas.microsoft.com/office/drawing/2014/main" id="{BBB5DDB3-8C5D-45C9-B0AC-5601090B6F03}"/>
                  </a:ext>
                </a:extLst>
              </p:cNvPr>
              <p:cNvSpPr/>
              <p:nvPr/>
            </p:nvSpPr>
            <p:spPr>
              <a:xfrm>
                <a:off x="8814228" y="2198086"/>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solidFill>
                <a:schemeClr val="dk1"/>
              </a:solidFill>
              <a:ln>
                <a:solidFill>
                  <a:schemeClr val="tx1"/>
                </a:solid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499" name="Google Shape;2879;p21">
                <a:extLst>
                  <a:ext uri="{FF2B5EF4-FFF2-40B4-BE49-F238E27FC236}">
                    <a16:creationId xmlns:a16="http://schemas.microsoft.com/office/drawing/2014/main" id="{99E8A14C-07B5-488C-BBF2-DA54D3C81021}"/>
                  </a:ext>
                </a:extLst>
              </p:cNvPr>
              <p:cNvSpPr/>
              <p:nvPr/>
            </p:nvSpPr>
            <p:spPr>
              <a:xfrm>
                <a:off x="8826165" y="2294229"/>
                <a:ext cx="0" cy="31537"/>
              </a:xfrm>
              <a:custGeom>
                <a:avLst/>
                <a:gdLst/>
                <a:ahLst/>
                <a:cxnLst/>
                <a:rect l="l" t="t" r="r" b="b"/>
                <a:pathLst>
                  <a:path w="120000" h="26670" extrusionOk="0">
                    <a:moveTo>
                      <a:pt x="0" y="0"/>
                    </a:moveTo>
                    <a:lnTo>
                      <a:pt x="0" y="26149"/>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00" name="Google Shape;2880;p21">
                <a:extLst>
                  <a:ext uri="{FF2B5EF4-FFF2-40B4-BE49-F238E27FC236}">
                    <a16:creationId xmlns:a16="http://schemas.microsoft.com/office/drawing/2014/main" id="{9207FC36-E782-4DA7-9BF1-08E1F9FD8D92}"/>
                  </a:ext>
                </a:extLst>
              </p:cNvPr>
              <p:cNvSpPr/>
              <p:nvPr/>
            </p:nvSpPr>
            <p:spPr>
              <a:xfrm>
                <a:off x="8829642" y="2326877"/>
                <a:ext cx="0" cy="31537"/>
              </a:xfrm>
              <a:custGeom>
                <a:avLst/>
                <a:gdLst/>
                <a:ahLst/>
                <a:cxnLst/>
                <a:rect l="l" t="t" r="r" b="b"/>
                <a:pathLst>
                  <a:path w="120000" h="26670" extrusionOk="0">
                    <a:moveTo>
                      <a:pt x="0" y="0"/>
                    </a:moveTo>
                    <a:lnTo>
                      <a:pt x="0" y="26136"/>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01" name="Google Shape;2881;p21">
                <a:extLst>
                  <a:ext uri="{FF2B5EF4-FFF2-40B4-BE49-F238E27FC236}">
                    <a16:creationId xmlns:a16="http://schemas.microsoft.com/office/drawing/2014/main" id="{F6188212-025F-480F-B087-067C34224CF9}"/>
                  </a:ext>
                </a:extLst>
              </p:cNvPr>
              <p:cNvSpPr/>
              <p:nvPr/>
            </p:nvSpPr>
            <p:spPr>
              <a:xfrm>
                <a:off x="8833105" y="2358639"/>
                <a:ext cx="0" cy="31537"/>
              </a:xfrm>
              <a:custGeom>
                <a:avLst/>
                <a:gdLst/>
                <a:ahLst/>
                <a:cxnLst/>
                <a:rect l="l" t="t" r="r" b="b"/>
                <a:pathLst>
                  <a:path w="120000" h="26670" extrusionOk="0">
                    <a:moveTo>
                      <a:pt x="0" y="0"/>
                    </a:moveTo>
                    <a:lnTo>
                      <a:pt x="0" y="26136"/>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02" name="Google Shape;2882;p21">
                <a:extLst>
                  <a:ext uri="{FF2B5EF4-FFF2-40B4-BE49-F238E27FC236}">
                    <a16:creationId xmlns:a16="http://schemas.microsoft.com/office/drawing/2014/main" id="{C71FA6D2-E692-4412-803A-B108041EA160}"/>
                  </a:ext>
                </a:extLst>
              </p:cNvPr>
              <p:cNvSpPr/>
              <p:nvPr/>
            </p:nvSpPr>
            <p:spPr>
              <a:xfrm>
                <a:off x="8837676" y="2391272"/>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solidFill>
                <a:schemeClr val="dk1"/>
              </a:solidFill>
              <a:ln>
                <a:solidFill>
                  <a:schemeClr val="tx1"/>
                </a:solid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03" name="Google Shape;2883;p21">
                <a:extLst>
                  <a:ext uri="{FF2B5EF4-FFF2-40B4-BE49-F238E27FC236}">
                    <a16:creationId xmlns:a16="http://schemas.microsoft.com/office/drawing/2014/main" id="{6F3FDE30-DCEE-4043-93A6-DE7C80EAA668}"/>
                  </a:ext>
                </a:extLst>
              </p:cNvPr>
              <p:cNvSpPr/>
              <p:nvPr/>
            </p:nvSpPr>
            <p:spPr>
              <a:xfrm>
                <a:off x="8841155" y="2423035"/>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solidFill>
                <a:schemeClr val="dk1"/>
              </a:solidFill>
              <a:ln>
                <a:solidFill>
                  <a:schemeClr val="tx1"/>
                </a:solid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04" name="Google Shape;2884;p21">
                <a:extLst>
                  <a:ext uri="{FF2B5EF4-FFF2-40B4-BE49-F238E27FC236}">
                    <a16:creationId xmlns:a16="http://schemas.microsoft.com/office/drawing/2014/main" id="{D8CF605C-A9F1-4E6F-84F1-FA0CF8C10FE6}"/>
                  </a:ext>
                </a:extLst>
              </p:cNvPr>
              <p:cNvSpPr/>
              <p:nvPr/>
            </p:nvSpPr>
            <p:spPr>
              <a:xfrm>
                <a:off x="8852211" y="2487431"/>
                <a:ext cx="0" cy="31537"/>
              </a:xfrm>
              <a:custGeom>
                <a:avLst/>
                <a:gdLst/>
                <a:ahLst/>
                <a:cxnLst/>
                <a:rect l="l" t="t" r="r" b="b"/>
                <a:pathLst>
                  <a:path w="120000" h="26670" extrusionOk="0">
                    <a:moveTo>
                      <a:pt x="0" y="0"/>
                    </a:moveTo>
                    <a:lnTo>
                      <a:pt x="0" y="26136"/>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05" name="Google Shape;2885;p21">
                <a:extLst>
                  <a:ext uri="{FF2B5EF4-FFF2-40B4-BE49-F238E27FC236}">
                    <a16:creationId xmlns:a16="http://schemas.microsoft.com/office/drawing/2014/main" id="{DB4180F0-FC92-4B46-957D-58981F3500B3}"/>
                  </a:ext>
                </a:extLst>
              </p:cNvPr>
              <p:cNvSpPr/>
              <p:nvPr/>
            </p:nvSpPr>
            <p:spPr>
              <a:xfrm>
                <a:off x="8856569" y="2584430"/>
                <a:ext cx="0" cy="31537"/>
              </a:xfrm>
              <a:custGeom>
                <a:avLst/>
                <a:gdLst/>
                <a:ahLst/>
                <a:cxnLst/>
                <a:rect l="l" t="t" r="r" b="b"/>
                <a:pathLst>
                  <a:path w="120000" h="26670" extrusionOk="0">
                    <a:moveTo>
                      <a:pt x="0" y="0"/>
                    </a:moveTo>
                    <a:lnTo>
                      <a:pt x="0" y="26149"/>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06" name="Google Shape;2886;p21">
                <a:extLst>
                  <a:ext uri="{FF2B5EF4-FFF2-40B4-BE49-F238E27FC236}">
                    <a16:creationId xmlns:a16="http://schemas.microsoft.com/office/drawing/2014/main" id="{F3734270-D48D-47CB-89C2-EC9F37A365C7}"/>
                  </a:ext>
                </a:extLst>
              </p:cNvPr>
              <p:cNvSpPr/>
              <p:nvPr/>
            </p:nvSpPr>
            <p:spPr>
              <a:xfrm>
                <a:off x="8860047" y="2616207"/>
                <a:ext cx="0" cy="31537"/>
              </a:xfrm>
              <a:custGeom>
                <a:avLst/>
                <a:gdLst/>
                <a:ahLst/>
                <a:cxnLst/>
                <a:rect l="l" t="t" r="r" b="b"/>
                <a:pathLst>
                  <a:path w="120000" h="26670" extrusionOk="0">
                    <a:moveTo>
                      <a:pt x="0" y="0"/>
                    </a:moveTo>
                    <a:lnTo>
                      <a:pt x="0" y="26136"/>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07" name="Google Shape;2887;p21">
                <a:extLst>
                  <a:ext uri="{FF2B5EF4-FFF2-40B4-BE49-F238E27FC236}">
                    <a16:creationId xmlns:a16="http://schemas.microsoft.com/office/drawing/2014/main" id="{A8C8E2B0-7EFD-487F-B53E-E9EC1EAC7D20}"/>
                  </a:ext>
                </a:extLst>
              </p:cNvPr>
              <p:cNvSpPr/>
              <p:nvPr/>
            </p:nvSpPr>
            <p:spPr>
              <a:xfrm>
                <a:off x="8863526" y="2777631"/>
                <a:ext cx="0" cy="31537"/>
              </a:xfrm>
              <a:custGeom>
                <a:avLst/>
                <a:gdLst/>
                <a:ahLst/>
                <a:cxnLst/>
                <a:rect l="l" t="t" r="r" b="b"/>
                <a:pathLst>
                  <a:path w="120000" h="26670" extrusionOk="0">
                    <a:moveTo>
                      <a:pt x="0" y="0"/>
                    </a:moveTo>
                    <a:lnTo>
                      <a:pt x="0" y="26111"/>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08" name="Google Shape;2888;p21">
                <a:extLst>
                  <a:ext uri="{FF2B5EF4-FFF2-40B4-BE49-F238E27FC236}">
                    <a16:creationId xmlns:a16="http://schemas.microsoft.com/office/drawing/2014/main" id="{24294197-1B7F-41E0-B6C0-08D4ACE65C03}"/>
                  </a:ext>
                </a:extLst>
              </p:cNvPr>
              <p:cNvSpPr/>
              <p:nvPr/>
            </p:nvSpPr>
            <p:spPr>
              <a:xfrm>
                <a:off x="8871347" y="2841996"/>
                <a:ext cx="0" cy="31537"/>
              </a:xfrm>
              <a:custGeom>
                <a:avLst/>
                <a:gdLst/>
                <a:ahLst/>
                <a:cxnLst/>
                <a:rect l="l" t="t" r="r" b="b"/>
                <a:pathLst>
                  <a:path w="120000" h="26670" extrusionOk="0">
                    <a:moveTo>
                      <a:pt x="0" y="0"/>
                    </a:moveTo>
                    <a:lnTo>
                      <a:pt x="0" y="26149"/>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09" name="Google Shape;2889;p21">
                <a:extLst>
                  <a:ext uri="{FF2B5EF4-FFF2-40B4-BE49-F238E27FC236}">
                    <a16:creationId xmlns:a16="http://schemas.microsoft.com/office/drawing/2014/main" id="{E09F6CF7-E820-45B7-A3CB-C1968BEBECE0}"/>
                  </a:ext>
                </a:extLst>
              </p:cNvPr>
              <p:cNvSpPr/>
              <p:nvPr/>
            </p:nvSpPr>
            <p:spPr>
              <a:xfrm>
                <a:off x="8882617" y="2906392"/>
                <a:ext cx="0" cy="31537"/>
              </a:xfrm>
              <a:custGeom>
                <a:avLst/>
                <a:gdLst/>
                <a:ahLst/>
                <a:cxnLst/>
                <a:rect l="l" t="t" r="r" b="b"/>
                <a:pathLst>
                  <a:path w="120000" h="26670" extrusionOk="0">
                    <a:moveTo>
                      <a:pt x="0" y="0"/>
                    </a:moveTo>
                    <a:lnTo>
                      <a:pt x="0" y="26136"/>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10" name="Google Shape;2890;p21">
                <a:extLst>
                  <a:ext uri="{FF2B5EF4-FFF2-40B4-BE49-F238E27FC236}">
                    <a16:creationId xmlns:a16="http://schemas.microsoft.com/office/drawing/2014/main" id="{DA2B481D-4143-4F27-9ACD-6D3F1B3A6712}"/>
                  </a:ext>
                </a:extLst>
              </p:cNvPr>
              <p:cNvSpPr/>
              <p:nvPr/>
            </p:nvSpPr>
            <p:spPr>
              <a:xfrm>
                <a:off x="8905200" y="2938185"/>
                <a:ext cx="0" cy="31537"/>
              </a:xfrm>
              <a:custGeom>
                <a:avLst/>
                <a:gdLst/>
                <a:ahLst/>
                <a:cxnLst/>
                <a:rect l="l" t="t" r="r" b="b"/>
                <a:pathLst>
                  <a:path w="120000" h="26670" extrusionOk="0">
                    <a:moveTo>
                      <a:pt x="0" y="0"/>
                    </a:moveTo>
                    <a:lnTo>
                      <a:pt x="0" y="26111"/>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11" name="Google Shape;2891;p21">
                <a:extLst>
                  <a:ext uri="{FF2B5EF4-FFF2-40B4-BE49-F238E27FC236}">
                    <a16:creationId xmlns:a16="http://schemas.microsoft.com/office/drawing/2014/main" id="{303177E7-D3E1-4F48-9ADD-6358A1D5616F}"/>
                  </a:ext>
                </a:extLst>
              </p:cNvPr>
              <p:cNvSpPr/>
              <p:nvPr/>
            </p:nvSpPr>
            <p:spPr>
              <a:xfrm>
                <a:off x="8924290" y="2970788"/>
                <a:ext cx="0" cy="31537"/>
              </a:xfrm>
              <a:custGeom>
                <a:avLst/>
                <a:gdLst/>
                <a:ahLst/>
                <a:cxnLst/>
                <a:rect l="l" t="t" r="r" b="b"/>
                <a:pathLst>
                  <a:path w="120000" h="26670" extrusionOk="0">
                    <a:moveTo>
                      <a:pt x="0" y="0"/>
                    </a:moveTo>
                    <a:lnTo>
                      <a:pt x="0" y="26136"/>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13" name="Google Shape;2892;p21">
                <a:extLst>
                  <a:ext uri="{FF2B5EF4-FFF2-40B4-BE49-F238E27FC236}">
                    <a16:creationId xmlns:a16="http://schemas.microsoft.com/office/drawing/2014/main" id="{FBB44445-795E-41CE-AA87-02F36AE9E8F9}"/>
                  </a:ext>
                </a:extLst>
              </p:cNvPr>
              <p:cNvSpPr/>
              <p:nvPr/>
            </p:nvSpPr>
            <p:spPr>
              <a:xfrm>
                <a:off x="8951218" y="3002550"/>
                <a:ext cx="0" cy="31537"/>
              </a:xfrm>
              <a:custGeom>
                <a:avLst/>
                <a:gdLst/>
                <a:ahLst/>
                <a:cxnLst/>
                <a:rect l="l" t="t" r="r" b="b"/>
                <a:pathLst>
                  <a:path w="120000" h="26670" extrusionOk="0">
                    <a:moveTo>
                      <a:pt x="0" y="0"/>
                    </a:moveTo>
                    <a:lnTo>
                      <a:pt x="0" y="26136"/>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14" name="Google Shape;2893;p21">
                <a:extLst>
                  <a:ext uri="{FF2B5EF4-FFF2-40B4-BE49-F238E27FC236}">
                    <a16:creationId xmlns:a16="http://schemas.microsoft.com/office/drawing/2014/main" id="{5B2E3869-9BBB-49B3-92CC-517EC981C5A8}"/>
                  </a:ext>
                </a:extLst>
              </p:cNvPr>
              <p:cNvSpPr/>
              <p:nvPr/>
            </p:nvSpPr>
            <p:spPr>
              <a:xfrm>
                <a:off x="8981608" y="3002550"/>
                <a:ext cx="0" cy="31537"/>
              </a:xfrm>
              <a:custGeom>
                <a:avLst/>
                <a:gdLst/>
                <a:ahLst/>
                <a:cxnLst/>
                <a:rect l="l" t="t" r="r" b="b"/>
                <a:pathLst>
                  <a:path w="120000" h="26670" extrusionOk="0">
                    <a:moveTo>
                      <a:pt x="0" y="0"/>
                    </a:moveTo>
                    <a:lnTo>
                      <a:pt x="0" y="26136"/>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15" name="Google Shape;2894;p21">
                <a:extLst>
                  <a:ext uri="{FF2B5EF4-FFF2-40B4-BE49-F238E27FC236}">
                    <a16:creationId xmlns:a16="http://schemas.microsoft.com/office/drawing/2014/main" id="{5FA9122F-0EB2-4CF7-A3BC-8B60FC88C245}"/>
                  </a:ext>
                </a:extLst>
              </p:cNvPr>
              <p:cNvSpPr/>
              <p:nvPr/>
            </p:nvSpPr>
            <p:spPr>
              <a:xfrm>
                <a:off x="9034566" y="3041175"/>
                <a:ext cx="0" cy="31537"/>
              </a:xfrm>
              <a:custGeom>
                <a:avLst/>
                <a:gdLst/>
                <a:ahLst/>
                <a:cxnLst/>
                <a:rect l="l" t="t" r="r" b="b"/>
                <a:pathLst>
                  <a:path w="120000" h="26670" extrusionOk="0">
                    <a:moveTo>
                      <a:pt x="0" y="0"/>
                    </a:moveTo>
                    <a:lnTo>
                      <a:pt x="0" y="26149"/>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16" name="Google Shape;2895;p21">
                <a:extLst>
                  <a:ext uri="{FF2B5EF4-FFF2-40B4-BE49-F238E27FC236}">
                    <a16:creationId xmlns:a16="http://schemas.microsoft.com/office/drawing/2014/main" id="{6C46C3FD-643C-4B7B-8492-B07590E97C04}"/>
                  </a:ext>
                </a:extLst>
              </p:cNvPr>
              <p:cNvSpPr/>
              <p:nvPr/>
            </p:nvSpPr>
            <p:spPr>
              <a:xfrm>
                <a:off x="9091003" y="3092716"/>
                <a:ext cx="0" cy="31537"/>
              </a:xfrm>
              <a:custGeom>
                <a:avLst/>
                <a:gdLst/>
                <a:ahLst/>
                <a:cxnLst/>
                <a:rect l="l" t="t" r="r" b="b"/>
                <a:pathLst>
                  <a:path w="120000" h="26670" extrusionOk="0">
                    <a:moveTo>
                      <a:pt x="0" y="0"/>
                    </a:moveTo>
                    <a:lnTo>
                      <a:pt x="0" y="26111"/>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17" name="Google Shape;2896;p21">
                <a:extLst>
                  <a:ext uri="{FF2B5EF4-FFF2-40B4-BE49-F238E27FC236}">
                    <a16:creationId xmlns:a16="http://schemas.microsoft.com/office/drawing/2014/main" id="{3652ECA6-0176-48AB-B74A-2C546FAD6411}"/>
                  </a:ext>
                </a:extLst>
              </p:cNvPr>
              <p:cNvSpPr/>
              <p:nvPr/>
            </p:nvSpPr>
            <p:spPr>
              <a:xfrm>
                <a:off x="9333258" y="3144211"/>
                <a:ext cx="0" cy="31537"/>
              </a:xfrm>
              <a:custGeom>
                <a:avLst/>
                <a:gdLst/>
                <a:ahLst/>
                <a:cxnLst/>
                <a:rect l="l" t="t" r="r" b="b"/>
                <a:pathLst>
                  <a:path w="120000" h="26670" extrusionOk="0">
                    <a:moveTo>
                      <a:pt x="0" y="0"/>
                    </a:moveTo>
                    <a:lnTo>
                      <a:pt x="0" y="26149"/>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18" name="Google Shape;2897;p21">
                <a:extLst>
                  <a:ext uri="{FF2B5EF4-FFF2-40B4-BE49-F238E27FC236}">
                    <a16:creationId xmlns:a16="http://schemas.microsoft.com/office/drawing/2014/main" id="{BFB186C7-61EF-48BB-94D8-A9C70F3E897C}"/>
                  </a:ext>
                </a:extLst>
              </p:cNvPr>
              <p:cNvSpPr/>
              <p:nvPr/>
            </p:nvSpPr>
            <p:spPr>
              <a:xfrm>
                <a:off x="9704878" y="3195722"/>
                <a:ext cx="0" cy="31537"/>
              </a:xfrm>
              <a:custGeom>
                <a:avLst/>
                <a:gdLst/>
                <a:ahLst/>
                <a:cxnLst/>
                <a:rect l="l" t="t" r="r" b="b"/>
                <a:pathLst>
                  <a:path w="120000" h="26670" extrusionOk="0">
                    <a:moveTo>
                      <a:pt x="0" y="0"/>
                    </a:moveTo>
                    <a:lnTo>
                      <a:pt x="0" y="26162"/>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grpSp>
      </p:grpSp>
      <p:sp>
        <p:nvSpPr>
          <p:cNvPr id="519" name="Google Shape;2904;p21">
            <a:extLst>
              <a:ext uri="{FF2B5EF4-FFF2-40B4-BE49-F238E27FC236}">
                <a16:creationId xmlns:a16="http://schemas.microsoft.com/office/drawing/2014/main" id="{D98B5CA4-A1E4-46BB-8503-B4D34E1B8450}"/>
              </a:ext>
            </a:extLst>
          </p:cNvPr>
          <p:cNvSpPr txBox="1"/>
          <p:nvPr/>
        </p:nvSpPr>
        <p:spPr>
          <a:xfrm>
            <a:off x="3790522" y="3030038"/>
            <a:ext cx="390943" cy="120546"/>
          </a:xfrm>
          <a:prstGeom prst="rect">
            <a:avLst/>
          </a:prstGeom>
          <a:noFill/>
          <a:ln>
            <a:noFill/>
          </a:ln>
        </p:spPr>
        <p:txBody>
          <a:bodyPr spcFirstLastPara="1" wrap="square" lIns="0" tIns="12700" rIns="0" bIns="0" anchor="t" anchorCtr="0">
            <a:spAutoFit/>
          </a:bodyPr>
          <a:lstStyle/>
          <a:p>
            <a:pPr marL="127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1"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P </a:t>
            </a:r>
            <a:r>
              <a:rPr kumimoji="0" lang="en-US" sz="7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lt; .001</a:t>
            </a:r>
            <a:endParaRPr kumimoji="0" sz="800" b="0" i="0" u="none" strike="noStrike" kern="0" cap="none" spc="0" normalizeH="0" baseline="0" noProof="0" dirty="0">
              <a:ln>
                <a:noFill/>
              </a:ln>
              <a:solidFill>
                <a:srgbClr val="000000"/>
              </a:solidFill>
              <a:effectLst/>
              <a:uLnTx/>
              <a:uFillTx/>
              <a:latin typeface="Gene Sans Light" panose="00000400000000000000" pitchFamily="2" charset="0"/>
              <a:cs typeface="Arial"/>
              <a:sym typeface="Arial"/>
            </a:endParaRPr>
          </a:p>
        </p:txBody>
      </p:sp>
      <p:grpSp>
        <p:nvGrpSpPr>
          <p:cNvPr id="520" name="Group 519">
            <a:extLst>
              <a:ext uri="{FF2B5EF4-FFF2-40B4-BE49-F238E27FC236}">
                <a16:creationId xmlns:a16="http://schemas.microsoft.com/office/drawing/2014/main" id="{BE57B4C9-C5A7-408D-941A-4C14D2C4C885}"/>
              </a:ext>
            </a:extLst>
          </p:cNvPr>
          <p:cNvGrpSpPr/>
          <p:nvPr/>
        </p:nvGrpSpPr>
        <p:grpSpPr>
          <a:xfrm>
            <a:off x="1379569" y="1633484"/>
            <a:ext cx="2808643" cy="1635889"/>
            <a:chOff x="9195078" y="1487587"/>
            <a:chExt cx="2690514" cy="1655047"/>
          </a:xfrm>
          <a:solidFill>
            <a:schemeClr val="accent2"/>
          </a:solidFill>
        </p:grpSpPr>
        <p:sp>
          <p:nvSpPr>
            <p:cNvPr id="521" name="Google Shape;2754;p21">
              <a:extLst>
                <a:ext uri="{FF2B5EF4-FFF2-40B4-BE49-F238E27FC236}">
                  <a16:creationId xmlns:a16="http://schemas.microsoft.com/office/drawing/2014/main" id="{B1A62B45-8C33-47A4-B141-E8717549EBC2}"/>
                </a:ext>
              </a:extLst>
            </p:cNvPr>
            <p:cNvSpPr/>
            <p:nvPr/>
          </p:nvSpPr>
          <p:spPr>
            <a:xfrm>
              <a:off x="9275009" y="2291194"/>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22" name="Google Shape;2755;p21">
              <a:extLst>
                <a:ext uri="{FF2B5EF4-FFF2-40B4-BE49-F238E27FC236}">
                  <a16:creationId xmlns:a16="http://schemas.microsoft.com/office/drawing/2014/main" id="{6A0DA06D-A51F-4882-A388-8958919F50C7}"/>
                </a:ext>
              </a:extLst>
            </p:cNvPr>
            <p:cNvSpPr/>
            <p:nvPr/>
          </p:nvSpPr>
          <p:spPr>
            <a:xfrm>
              <a:off x="9278473" y="2295474"/>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23" name="Google Shape;2758;p21">
              <a:extLst>
                <a:ext uri="{FF2B5EF4-FFF2-40B4-BE49-F238E27FC236}">
                  <a16:creationId xmlns:a16="http://schemas.microsoft.com/office/drawing/2014/main" id="{ED9B26F0-5FA9-402C-90A7-92E47697C292}"/>
                </a:ext>
              </a:extLst>
            </p:cNvPr>
            <p:cNvSpPr/>
            <p:nvPr/>
          </p:nvSpPr>
          <p:spPr>
            <a:xfrm>
              <a:off x="9289787" y="2385625"/>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24" name="Google Shape;2763;p21">
              <a:extLst>
                <a:ext uri="{FF2B5EF4-FFF2-40B4-BE49-F238E27FC236}">
                  <a16:creationId xmlns:a16="http://schemas.microsoft.com/office/drawing/2014/main" id="{F0486208-4831-4670-BF07-E9B18601156B}"/>
                </a:ext>
              </a:extLst>
            </p:cNvPr>
            <p:cNvSpPr/>
            <p:nvPr/>
          </p:nvSpPr>
          <p:spPr>
            <a:xfrm>
              <a:off x="9308877" y="2450006"/>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25" name="Google Shape;2764;p21">
              <a:extLst>
                <a:ext uri="{FF2B5EF4-FFF2-40B4-BE49-F238E27FC236}">
                  <a16:creationId xmlns:a16="http://schemas.microsoft.com/office/drawing/2014/main" id="{96BEAF32-678A-4CE2-AB33-2CB88FE9950B}"/>
                </a:ext>
              </a:extLst>
            </p:cNvPr>
            <p:cNvSpPr/>
            <p:nvPr/>
          </p:nvSpPr>
          <p:spPr>
            <a:xfrm>
              <a:off x="9313236" y="2458611"/>
              <a:ext cx="15187" cy="31537"/>
            </a:xfrm>
            <a:custGeom>
              <a:avLst/>
              <a:gdLst/>
              <a:ahLst/>
              <a:cxnLst/>
              <a:rect l="l" t="t" r="r" b="b"/>
              <a:pathLst>
                <a:path w="12700" h="26670" extrusionOk="0">
                  <a:moveTo>
                    <a:pt x="0" y="26123"/>
                  </a:moveTo>
                  <a:lnTo>
                    <a:pt x="12700" y="26123"/>
                  </a:lnTo>
                  <a:lnTo>
                    <a:pt x="12700" y="0"/>
                  </a:lnTo>
                  <a:lnTo>
                    <a:pt x="0" y="0"/>
                  </a:lnTo>
                  <a:lnTo>
                    <a:pt x="0" y="26123"/>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26" name="Google Shape;2765;p21">
              <a:extLst>
                <a:ext uri="{FF2B5EF4-FFF2-40B4-BE49-F238E27FC236}">
                  <a16:creationId xmlns:a16="http://schemas.microsoft.com/office/drawing/2014/main" id="{BC0BCA07-C11A-4BBF-B778-B265B118A5A2}"/>
                </a:ext>
              </a:extLst>
            </p:cNvPr>
            <p:cNvSpPr/>
            <p:nvPr/>
          </p:nvSpPr>
          <p:spPr>
            <a:xfrm>
              <a:off x="9316715" y="2467185"/>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27" name="Google Shape;2766;p21">
              <a:extLst>
                <a:ext uri="{FF2B5EF4-FFF2-40B4-BE49-F238E27FC236}">
                  <a16:creationId xmlns:a16="http://schemas.microsoft.com/office/drawing/2014/main" id="{285AD481-5175-49FA-B082-CFB3B8DF01AC}"/>
                </a:ext>
              </a:extLst>
            </p:cNvPr>
            <p:cNvSpPr/>
            <p:nvPr/>
          </p:nvSpPr>
          <p:spPr>
            <a:xfrm>
              <a:off x="9320193" y="2475776"/>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28" name="Google Shape;2767;p21">
              <a:extLst>
                <a:ext uri="{FF2B5EF4-FFF2-40B4-BE49-F238E27FC236}">
                  <a16:creationId xmlns:a16="http://schemas.microsoft.com/office/drawing/2014/main" id="{2E5AC087-610A-4D9E-9B3B-9C8407204C5B}"/>
                </a:ext>
              </a:extLst>
            </p:cNvPr>
            <p:cNvSpPr/>
            <p:nvPr/>
          </p:nvSpPr>
          <p:spPr>
            <a:xfrm>
              <a:off x="9324536" y="2502388"/>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29" name="Google Shape;2768;p21">
              <a:extLst>
                <a:ext uri="{FF2B5EF4-FFF2-40B4-BE49-F238E27FC236}">
                  <a16:creationId xmlns:a16="http://schemas.microsoft.com/office/drawing/2014/main" id="{47B6902B-2A93-4BB2-91E8-E1E8C9022CB7}"/>
                </a:ext>
              </a:extLst>
            </p:cNvPr>
            <p:cNvSpPr/>
            <p:nvPr/>
          </p:nvSpPr>
          <p:spPr>
            <a:xfrm>
              <a:off x="9327983" y="2506682"/>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30" name="Google Shape;2769;p21">
              <a:extLst>
                <a:ext uri="{FF2B5EF4-FFF2-40B4-BE49-F238E27FC236}">
                  <a16:creationId xmlns:a16="http://schemas.microsoft.com/office/drawing/2014/main" id="{9CA3D406-FF6C-4E18-8252-967FBCA012A6}"/>
                </a:ext>
              </a:extLst>
            </p:cNvPr>
            <p:cNvSpPr/>
            <p:nvPr/>
          </p:nvSpPr>
          <p:spPr>
            <a:xfrm>
              <a:off x="9331476" y="2510977"/>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31" name="Google Shape;2770;p21">
              <a:extLst>
                <a:ext uri="{FF2B5EF4-FFF2-40B4-BE49-F238E27FC236}">
                  <a16:creationId xmlns:a16="http://schemas.microsoft.com/office/drawing/2014/main" id="{33669538-222E-404B-94B7-839BA18108AC}"/>
                </a:ext>
              </a:extLst>
            </p:cNvPr>
            <p:cNvSpPr/>
            <p:nvPr/>
          </p:nvSpPr>
          <p:spPr>
            <a:xfrm>
              <a:off x="9339299" y="2515272"/>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33" name="Google Shape;2771;p21">
              <a:extLst>
                <a:ext uri="{FF2B5EF4-FFF2-40B4-BE49-F238E27FC236}">
                  <a16:creationId xmlns:a16="http://schemas.microsoft.com/office/drawing/2014/main" id="{D6599A3D-940A-4BFA-B5C2-56F710B9CA4F}"/>
                </a:ext>
              </a:extLst>
            </p:cNvPr>
            <p:cNvSpPr/>
            <p:nvPr/>
          </p:nvSpPr>
          <p:spPr>
            <a:xfrm>
              <a:off x="9342761" y="2523862"/>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34" name="Google Shape;2774;p21">
              <a:extLst>
                <a:ext uri="{FF2B5EF4-FFF2-40B4-BE49-F238E27FC236}">
                  <a16:creationId xmlns:a16="http://schemas.microsoft.com/office/drawing/2014/main" id="{8E31D18C-8783-4F4B-AD05-E5EC131CDB1E}"/>
                </a:ext>
              </a:extLst>
            </p:cNvPr>
            <p:cNvSpPr/>
            <p:nvPr/>
          </p:nvSpPr>
          <p:spPr>
            <a:xfrm>
              <a:off x="9354942" y="2576228"/>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35" name="Google Shape;2775;p21">
              <a:extLst>
                <a:ext uri="{FF2B5EF4-FFF2-40B4-BE49-F238E27FC236}">
                  <a16:creationId xmlns:a16="http://schemas.microsoft.com/office/drawing/2014/main" id="{A65F04B1-65A3-4037-A85B-E61217660E6B}"/>
                </a:ext>
              </a:extLst>
            </p:cNvPr>
            <p:cNvSpPr/>
            <p:nvPr/>
          </p:nvSpPr>
          <p:spPr>
            <a:xfrm>
              <a:off x="9358404" y="2581379"/>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36" name="Google Shape;2776;p21">
              <a:extLst>
                <a:ext uri="{FF2B5EF4-FFF2-40B4-BE49-F238E27FC236}">
                  <a16:creationId xmlns:a16="http://schemas.microsoft.com/office/drawing/2014/main" id="{ABCC6F81-0ADA-4633-92E9-69107A327CAF}"/>
                </a:ext>
              </a:extLst>
            </p:cNvPr>
            <p:cNvSpPr/>
            <p:nvPr/>
          </p:nvSpPr>
          <p:spPr>
            <a:xfrm>
              <a:off x="9361881" y="2589954"/>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37" name="Google Shape;2777;p21">
              <a:extLst>
                <a:ext uri="{FF2B5EF4-FFF2-40B4-BE49-F238E27FC236}">
                  <a16:creationId xmlns:a16="http://schemas.microsoft.com/office/drawing/2014/main" id="{0A1D56DA-A642-4BB3-BC23-B7D07CCFD4C3}"/>
                </a:ext>
              </a:extLst>
            </p:cNvPr>
            <p:cNvSpPr/>
            <p:nvPr/>
          </p:nvSpPr>
          <p:spPr>
            <a:xfrm>
              <a:off x="9366226" y="2594265"/>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38" name="Google Shape;2778;p21">
              <a:extLst>
                <a:ext uri="{FF2B5EF4-FFF2-40B4-BE49-F238E27FC236}">
                  <a16:creationId xmlns:a16="http://schemas.microsoft.com/office/drawing/2014/main" id="{85A45CD6-7C50-4D20-BD16-D445121EC5C6}"/>
                </a:ext>
              </a:extLst>
            </p:cNvPr>
            <p:cNvSpPr/>
            <p:nvPr/>
          </p:nvSpPr>
          <p:spPr>
            <a:xfrm>
              <a:off x="9369703" y="2602840"/>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39" name="Google Shape;2779;p21">
              <a:extLst>
                <a:ext uri="{FF2B5EF4-FFF2-40B4-BE49-F238E27FC236}">
                  <a16:creationId xmlns:a16="http://schemas.microsoft.com/office/drawing/2014/main" id="{A6F83A78-3472-40A7-8C53-6EE4EA888363}"/>
                </a:ext>
              </a:extLst>
            </p:cNvPr>
            <p:cNvSpPr/>
            <p:nvPr/>
          </p:nvSpPr>
          <p:spPr>
            <a:xfrm>
              <a:off x="9373181" y="2607135"/>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40" name="Google Shape;2780;p21">
              <a:extLst>
                <a:ext uri="{FF2B5EF4-FFF2-40B4-BE49-F238E27FC236}">
                  <a16:creationId xmlns:a16="http://schemas.microsoft.com/office/drawing/2014/main" id="{C64B46F9-48BE-4342-80AC-0E5D0CE8A76C}"/>
                </a:ext>
              </a:extLst>
            </p:cNvPr>
            <p:cNvSpPr/>
            <p:nvPr/>
          </p:nvSpPr>
          <p:spPr>
            <a:xfrm>
              <a:off x="9377524" y="2612301"/>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41" name="Google Shape;2781;p21">
              <a:extLst>
                <a:ext uri="{FF2B5EF4-FFF2-40B4-BE49-F238E27FC236}">
                  <a16:creationId xmlns:a16="http://schemas.microsoft.com/office/drawing/2014/main" id="{7362CE8C-F944-4245-9608-42963FB17ACD}"/>
                </a:ext>
              </a:extLst>
            </p:cNvPr>
            <p:cNvSpPr/>
            <p:nvPr/>
          </p:nvSpPr>
          <p:spPr>
            <a:xfrm>
              <a:off x="9384481" y="2616581"/>
              <a:ext cx="15187" cy="31537"/>
            </a:xfrm>
            <a:custGeom>
              <a:avLst/>
              <a:gdLst/>
              <a:ahLst/>
              <a:cxnLst/>
              <a:rect l="l" t="t" r="r" b="b"/>
              <a:pathLst>
                <a:path w="12700" h="26670" extrusionOk="0">
                  <a:moveTo>
                    <a:pt x="0" y="26123"/>
                  </a:moveTo>
                  <a:lnTo>
                    <a:pt x="12700" y="26123"/>
                  </a:lnTo>
                  <a:lnTo>
                    <a:pt x="12700" y="0"/>
                  </a:lnTo>
                  <a:lnTo>
                    <a:pt x="0" y="0"/>
                  </a:lnTo>
                  <a:lnTo>
                    <a:pt x="0" y="26123"/>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42" name="Google Shape;2782;p21">
              <a:extLst>
                <a:ext uri="{FF2B5EF4-FFF2-40B4-BE49-F238E27FC236}">
                  <a16:creationId xmlns:a16="http://schemas.microsoft.com/office/drawing/2014/main" id="{34E3F26B-FF30-4F79-AA85-3571B3D62FC4}"/>
                </a:ext>
              </a:extLst>
            </p:cNvPr>
            <p:cNvSpPr/>
            <p:nvPr/>
          </p:nvSpPr>
          <p:spPr>
            <a:xfrm>
              <a:off x="9388824" y="2625171"/>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43" name="Google Shape;2785;p21">
              <a:extLst>
                <a:ext uri="{FF2B5EF4-FFF2-40B4-BE49-F238E27FC236}">
                  <a16:creationId xmlns:a16="http://schemas.microsoft.com/office/drawing/2014/main" id="{16FEF917-FA76-4DB1-91A1-CB313C72568C}"/>
                </a:ext>
              </a:extLst>
            </p:cNvPr>
            <p:cNvSpPr/>
            <p:nvPr/>
          </p:nvSpPr>
          <p:spPr>
            <a:xfrm>
              <a:off x="9400108" y="2693006"/>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44" name="Google Shape;2786;p21">
              <a:extLst>
                <a:ext uri="{FF2B5EF4-FFF2-40B4-BE49-F238E27FC236}">
                  <a16:creationId xmlns:a16="http://schemas.microsoft.com/office/drawing/2014/main" id="{4B0B2A99-6393-4EA9-85F9-4D9C73D88DE2}"/>
                </a:ext>
              </a:extLst>
            </p:cNvPr>
            <p:cNvSpPr/>
            <p:nvPr/>
          </p:nvSpPr>
          <p:spPr>
            <a:xfrm>
              <a:off x="9403587" y="2697301"/>
              <a:ext cx="15187" cy="31537"/>
            </a:xfrm>
            <a:custGeom>
              <a:avLst/>
              <a:gdLst/>
              <a:ahLst/>
              <a:cxnLst/>
              <a:rect l="l" t="t" r="r" b="b"/>
              <a:pathLst>
                <a:path w="12700" h="26670" extrusionOk="0">
                  <a:moveTo>
                    <a:pt x="0" y="26123"/>
                  </a:moveTo>
                  <a:lnTo>
                    <a:pt x="12700" y="26123"/>
                  </a:lnTo>
                  <a:lnTo>
                    <a:pt x="12700" y="0"/>
                  </a:lnTo>
                  <a:lnTo>
                    <a:pt x="0" y="0"/>
                  </a:lnTo>
                  <a:lnTo>
                    <a:pt x="0" y="26123"/>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45" name="Google Shape;2787;p21">
              <a:extLst>
                <a:ext uri="{FF2B5EF4-FFF2-40B4-BE49-F238E27FC236}">
                  <a16:creationId xmlns:a16="http://schemas.microsoft.com/office/drawing/2014/main" id="{24EE4D5F-DB25-4D45-824E-820CB1EA5BA2}"/>
                </a:ext>
              </a:extLst>
            </p:cNvPr>
            <p:cNvSpPr/>
            <p:nvPr/>
          </p:nvSpPr>
          <p:spPr>
            <a:xfrm>
              <a:off x="9407930" y="2706731"/>
              <a:ext cx="15187" cy="31537"/>
            </a:xfrm>
            <a:custGeom>
              <a:avLst/>
              <a:gdLst/>
              <a:ahLst/>
              <a:cxnLst/>
              <a:rect l="l" t="t" r="r" b="b"/>
              <a:pathLst>
                <a:path w="12700" h="26670" extrusionOk="0">
                  <a:moveTo>
                    <a:pt x="0" y="26123"/>
                  </a:moveTo>
                  <a:lnTo>
                    <a:pt x="12700" y="26123"/>
                  </a:lnTo>
                  <a:lnTo>
                    <a:pt x="12700" y="0"/>
                  </a:lnTo>
                  <a:lnTo>
                    <a:pt x="0" y="0"/>
                  </a:lnTo>
                  <a:lnTo>
                    <a:pt x="0" y="26123"/>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46" name="Google Shape;2788;p21">
              <a:extLst>
                <a:ext uri="{FF2B5EF4-FFF2-40B4-BE49-F238E27FC236}">
                  <a16:creationId xmlns:a16="http://schemas.microsoft.com/office/drawing/2014/main" id="{EFE9F41D-C1EF-4F5D-98A5-71D6F0F4F123}"/>
                </a:ext>
              </a:extLst>
            </p:cNvPr>
            <p:cNvSpPr/>
            <p:nvPr/>
          </p:nvSpPr>
          <p:spPr>
            <a:xfrm>
              <a:off x="9411378" y="2720458"/>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47" name="Google Shape;2789;p21">
              <a:extLst>
                <a:ext uri="{FF2B5EF4-FFF2-40B4-BE49-F238E27FC236}">
                  <a16:creationId xmlns:a16="http://schemas.microsoft.com/office/drawing/2014/main" id="{A58B9DE3-E785-4E35-A7AF-287579BC6DF2}"/>
                </a:ext>
              </a:extLst>
            </p:cNvPr>
            <p:cNvSpPr/>
            <p:nvPr/>
          </p:nvSpPr>
          <p:spPr>
            <a:xfrm>
              <a:off x="9414871" y="2724768"/>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48" name="Google Shape;2790;p21">
              <a:extLst>
                <a:ext uri="{FF2B5EF4-FFF2-40B4-BE49-F238E27FC236}">
                  <a16:creationId xmlns:a16="http://schemas.microsoft.com/office/drawing/2014/main" id="{42F2B9E5-27E0-4014-BEF7-DE994E9B9BA8}"/>
                </a:ext>
              </a:extLst>
            </p:cNvPr>
            <p:cNvSpPr/>
            <p:nvPr/>
          </p:nvSpPr>
          <p:spPr>
            <a:xfrm>
              <a:off x="9419215" y="2729048"/>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49" name="Google Shape;2791;p21">
              <a:extLst>
                <a:ext uri="{FF2B5EF4-FFF2-40B4-BE49-F238E27FC236}">
                  <a16:creationId xmlns:a16="http://schemas.microsoft.com/office/drawing/2014/main" id="{CD4D487B-4F58-4746-B92E-575339AAB045}"/>
                </a:ext>
              </a:extLst>
            </p:cNvPr>
            <p:cNvSpPr/>
            <p:nvPr/>
          </p:nvSpPr>
          <p:spPr>
            <a:xfrm>
              <a:off x="9422676" y="2733343"/>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50" name="Google Shape;2792;p21">
              <a:extLst>
                <a:ext uri="{FF2B5EF4-FFF2-40B4-BE49-F238E27FC236}">
                  <a16:creationId xmlns:a16="http://schemas.microsoft.com/office/drawing/2014/main" id="{3BCA45AF-FDE8-4417-8B79-2E7D8E8A041B}"/>
                </a:ext>
              </a:extLst>
            </p:cNvPr>
            <p:cNvSpPr/>
            <p:nvPr/>
          </p:nvSpPr>
          <p:spPr>
            <a:xfrm>
              <a:off x="9426156" y="2747069"/>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51" name="Google Shape;2793;p21">
              <a:extLst>
                <a:ext uri="{FF2B5EF4-FFF2-40B4-BE49-F238E27FC236}">
                  <a16:creationId xmlns:a16="http://schemas.microsoft.com/office/drawing/2014/main" id="{28E45892-5A10-4C1E-B194-4678328CEE29}"/>
                </a:ext>
              </a:extLst>
            </p:cNvPr>
            <p:cNvSpPr/>
            <p:nvPr/>
          </p:nvSpPr>
          <p:spPr>
            <a:xfrm>
              <a:off x="9430498" y="2747069"/>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52" name="Google Shape;2794;p21">
              <a:extLst>
                <a:ext uri="{FF2B5EF4-FFF2-40B4-BE49-F238E27FC236}">
                  <a16:creationId xmlns:a16="http://schemas.microsoft.com/office/drawing/2014/main" id="{A50F2D1D-7833-44FD-A053-0A4B8AF94B8F}"/>
                </a:ext>
              </a:extLst>
            </p:cNvPr>
            <p:cNvSpPr/>
            <p:nvPr/>
          </p:nvSpPr>
          <p:spPr>
            <a:xfrm>
              <a:off x="9433976" y="2752220"/>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53" name="Google Shape;2795;p21">
              <a:extLst>
                <a:ext uri="{FF2B5EF4-FFF2-40B4-BE49-F238E27FC236}">
                  <a16:creationId xmlns:a16="http://schemas.microsoft.com/office/drawing/2014/main" id="{6BF5B8C4-7260-46B2-ACA8-F2BF167F9AD2}"/>
                </a:ext>
              </a:extLst>
            </p:cNvPr>
            <p:cNvSpPr/>
            <p:nvPr/>
          </p:nvSpPr>
          <p:spPr>
            <a:xfrm>
              <a:off x="9438319" y="2760810"/>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54" name="Google Shape;2796;p21">
              <a:extLst>
                <a:ext uri="{FF2B5EF4-FFF2-40B4-BE49-F238E27FC236}">
                  <a16:creationId xmlns:a16="http://schemas.microsoft.com/office/drawing/2014/main" id="{BE37C87C-9774-4A8F-8BF4-1266574096B2}"/>
                </a:ext>
              </a:extLst>
            </p:cNvPr>
            <p:cNvSpPr/>
            <p:nvPr/>
          </p:nvSpPr>
          <p:spPr>
            <a:xfrm>
              <a:off x="9441799" y="2765991"/>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55" name="Google Shape;2797;p21">
              <a:extLst>
                <a:ext uri="{FF2B5EF4-FFF2-40B4-BE49-F238E27FC236}">
                  <a16:creationId xmlns:a16="http://schemas.microsoft.com/office/drawing/2014/main" id="{C1ADC817-77C0-4568-AB73-22E78DBBA2DE}"/>
                </a:ext>
              </a:extLst>
            </p:cNvPr>
            <p:cNvSpPr/>
            <p:nvPr/>
          </p:nvSpPr>
          <p:spPr>
            <a:xfrm>
              <a:off x="9445260" y="2774551"/>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56" name="Google Shape;2798;p21">
              <a:extLst>
                <a:ext uri="{FF2B5EF4-FFF2-40B4-BE49-F238E27FC236}">
                  <a16:creationId xmlns:a16="http://schemas.microsoft.com/office/drawing/2014/main" id="{6E2A257F-6667-40BF-AA06-26A1A0EBE258}"/>
                </a:ext>
              </a:extLst>
            </p:cNvPr>
            <p:cNvSpPr/>
            <p:nvPr/>
          </p:nvSpPr>
          <p:spPr>
            <a:xfrm>
              <a:off x="9453082" y="2774551"/>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57" name="Google Shape;2799;p21">
              <a:extLst>
                <a:ext uri="{FF2B5EF4-FFF2-40B4-BE49-F238E27FC236}">
                  <a16:creationId xmlns:a16="http://schemas.microsoft.com/office/drawing/2014/main" id="{7B5B88F9-0A6F-43A8-AF32-3260BDB652CF}"/>
                </a:ext>
              </a:extLst>
            </p:cNvPr>
            <p:cNvSpPr/>
            <p:nvPr/>
          </p:nvSpPr>
          <p:spPr>
            <a:xfrm>
              <a:off x="9456560" y="2774551"/>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58" name="Google Shape;2800;p21">
              <a:extLst>
                <a:ext uri="{FF2B5EF4-FFF2-40B4-BE49-F238E27FC236}">
                  <a16:creationId xmlns:a16="http://schemas.microsoft.com/office/drawing/2014/main" id="{AF8D8991-A751-456F-AC8B-C8EEC2117E5E}"/>
                </a:ext>
              </a:extLst>
            </p:cNvPr>
            <p:cNvSpPr/>
            <p:nvPr/>
          </p:nvSpPr>
          <p:spPr>
            <a:xfrm>
              <a:off x="9464382" y="2779701"/>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59" name="Google Shape;2801;p21">
              <a:extLst>
                <a:ext uri="{FF2B5EF4-FFF2-40B4-BE49-F238E27FC236}">
                  <a16:creationId xmlns:a16="http://schemas.microsoft.com/office/drawing/2014/main" id="{B087B64B-78E7-4791-8BE1-2AEF23151622}"/>
                </a:ext>
              </a:extLst>
            </p:cNvPr>
            <p:cNvSpPr/>
            <p:nvPr/>
          </p:nvSpPr>
          <p:spPr>
            <a:xfrm>
              <a:off x="9467844" y="2784853"/>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60" name="Google Shape;2802;p21">
              <a:extLst>
                <a:ext uri="{FF2B5EF4-FFF2-40B4-BE49-F238E27FC236}">
                  <a16:creationId xmlns:a16="http://schemas.microsoft.com/office/drawing/2014/main" id="{96F85110-952F-4793-9626-CDFCAF2D1DB9}"/>
                </a:ext>
              </a:extLst>
            </p:cNvPr>
            <p:cNvSpPr/>
            <p:nvPr/>
          </p:nvSpPr>
          <p:spPr>
            <a:xfrm>
              <a:off x="9472189" y="2794315"/>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61" name="Google Shape;2803;p21">
              <a:extLst>
                <a:ext uri="{FF2B5EF4-FFF2-40B4-BE49-F238E27FC236}">
                  <a16:creationId xmlns:a16="http://schemas.microsoft.com/office/drawing/2014/main" id="{6BD36A73-203E-447B-87E4-2E842278953E}"/>
                </a:ext>
              </a:extLst>
            </p:cNvPr>
            <p:cNvSpPr/>
            <p:nvPr/>
          </p:nvSpPr>
          <p:spPr>
            <a:xfrm>
              <a:off x="9483487" y="2798580"/>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62" name="Google Shape;2804;p21">
              <a:extLst>
                <a:ext uri="{FF2B5EF4-FFF2-40B4-BE49-F238E27FC236}">
                  <a16:creationId xmlns:a16="http://schemas.microsoft.com/office/drawing/2014/main" id="{23F9058F-0C9B-41FB-9EC1-2251160FA5F7}"/>
                </a:ext>
              </a:extLst>
            </p:cNvPr>
            <p:cNvSpPr/>
            <p:nvPr/>
          </p:nvSpPr>
          <p:spPr>
            <a:xfrm>
              <a:off x="9486980" y="2803745"/>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63" name="Google Shape;2805;p21">
              <a:extLst>
                <a:ext uri="{FF2B5EF4-FFF2-40B4-BE49-F238E27FC236}">
                  <a16:creationId xmlns:a16="http://schemas.microsoft.com/office/drawing/2014/main" id="{29FB0ABC-E00D-4370-8E14-BC6CE81E2484}"/>
                </a:ext>
              </a:extLst>
            </p:cNvPr>
            <p:cNvSpPr/>
            <p:nvPr/>
          </p:nvSpPr>
          <p:spPr>
            <a:xfrm>
              <a:off x="9494787" y="2813177"/>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64" name="Google Shape;2806;p21">
              <a:extLst>
                <a:ext uri="{FF2B5EF4-FFF2-40B4-BE49-F238E27FC236}">
                  <a16:creationId xmlns:a16="http://schemas.microsoft.com/office/drawing/2014/main" id="{FBB221E6-A630-464D-AFE9-95FD1320E38B}"/>
                </a:ext>
              </a:extLst>
            </p:cNvPr>
            <p:cNvSpPr/>
            <p:nvPr/>
          </p:nvSpPr>
          <p:spPr>
            <a:xfrm>
              <a:off x="9502609" y="2827759"/>
              <a:ext cx="15187" cy="31537"/>
            </a:xfrm>
            <a:custGeom>
              <a:avLst/>
              <a:gdLst/>
              <a:ahLst/>
              <a:cxnLst/>
              <a:rect l="l" t="t" r="r" b="b"/>
              <a:pathLst>
                <a:path w="12700" h="26670" extrusionOk="0">
                  <a:moveTo>
                    <a:pt x="0" y="26162"/>
                  </a:moveTo>
                  <a:lnTo>
                    <a:pt x="12700" y="26162"/>
                  </a:lnTo>
                  <a:lnTo>
                    <a:pt x="12700" y="0"/>
                  </a:lnTo>
                  <a:lnTo>
                    <a:pt x="0" y="0"/>
                  </a:lnTo>
                  <a:lnTo>
                    <a:pt x="0" y="26162"/>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65" name="Google Shape;2807;p21">
              <a:extLst>
                <a:ext uri="{FF2B5EF4-FFF2-40B4-BE49-F238E27FC236}">
                  <a16:creationId xmlns:a16="http://schemas.microsoft.com/office/drawing/2014/main" id="{BAB5F9A6-BD05-4193-BCBE-621D3422AD43}"/>
                </a:ext>
              </a:extLst>
            </p:cNvPr>
            <p:cNvSpPr/>
            <p:nvPr/>
          </p:nvSpPr>
          <p:spPr>
            <a:xfrm>
              <a:off x="9506087" y="2832939"/>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66" name="Google Shape;2808;p21">
              <a:extLst>
                <a:ext uri="{FF2B5EF4-FFF2-40B4-BE49-F238E27FC236}">
                  <a16:creationId xmlns:a16="http://schemas.microsoft.com/office/drawing/2014/main" id="{F3E98A8E-A46E-493A-A849-F42C1A645996}"/>
                </a:ext>
              </a:extLst>
            </p:cNvPr>
            <p:cNvSpPr/>
            <p:nvPr/>
          </p:nvSpPr>
          <p:spPr>
            <a:xfrm>
              <a:off x="9513893" y="2832939"/>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67" name="Google Shape;2809;p21">
              <a:extLst>
                <a:ext uri="{FF2B5EF4-FFF2-40B4-BE49-F238E27FC236}">
                  <a16:creationId xmlns:a16="http://schemas.microsoft.com/office/drawing/2014/main" id="{6E80166D-CCC8-4175-8C07-66FA94D83F60}"/>
                </a:ext>
              </a:extLst>
            </p:cNvPr>
            <p:cNvSpPr/>
            <p:nvPr/>
          </p:nvSpPr>
          <p:spPr>
            <a:xfrm>
              <a:off x="9521698" y="2832939"/>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68" name="Google Shape;2810;p21">
              <a:extLst>
                <a:ext uri="{FF2B5EF4-FFF2-40B4-BE49-F238E27FC236}">
                  <a16:creationId xmlns:a16="http://schemas.microsoft.com/office/drawing/2014/main" id="{89E101F7-A9A2-4C12-BE43-57EE51EBF566}"/>
                </a:ext>
              </a:extLst>
            </p:cNvPr>
            <p:cNvSpPr/>
            <p:nvPr/>
          </p:nvSpPr>
          <p:spPr>
            <a:xfrm>
              <a:off x="9532998" y="2843241"/>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69" name="Google Shape;2811;p21">
              <a:extLst>
                <a:ext uri="{FF2B5EF4-FFF2-40B4-BE49-F238E27FC236}">
                  <a16:creationId xmlns:a16="http://schemas.microsoft.com/office/drawing/2014/main" id="{C175A0CB-E511-4D39-AFFB-023E89331AC0}"/>
                </a:ext>
              </a:extLst>
            </p:cNvPr>
            <p:cNvSpPr/>
            <p:nvPr/>
          </p:nvSpPr>
          <p:spPr>
            <a:xfrm>
              <a:off x="9536477" y="2848392"/>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70" name="Google Shape;2812;p21">
              <a:extLst>
                <a:ext uri="{FF2B5EF4-FFF2-40B4-BE49-F238E27FC236}">
                  <a16:creationId xmlns:a16="http://schemas.microsoft.com/office/drawing/2014/main" id="{5E8ED53D-9261-459A-B4FE-3F4DB29669AD}"/>
                </a:ext>
              </a:extLst>
            </p:cNvPr>
            <p:cNvSpPr/>
            <p:nvPr/>
          </p:nvSpPr>
          <p:spPr>
            <a:xfrm>
              <a:off x="9544282" y="2848392"/>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71" name="Google Shape;2813;p21">
              <a:extLst>
                <a:ext uri="{FF2B5EF4-FFF2-40B4-BE49-F238E27FC236}">
                  <a16:creationId xmlns:a16="http://schemas.microsoft.com/office/drawing/2014/main" id="{D21F3CBC-6108-40A5-AC54-08429A8E0649}"/>
                </a:ext>
              </a:extLst>
            </p:cNvPr>
            <p:cNvSpPr/>
            <p:nvPr/>
          </p:nvSpPr>
          <p:spPr>
            <a:xfrm>
              <a:off x="9547761" y="2853558"/>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72" name="Google Shape;2815;p21">
              <a:extLst>
                <a:ext uri="{FF2B5EF4-FFF2-40B4-BE49-F238E27FC236}">
                  <a16:creationId xmlns:a16="http://schemas.microsoft.com/office/drawing/2014/main" id="{852A862F-B35B-4C7A-B52B-4F4B4CC84159}"/>
                </a:ext>
              </a:extLst>
            </p:cNvPr>
            <p:cNvSpPr/>
            <p:nvPr/>
          </p:nvSpPr>
          <p:spPr>
            <a:xfrm>
              <a:off x="9555567" y="2858695"/>
              <a:ext cx="15187" cy="31537"/>
            </a:xfrm>
            <a:custGeom>
              <a:avLst/>
              <a:gdLst/>
              <a:ahLst/>
              <a:cxnLst/>
              <a:rect l="l" t="t" r="r" b="b"/>
              <a:pathLst>
                <a:path w="12700" h="26670" extrusionOk="0">
                  <a:moveTo>
                    <a:pt x="0" y="26123"/>
                  </a:moveTo>
                  <a:lnTo>
                    <a:pt x="12700" y="26123"/>
                  </a:lnTo>
                  <a:lnTo>
                    <a:pt x="12700" y="0"/>
                  </a:lnTo>
                  <a:lnTo>
                    <a:pt x="0" y="0"/>
                  </a:lnTo>
                  <a:lnTo>
                    <a:pt x="0" y="26123"/>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73" name="Google Shape;2816;p21">
              <a:extLst>
                <a:ext uri="{FF2B5EF4-FFF2-40B4-BE49-F238E27FC236}">
                  <a16:creationId xmlns:a16="http://schemas.microsoft.com/office/drawing/2014/main" id="{46D4C772-EAEA-4104-929E-14C56A4887D4}"/>
                </a:ext>
              </a:extLst>
            </p:cNvPr>
            <p:cNvSpPr/>
            <p:nvPr/>
          </p:nvSpPr>
          <p:spPr>
            <a:xfrm>
              <a:off x="9559045" y="2863860"/>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74" name="Google Shape;2817;p21">
              <a:extLst>
                <a:ext uri="{FF2B5EF4-FFF2-40B4-BE49-F238E27FC236}">
                  <a16:creationId xmlns:a16="http://schemas.microsoft.com/office/drawing/2014/main" id="{5108CEBA-1DF4-43CD-921D-B252742FCD18}"/>
                </a:ext>
              </a:extLst>
            </p:cNvPr>
            <p:cNvSpPr/>
            <p:nvPr/>
          </p:nvSpPr>
          <p:spPr>
            <a:xfrm>
              <a:off x="9563389" y="2868997"/>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75" name="Google Shape;2818;p21">
              <a:extLst>
                <a:ext uri="{FF2B5EF4-FFF2-40B4-BE49-F238E27FC236}">
                  <a16:creationId xmlns:a16="http://schemas.microsoft.com/office/drawing/2014/main" id="{B54F1464-604D-4DCD-A651-430B17E9CB79}"/>
                </a:ext>
              </a:extLst>
            </p:cNvPr>
            <p:cNvSpPr/>
            <p:nvPr/>
          </p:nvSpPr>
          <p:spPr>
            <a:xfrm>
              <a:off x="9566866" y="2875004"/>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76" name="Google Shape;2819;p21">
              <a:extLst>
                <a:ext uri="{FF2B5EF4-FFF2-40B4-BE49-F238E27FC236}">
                  <a16:creationId xmlns:a16="http://schemas.microsoft.com/office/drawing/2014/main" id="{47A1C20F-6457-4BA0-904C-91EF77856279}"/>
                </a:ext>
              </a:extLst>
            </p:cNvPr>
            <p:cNvSpPr/>
            <p:nvPr/>
          </p:nvSpPr>
          <p:spPr>
            <a:xfrm>
              <a:off x="9581644" y="2895623"/>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77" name="Google Shape;2820;p21">
              <a:extLst>
                <a:ext uri="{FF2B5EF4-FFF2-40B4-BE49-F238E27FC236}">
                  <a16:creationId xmlns:a16="http://schemas.microsoft.com/office/drawing/2014/main" id="{40E1509B-ED61-486A-99EA-35665ED7C54E}"/>
                </a:ext>
              </a:extLst>
            </p:cNvPr>
            <p:cNvSpPr/>
            <p:nvPr/>
          </p:nvSpPr>
          <p:spPr>
            <a:xfrm>
              <a:off x="9585973" y="2900745"/>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78" name="Google Shape;2821;p21">
              <a:extLst>
                <a:ext uri="{FF2B5EF4-FFF2-40B4-BE49-F238E27FC236}">
                  <a16:creationId xmlns:a16="http://schemas.microsoft.com/office/drawing/2014/main" id="{EF80F2CD-1AA4-45A8-83CB-78DB4C4CB6E4}"/>
                </a:ext>
              </a:extLst>
            </p:cNvPr>
            <p:cNvSpPr/>
            <p:nvPr/>
          </p:nvSpPr>
          <p:spPr>
            <a:xfrm>
              <a:off x="9605079" y="2906781"/>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79" name="Google Shape;2822;p21">
              <a:extLst>
                <a:ext uri="{FF2B5EF4-FFF2-40B4-BE49-F238E27FC236}">
                  <a16:creationId xmlns:a16="http://schemas.microsoft.com/office/drawing/2014/main" id="{9550CFEF-66B7-4B5A-9A7F-B14F0AEB663E}"/>
                </a:ext>
              </a:extLst>
            </p:cNvPr>
            <p:cNvSpPr/>
            <p:nvPr/>
          </p:nvSpPr>
          <p:spPr>
            <a:xfrm>
              <a:off x="9616363" y="2906781"/>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80" name="Google Shape;2823;p21">
              <a:extLst>
                <a:ext uri="{FF2B5EF4-FFF2-40B4-BE49-F238E27FC236}">
                  <a16:creationId xmlns:a16="http://schemas.microsoft.com/office/drawing/2014/main" id="{614BC3E9-D5C7-4FEA-805D-E550F8B6BA5C}"/>
                </a:ext>
              </a:extLst>
            </p:cNvPr>
            <p:cNvSpPr/>
            <p:nvPr/>
          </p:nvSpPr>
          <p:spPr>
            <a:xfrm>
              <a:off x="9642424" y="2906781"/>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81" name="Google Shape;2824;p21">
              <a:extLst>
                <a:ext uri="{FF2B5EF4-FFF2-40B4-BE49-F238E27FC236}">
                  <a16:creationId xmlns:a16="http://schemas.microsoft.com/office/drawing/2014/main" id="{91CAF71E-7417-4AF1-B6CE-AFA8E23EDD99}"/>
                </a:ext>
              </a:extLst>
            </p:cNvPr>
            <p:cNvSpPr/>
            <p:nvPr/>
          </p:nvSpPr>
          <p:spPr>
            <a:xfrm>
              <a:off x="9646768" y="2917924"/>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82" name="Google Shape;2825;p21">
              <a:extLst>
                <a:ext uri="{FF2B5EF4-FFF2-40B4-BE49-F238E27FC236}">
                  <a16:creationId xmlns:a16="http://schemas.microsoft.com/office/drawing/2014/main" id="{73741388-905B-41F9-829A-11133A63E81C}"/>
                </a:ext>
              </a:extLst>
            </p:cNvPr>
            <p:cNvSpPr/>
            <p:nvPr/>
          </p:nvSpPr>
          <p:spPr>
            <a:xfrm>
              <a:off x="9653709" y="2917924"/>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83" name="Google Shape;2826;p21">
              <a:extLst>
                <a:ext uri="{FF2B5EF4-FFF2-40B4-BE49-F238E27FC236}">
                  <a16:creationId xmlns:a16="http://schemas.microsoft.com/office/drawing/2014/main" id="{5E39A23F-A974-45BF-BD41-5AEB4CDFCCFB}"/>
                </a:ext>
              </a:extLst>
            </p:cNvPr>
            <p:cNvSpPr/>
            <p:nvPr/>
          </p:nvSpPr>
          <p:spPr>
            <a:xfrm>
              <a:off x="9658067" y="2923946"/>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84" name="Google Shape;2827;p21">
              <a:extLst>
                <a:ext uri="{FF2B5EF4-FFF2-40B4-BE49-F238E27FC236}">
                  <a16:creationId xmlns:a16="http://schemas.microsoft.com/office/drawing/2014/main" id="{943CE806-BE43-4C23-B5DB-4C9269DE3DAF}"/>
                </a:ext>
              </a:extLst>
            </p:cNvPr>
            <p:cNvSpPr/>
            <p:nvPr/>
          </p:nvSpPr>
          <p:spPr>
            <a:xfrm>
              <a:off x="9661515" y="2929938"/>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85" name="Google Shape;2828;p21">
              <a:extLst>
                <a:ext uri="{FF2B5EF4-FFF2-40B4-BE49-F238E27FC236}">
                  <a16:creationId xmlns:a16="http://schemas.microsoft.com/office/drawing/2014/main" id="{29A05877-E2DB-4CFB-85BF-76AB667D1A86}"/>
                </a:ext>
              </a:extLst>
            </p:cNvPr>
            <p:cNvSpPr/>
            <p:nvPr/>
          </p:nvSpPr>
          <p:spPr>
            <a:xfrm>
              <a:off x="9676277" y="2929938"/>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86" name="Google Shape;2829;p21">
              <a:extLst>
                <a:ext uri="{FF2B5EF4-FFF2-40B4-BE49-F238E27FC236}">
                  <a16:creationId xmlns:a16="http://schemas.microsoft.com/office/drawing/2014/main" id="{C6C0A2B6-F796-42BC-B742-893C2E5843ED}"/>
                </a:ext>
              </a:extLst>
            </p:cNvPr>
            <p:cNvSpPr/>
            <p:nvPr/>
          </p:nvSpPr>
          <p:spPr>
            <a:xfrm>
              <a:off x="9680620" y="2929938"/>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87" name="Google Shape;2830;p21">
              <a:extLst>
                <a:ext uri="{FF2B5EF4-FFF2-40B4-BE49-F238E27FC236}">
                  <a16:creationId xmlns:a16="http://schemas.microsoft.com/office/drawing/2014/main" id="{B069F809-F82B-436A-851C-E1D8B8901009}"/>
                </a:ext>
              </a:extLst>
            </p:cNvPr>
            <p:cNvSpPr/>
            <p:nvPr/>
          </p:nvSpPr>
          <p:spPr>
            <a:xfrm>
              <a:off x="9684083" y="2935961"/>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88" name="Google Shape;2831;p21">
              <a:extLst>
                <a:ext uri="{FF2B5EF4-FFF2-40B4-BE49-F238E27FC236}">
                  <a16:creationId xmlns:a16="http://schemas.microsoft.com/office/drawing/2014/main" id="{BDD9CBA0-2F4D-492F-B72A-2FC3B0688463}"/>
                </a:ext>
              </a:extLst>
            </p:cNvPr>
            <p:cNvSpPr/>
            <p:nvPr/>
          </p:nvSpPr>
          <p:spPr>
            <a:xfrm>
              <a:off x="9688427" y="2941983"/>
              <a:ext cx="15187" cy="31537"/>
            </a:xfrm>
            <a:custGeom>
              <a:avLst/>
              <a:gdLst/>
              <a:ahLst/>
              <a:cxnLst/>
              <a:rect l="l" t="t" r="r" b="b"/>
              <a:pathLst>
                <a:path w="12700" h="26670" extrusionOk="0">
                  <a:moveTo>
                    <a:pt x="0" y="26123"/>
                  </a:moveTo>
                  <a:lnTo>
                    <a:pt x="12700" y="26123"/>
                  </a:lnTo>
                  <a:lnTo>
                    <a:pt x="12700" y="0"/>
                  </a:lnTo>
                  <a:lnTo>
                    <a:pt x="0" y="0"/>
                  </a:lnTo>
                  <a:lnTo>
                    <a:pt x="0" y="26123"/>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89" name="Google Shape;2832;p21">
              <a:extLst>
                <a:ext uri="{FF2B5EF4-FFF2-40B4-BE49-F238E27FC236}">
                  <a16:creationId xmlns:a16="http://schemas.microsoft.com/office/drawing/2014/main" id="{DEF11B7C-DBAD-425E-A372-A9364D87F726}"/>
                </a:ext>
              </a:extLst>
            </p:cNvPr>
            <p:cNvSpPr/>
            <p:nvPr/>
          </p:nvSpPr>
          <p:spPr>
            <a:xfrm>
              <a:off x="9725772" y="2947975"/>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90" name="Google Shape;2865;p21">
              <a:extLst>
                <a:ext uri="{FF2B5EF4-FFF2-40B4-BE49-F238E27FC236}">
                  <a16:creationId xmlns:a16="http://schemas.microsoft.com/office/drawing/2014/main" id="{2B83A936-0EDA-40A4-AABE-5EC90AF4E28A}"/>
                </a:ext>
              </a:extLst>
            </p:cNvPr>
            <p:cNvSpPr/>
            <p:nvPr/>
          </p:nvSpPr>
          <p:spPr>
            <a:xfrm>
              <a:off x="11146921" y="3111097"/>
              <a:ext cx="0" cy="31537"/>
            </a:xfrm>
            <a:custGeom>
              <a:avLst/>
              <a:gdLst/>
              <a:ahLst/>
              <a:cxnLst/>
              <a:rect l="l" t="t" r="r" b="b"/>
              <a:pathLst>
                <a:path w="120000" h="26670" extrusionOk="0">
                  <a:moveTo>
                    <a:pt x="0" y="0"/>
                  </a:moveTo>
                  <a:lnTo>
                    <a:pt x="0" y="26162"/>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91" name="Google Shape;2866;p21">
              <a:extLst>
                <a:ext uri="{FF2B5EF4-FFF2-40B4-BE49-F238E27FC236}">
                  <a16:creationId xmlns:a16="http://schemas.microsoft.com/office/drawing/2014/main" id="{1F6394A7-0ECD-405D-919A-B9D9002754FE}"/>
                </a:ext>
              </a:extLst>
            </p:cNvPr>
            <p:cNvSpPr/>
            <p:nvPr/>
          </p:nvSpPr>
          <p:spPr>
            <a:xfrm>
              <a:off x="11855658" y="3111097"/>
              <a:ext cx="15187" cy="31537"/>
            </a:xfrm>
            <a:custGeom>
              <a:avLst/>
              <a:gdLst/>
              <a:ahLst/>
              <a:cxnLst/>
              <a:rect l="l" t="t" r="r" b="b"/>
              <a:pathLst>
                <a:path w="12700" h="26670" extrusionOk="0">
                  <a:moveTo>
                    <a:pt x="0" y="26162"/>
                  </a:moveTo>
                  <a:lnTo>
                    <a:pt x="12700" y="26162"/>
                  </a:lnTo>
                  <a:lnTo>
                    <a:pt x="12700" y="0"/>
                  </a:lnTo>
                  <a:lnTo>
                    <a:pt x="0" y="0"/>
                  </a:lnTo>
                  <a:lnTo>
                    <a:pt x="0" y="26162"/>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92" name="Google Shape;2867;p21">
              <a:extLst>
                <a:ext uri="{FF2B5EF4-FFF2-40B4-BE49-F238E27FC236}">
                  <a16:creationId xmlns:a16="http://schemas.microsoft.com/office/drawing/2014/main" id="{C38AFEF5-ABD8-446A-917D-706DBA8682F6}"/>
                </a:ext>
              </a:extLst>
            </p:cNvPr>
            <p:cNvSpPr/>
            <p:nvPr/>
          </p:nvSpPr>
          <p:spPr>
            <a:xfrm>
              <a:off x="11870405" y="3111097"/>
              <a:ext cx="15187" cy="31537"/>
            </a:xfrm>
            <a:custGeom>
              <a:avLst/>
              <a:gdLst/>
              <a:ahLst/>
              <a:cxnLst/>
              <a:rect l="l" t="t" r="r" b="b"/>
              <a:pathLst>
                <a:path w="12700" h="26670" extrusionOk="0">
                  <a:moveTo>
                    <a:pt x="0" y="26162"/>
                  </a:moveTo>
                  <a:lnTo>
                    <a:pt x="12700" y="26162"/>
                  </a:lnTo>
                  <a:lnTo>
                    <a:pt x="12700" y="0"/>
                  </a:lnTo>
                  <a:lnTo>
                    <a:pt x="0" y="0"/>
                  </a:lnTo>
                  <a:lnTo>
                    <a:pt x="0" y="26162"/>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93" name="Google Shape;2732;p21">
              <a:extLst>
                <a:ext uri="{FF2B5EF4-FFF2-40B4-BE49-F238E27FC236}">
                  <a16:creationId xmlns:a16="http://schemas.microsoft.com/office/drawing/2014/main" id="{F09DDE61-CC08-42DF-95CD-9FF206BCE9F3}"/>
                </a:ext>
              </a:extLst>
            </p:cNvPr>
            <p:cNvSpPr/>
            <p:nvPr/>
          </p:nvSpPr>
          <p:spPr>
            <a:xfrm>
              <a:off x="9199194" y="1487587"/>
              <a:ext cx="0" cy="31537"/>
            </a:xfrm>
            <a:custGeom>
              <a:avLst/>
              <a:gdLst/>
              <a:ahLst/>
              <a:cxnLst/>
              <a:rect l="l" t="t" r="r" b="b"/>
              <a:pathLst>
                <a:path w="120000" h="26670" extrusionOk="0">
                  <a:moveTo>
                    <a:pt x="0" y="0"/>
                  </a:moveTo>
                  <a:lnTo>
                    <a:pt x="0" y="26136"/>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94" name="Google Shape;2733;p21">
              <a:extLst>
                <a:ext uri="{FF2B5EF4-FFF2-40B4-BE49-F238E27FC236}">
                  <a16:creationId xmlns:a16="http://schemas.microsoft.com/office/drawing/2014/main" id="{DEBC61A1-C41B-41BC-8C64-27FACF1AFEDD}"/>
                </a:ext>
              </a:extLst>
            </p:cNvPr>
            <p:cNvSpPr/>
            <p:nvPr/>
          </p:nvSpPr>
          <p:spPr>
            <a:xfrm>
              <a:off x="9195078" y="1504751"/>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95" name="Google Shape;2734;p21">
              <a:extLst>
                <a:ext uri="{FF2B5EF4-FFF2-40B4-BE49-F238E27FC236}">
                  <a16:creationId xmlns:a16="http://schemas.microsoft.com/office/drawing/2014/main" id="{5E8B30D1-F0DC-4377-B369-4D2625E27208}"/>
                </a:ext>
              </a:extLst>
            </p:cNvPr>
            <p:cNvSpPr/>
            <p:nvPr/>
          </p:nvSpPr>
          <p:spPr>
            <a:xfrm>
              <a:off x="9199423" y="1509046"/>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96" name="Google Shape;2735;p21">
              <a:extLst>
                <a:ext uri="{FF2B5EF4-FFF2-40B4-BE49-F238E27FC236}">
                  <a16:creationId xmlns:a16="http://schemas.microsoft.com/office/drawing/2014/main" id="{D8519289-A45C-4BB4-9E94-62E5FDD37277}"/>
                </a:ext>
              </a:extLst>
            </p:cNvPr>
            <p:cNvSpPr/>
            <p:nvPr/>
          </p:nvSpPr>
          <p:spPr>
            <a:xfrm>
              <a:off x="9202900" y="1521060"/>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97" name="Google Shape;2736;p21">
              <a:extLst>
                <a:ext uri="{FF2B5EF4-FFF2-40B4-BE49-F238E27FC236}">
                  <a16:creationId xmlns:a16="http://schemas.microsoft.com/office/drawing/2014/main" id="{677D9A3E-D41F-4FCE-82DD-AC32BC438AC3}"/>
                </a:ext>
              </a:extLst>
            </p:cNvPr>
            <p:cNvSpPr/>
            <p:nvPr/>
          </p:nvSpPr>
          <p:spPr>
            <a:xfrm>
              <a:off x="9206362" y="1525355"/>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98" name="Google Shape;2737;p21">
              <a:extLst>
                <a:ext uri="{FF2B5EF4-FFF2-40B4-BE49-F238E27FC236}">
                  <a16:creationId xmlns:a16="http://schemas.microsoft.com/office/drawing/2014/main" id="{5D6620A0-7FCC-48A3-84DE-E20DAD8BD0CF}"/>
                </a:ext>
              </a:extLst>
            </p:cNvPr>
            <p:cNvSpPr/>
            <p:nvPr/>
          </p:nvSpPr>
          <p:spPr>
            <a:xfrm>
              <a:off x="9218285" y="1555421"/>
              <a:ext cx="0" cy="31537"/>
            </a:xfrm>
            <a:custGeom>
              <a:avLst/>
              <a:gdLst/>
              <a:ahLst/>
              <a:cxnLst/>
              <a:rect l="l" t="t" r="r" b="b"/>
              <a:pathLst>
                <a:path w="120000" h="26670" extrusionOk="0">
                  <a:moveTo>
                    <a:pt x="0" y="0"/>
                  </a:moveTo>
                  <a:lnTo>
                    <a:pt x="0" y="26123"/>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599" name="Google Shape;2738;p21">
              <a:extLst>
                <a:ext uri="{FF2B5EF4-FFF2-40B4-BE49-F238E27FC236}">
                  <a16:creationId xmlns:a16="http://schemas.microsoft.com/office/drawing/2014/main" id="{74EB8720-8B2F-4149-BDF0-922FAFF6F68E}"/>
                </a:ext>
              </a:extLst>
            </p:cNvPr>
            <p:cNvSpPr/>
            <p:nvPr/>
          </p:nvSpPr>
          <p:spPr>
            <a:xfrm>
              <a:off x="9221778" y="1585456"/>
              <a:ext cx="0" cy="31537"/>
            </a:xfrm>
            <a:custGeom>
              <a:avLst/>
              <a:gdLst/>
              <a:ahLst/>
              <a:cxnLst/>
              <a:rect l="l" t="t" r="r" b="b"/>
              <a:pathLst>
                <a:path w="120000" h="26670" extrusionOk="0">
                  <a:moveTo>
                    <a:pt x="0" y="0"/>
                  </a:moveTo>
                  <a:lnTo>
                    <a:pt x="0" y="26136"/>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00" name="Google Shape;2739;p21">
              <a:extLst>
                <a:ext uri="{FF2B5EF4-FFF2-40B4-BE49-F238E27FC236}">
                  <a16:creationId xmlns:a16="http://schemas.microsoft.com/office/drawing/2014/main" id="{7A932BC7-364D-439D-9A22-FB2F8ECB5DE3}"/>
                </a:ext>
              </a:extLst>
            </p:cNvPr>
            <p:cNvSpPr/>
            <p:nvPr/>
          </p:nvSpPr>
          <p:spPr>
            <a:xfrm>
              <a:off x="9225240" y="1606060"/>
              <a:ext cx="0" cy="31537"/>
            </a:xfrm>
            <a:custGeom>
              <a:avLst/>
              <a:gdLst/>
              <a:ahLst/>
              <a:cxnLst/>
              <a:rect l="l" t="t" r="r" b="b"/>
              <a:pathLst>
                <a:path w="120000" h="26670" extrusionOk="0">
                  <a:moveTo>
                    <a:pt x="0" y="0"/>
                  </a:moveTo>
                  <a:lnTo>
                    <a:pt x="0" y="26136"/>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01" name="Google Shape;2740;p21">
              <a:extLst>
                <a:ext uri="{FF2B5EF4-FFF2-40B4-BE49-F238E27FC236}">
                  <a16:creationId xmlns:a16="http://schemas.microsoft.com/office/drawing/2014/main" id="{5680719C-E900-404B-846E-22384683E563}"/>
                </a:ext>
              </a:extLst>
            </p:cNvPr>
            <p:cNvSpPr/>
            <p:nvPr/>
          </p:nvSpPr>
          <p:spPr>
            <a:xfrm>
              <a:off x="9229599" y="1653275"/>
              <a:ext cx="0" cy="31537"/>
            </a:xfrm>
            <a:custGeom>
              <a:avLst/>
              <a:gdLst/>
              <a:ahLst/>
              <a:cxnLst/>
              <a:rect l="l" t="t" r="r" b="b"/>
              <a:pathLst>
                <a:path w="120000" h="26670" extrusionOk="0">
                  <a:moveTo>
                    <a:pt x="0" y="0"/>
                  </a:moveTo>
                  <a:lnTo>
                    <a:pt x="0" y="26136"/>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02" name="Google Shape;2741;p21">
              <a:extLst>
                <a:ext uri="{FF2B5EF4-FFF2-40B4-BE49-F238E27FC236}">
                  <a16:creationId xmlns:a16="http://schemas.microsoft.com/office/drawing/2014/main" id="{679970AD-C257-4D16-AF9B-D15BF2FA81E3}"/>
                </a:ext>
              </a:extLst>
            </p:cNvPr>
            <p:cNvSpPr/>
            <p:nvPr/>
          </p:nvSpPr>
          <p:spPr>
            <a:xfrm>
              <a:off x="9225468" y="1678174"/>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03" name="Google Shape;2742;p21">
              <a:extLst>
                <a:ext uri="{FF2B5EF4-FFF2-40B4-BE49-F238E27FC236}">
                  <a16:creationId xmlns:a16="http://schemas.microsoft.com/office/drawing/2014/main" id="{BD1E0652-1F3C-4E7F-BAE7-92710F4BD8C2}"/>
                </a:ext>
              </a:extLst>
            </p:cNvPr>
            <p:cNvSpPr/>
            <p:nvPr/>
          </p:nvSpPr>
          <p:spPr>
            <a:xfrm>
              <a:off x="9229828" y="1691060"/>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04" name="Google Shape;2743;p21">
              <a:extLst>
                <a:ext uri="{FF2B5EF4-FFF2-40B4-BE49-F238E27FC236}">
                  <a16:creationId xmlns:a16="http://schemas.microsoft.com/office/drawing/2014/main" id="{B96EBA13-DAAF-43C7-8538-E543FC171E56}"/>
                </a:ext>
              </a:extLst>
            </p:cNvPr>
            <p:cNvSpPr/>
            <p:nvPr/>
          </p:nvSpPr>
          <p:spPr>
            <a:xfrm>
              <a:off x="9233289" y="1793240"/>
              <a:ext cx="15187" cy="31537"/>
            </a:xfrm>
            <a:custGeom>
              <a:avLst/>
              <a:gdLst/>
              <a:ahLst/>
              <a:cxnLst/>
              <a:rect l="l" t="t" r="r" b="b"/>
              <a:pathLst>
                <a:path w="12700" h="26670" extrusionOk="0">
                  <a:moveTo>
                    <a:pt x="0" y="26123"/>
                  </a:moveTo>
                  <a:lnTo>
                    <a:pt x="12700" y="26123"/>
                  </a:lnTo>
                  <a:lnTo>
                    <a:pt x="12700" y="0"/>
                  </a:lnTo>
                  <a:lnTo>
                    <a:pt x="0" y="0"/>
                  </a:lnTo>
                  <a:lnTo>
                    <a:pt x="0" y="26123"/>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05" name="Google Shape;2744;p21">
              <a:extLst>
                <a:ext uri="{FF2B5EF4-FFF2-40B4-BE49-F238E27FC236}">
                  <a16:creationId xmlns:a16="http://schemas.microsoft.com/office/drawing/2014/main" id="{73E8B4B5-0C75-415B-9965-60F92E4C73A5}"/>
                </a:ext>
              </a:extLst>
            </p:cNvPr>
            <p:cNvSpPr/>
            <p:nvPr/>
          </p:nvSpPr>
          <p:spPr>
            <a:xfrm>
              <a:off x="9244362" y="1823275"/>
              <a:ext cx="0" cy="31537"/>
            </a:xfrm>
            <a:custGeom>
              <a:avLst/>
              <a:gdLst/>
              <a:ahLst/>
              <a:cxnLst/>
              <a:rect l="l" t="t" r="r" b="b"/>
              <a:pathLst>
                <a:path w="120000" h="26670" extrusionOk="0">
                  <a:moveTo>
                    <a:pt x="0" y="0"/>
                  </a:moveTo>
                  <a:lnTo>
                    <a:pt x="0" y="26136"/>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06" name="Google Shape;2745;p21">
              <a:extLst>
                <a:ext uri="{FF2B5EF4-FFF2-40B4-BE49-F238E27FC236}">
                  <a16:creationId xmlns:a16="http://schemas.microsoft.com/office/drawing/2014/main" id="{1B923E12-7736-41E1-84B3-6814C75D0B1D}"/>
                </a:ext>
              </a:extLst>
            </p:cNvPr>
            <p:cNvSpPr/>
            <p:nvPr/>
          </p:nvSpPr>
          <p:spPr>
            <a:xfrm>
              <a:off x="9248705" y="1869635"/>
              <a:ext cx="0" cy="31537"/>
            </a:xfrm>
            <a:custGeom>
              <a:avLst/>
              <a:gdLst/>
              <a:ahLst/>
              <a:cxnLst/>
              <a:rect l="l" t="t" r="r" b="b"/>
              <a:pathLst>
                <a:path w="120000" h="26670" extrusionOk="0">
                  <a:moveTo>
                    <a:pt x="0" y="0"/>
                  </a:moveTo>
                  <a:lnTo>
                    <a:pt x="0" y="26149"/>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07" name="Google Shape;2746;p21">
              <a:extLst>
                <a:ext uri="{FF2B5EF4-FFF2-40B4-BE49-F238E27FC236}">
                  <a16:creationId xmlns:a16="http://schemas.microsoft.com/office/drawing/2014/main" id="{E8A3B0CD-6BD7-42CB-84AB-CB39D471BC13}"/>
                </a:ext>
              </a:extLst>
            </p:cNvPr>
            <p:cNvSpPr/>
            <p:nvPr/>
          </p:nvSpPr>
          <p:spPr>
            <a:xfrm>
              <a:off x="9252182" y="1886800"/>
              <a:ext cx="0" cy="31537"/>
            </a:xfrm>
            <a:custGeom>
              <a:avLst/>
              <a:gdLst/>
              <a:ahLst/>
              <a:cxnLst/>
              <a:rect l="l" t="t" r="r" b="b"/>
              <a:pathLst>
                <a:path w="120000" h="26670" extrusionOk="0">
                  <a:moveTo>
                    <a:pt x="0" y="0"/>
                  </a:moveTo>
                  <a:lnTo>
                    <a:pt x="0" y="26149"/>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08" name="Google Shape;2747;p21">
              <a:extLst>
                <a:ext uri="{FF2B5EF4-FFF2-40B4-BE49-F238E27FC236}">
                  <a16:creationId xmlns:a16="http://schemas.microsoft.com/office/drawing/2014/main" id="{908ADF42-6AC6-477F-B78C-7ED2418B9715}"/>
                </a:ext>
              </a:extLst>
            </p:cNvPr>
            <p:cNvSpPr/>
            <p:nvPr/>
          </p:nvSpPr>
          <p:spPr>
            <a:xfrm>
              <a:off x="9248068" y="1933158"/>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09" name="Google Shape;2748;p21">
              <a:extLst>
                <a:ext uri="{FF2B5EF4-FFF2-40B4-BE49-F238E27FC236}">
                  <a16:creationId xmlns:a16="http://schemas.microsoft.com/office/drawing/2014/main" id="{3BFF102D-E178-4EDC-B6FD-185FED0197AF}"/>
                </a:ext>
              </a:extLst>
            </p:cNvPr>
            <p:cNvSpPr/>
            <p:nvPr/>
          </p:nvSpPr>
          <p:spPr>
            <a:xfrm>
              <a:off x="9252411" y="2005289"/>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10" name="Google Shape;2749;p21">
              <a:extLst>
                <a:ext uri="{FF2B5EF4-FFF2-40B4-BE49-F238E27FC236}">
                  <a16:creationId xmlns:a16="http://schemas.microsoft.com/office/drawing/2014/main" id="{5BE86169-1B1D-4A5B-ADDD-39E3C14AB39C}"/>
                </a:ext>
              </a:extLst>
            </p:cNvPr>
            <p:cNvSpPr/>
            <p:nvPr/>
          </p:nvSpPr>
          <p:spPr>
            <a:xfrm>
              <a:off x="9263482" y="2116043"/>
              <a:ext cx="0" cy="31537"/>
            </a:xfrm>
            <a:custGeom>
              <a:avLst/>
              <a:gdLst/>
              <a:ahLst/>
              <a:cxnLst/>
              <a:rect l="l" t="t" r="r" b="b"/>
              <a:pathLst>
                <a:path w="120000" h="26670" extrusionOk="0">
                  <a:moveTo>
                    <a:pt x="0" y="0"/>
                  </a:moveTo>
                  <a:lnTo>
                    <a:pt x="0" y="26123"/>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11" name="Google Shape;2750;p21">
              <a:extLst>
                <a:ext uri="{FF2B5EF4-FFF2-40B4-BE49-F238E27FC236}">
                  <a16:creationId xmlns:a16="http://schemas.microsoft.com/office/drawing/2014/main" id="{3493B181-8876-4235-92EC-C358E45A2A14}"/>
                </a:ext>
              </a:extLst>
            </p:cNvPr>
            <p:cNvSpPr/>
            <p:nvPr/>
          </p:nvSpPr>
          <p:spPr>
            <a:xfrm>
              <a:off x="9259352" y="2183878"/>
              <a:ext cx="15187" cy="31537"/>
            </a:xfrm>
            <a:custGeom>
              <a:avLst/>
              <a:gdLst/>
              <a:ahLst/>
              <a:cxnLst/>
              <a:rect l="l" t="t" r="r" b="b"/>
              <a:pathLst>
                <a:path w="12700" h="26670" extrusionOk="0">
                  <a:moveTo>
                    <a:pt x="0" y="26123"/>
                  </a:moveTo>
                  <a:lnTo>
                    <a:pt x="12700" y="26123"/>
                  </a:lnTo>
                  <a:lnTo>
                    <a:pt x="12700" y="0"/>
                  </a:lnTo>
                  <a:lnTo>
                    <a:pt x="0" y="0"/>
                  </a:lnTo>
                  <a:lnTo>
                    <a:pt x="0" y="26123"/>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12" name="Google Shape;2751;p21">
              <a:extLst>
                <a:ext uri="{FF2B5EF4-FFF2-40B4-BE49-F238E27FC236}">
                  <a16:creationId xmlns:a16="http://schemas.microsoft.com/office/drawing/2014/main" id="{8F8DDDF6-740D-4D9F-800F-34C6E7A5DA47}"/>
                </a:ext>
              </a:extLst>
            </p:cNvPr>
            <p:cNvSpPr/>
            <p:nvPr/>
          </p:nvSpPr>
          <p:spPr>
            <a:xfrm>
              <a:off x="9271305" y="2205324"/>
              <a:ext cx="0" cy="31537"/>
            </a:xfrm>
            <a:custGeom>
              <a:avLst/>
              <a:gdLst/>
              <a:ahLst/>
              <a:cxnLst/>
              <a:rect l="l" t="t" r="r" b="b"/>
              <a:pathLst>
                <a:path w="120000" h="26670" extrusionOk="0">
                  <a:moveTo>
                    <a:pt x="0" y="0"/>
                  </a:moveTo>
                  <a:lnTo>
                    <a:pt x="0" y="26149"/>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13" name="Google Shape;2752;p21">
              <a:extLst>
                <a:ext uri="{FF2B5EF4-FFF2-40B4-BE49-F238E27FC236}">
                  <a16:creationId xmlns:a16="http://schemas.microsoft.com/office/drawing/2014/main" id="{6AAF9078-FA2C-4213-B250-ADF0155B9BC2}"/>
                </a:ext>
              </a:extLst>
            </p:cNvPr>
            <p:cNvSpPr/>
            <p:nvPr/>
          </p:nvSpPr>
          <p:spPr>
            <a:xfrm>
              <a:off x="9274766" y="2248243"/>
              <a:ext cx="0" cy="31537"/>
            </a:xfrm>
            <a:custGeom>
              <a:avLst/>
              <a:gdLst/>
              <a:ahLst/>
              <a:cxnLst/>
              <a:rect l="l" t="t" r="r" b="b"/>
              <a:pathLst>
                <a:path w="120000" h="26670" extrusionOk="0">
                  <a:moveTo>
                    <a:pt x="0" y="0"/>
                  </a:moveTo>
                  <a:lnTo>
                    <a:pt x="0" y="26149"/>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14" name="Google Shape;2753;p21">
              <a:extLst>
                <a:ext uri="{FF2B5EF4-FFF2-40B4-BE49-F238E27FC236}">
                  <a16:creationId xmlns:a16="http://schemas.microsoft.com/office/drawing/2014/main" id="{A1D956BD-4379-4C2E-AB28-3F205E5D75CA}"/>
                </a:ext>
              </a:extLst>
            </p:cNvPr>
            <p:cNvSpPr/>
            <p:nvPr/>
          </p:nvSpPr>
          <p:spPr>
            <a:xfrm>
              <a:off x="9279125" y="2265424"/>
              <a:ext cx="0" cy="31537"/>
            </a:xfrm>
            <a:custGeom>
              <a:avLst/>
              <a:gdLst/>
              <a:ahLst/>
              <a:cxnLst/>
              <a:rect l="l" t="t" r="r" b="b"/>
              <a:pathLst>
                <a:path w="120000" h="26670" extrusionOk="0">
                  <a:moveTo>
                    <a:pt x="0" y="0"/>
                  </a:moveTo>
                  <a:lnTo>
                    <a:pt x="0" y="26149"/>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15" name="Google Shape;2756;p21">
              <a:extLst>
                <a:ext uri="{FF2B5EF4-FFF2-40B4-BE49-F238E27FC236}">
                  <a16:creationId xmlns:a16="http://schemas.microsoft.com/office/drawing/2014/main" id="{518ACBFC-C108-4936-B393-488DC805015E}"/>
                </a:ext>
              </a:extLst>
            </p:cNvPr>
            <p:cNvSpPr/>
            <p:nvPr/>
          </p:nvSpPr>
          <p:spPr>
            <a:xfrm>
              <a:off x="9290425" y="2316949"/>
              <a:ext cx="0" cy="31537"/>
            </a:xfrm>
            <a:custGeom>
              <a:avLst/>
              <a:gdLst/>
              <a:ahLst/>
              <a:cxnLst/>
              <a:rect l="l" t="t" r="r" b="b"/>
              <a:pathLst>
                <a:path w="120000" h="26670" extrusionOk="0">
                  <a:moveTo>
                    <a:pt x="0" y="0"/>
                  </a:moveTo>
                  <a:lnTo>
                    <a:pt x="0" y="26136"/>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16" name="Google Shape;2757;p21">
              <a:extLst>
                <a:ext uri="{FF2B5EF4-FFF2-40B4-BE49-F238E27FC236}">
                  <a16:creationId xmlns:a16="http://schemas.microsoft.com/office/drawing/2014/main" id="{9185D23B-C55D-4303-B515-A19DC97CA03C}"/>
                </a:ext>
              </a:extLst>
            </p:cNvPr>
            <p:cNvSpPr/>
            <p:nvPr/>
          </p:nvSpPr>
          <p:spPr>
            <a:xfrm>
              <a:off x="9286309" y="2377034"/>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17" name="Google Shape;2759;p21">
              <a:extLst>
                <a:ext uri="{FF2B5EF4-FFF2-40B4-BE49-F238E27FC236}">
                  <a16:creationId xmlns:a16="http://schemas.microsoft.com/office/drawing/2014/main" id="{A56B322B-B228-49FE-8A7B-2FCBED697B16}"/>
                </a:ext>
              </a:extLst>
            </p:cNvPr>
            <p:cNvSpPr/>
            <p:nvPr/>
          </p:nvSpPr>
          <p:spPr>
            <a:xfrm>
              <a:off x="9294116" y="2402805"/>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18" name="Google Shape;2760;p21">
              <a:extLst>
                <a:ext uri="{FF2B5EF4-FFF2-40B4-BE49-F238E27FC236}">
                  <a16:creationId xmlns:a16="http://schemas.microsoft.com/office/drawing/2014/main" id="{51D58677-6E67-4303-964C-743714BA45A8}"/>
                </a:ext>
              </a:extLst>
            </p:cNvPr>
            <p:cNvSpPr/>
            <p:nvPr/>
          </p:nvSpPr>
          <p:spPr>
            <a:xfrm>
              <a:off x="9297593" y="2407085"/>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19" name="Google Shape;2761;p21">
              <a:extLst>
                <a:ext uri="{FF2B5EF4-FFF2-40B4-BE49-F238E27FC236}">
                  <a16:creationId xmlns:a16="http://schemas.microsoft.com/office/drawing/2014/main" id="{A59803B5-DFD9-42B5-9F02-9F806DB9F160}"/>
                </a:ext>
              </a:extLst>
            </p:cNvPr>
            <p:cNvSpPr/>
            <p:nvPr/>
          </p:nvSpPr>
          <p:spPr>
            <a:xfrm>
              <a:off x="9301057" y="2411395"/>
              <a:ext cx="15187" cy="31537"/>
            </a:xfrm>
            <a:custGeom>
              <a:avLst/>
              <a:gdLst/>
              <a:ahLst/>
              <a:cxnLst/>
              <a:rect l="l" t="t" r="r" b="b"/>
              <a:pathLst>
                <a:path w="12700" h="26670" extrusionOk="0">
                  <a:moveTo>
                    <a:pt x="0" y="26123"/>
                  </a:moveTo>
                  <a:lnTo>
                    <a:pt x="12700" y="26123"/>
                  </a:lnTo>
                  <a:lnTo>
                    <a:pt x="12700" y="0"/>
                  </a:lnTo>
                  <a:lnTo>
                    <a:pt x="0" y="0"/>
                  </a:lnTo>
                  <a:lnTo>
                    <a:pt x="0" y="26123"/>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20" name="Google Shape;2762;p21">
              <a:extLst>
                <a:ext uri="{FF2B5EF4-FFF2-40B4-BE49-F238E27FC236}">
                  <a16:creationId xmlns:a16="http://schemas.microsoft.com/office/drawing/2014/main" id="{5DCCE5AE-01DD-4AC1-B530-379B7E4839CD}"/>
                </a:ext>
              </a:extLst>
            </p:cNvPr>
            <p:cNvSpPr/>
            <p:nvPr/>
          </p:nvSpPr>
          <p:spPr>
            <a:xfrm>
              <a:off x="9305415" y="2437136"/>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21" name="Google Shape;2772;p21">
              <a:extLst>
                <a:ext uri="{FF2B5EF4-FFF2-40B4-BE49-F238E27FC236}">
                  <a16:creationId xmlns:a16="http://schemas.microsoft.com/office/drawing/2014/main" id="{75783AF5-27B4-4D60-8BFD-814F3B6F13DE}"/>
                </a:ext>
              </a:extLst>
            </p:cNvPr>
            <p:cNvSpPr/>
            <p:nvPr/>
          </p:nvSpPr>
          <p:spPr>
            <a:xfrm>
              <a:off x="9354713" y="2545337"/>
              <a:ext cx="0" cy="31537"/>
            </a:xfrm>
            <a:custGeom>
              <a:avLst/>
              <a:gdLst/>
              <a:ahLst/>
              <a:cxnLst/>
              <a:rect l="l" t="t" r="r" b="b"/>
              <a:pathLst>
                <a:path w="120000" h="26670" extrusionOk="0">
                  <a:moveTo>
                    <a:pt x="0" y="0"/>
                  </a:moveTo>
                  <a:lnTo>
                    <a:pt x="0" y="26123"/>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22" name="Google Shape;2773;p21">
              <a:extLst>
                <a:ext uri="{FF2B5EF4-FFF2-40B4-BE49-F238E27FC236}">
                  <a16:creationId xmlns:a16="http://schemas.microsoft.com/office/drawing/2014/main" id="{17E95981-B086-498A-AEDC-5A2794E7A72B}"/>
                </a:ext>
              </a:extLst>
            </p:cNvPr>
            <p:cNvSpPr/>
            <p:nvPr/>
          </p:nvSpPr>
          <p:spPr>
            <a:xfrm>
              <a:off x="9358177" y="2559048"/>
              <a:ext cx="0" cy="31537"/>
            </a:xfrm>
            <a:custGeom>
              <a:avLst/>
              <a:gdLst/>
              <a:ahLst/>
              <a:cxnLst/>
              <a:rect l="l" t="t" r="r" b="b"/>
              <a:pathLst>
                <a:path w="120000" h="26670" extrusionOk="0">
                  <a:moveTo>
                    <a:pt x="0" y="0"/>
                  </a:moveTo>
                  <a:lnTo>
                    <a:pt x="0" y="26136"/>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23" name="Google Shape;2783;p21">
              <a:extLst>
                <a:ext uri="{FF2B5EF4-FFF2-40B4-BE49-F238E27FC236}">
                  <a16:creationId xmlns:a16="http://schemas.microsoft.com/office/drawing/2014/main" id="{9B8A6B33-B76A-4632-9AB7-5BA00C6E65E3}"/>
                </a:ext>
              </a:extLst>
            </p:cNvPr>
            <p:cNvSpPr/>
            <p:nvPr/>
          </p:nvSpPr>
          <p:spPr>
            <a:xfrm>
              <a:off x="9399881" y="2652638"/>
              <a:ext cx="0" cy="31537"/>
            </a:xfrm>
            <a:custGeom>
              <a:avLst/>
              <a:gdLst/>
              <a:ahLst/>
              <a:cxnLst/>
              <a:rect l="l" t="t" r="r" b="b"/>
              <a:pathLst>
                <a:path w="120000" h="26670" extrusionOk="0">
                  <a:moveTo>
                    <a:pt x="0" y="0"/>
                  </a:moveTo>
                  <a:lnTo>
                    <a:pt x="0" y="26136"/>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24" name="Google Shape;2784;p21">
              <a:extLst>
                <a:ext uri="{FF2B5EF4-FFF2-40B4-BE49-F238E27FC236}">
                  <a16:creationId xmlns:a16="http://schemas.microsoft.com/office/drawing/2014/main" id="{D20D4CD0-E55D-406F-A56F-BFC85806A632}"/>
                </a:ext>
              </a:extLst>
            </p:cNvPr>
            <p:cNvSpPr/>
            <p:nvPr/>
          </p:nvSpPr>
          <p:spPr>
            <a:xfrm>
              <a:off x="9404224" y="2674954"/>
              <a:ext cx="0" cy="31537"/>
            </a:xfrm>
            <a:custGeom>
              <a:avLst/>
              <a:gdLst/>
              <a:ahLst/>
              <a:cxnLst/>
              <a:rect l="l" t="t" r="r" b="b"/>
              <a:pathLst>
                <a:path w="120000" h="26670" extrusionOk="0">
                  <a:moveTo>
                    <a:pt x="0" y="0"/>
                  </a:moveTo>
                  <a:lnTo>
                    <a:pt x="0" y="26149"/>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25" name="Google Shape;2814;p21">
              <a:extLst>
                <a:ext uri="{FF2B5EF4-FFF2-40B4-BE49-F238E27FC236}">
                  <a16:creationId xmlns:a16="http://schemas.microsoft.com/office/drawing/2014/main" id="{D990C8BD-1696-4637-A764-22BADDF38F17}"/>
                </a:ext>
              </a:extLst>
            </p:cNvPr>
            <p:cNvSpPr/>
            <p:nvPr/>
          </p:nvSpPr>
          <p:spPr>
            <a:xfrm>
              <a:off x="9551223" y="2858695"/>
              <a:ext cx="15187" cy="31537"/>
            </a:xfrm>
            <a:custGeom>
              <a:avLst/>
              <a:gdLst/>
              <a:ahLst/>
              <a:cxnLst/>
              <a:rect l="l" t="t" r="r" b="b"/>
              <a:pathLst>
                <a:path w="12700" h="26670" extrusionOk="0">
                  <a:moveTo>
                    <a:pt x="0" y="26123"/>
                  </a:moveTo>
                  <a:lnTo>
                    <a:pt x="12700" y="26123"/>
                  </a:lnTo>
                  <a:lnTo>
                    <a:pt x="12700" y="0"/>
                  </a:lnTo>
                  <a:lnTo>
                    <a:pt x="0" y="0"/>
                  </a:lnTo>
                  <a:lnTo>
                    <a:pt x="0" y="26123"/>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26" name="Google Shape;2833;p21">
              <a:extLst>
                <a:ext uri="{FF2B5EF4-FFF2-40B4-BE49-F238E27FC236}">
                  <a16:creationId xmlns:a16="http://schemas.microsoft.com/office/drawing/2014/main" id="{0ECED18A-59E8-4B24-A6F1-AF3C092340F6}"/>
                </a:ext>
              </a:extLst>
            </p:cNvPr>
            <p:cNvSpPr/>
            <p:nvPr/>
          </p:nvSpPr>
          <p:spPr>
            <a:xfrm>
              <a:off x="9737057" y="2953997"/>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27" name="Google Shape;2834;p21">
              <a:extLst>
                <a:ext uri="{FF2B5EF4-FFF2-40B4-BE49-F238E27FC236}">
                  <a16:creationId xmlns:a16="http://schemas.microsoft.com/office/drawing/2014/main" id="{FFC87924-5EF7-4EC3-B1FD-1E147C4A57B6}"/>
                </a:ext>
              </a:extLst>
            </p:cNvPr>
            <p:cNvSpPr/>
            <p:nvPr/>
          </p:nvSpPr>
          <p:spPr>
            <a:xfrm>
              <a:off x="9744863" y="2966011"/>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28" name="Google Shape;2835;p21">
              <a:extLst>
                <a:ext uri="{FF2B5EF4-FFF2-40B4-BE49-F238E27FC236}">
                  <a16:creationId xmlns:a16="http://schemas.microsoft.com/office/drawing/2014/main" id="{DCDFDA91-E384-4E53-BAAB-20DBCC74EAF8}"/>
                </a:ext>
              </a:extLst>
            </p:cNvPr>
            <p:cNvSpPr/>
            <p:nvPr/>
          </p:nvSpPr>
          <p:spPr>
            <a:xfrm>
              <a:off x="9748356" y="2972018"/>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29" name="Google Shape;2836;p21">
              <a:extLst>
                <a:ext uri="{FF2B5EF4-FFF2-40B4-BE49-F238E27FC236}">
                  <a16:creationId xmlns:a16="http://schemas.microsoft.com/office/drawing/2014/main" id="{276EA865-B850-4A92-9130-CAE28188305D}"/>
                </a:ext>
              </a:extLst>
            </p:cNvPr>
            <p:cNvSpPr/>
            <p:nvPr/>
          </p:nvSpPr>
          <p:spPr>
            <a:xfrm>
              <a:off x="9756178" y="2972018"/>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30" name="Google Shape;2837;p21">
              <a:extLst>
                <a:ext uri="{FF2B5EF4-FFF2-40B4-BE49-F238E27FC236}">
                  <a16:creationId xmlns:a16="http://schemas.microsoft.com/office/drawing/2014/main" id="{92DF0D85-4DE7-4F8E-BC67-7696F70CB7D3}"/>
                </a:ext>
              </a:extLst>
            </p:cNvPr>
            <p:cNvSpPr/>
            <p:nvPr/>
          </p:nvSpPr>
          <p:spPr>
            <a:xfrm>
              <a:off x="9767462" y="2972018"/>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31" name="Google Shape;2838;p21">
              <a:extLst>
                <a:ext uri="{FF2B5EF4-FFF2-40B4-BE49-F238E27FC236}">
                  <a16:creationId xmlns:a16="http://schemas.microsoft.com/office/drawing/2014/main" id="{38EAB4D6-8C2B-4D2D-8A8F-79D045D3DD37}"/>
                </a:ext>
              </a:extLst>
            </p:cNvPr>
            <p:cNvSpPr/>
            <p:nvPr/>
          </p:nvSpPr>
          <p:spPr>
            <a:xfrm>
              <a:off x="9790030" y="2972018"/>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32" name="Google Shape;2839;p21">
              <a:extLst>
                <a:ext uri="{FF2B5EF4-FFF2-40B4-BE49-F238E27FC236}">
                  <a16:creationId xmlns:a16="http://schemas.microsoft.com/office/drawing/2014/main" id="{362DAE99-723E-42F4-A1B8-00E3FBBD3534}"/>
                </a:ext>
              </a:extLst>
            </p:cNvPr>
            <p:cNvSpPr/>
            <p:nvPr/>
          </p:nvSpPr>
          <p:spPr>
            <a:xfrm>
              <a:off x="9794374" y="2978896"/>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33" name="Google Shape;2840;p21">
              <a:extLst>
                <a:ext uri="{FF2B5EF4-FFF2-40B4-BE49-F238E27FC236}">
                  <a16:creationId xmlns:a16="http://schemas.microsoft.com/office/drawing/2014/main" id="{2603B2EF-E926-4BEC-AC28-253F1A21A515}"/>
                </a:ext>
              </a:extLst>
            </p:cNvPr>
            <p:cNvSpPr/>
            <p:nvPr/>
          </p:nvSpPr>
          <p:spPr>
            <a:xfrm>
              <a:off x="9797852" y="2985774"/>
              <a:ext cx="15187" cy="31537"/>
            </a:xfrm>
            <a:custGeom>
              <a:avLst/>
              <a:gdLst/>
              <a:ahLst/>
              <a:cxnLst/>
              <a:rect l="l" t="t" r="r" b="b"/>
              <a:pathLst>
                <a:path w="12700" h="26670" extrusionOk="0">
                  <a:moveTo>
                    <a:pt x="0" y="26123"/>
                  </a:moveTo>
                  <a:lnTo>
                    <a:pt x="12700" y="26123"/>
                  </a:lnTo>
                  <a:lnTo>
                    <a:pt x="12700" y="0"/>
                  </a:lnTo>
                  <a:lnTo>
                    <a:pt x="0" y="0"/>
                  </a:lnTo>
                  <a:lnTo>
                    <a:pt x="0" y="26123"/>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34" name="Google Shape;2841;p21">
              <a:extLst>
                <a:ext uri="{FF2B5EF4-FFF2-40B4-BE49-F238E27FC236}">
                  <a16:creationId xmlns:a16="http://schemas.microsoft.com/office/drawing/2014/main" id="{A7B0BC13-09D4-448C-8A6E-55CA3DC6C0EA}"/>
                </a:ext>
              </a:extLst>
            </p:cNvPr>
            <p:cNvSpPr/>
            <p:nvPr/>
          </p:nvSpPr>
          <p:spPr>
            <a:xfrm>
              <a:off x="9816958" y="2985774"/>
              <a:ext cx="15187" cy="31537"/>
            </a:xfrm>
            <a:custGeom>
              <a:avLst/>
              <a:gdLst/>
              <a:ahLst/>
              <a:cxnLst/>
              <a:rect l="l" t="t" r="r" b="b"/>
              <a:pathLst>
                <a:path w="12700" h="26670" extrusionOk="0">
                  <a:moveTo>
                    <a:pt x="0" y="26123"/>
                  </a:moveTo>
                  <a:lnTo>
                    <a:pt x="12700" y="26123"/>
                  </a:lnTo>
                  <a:lnTo>
                    <a:pt x="12700" y="0"/>
                  </a:lnTo>
                  <a:lnTo>
                    <a:pt x="0" y="0"/>
                  </a:lnTo>
                  <a:lnTo>
                    <a:pt x="0" y="26123"/>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35" name="Google Shape;2842;p21">
              <a:extLst>
                <a:ext uri="{FF2B5EF4-FFF2-40B4-BE49-F238E27FC236}">
                  <a16:creationId xmlns:a16="http://schemas.microsoft.com/office/drawing/2014/main" id="{942C0A3B-34B7-4385-918D-8056EC53F0A0}"/>
                </a:ext>
              </a:extLst>
            </p:cNvPr>
            <p:cNvSpPr/>
            <p:nvPr/>
          </p:nvSpPr>
          <p:spPr>
            <a:xfrm>
              <a:off x="9820435" y="2992622"/>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36" name="Google Shape;2843;p21">
              <a:extLst>
                <a:ext uri="{FF2B5EF4-FFF2-40B4-BE49-F238E27FC236}">
                  <a16:creationId xmlns:a16="http://schemas.microsoft.com/office/drawing/2014/main" id="{CBB31676-4717-4007-BAED-8A593B10CA50}"/>
                </a:ext>
              </a:extLst>
            </p:cNvPr>
            <p:cNvSpPr/>
            <p:nvPr/>
          </p:nvSpPr>
          <p:spPr>
            <a:xfrm>
              <a:off x="9824794" y="2999500"/>
              <a:ext cx="15187" cy="31537"/>
            </a:xfrm>
            <a:custGeom>
              <a:avLst/>
              <a:gdLst/>
              <a:ahLst/>
              <a:cxnLst/>
              <a:rect l="l" t="t" r="r" b="b"/>
              <a:pathLst>
                <a:path w="12700" h="26670" extrusionOk="0">
                  <a:moveTo>
                    <a:pt x="0" y="26123"/>
                  </a:moveTo>
                  <a:lnTo>
                    <a:pt x="12700" y="26123"/>
                  </a:lnTo>
                  <a:lnTo>
                    <a:pt x="12700" y="0"/>
                  </a:lnTo>
                  <a:lnTo>
                    <a:pt x="0" y="0"/>
                  </a:lnTo>
                  <a:lnTo>
                    <a:pt x="0" y="26123"/>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37" name="Google Shape;2844;p21">
              <a:extLst>
                <a:ext uri="{FF2B5EF4-FFF2-40B4-BE49-F238E27FC236}">
                  <a16:creationId xmlns:a16="http://schemas.microsoft.com/office/drawing/2014/main" id="{1C4030D8-D227-4A58-9BB4-360CBCA3721A}"/>
                </a:ext>
              </a:extLst>
            </p:cNvPr>
            <p:cNvSpPr/>
            <p:nvPr/>
          </p:nvSpPr>
          <p:spPr>
            <a:xfrm>
              <a:off x="9828257" y="3007234"/>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38" name="Google Shape;2845;p21">
              <a:extLst>
                <a:ext uri="{FF2B5EF4-FFF2-40B4-BE49-F238E27FC236}">
                  <a16:creationId xmlns:a16="http://schemas.microsoft.com/office/drawing/2014/main" id="{2BBFC75B-10A4-43D9-890B-30C6E7C9F988}"/>
                </a:ext>
              </a:extLst>
            </p:cNvPr>
            <p:cNvSpPr/>
            <p:nvPr/>
          </p:nvSpPr>
          <p:spPr>
            <a:xfrm>
              <a:off x="9869932" y="3014953"/>
              <a:ext cx="15187" cy="31537"/>
            </a:xfrm>
            <a:custGeom>
              <a:avLst/>
              <a:gdLst/>
              <a:ahLst/>
              <a:cxnLst/>
              <a:rect l="l" t="t" r="r" b="b"/>
              <a:pathLst>
                <a:path w="12700" h="26670" extrusionOk="0">
                  <a:moveTo>
                    <a:pt x="0" y="26123"/>
                  </a:moveTo>
                  <a:lnTo>
                    <a:pt x="12700" y="26123"/>
                  </a:lnTo>
                  <a:lnTo>
                    <a:pt x="12700" y="0"/>
                  </a:lnTo>
                  <a:lnTo>
                    <a:pt x="0" y="0"/>
                  </a:lnTo>
                  <a:lnTo>
                    <a:pt x="0" y="26123"/>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39" name="Google Shape;2846;p21">
              <a:extLst>
                <a:ext uri="{FF2B5EF4-FFF2-40B4-BE49-F238E27FC236}">
                  <a16:creationId xmlns:a16="http://schemas.microsoft.com/office/drawing/2014/main" id="{2B933CAE-ECCE-44D9-9C04-41B20E1E3C5E}"/>
                </a:ext>
              </a:extLst>
            </p:cNvPr>
            <p:cNvSpPr/>
            <p:nvPr/>
          </p:nvSpPr>
          <p:spPr>
            <a:xfrm>
              <a:off x="9881216" y="3021832"/>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40" name="Google Shape;2847;p21">
              <a:extLst>
                <a:ext uri="{FF2B5EF4-FFF2-40B4-BE49-F238E27FC236}">
                  <a16:creationId xmlns:a16="http://schemas.microsoft.com/office/drawing/2014/main" id="{D603BCF3-231A-41C5-B7C3-BAB57B14A96D}"/>
                </a:ext>
              </a:extLst>
            </p:cNvPr>
            <p:cNvSpPr/>
            <p:nvPr/>
          </p:nvSpPr>
          <p:spPr>
            <a:xfrm>
              <a:off x="9911394" y="3029536"/>
              <a:ext cx="0" cy="31537"/>
            </a:xfrm>
            <a:custGeom>
              <a:avLst/>
              <a:gdLst/>
              <a:ahLst/>
              <a:cxnLst/>
              <a:rect l="l" t="t" r="r" b="b"/>
              <a:pathLst>
                <a:path w="120000" h="26670" extrusionOk="0">
                  <a:moveTo>
                    <a:pt x="0" y="0"/>
                  </a:moveTo>
                  <a:lnTo>
                    <a:pt x="0" y="26136"/>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41" name="Google Shape;2848;p21">
              <a:extLst>
                <a:ext uri="{FF2B5EF4-FFF2-40B4-BE49-F238E27FC236}">
                  <a16:creationId xmlns:a16="http://schemas.microsoft.com/office/drawing/2014/main" id="{0DA7526A-FB86-4149-A879-B7395F1A444A}"/>
                </a:ext>
              </a:extLst>
            </p:cNvPr>
            <p:cNvSpPr/>
            <p:nvPr/>
          </p:nvSpPr>
          <p:spPr>
            <a:xfrm>
              <a:off x="9938518" y="3029536"/>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42" name="Google Shape;2849;p21">
              <a:extLst>
                <a:ext uri="{FF2B5EF4-FFF2-40B4-BE49-F238E27FC236}">
                  <a16:creationId xmlns:a16="http://schemas.microsoft.com/office/drawing/2014/main" id="{B903A9AC-6CBE-4173-9836-A9E85A08C6F4}"/>
                </a:ext>
              </a:extLst>
            </p:cNvPr>
            <p:cNvSpPr/>
            <p:nvPr/>
          </p:nvSpPr>
          <p:spPr>
            <a:xfrm>
              <a:off x="9945474" y="3029536"/>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43" name="Google Shape;2850;p21">
              <a:extLst>
                <a:ext uri="{FF2B5EF4-FFF2-40B4-BE49-F238E27FC236}">
                  <a16:creationId xmlns:a16="http://schemas.microsoft.com/office/drawing/2014/main" id="{F1FC2F6E-EFF5-439D-A8A0-55BEEFBEAEBD}"/>
                </a:ext>
              </a:extLst>
            </p:cNvPr>
            <p:cNvSpPr/>
            <p:nvPr/>
          </p:nvSpPr>
          <p:spPr>
            <a:xfrm>
              <a:off x="9953280" y="3029536"/>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44" name="Google Shape;2851;p21">
              <a:extLst>
                <a:ext uri="{FF2B5EF4-FFF2-40B4-BE49-F238E27FC236}">
                  <a16:creationId xmlns:a16="http://schemas.microsoft.com/office/drawing/2014/main" id="{B5479DE1-DC8C-424B-863D-2931018D5C7E}"/>
                </a:ext>
              </a:extLst>
            </p:cNvPr>
            <p:cNvSpPr/>
            <p:nvPr/>
          </p:nvSpPr>
          <p:spPr>
            <a:xfrm>
              <a:off x="9964580" y="3038141"/>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45" name="Google Shape;2852;p21">
              <a:extLst>
                <a:ext uri="{FF2B5EF4-FFF2-40B4-BE49-F238E27FC236}">
                  <a16:creationId xmlns:a16="http://schemas.microsoft.com/office/drawing/2014/main" id="{60219CC4-0515-4055-B5D1-B7CB3F4C977A}"/>
                </a:ext>
              </a:extLst>
            </p:cNvPr>
            <p:cNvSpPr/>
            <p:nvPr/>
          </p:nvSpPr>
          <p:spPr>
            <a:xfrm>
              <a:off x="9972402" y="3038141"/>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46" name="Google Shape;2853;p21">
              <a:extLst>
                <a:ext uri="{FF2B5EF4-FFF2-40B4-BE49-F238E27FC236}">
                  <a16:creationId xmlns:a16="http://schemas.microsoft.com/office/drawing/2014/main" id="{C61BD96F-0786-4ED3-924E-76EC278C9B1F}"/>
                </a:ext>
              </a:extLst>
            </p:cNvPr>
            <p:cNvSpPr/>
            <p:nvPr/>
          </p:nvSpPr>
          <p:spPr>
            <a:xfrm>
              <a:off x="9975849" y="3047571"/>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47" name="Google Shape;2854;p21">
              <a:extLst>
                <a:ext uri="{FF2B5EF4-FFF2-40B4-BE49-F238E27FC236}">
                  <a16:creationId xmlns:a16="http://schemas.microsoft.com/office/drawing/2014/main" id="{83DF9750-08DD-427D-92C2-679039E3CB28}"/>
                </a:ext>
              </a:extLst>
            </p:cNvPr>
            <p:cNvSpPr/>
            <p:nvPr/>
          </p:nvSpPr>
          <p:spPr>
            <a:xfrm>
              <a:off x="9987148" y="3057018"/>
              <a:ext cx="15187" cy="31537"/>
            </a:xfrm>
            <a:custGeom>
              <a:avLst/>
              <a:gdLst/>
              <a:ahLst/>
              <a:cxnLst/>
              <a:rect l="l" t="t" r="r" b="b"/>
              <a:pathLst>
                <a:path w="12700" h="26670" extrusionOk="0">
                  <a:moveTo>
                    <a:pt x="0" y="26123"/>
                  </a:moveTo>
                  <a:lnTo>
                    <a:pt x="12700" y="26123"/>
                  </a:lnTo>
                  <a:lnTo>
                    <a:pt x="12700" y="0"/>
                  </a:lnTo>
                  <a:lnTo>
                    <a:pt x="0" y="0"/>
                  </a:lnTo>
                  <a:lnTo>
                    <a:pt x="0" y="26123"/>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48" name="Google Shape;2855;p21">
              <a:extLst>
                <a:ext uri="{FF2B5EF4-FFF2-40B4-BE49-F238E27FC236}">
                  <a16:creationId xmlns:a16="http://schemas.microsoft.com/office/drawing/2014/main" id="{05BBC958-5BEE-490F-A457-23FB4E186219}"/>
                </a:ext>
              </a:extLst>
            </p:cNvPr>
            <p:cNvSpPr/>
            <p:nvPr/>
          </p:nvSpPr>
          <p:spPr>
            <a:xfrm>
              <a:off x="10044238" y="3066479"/>
              <a:ext cx="0" cy="31537"/>
            </a:xfrm>
            <a:custGeom>
              <a:avLst/>
              <a:gdLst/>
              <a:ahLst/>
              <a:cxnLst/>
              <a:rect l="l" t="t" r="r" b="b"/>
              <a:pathLst>
                <a:path w="120000" h="26670" extrusionOk="0">
                  <a:moveTo>
                    <a:pt x="0" y="0"/>
                  </a:moveTo>
                  <a:lnTo>
                    <a:pt x="0" y="26136"/>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49" name="Google Shape;2856;p21">
              <a:extLst>
                <a:ext uri="{FF2B5EF4-FFF2-40B4-BE49-F238E27FC236}">
                  <a16:creationId xmlns:a16="http://schemas.microsoft.com/office/drawing/2014/main" id="{2453E53F-179D-4F27-AB32-B8477DFAD65A}"/>
                </a:ext>
              </a:extLst>
            </p:cNvPr>
            <p:cNvSpPr/>
            <p:nvPr/>
          </p:nvSpPr>
          <p:spPr>
            <a:xfrm>
              <a:off x="10123456" y="3075039"/>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50" name="Google Shape;2857;p21">
              <a:extLst>
                <a:ext uri="{FF2B5EF4-FFF2-40B4-BE49-F238E27FC236}">
                  <a16:creationId xmlns:a16="http://schemas.microsoft.com/office/drawing/2014/main" id="{EDC67CD2-EE55-4819-B194-C1B2F288E6C1}"/>
                </a:ext>
              </a:extLst>
            </p:cNvPr>
            <p:cNvSpPr/>
            <p:nvPr/>
          </p:nvSpPr>
          <p:spPr>
            <a:xfrm>
              <a:off x="10135621" y="3075039"/>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51" name="Google Shape;2858;p21">
              <a:extLst>
                <a:ext uri="{FF2B5EF4-FFF2-40B4-BE49-F238E27FC236}">
                  <a16:creationId xmlns:a16="http://schemas.microsoft.com/office/drawing/2014/main" id="{E3C3BC35-42E9-4E40-A4E5-3E358CDC0F9A}"/>
                </a:ext>
              </a:extLst>
            </p:cNvPr>
            <p:cNvSpPr/>
            <p:nvPr/>
          </p:nvSpPr>
          <p:spPr>
            <a:xfrm>
              <a:off x="10252624" y="3085356"/>
              <a:ext cx="0" cy="31537"/>
            </a:xfrm>
            <a:custGeom>
              <a:avLst/>
              <a:gdLst/>
              <a:ahLst/>
              <a:cxnLst/>
              <a:rect l="l" t="t" r="r" b="b"/>
              <a:pathLst>
                <a:path w="120000" h="26670" extrusionOk="0">
                  <a:moveTo>
                    <a:pt x="0" y="0"/>
                  </a:moveTo>
                  <a:lnTo>
                    <a:pt x="0" y="26136"/>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52" name="Google Shape;2859;p21">
              <a:extLst>
                <a:ext uri="{FF2B5EF4-FFF2-40B4-BE49-F238E27FC236}">
                  <a16:creationId xmlns:a16="http://schemas.microsoft.com/office/drawing/2014/main" id="{19FE94DA-B230-4EB0-BBAD-ACAC7AA22D63}"/>
                </a:ext>
              </a:extLst>
            </p:cNvPr>
            <p:cNvSpPr/>
            <p:nvPr/>
          </p:nvSpPr>
          <p:spPr>
            <a:xfrm>
              <a:off x="10309273" y="3085356"/>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53" name="Google Shape;2860;p21">
              <a:extLst>
                <a:ext uri="{FF2B5EF4-FFF2-40B4-BE49-F238E27FC236}">
                  <a16:creationId xmlns:a16="http://schemas.microsoft.com/office/drawing/2014/main" id="{C363A7B0-6503-4C53-8015-2FA7B24EB180}"/>
                </a:ext>
              </a:extLst>
            </p:cNvPr>
            <p:cNvSpPr/>
            <p:nvPr/>
          </p:nvSpPr>
          <p:spPr>
            <a:xfrm>
              <a:off x="10324902" y="3096515"/>
              <a:ext cx="15187" cy="31537"/>
            </a:xfrm>
            <a:custGeom>
              <a:avLst/>
              <a:gdLst/>
              <a:ahLst/>
              <a:cxnLst/>
              <a:rect l="l" t="t" r="r" b="b"/>
              <a:pathLst>
                <a:path w="12700" h="26670" extrusionOk="0">
                  <a:moveTo>
                    <a:pt x="0" y="26149"/>
                  </a:moveTo>
                  <a:lnTo>
                    <a:pt x="12700" y="26149"/>
                  </a:lnTo>
                  <a:lnTo>
                    <a:pt x="12700" y="0"/>
                  </a:lnTo>
                  <a:lnTo>
                    <a:pt x="0" y="0"/>
                  </a:lnTo>
                  <a:lnTo>
                    <a:pt x="0" y="26149"/>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54" name="Google Shape;2861;p21">
              <a:extLst>
                <a:ext uri="{FF2B5EF4-FFF2-40B4-BE49-F238E27FC236}">
                  <a16:creationId xmlns:a16="http://schemas.microsoft.com/office/drawing/2014/main" id="{31D2ACF3-5CE9-4964-90E3-E2A3BCA3489D}"/>
                </a:ext>
              </a:extLst>
            </p:cNvPr>
            <p:cNvSpPr/>
            <p:nvPr/>
          </p:nvSpPr>
          <p:spPr>
            <a:xfrm>
              <a:off x="10427128" y="3096515"/>
              <a:ext cx="0" cy="31537"/>
            </a:xfrm>
            <a:custGeom>
              <a:avLst/>
              <a:gdLst/>
              <a:ahLst/>
              <a:cxnLst/>
              <a:rect l="l" t="t" r="r" b="b"/>
              <a:pathLst>
                <a:path w="120000" h="26670" extrusionOk="0">
                  <a:moveTo>
                    <a:pt x="0" y="0"/>
                  </a:moveTo>
                  <a:lnTo>
                    <a:pt x="0" y="26149"/>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55" name="Google Shape;2862;p21">
              <a:extLst>
                <a:ext uri="{FF2B5EF4-FFF2-40B4-BE49-F238E27FC236}">
                  <a16:creationId xmlns:a16="http://schemas.microsoft.com/office/drawing/2014/main" id="{A92239AF-C4FB-4DB9-A6E9-0B2EE4558FC7}"/>
                </a:ext>
              </a:extLst>
            </p:cNvPr>
            <p:cNvSpPr/>
            <p:nvPr/>
          </p:nvSpPr>
          <p:spPr>
            <a:xfrm>
              <a:off x="10483565" y="3111097"/>
              <a:ext cx="0" cy="31537"/>
            </a:xfrm>
            <a:custGeom>
              <a:avLst/>
              <a:gdLst/>
              <a:ahLst/>
              <a:cxnLst/>
              <a:rect l="l" t="t" r="r" b="b"/>
              <a:pathLst>
                <a:path w="120000" h="26670" extrusionOk="0">
                  <a:moveTo>
                    <a:pt x="0" y="0"/>
                  </a:moveTo>
                  <a:lnTo>
                    <a:pt x="0" y="26162"/>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56" name="Google Shape;2863;p21">
              <a:extLst>
                <a:ext uri="{FF2B5EF4-FFF2-40B4-BE49-F238E27FC236}">
                  <a16:creationId xmlns:a16="http://schemas.microsoft.com/office/drawing/2014/main" id="{DF029D56-326C-42BD-92AA-44A6CEDB4EAF}"/>
                </a:ext>
              </a:extLst>
            </p:cNvPr>
            <p:cNvSpPr/>
            <p:nvPr/>
          </p:nvSpPr>
          <p:spPr>
            <a:xfrm>
              <a:off x="10828273" y="3111097"/>
              <a:ext cx="0" cy="31537"/>
            </a:xfrm>
            <a:custGeom>
              <a:avLst/>
              <a:gdLst/>
              <a:ahLst/>
              <a:cxnLst/>
              <a:rect l="l" t="t" r="r" b="b"/>
              <a:pathLst>
                <a:path w="120000" h="26670" extrusionOk="0">
                  <a:moveTo>
                    <a:pt x="0" y="0"/>
                  </a:moveTo>
                  <a:lnTo>
                    <a:pt x="0" y="26162"/>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57" name="Google Shape;2864;p21">
              <a:extLst>
                <a:ext uri="{FF2B5EF4-FFF2-40B4-BE49-F238E27FC236}">
                  <a16:creationId xmlns:a16="http://schemas.microsoft.com/office/drawing/2014/main" id="{12B0E107-254B-45EB-A06A-2374DB1552C2}"/>
                </a:ext>
              </a:extLst>
            </p:cNvPr>
            <p:cNvSpPr/>
            <p:nvPr/>
          </p:nvSpPr>
          <p:spPr>
            <a:xfrm>
              <a:off x="10949819" y="3111097"/>
              <a:ext cx="0" cy="31537"/>
            </a:xfrm>
            <a:custGeom>
              <a:avLst/>
              <a:gdLst/>
              <a:ahLst/>
              <a:cxnLst/>
              <a:rect l="l" t="t" r="r" b="b"/>
              <a:pathLst>
                <a:path w="120000" h="26670" extrusionOk="0">
                  <a:moveTo>
                    <a:pt x="0" y="0"/>
                  </a:moveTo>
                  <a:lnTo>
                    <a:pt x="0" y="26162"/>
                  </a:lnTo>
                </a:path>
              </a:pathLst>
            </a:custGeom>
            <a:grpFill/>
            <a:ln w="12700" cap="flat" cmpd="sng">
              <a:no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58" name="Google Shape;2868;p21">
              <a:extLst>
                <a:ext uri="{FF2B5EF4-FFF2-40B4-BE49-F238E27FC236}">
                  <a16:creationId xmlns:a16="http://schemas.microsoft.com/office/drawing/2014/main" id="{1B0B7CC1-5F45-42C8-95DA-0E242E3AB6DE}"/>
                </a:ext>
              </a:extLst>
            </p:cNvPr>
            <p:cNvSpPr/>
            <p:nvPr/>
          </p:nvSpPr>
          <p:spPr>
            <a:xfrm>
              <a:off x="9195078" y="1515053"/>
              <a:ext cx="15187" cy="31537"/>
            </a:xfrm>
            <a:custGeom>
              <a:avLst/>
              <a:gdLst/>
              <a:ahLst/>
              <a:cxnLst/>
              <a:rect l="l" t="t" r="r" b="b"/>
              <a:pathLst>
                <a:path w="12700" h="26670" extrusionOk="0">
                  <a:moveTo>
                    <a:pt x="0" y="26136"/>
                  </a:moveTo>
                  <a:lnTo>
                    <a:pt x="12700" y="26136"/>
                  </a:lnTo>
                  <a:lnTo>
                    <a:pt x="12700" y="0"/>
                  </a:lnTo>
                  <a:lnTo>
                    <a:pt x="0" y="0"/>
                  </a:lnTo>
                  <a:lnTo>
                    <a:pt x="0" y="26136"/>
                  </a:lnTo>
                  <a:close/>
                </a:path>
              </a:pathLst>
            </a:custGeom>
            <a:grp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grpSp>
      <p:grpSp>
        <p:nvGrpSpPr>
          <p:cNvPr id="660" name="Group 659">
            <a:extLst>
              <a:ext uri="{FF2B5EF4-FFF2-40B4-BE49-F238E27FC236}">
                <a16:creationId xmlns:a16="http://schemas.microsoft.com/office/drawing/2014/main" id="{9678DB9F-EAAC-4CA8-85D9-1DC32E71BF18}"/>
              </a:ext>
            </a:extLst>
          </p:cNvPr>
          <p:cNvGrpSpPr/>
          <p:nvPr/>
        </p:nvGrpSpPr>
        <p:grpSpPr>
          <a:xfrm>
            <a:off x="1380251" y="1659786"/>
            <a:ext cx="2799860" cy="1614158"/>
            <a:chOff x="5265108" y="1618589"/>
            <a:chExt cx="3171211" cy="1533544"/>
          </a:xfrm>
        </p:grpSpPr>
        <p:sp>
          <p:nvSpPr>
            <p:cNvPr id="661" name="Google Shape;2731;p21">
              <a:extLst>
                <a:ext uri="{FF2B5EF4-FFF2-40B4-BE49-F238E27FC236}">
                  <a16:creationId xmlns:a16="http://schemas.microsoft.com/office/drawing/2014/main" id="{EC8C25E2-2C82-485E-B49B-F6DE2CCD4A3A}"/>
                </a:ext>
              </a:extLst>
            </p:cNvPr>
            <p:cNvSpPr/>
            <p:nvPr/>
          </p:nvSpPr>
          <p:spPr>
            <a:xfrm>
              <a:off x="5265108" y="1618589"/>
              <a:ext cx="3171211" cy="1528707"/>
            </a:xfrm>
            <a:custGeom>
              <a:avLst/>
              <a:gdLst/>
              <a:ahLst/>
              <a:cxnLst/>
              <a:rect l="l" t="t" r="r" b="b"/>
              <a:pathLst>
                <a:path w="2242820" h="1376679" extrusionOk="0">
                  <a:moveTo>
                    <a:pt x="0" y="0"/>
                  </a:moveTo>
                  <a:lnTo>
                    <a:pt x="2908" y="0"/>
                  </a:lnTo>
                  <a:lnTo>
                    <a:pt x="2908" y="3632"/>
                  </a:lnTo>
                  <a:lnTo>
                    <a:pt x="5816" y="3632"/>
                  </a:lnTo>
                  <a:lnTo>
                    <a:pt x="5816" y="18148"/>
                  </a:lnTo>
                  <a:lnTo>
                    <a:pt x="9448" y="18148"/>
                  </a:lnTo>
                  <a:lnTo>
                    <a:pt x="9448" y="21780"/>
                  </a:lnTo>
                  <a:lnTo>
                    <a:pt x="12344" y="21780"/>
                  </a:lnTo>
                  <a:lnTo>
                    <a:pt x="12344" y="31940"/>
                  </a:lnTo>
                  <a:lnTo>
                    <a:pt x="15240" y="31940"/>
                  </a:lnTo>
                  <a:lnTo>
                    <a:pt x="15240" y="35560"/>
                  </a:lnTo>
                  <a:lnTo>
                    <a:pt x="18859" y="35560"/>
                  </a:lnTo>
                  <a:lnTo>
                    <a:pt x="18859" y="60998"/>
                  </a:lnTo>
                  <a:lnTo>
                    <a:pt x="21780" y="60998"/>
                  </a:lnTo>
                  <a:lnTo>
                    <a:pt x="21780" y="86398"/>
                  </a:lnTo>
                  <a:lnTo>
                    <a:pt x="24676" y="86398"/>
                  </a:lnTo>
                  <a:lnTo>
                    <a:pt x="24676" y="103822"/>
                  </a:lnTo>
                  <a:lnTo>
                    <a:pt x="28321" y="103822"/>
                  </a:lnTo>
                  <a:lnTo>
                    <a:pt x="28321" y="143751"/>
                  </a:lnTo>
                  <a:lnTo>
                    <a:pt x="31216" y="143751"/>
                  </a:lnTo>
                  <a:lnTo>
                    <a:pt x="31216" y="164820"/>
                  </a:lnTo>
                  <a:lnTo>
                    <a:pt x="34848" y="164820"/>
                  </a:lnTo>
                  <a:lnTo>
                    <a:pt x="34848" y="175717"/>
                  </a:lnTo>
                  <a:lnTo>
                    <a:pt x="37744" y="175717"/>
                  </a:lnTo>
                  <a:lnTo>
                    <a:pt x="37744" y="262102"/>
                  </a:lnTo>
                  <a:lnTo>
                    <a:pt x="40652" y="262102"/>
                  </a:lnTo>
                  <a:lnTo>
                    <a:pt x="40652" y="287515"/>
                  </a:lnTo>
                  <a:lnTo>
                    <a:pt x="44284" y="287515"/>
                  </a:lnTo>
                  <a:lnTo>
                    <a:pt x="44284" y="326732"/>
                  </a:lnTo>
                  <a:lnTo>
                    <a:pt x="47193" y="326732"/>
                  </a:lnTo>
                  <a:lnTo>
                    <a:pt x="47193" y="341261"/>
                  </a:lnTo>
                  <a:lnTo>
                    <a:pt x="50101" y="341261"/>
                  </a:lnTo>
                  <a:lnTo>
                    <a:pt x="50101" y="380441"/>
                  </a:lnTo>
                  <a:lnTo>
                    <a:pt x="53721" y="380441"/>
                  </a:lnTo>
                  <a:lnTo>
                    <a:pt x="53721" y="441439"/>
                  </a:lnTo>
                  <a:lnTo>
                    <a:pt x="56629" y="441439"/>
                  </a:lnTo>
                  <a:lnTo>
                    <a:pt x="56629" y="535101"/>
                  </a:lnTo>
                  <a:lnTo>
                    <a:pt x="59524" y="535101"/>
                  </a:lnTo>
                  <a:lnTo>
                    <a:pt x="59524" y="592455"/>
                  </a:lnTo>
                  <a:lnTo>
                    <a:pt x="63169" y="592455"/>
                  </a:lnTo>
                  <a:lnTo>
                    <a:pt x="63169" y="610603"/>
                  </a:lnTo>
                  <a:lnTo>
                    <a:pt x="66078" y="610603"/>
                  </a:lnTo>
                  <a:lnTo>
                    <a:pt x="66078" y="646925"/>
                  </a:lnTo>
                  <a:lnTo>
                    <a:pt x="69697" y="646925"/>
                  </a:lnTo>
                  <a:lnTo>
                    <a:pt x="69697" y="661428"/>
                  </a:lnTo>
                  <a:lnTo>
                    <a:pt x="72605" y="661428"/>
                  </a:lnTo>
                  <a:lnTo>
                    <a:pt x="72605" y="683221"/>
                  </a:lnTo>
                  <a:lnTo>
                    <a:pt x="75488" y="683221"/>
                  </a:lnTo>
                  <a:lnTo>
                    <a:pt x="75488" y="686841"/>
                  </a:lnTo>
                  <a:lnTo>
                    <a:pt x="79133" y="686841"/>
                  </a:lnTo>
                  <a:lnTo>
                    <a:pt x="79133" y="704989"/>
                  </a:lnTo>
                  <a:lnTo>
                    <a:pt x="82042" y="704989"/>
                  </a:lnTo>
                  <a:lnTo>
                    <a:pt x="82042" y="755827"/>
                  </a:lnTo>
                  <a:lnTo>
                    <a:pt x="84950" y="755827"/>
                  </a:lnTo>
                  <a:lnTo>
                    <a:pt x="84950" y="763079"/>
                  </a:lnTo>
                  <a:lnTo>
                    <a:pt x="88582" y="763079"/>
                  </a:lnTo>
                  <a:lnTo>
                    <a:pt x="88582" y="777621"/>
                  </a:lnTo>
                  <a:lnTo>
                    <a:pt x="91503" y="777621"/>
                  </a:lnTo>
                  <a:lnTo>
                    <a:pt x="91503" y="781240"/>
                  </a:lnTo>
                  <a:lnTo>
                    <a:pt x="94386" y="781240"/>
                  </a:lnTo>
                  <a:lnTo>
                    <a:pt x="94386" y="784860"/>
                  </a:lnTo>
                  <a:lnTo>
                    <a:pt x="98018" y="784860"/>
                  </a:lnTo>
                  <a:lnTo>
                    <a:pt x="98018" y="806640"/>
                  </a:lnTo>
                  <a:lnTo>
                    <a:pt x="100914" y="806640"/>
                  </a:lnTo>
                  <a:lnTo>
                    <a:pt x="100914" y="817524"/>
                  </a:lnTo>
                  <a:lnTo>
                    <a:pt x="104546" y="817524"/>
                  </a:lnTo>
                  <a:lnTo>
                    <a:pt x="104546" y="824801"/>
                  </a:lnTo>
                  <a:lnTo>
                    <a:pt x="107454" y="824801"/>
                  </a:lnTo>
                  <a:lnTo>
                    <a:pt x="107454" y="832053"/>
                  </a:lnTo>
                  <a:lnTo>
                    <a:pt x="110350" y="832053"/>
                  </a:lnTo>
                  <a:lnTo>
                    <a:pt x="110350" y="839304"/>
                  </a:lnTo>
                  <a:lnTo>
                    <a:pt x="113995" y="839304"/>
                  </a:lnTo>
                  <a:lnTo>
                    <a:pt x="113995" y="861822"/>
                  </a:lnTo>
                  <a:lnTo>
                    <a:pt x="116878" y="865441"/>
                  </a:lnTo>
                  <a:lnTo>
                    <a:pt x="119799" y="865441"/>
                  </a:lnTo>
                  <a:lnTo>
                    <a:pt x="119799" y="869086"/>
                  </a:lnTo>
                  <a:lnTo>
                    <a:pt x="126326" y="869086"/>
                  </a:lnTo>
                  <a:lnTo>
                    <a:pt x="126326" y="872705"/>
                  </a:lnTo>
                  <a:lnTo>
                    <a:pt x="129235" y="872705"/>
                  </a:lnTo>
                  <a:lnTo>
                    <a:pt x="129235" y="879970"/>
                  </a:lnTo>
                  <a:lnTo>
                    <a:pt x="132867" y="879970"/>
                  </a:lnTo>
                  <a:lnTo>
                    <a:pt x="132867" y="898131"/>
                  </a:lnTo>
                  <a:lnTo>
                    <a:pt x="135763" y="898131"/>
                  </a:lnTo>
                  <a:lnTo>
                    <a:pt x="135763" y="909739"/>
                  </a:lnTo>
                  <a:lnTo>
                    <a:pt x="139407" y="909739"/>
                  </a:lnTo>
                  <a:lnTo>
                    <a:pt x="139407" y="924267"/>
                  </a:lnTo>
                  <a:lnTo>
                    <a:pt x="142303" y="924267"/>
                  </a:lnTo>
                  <a:lnTo>
                    <a:pt x="142303" y="928636"/>
                  </a:lnTo>
                  <a:lnTo>
                    <a:pt x="145211" y="928636"/>
                  </a:lnTo>
                  <a:lnTo>
                    <a:pt x="145211" y="935875"/>
                  </a:lnTo>
                  <a:lnTo>
                    <a:pt x="148844" y="935875"/>
                  </a:lnTo>
                  <a:lnTo>
                    <a:pt x="148844" y="939520"/>
                  </a:lnTo>
                  <a:lnTo>
                    <a:pt x="151739" y="939520"/>
                  </a:lnTo>
                  <a:lnTo>
                    <a:pt x="151739" y="946772"/>
                  </a:lnTo>
                  <a:lnTo>
                    <a:pt x="154647" y="946772"/>
                  </a:lnTo>
                  <a:lnTo>
                    <a:pt x="154647" y="950404"/>
                  </a:lnTo>
                  <a:lnTo>
                    <a:pt x="158292" y="950404"/>
                  </a:lnTo>
                  <a:lnTo>
                    <a:pt x="158292" y="954786"/>
                  </a:lnTo>
                  <a:lnTo>
                    <a:pt x="164096" y="954786"/>
                  </a:lnTo>
                  <a:lnTo>
                    <a:pt x="164096" y="958380"/>
                  </a:lnTo>
                  <a:lnTo>
                    <a:pt x="167716" y="958380"/>
                  </a:lnTo>
                  <a:lnTo>
                    <a:pt x="167716" y="965669"/>
                  </a:lnTo>
                  <a:lnTo>
                    <a:pt x="170624" y="965669"/>
                  </a:lnTo>
                  <a:lnTo>
                    <a:pt x="170624" y="988885"/>
                  </a:lnTo>
                  <a:lnTo>
                    <a:pt x="174244" y="988885"/>
                  </a:lnTo>
                  <a:lnTo>
                    <a:pt x="174244" y="1007770"/>
                  </a:lnTo>
                  <a:lnTo>
                    <a:pt x="177152" y="1007770"/>
                  </a:lnTo>
                  <a:lnTo>
                    <a:pt x="177152" y="1023023"/>
                  </a:lnTo>
                  <a:lnTo>
                    <a:pt x="180073" y="1023023"/>
                  </a:lnTo>
                  <a:lnTo>
                    <a:pt x="180073" y="1026629"/>
                  </a:lnTo>
                  <a:lnTo>
                    <a:pt x="183692" y="1026629"/>
                  </a:lnTo>
                  <a:lnTo>
                    <a:pt x="183692" y="1034618"/>
                  </a:lnTo>
                  <a:lnTo>
                    <a:pt x="186601" y="1034618"/>
                  </a:lnTo>
                  <a:lnTo>
                    <a:pt x="186601" y="1046238"/>
                  </a:lnTo>
                  <a:lnTo>
                    <a:pt x="189496" y="1046238"/>
                  </a:lnTo>
                  <a:lnTo>
                    <a:pt x="189496" y="1049870"/>
                  </a:lnTo>
                  <a:lnTo>
                    <a:pt x="193141" y="1049870"/>
                  </a:lnTo>
                  <a:lnTo>
                    <a:pt x="193141" y="1053503"/>
                  </a:lnTo>
                  <a:lnTo>
                    <a:pt x="196037" y="1053503"/>
                  </a:lnTo>
                  <a:lnTo>
                    <a:pt x="196037" y="1057135"/>
                  </a:lnTo>
                  <a:lnTo>
                    <a:pt x="198932" y="1057135"/>
                  </a:lnTo>
                  <a:lnTo>
                    <a:pt x="198932" y="1068755"/>
                  </a:lnTo>
                  <a:lnTo>
                    <a:pt x="205473" y="1068755"/>
                  </a:lnTo>
                  <a:lnTo>
                    <a:pt x="205473" y="1073099"/>
                  </a:lnTo>
                  <a:lnTo>
                    <a:pt x="209092" y="1073099"/>
                  </a:lnTo>
                  <a:lnTo>
                    <a:pt x="209092" y="1080376"/>
                  </a:lnTo>
                  <a:lnTo>
                    <a:pt x="212001" y="1080376"/>
                  </a:lnTo>
                  <a:lnTo>
                    <a:pt x="212001" y="1084745"/>
                  </a:lnTo>
                  <a:lnTo>
                    <a:pt x="214909" y="1084745"/>
                  </a:lnTo>
                  <a:lnTo>
                    <a:pt x="214909" y="1091984"/>
                  </a:lnTo>
                  <a:lnTo>
                    <a:pt x="230873" y="1091984"/>
                  </a:lnTo>
                  <a:lnTo>
                    <a:pt x="230873" y="1096340"/>
                  </a:lnTo>
                  <a:lnTo>
                    <a:pt x="233781" y="1096340"/>
                  </a:lnTo>
                  <a:lnTo>
                    <a:pt x="233781" y="1100696"/>
                  </a:lnTo>
                  <a:lnTo>
                    <a:pt x="237413" y="1100696"/>
                  </a:lnTo>
                  <a:lnTo>
                    <a:pt x="237413" y="1108697"/>
                  </a:lnTo>
                  <a:lnTo>
                    <a:pt x="246849" y="1108697"/>
                  </a:lnTo>
                  <a:lnTo>
                    <a:pt x="246849" y="1112316"/>
                  </a:lnTo>
                  <a:lnTo>
                    <a:pt x="249770" y="1112316"/>
                  </a:lnTo>
                  <a:lnTo>
                    <a:pt x="249770" y="1116672"/>
                  </a:lnTo>
                  <a:lnTo>
                    <a:pt x="256298" y="1116672"/>
                  </a:lnTo>
                  <a:lnTo>
                    <a:pt x="256298" y="1124648"/>
                  </a:lnTo>
                  <a:lnTo>
                    <a:pt x="262839" y="1124648"/>
                  </a:lnTo>
                  <a:lnTo>
                    <a:pt x="262839" y="1137005"/>
                  </a:lnTo>
                  <a:lnTo>
                    <a:pt x="265722" y="1137005"/>
                  </a:lnTo>
                  <a:lnTo>
                    <a:pt x="265722" y="1141374"/>
                  </a:lnTo>
                  <a:lnTo>
                    <a:pt x="288239" y="1141374"/>
                  </a:lnTo>
                  <a:lnTo>
                    <a:pt x="288239" y="1150073"/>
                  </a:lnTo>
                  <a:lnTo>
                    <a:pt x="291147" y="1150073"/>
                  </a:lnTo>
                  <a:lnTo>
                    <a:pt x="291147" y="1154430"/>
                  </a:lnTo>
                  <a:lnTo>
                    <a:pt x="300596" y="1154430"/>
                  </a:lnTo>
                  <a:lnTo>
                    <a:pt x="300596" y="1158773"/>
                  </a:lnTo>
                  <a:lnTo>
                    <a:pt x="303491" y="1158773"/>
                  </a:lnTo>
                  <a:lnTo>
                    <a:pt x="303491" y="1163129"/>
                  </a:lnTo>
                  <a:lnTo>
                    <a:pt x="310019" y="1163129"/>
                  </a:lnTo>
                  <a:lnTo>
                    <a:pt x="310019" y="1167511"/>
                  </a:lnTo>
                  <a:lnTo>
                    <a:pt x="313664" y="1167511"/>
                  </a:lnTo>
                  <a:lnTo>
                    <a:pt x="313664" y="1171867"/>
                  </a:lnTo>
                  <a:lnTo>
                    <a:pt x="316560" y="1171867"/>
                  </a:lnTo>
                  <a:lnTo>
                    <a:pt x="316560" y="1176947"/>
                  </a:lnTo>
                  <a:lnTo>
                    <a:pt x="328904" y="1176947"/>
                  </a:lnTo>
                  <a:lnTo>
                    <a:pt x="328904" y="1194371"/>
                  </a:lnTo>
                  <a:lnTo>
                    <a:pt x="332524" y="1194371"/>
                  </a:lnTo>
                  <a:lnTo>
                    <a:pt x="332524" y="1198714"/>
                  </a:lnTo>
                  <a:lnTo>
                    <a:pt x="348500" y="1198714"/>
                  </a:lnTo>
                  <a:lnTo>
                    <a:pt x="348500" y="1203782"/>
                  </a:lnTo>
                  <a:lnTo>
                    <a:pt x="383349" y="1203782"/>
                  </a:lnTo>
                  <a:lnTo>
                    <a:pt x="383349" y="1213243"/>
                  </a:lnTo>
                  <a:lnTo>
                    <a:pt x="392811" y="1213243"/>
                  </a:lnTo>
                  <a:lnTo>
                    <a:pt x="392811" y="1218323"/>
                  </a:lnTo>
                  <a:lnTo>
                    <a:pt x="395693" y="1218323"/>
                  </a:lnTo>
                  <a:lnTo>
                    <a:pt x="395693" y="1223403"/>
                  </a:lnTo>
                  <a:lnTo>
                    <a:pt x="414566" y="1223403"/>
                  </a:lnTo>
                  <a:lnTo>
                    <a:pt x="414566" y="1228483"/>
                  </a:lnTo>
                  <a:lnTo>
                    <a:pt x="418211" y="1228483"/>
                  </a:lnTo>
                  <a:lnTo>
                    <a:pt x="418211" y="1233551"/>
                  </a:lnTo>
                  <a:lnTo>
                    <a:pt x="449440" y="1233551"/>
                  </a:lnTo>
                  <a:lnTo>
                    <a:pt x="449440" y="1238643"/>
                  </a:lnTo>
                  <a:lnTo>
                    <a:pt x="458851" y="1238643"/>
                  </a:lnTo>
                  <a:lnTo>
                    <a:pt x="458851" y="1243736"/>
                  </a:lnTo>
                  <a:lnTo>
                    <a:pt x="465378" y="1243736"/>
                  </a:lnTo>
                  <a:lnTo>
                    <a:pt x="465378" y="1253896"/>
                  </a:lnTo>
                  <a:lnTo>
                    <a:pt x="468299" y="1253896"/>
                  </a:lnTo>
                  <a:lnTo>
                    <a:pt x="468299" y="1258976"/>
                  </a:lnTo>
                  <a:lnTo>
                    <a:pt x="506793" y="1258976"/>
                  </a:lnTo>
                  <a:lnTo>
                    <a:pt x="506793" y="1264780"/>
                  </a:lnTo>
                  <a:lnTo>
                    <a:pt x="509689" y="1264780"/>
                  </a:lnTo>
                  <a:lnTo>
                    <a:pt x="509689" y="1270584"/>
                  </a:lnTo>
                  <a:lnTo>
                    <a:pt x="528561" y="1270584"/>
                  </a:lnTo>
                  <a:lnTo>
                    <a:pt x="528561" y="1276388"/>
                  </a:lnTo>
                  <a:lnTo>
                    <a:pt x="532206" y="1276388"/>
                  </a:lnTo>
                  <a:lnTo>
                    <a:pt x="532206" y="1282192"/>
                  </a:lnTo>
                  <a:lnTo>
                    <a:pt x="535089" y="1282192"/>
                  </a:lnTo>
                  <a:lnTo>
                    <a:pt x="535089" y="1288757"/>
                  </a:lnTo>
                  <a:lnTo>
                    <a:pt x="569963" y="1288757"/>
                  </a:lnTo>
                  <a:lnTo>
                    <a:pt x="569963" y="1295260"/>
                  </a:lnTo>
                  <a:lnTo>
                    <a:pt x="579374" y="1295260"/>
                  </a:lnTo>
                  <a:lnTo>
                    <a:pt x="579374" y="1301089"/>
                  </a:lnTo>
                  <a:lnTo>
                    <a:pt x="598258" y="1301089"/>
                  </a:lnTo>
                  <a:lnTo>
                    <a:pt x="598258" y="1307604"/>
                  </a:lnTo>
                  <a:lnTo>
                    <a:pt x="649097" y="1307604"/>
                  </a:lnTo>
                  <a:lnTo>
                    <a:pt x="649097" y="1314894"/>
                  </a:lnTo>
                  <a:lnTo>
                    <a:pt x="658520" y="1314894"/>
                  </a:lnTo>
                  <a:lnTo>
                    <a:pt x="658520" y="1322870"/>
                  </a:lnTo>
                  <a:lnTo>
                    <a:pt x="667981" y="1322870"/>
                  </a:lnTo>
                  <a:lnTo>
                    <a:pt x="667981" y="1330833"/>
                  </a:lnTo>
                  <a:lnTo>
                    <a:pt x="709358" y="1330833"/>
                  </a:lnTo>
                  <a:lnTo>
                    <a:pt x="709358" y="1338846"/>
                  </a:lnTo>
                  <a:lnTo>
                    <a:pt x="781951" y="1338846"/>
                  </a:lnTo>
                  <a:lnTo>
                    <a:pt x="781951" y="1346098"/>
                  </a:lnTo>
                  <a:lnTo>
                    <a:pt x="883602" y="1346098"/>
                  </a:lnTo>
                  <a:lnTo>
                    <a:pt x="883602" y="1354810"/>
                  </a:lnTo>
                  <a:lnTo>
                    <a:pt x="950404" y="1354810"/>
                  </a:lnTo>
                  <a:lnTo>
                    <a:pt x="950404" y="1364259"/>
                  </a:lnTo>
                  <a:lnTo>
                    <a:pt x="1076744" y="1364259"/>
                  </a:lnTo>
                  <a:lnTo>
                    <a:pt x="1076744" y="1376603"/>
                  </a:lnTo>
                  <a:lnTo>
                    <a:pt x="2242769" y="1376603"/>
                  </a:lnTo>
                </a:path>
              </a:pathLst>
            </a:custGeom>
            <a:noFill/>
            <a:ln w="1905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62" name="Google Shape;2860;p21">
              <a:extLst>
                <a:ext uri="{FF2B5EF4-FFF2-40B4-BE49-F238E27FC236}">
                  <a16:creationId xmlns:a16="http://schemas.microsoft.com/office/drawing/2014/main" id="{1EE2DD32-2042-4477-BB04-0CF80DF5E2EB}"/>
                </a:ext>
              </a:extLst>
            </p:cNvPr>
            <p:cNvSpPr/>
            <p:nvPr/>
          </p:nvSpPr>
          <p:spPr>
            <a:xfrm>
              <a:off x="7108253" y="3113929"/>
              <a:ext cx="15686" cy="29615"/>
            </a:xfrm>
            <a:custGeom>
              <a:avLst/>
              <a:gdLst/>
              <a:ahLst/>
              <a:cxnLst/>
              <a:rect l="l" t="t" r="r" b="b"/>
              <a:pathLst>
                <a:path w="12700" h="26670" extrusionOk="0">
                  <a:moveTo>
                    <a:pt x="0" y="26149"/>
                  </a:moveTo>
                  <a:lnTo>
                    <a:pt x="12700" y="26149"/>
                  </a:lnTo>
                  <a:lnTo>
                    <a:pt x="12700" y="0"/>
                  </a:lnTo>
                  <a:lnTo>
                    <a:pt x="0" y="0"/>
                  </a:lnTo>
                  <a:lnTo>
                    <a:pt x="0" y="26149"/>
                  </a:lnTo>
                  <a:close/>
                </a:path>
              </a:pathLst>
            </a:custGeom>
            <a:solidFill>
              <a:schemeClr val="accent2"/>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63" name="Google Shape;2860;p21">
              <a:extLst>
                <a:ext uri="{FF2B5EF4-FFF2-40B4-BE49-F238E27FC236}">
                  <a16:creationId xmlns:a16="http://schemas.microsoft.com/office/drawing/2014/main" id="{2A652214-F099-4CF1-913C-B05C4E66F045}"/>
                </a:ext>
              </a:extLst>
            </p:cNvPr>
            <p:cNvSpPr/>
            <p:nvPr/>
          </p:nvSpPr>
          <p:spPr>
            <a:xfrm>
              <a:off x="7301445" y="3115721"/>
              <a:ext cx="15686" cy="29615"/>
            </a:xfrm>
            <a:custGeom>
              <a:avLst/>
              <a:gdLst/>
              <a:ahLst/>
              <a:cxnLst/>
              <a:rect l="l" t="t" r="r" b="b"/>
              <a:pathLst>
                <a:path w="12700" h="26670" extrusionOk="0">
                  <a:moveTo>
                    <a:pt x="0" y="26149"/>
                  </a:moveTo>
                  <a:lnTo>
                    <a:pt x="12700" y="26149"/>
                  </a:lnTo>
                  <a:lnTo>
                    <a:pt x="12700" y="0"/>
                  </a:lnTo>
                  <a:lnTo>
                    <a:pt x="0" y="0"/>
                  </a:lnTo>
                  <a:lnTo>
                    <a:pt x="0" y="26149"/>
                  </a:lnTo>
                  <a:close/>
                </a:path>
              </a:pathLst>
            </a:custGeom>
            <a:solidFill>
              <a:schemeClr val="accent2"/>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664" name="Google Shape;2860;p21">
              <a:extLst>
                <a:ext uri="{FF2B5EF4-FFF2-40B4-BE49-F238E27FC236}">
                  <a16:creationId xmlns:a16="http://schemas.microsoft.com/office/drawing/2014/main" id="{05A2DECA-AFAF-48FA-9579-EAFFF9E0A8B9}"/>
                </a:ext>
              </a:extLst>
            </p:cNvPr>
            <p:cNvSpPr/>
            <p:nvPr/>
          </p:nvSpPr>
          <p:spPr>
            <a:xfrm>
              <a:off x="7566309" y="3122518"/>
              <a:ext cx="15686" cy="29615"/>
            </a:xfrm>
            <a:custGeom>
              <a:avLst/>
              <a:gdLst/>
              <a:ahLst/>
              <a:cxnLst/>
              <a:rect l="l" t="t" r="r" b="b"/>
              <a:pathLst>
                <a:path w="12700" h="26670" extrusionOk="0">
                  <a:moveTo>
                    <a:pt x="0" y="26149"/>
                  </a:moveTo>
                  <a:lnTo>
                    <a:pt x="12700" y="26149"/>
                  </a:lnTo>
                  <a:lnTo>
                    <a:pt x="12700" y="0"/>
                  </a:lnTo>
                  <a:lnTo>
                    <a:pt x="0" y="0"/>
                  </a:lnTo>
                  <a:lnTo>
                    <a:pt x="0" y="26149"/>
                  </a:lnTo>
                  <a:close/>
                </a:path>
              </a:pathLst>
            </a:custGeom>
            <a:solidFill>
              <a:schemeClr val="accent2"/>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000" b="0" i="0" u="none" strike="noStrike" kern="0" cap="none" spc="0" normalizeH="0" baseline="0" noProof="0">
                <a:ln>
                  <a:noFill/>
                </a:ln>
                <a:solidFill>
                  <a:srgbClr val="545859"/>
                </a:solidFill>
                <a:effectLst/>
                <a:uLnTx/>
                <a:uFillTx/>
                <a:latin typeface="Arial"/>
                <a:ea typeface="Arial"/>
                <a:cs typeface="Arial"/>
                <a:sym typeface="Arial"/>
              </a:endParaRPr>
            </a:p>
          </p:txBody>
        </p:sp>
      </p:grpSp>
      <p:sp>
        <p:nvSpPr>
          <p:cNvPr id="666" name="Google Shape;3434;p24">
            <a:extLst>
              <a:ext uri="{FF2B5EF4-FFF2-40B4-BE49-F238E27FC236}">
                <a16:creationId xmlns:a16="http://schemas.microsoft.com/office/drawing/2014/main" id="{7185D41D-0C10-47FF-B786-F3DAD73A8E31}"/>
              </a:ext>
            </a:extLst>
          </p:cNvPr>
          <p:cNvSpPr txBox="1"/>
          <p:nvPr/>
        </p:nvSpPr>
        <p:spPr>
          <a:xfrm>
            <a:off x="4852896" y="3632667"/>
            <a:ext cx="769548" cy="138499"/>
          </a:xfrm>
          <a:prstGeom prst="rect">
            <a:avLst/>
          </a:prstGeom>
          <a:noFill/>
          <a:ln>
            <a:noFill/>
          </a:ln>
        </p:spPr>
        <p:txBody>
          <a:bodyPr spcFirstLastPara="1" wrap="square" lIns="0" tIns="0" rIns="0" bIns="0" anchor="ctr" anchorCtr="0">
            <a:spAutoFit/>
          </a:bodyPr>
          <a:lstStyle/>
          <a:p>
            <a:pPr marL="127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1" i="0" u="none" strike="noStrike" kern="0" cap="none" spc="0" normalizeH="0" baseline="0" noProof="0" dirty="0">
                <a:ln>
                  <a:noFill/>
                </a:ln>
                <a:solidFill>
                  <a:srgbClr val="004677"/>
                </a:solidFill>
                <a:effectLst/>
                <a:uLnTx/>
                <a:uFillTx/>
                <a:latin typeface="Gene Sans Light" panose="00000400000000000000" pitchFamily="2" charset="0"/>
                <a:cs typeface="Arial"/>
                <a:sym typeface="Arial"/>
              </a:rPr>
              <a:t>No. at risk:</a:t>
            </a:r>
            <a:endParaRPr kumimoji="0" sz="900" b="1" i="0" u="none" strike="noStrike" kern="0" cap="none" spc="0" normalizeH="0" baseline="0" noProof="0" dirty="0">
              <a:ln>
                <a:noFill/>
              </a:ln>
              <a:solidFill>
                <a:srgbClr val="004677"/>
              </a:solidFill>
              <a:effectLst/>
              <a:uLnTx/>
              <a:uFillTx/>
              <a:latin typeface="Gene Sans Light" panose="00000400000000000000" pitchFamily="2" charset="0"/>
              <a:cs typeface="Arial"/>
              <a:sym typeface="Arial"/>
            </a:endParaRPr>
          </a:p>
        </p:txBody>
      </p:sp>
      <p:graphicFrame>
        <p:nvGraphicFramePr>
          <p:cNvPr id="665" name="Shape1_20200925_154825">
            <a:extLst>
              <a:ext uri="{FF2B5EF4-FFF2-40B4-BE49-F238E27FC236}">
                <a16:creationId xmlns:a16="http://schemas.microsoft.com/office/drawing/2014/main" id="{10232412-8C42-46F3-974C-A5227BA30CA2}"/>
              </a:ext>
            </a:extLst>
          </p:cNvPr>
          <p:cNvGraphicFramePr/>
          <p:nvPr/>
        </p:nvGraphicFramePr>
        <p:xfrm>
          <a:off x="5079680" y="1501013"/>
          <a:ext cx="3584414" cy="2338856"/>
        </p:xfrm>
        <a:graphic>
          <a:graphicData uri="http://schemas.openxmlformats.org/drawingml/2006/chart">
            <c:chart xmlns:c="http://schemas.openxmlformats.org/drawingml/2006/chart" xmlns:r="http://schemas.openxmlformats.org/officeDocument/2006/relationships" r:id="rId4"/>
          </a:graphicData>
        </a:graphic>
      </p:graphicFrame>
      <p:sp>
        <p:nvSpPr>
          <p:cNvPr id="679" name="Google Shape;2904;p21">
            <a:extLst>
              <a:ext uri="{FF2B5EF4-FFF2-40B4-BE49-F238E27FC236}">
                <a16:creationId xmlns:a16="http://schemas.microsoft.com/office/drawing/2014/main" id="{CDBED75B-73A3-47AA-A439-06B063D584A6}"/>
              </a:ext>
            </a:extLst>
          </p:cNvPr>
          <p:cNvSpPr txBox="1"/>
          <p:nvPr/>
        </p:nvSpPr>
        <p:spPr>
          <a:xfrm>
            <a:off x="8297850" y="2934360"/>
            <a:ext cx="448565" cy="120546"/>
          </a:xfrm>
          <a:prstGeom prst="rect">
            <a:avLst/>
          </a:prstGeom>
          <a:noFill/>
          <a:ln>
            <a:noFill/>
          </a:ln>
        </p:spPr>
        <p:txBody>
          <a:bodyPr spcFirstLastPara="1" wrap="square" lIns="0" tIns="12700" rIns="0" bIns="0" anchor="t" anchorCtr="0">
            <a:spAutoFit/>
          </a:bodyPr>
          <a:lstStyle/>
          <a:p>
            <a:pPr marL="127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1"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P </a:t>
            </a:r>
            <a:r>
              <a:rPr kumimoji="0" lang="en-US" sz="7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lt; .001</a:t>
            </a:r>
            <a:endParaRPr kumimoji="0" sz="800" b="0" i="0" u="none" strike="noStrike" kern="0" cap="none" spc="0" normalizeH="0" baseline="0" noProof="0" dirty="0">
              <a:ln>
                <a:noFill/>
              </a:ln>
              <a:solidFill>
                <a:srgbClr val="000000"/>
              </a:solidFill>
              <a:effectLst/>
              <a:uLnTx/>
              <a:uFillTx/>
              <a:latin typeface="Gene Sans Light" panose="00000400000000000000" pitchFamily="2" charset="0"/>
              <a:cs typeface="Arial"/>
              <a:sym typeface="Arial"/>
            </a:endParaRPr>
          </a:p>
        </p:txBody>
      </p:sp>
      <p:grpSp>
        <p:nvGrpSpPr>
          <p:cNvPr id="848" name="Group 847">
            <a:extLst>
              <a:ext uri="{FF2B5EF4-FFF2-40B4-BE49-F238E27FC236}">
                <a16:creationId xmlns:a16="http://schemas.microsoft.com/office/drawing/2014/main" id="{0D50FCF3-49A8-49B7-83C3-E6F00C990340}"/>
              </a:ext>
            </a:extLst>
          </p:cNvPr>
          <p:cNvGrpSpPr/>
          <p:nvPr/>
        </p:nvGrpSpPr>
        <p:grpSpPr>
          <a:xfrm>
            <a:off x="5692844" y="1663078"/>
            <a:ext cx="3054229" cy="1524560"/>
            <a:chOff x="9370267" y="1028299"/>
            <a:chExt cx="5015160" cy="2719113"/>
          </a:xfrm>
        </p:grpSpPr>
        <p:grpSp>
          <p:nvGrpSpPr>
            <p:cNvPr id="849" name="Group 848">
              <a:extLst>
                <a:ext uri="{FF2B5EF4-FFF2-40B4-BE49-F238E27FC236}">
                  <a16:creationId xmlns:a16="http://schemas.microsoft.com/office/drawing/2014/main" id="{964BA4A0-CFF9-4AD7-AC49-CEE2E01BBB3D}"/>
                </a:ext>
              </a:extLst>
            </p:cNvPr>
            <p:cNvGrpSpPr/>
            <p:nvPr/>
          </p:nvGrpSpPr>
          <p:grpSpPr>
            <a:xfrm>
              <a:off x="9370267" y="1028299"/>
              <a:ext cx="5015160" cy="2719113"/>
              <a:chOff x="9370267" y="1028299"/>
              <a:chExt cx="5015160" cy="2719113"/>
            </a:xfrm>
          </p:grpSpPr>
          <p:sp>
            <p:nvSpPr>
              <p:cNvPr id="901" name="Google Shape;3012;p22">
                <a:extLst>
                  <a:ext uri="{FF2B5EF4-FFF2-40B4-BE49-F238E27FC236}">
                    <a16:creationId xmlns:a16="http://schemas.microsoft.com/office/drawing/2014/main" id="{3DB75B67-65C5-4D8D-9174-29EFDCEEA897}"/>
                  </a:ext>
                </a:extLst>
              </p:cNvPr>
              <p:cNvSpPr/>
              <p:nvPr/>
            </p:nvSpPr>
            <p:spPr>
              <a:xfrm>
                <a:off x="9371515" y="1066758"/>
                <a:ext cx="2144821" cy="2680654"/>
              </a:xfrm>
              <a:custGeom>
                <a:avLst/>
                <a:gdLst/>
                <a:ahLst/>
                <a:cxnLst/>
                <a:rect l="l" t="t" r="r" b="b"/>
                <a:pathLst>
                  <a:path w="981075" h="1307465" extrusionOk="0">
                    <a:moveTo>
                      <a:pt x="0" y="0"/>
                    </a:moveTo>
                    <a:lnTo>
                      <a:pt x="11569" y="0"/>
                    </a:lnTo>
                    <a:lnTo>
                      <a:pt x="11569" y="54241"/>
                    </a:lnTo>
                    <a:lnTo>
                      <a:pt x="14452" y="54241"/>
                    </a:lnTo>
                    <a:lnTo>
                      <a:pt x="14452" y="108470"/>
                    </a:lnTo>
                    <a:lnTo>
                      <a:pt x="26733" y="108470"/>
                    </a:lnTo>
                    <a:lnTo>
                      <a:pt x="26733" y="136677"/>
                    </a:lnTo>
                    <a:lnTo>
                      <a:pt x="29641" y="136677"/>
                    </a:lnTo>
                    <a:lnTo>
                      <a:pt x="29641" y="164109"/>
                    </a:lnTo>
                    <a:lnTo>
                      <a:pt x="35420" y="164109"/>
                    </a:lnTo>
                    <a:lnTo>
                      <a:pt x="35420" y="192303"/>
                    </a:lnTo>
                    <a:lnTo>
                      <a:pt x="38303" y="192303"/>
                    </a:lnTo>
                    <a:lnTo>
                      <a:pt x="38303" y="219798"/>
                    </a:lnTo>
                    <a:lnTo>
                      <a:pt x="59283" y="219798"/>
                    </a:lnTo>
                    <a:lnTo>
                      <a:pt x="59283" y="247967"/>
                    </a:lnTo>
                    <a:lnTo>
                      <a:pt x="67945" y="247967"/>
                    </a:lnTo>
                    <a:lnTo>
                      <a:pt x="67945" y="275424"/>
                    </a:lnTo>
                    <a:lnTo>
                      <a:pt x="70840" y="275424"/>
                    </a:lnTo>
                    <a:lnTo>
                      <a:pt x="70840" y="331063"/>
                    </a:lnTo>
                    <a:lnTo>
                      <a:pt x="73736" y="331063"/>
                    </a:lnTo>
                    <a:lnTo>
                      <a:pt x="73736" y="358571"/>
                    </a:lnTo>
                    <a:lnTo>
                      <a:pt x="76619" y="358571"/>
                    </a:lnTo>
                    <a:lnTo>
                      <a:pt x="76619" y="414210"/>
                    </a:lnTo>
                    <a:lnTo>
                      <a:pt x="80225" y="414210"/>
                    </a:lnTo>
                    <a:lnTo>
                      <a:pt x="80225" y="469874"/>
                    </a:lnTo>
                    <a:lnTo>
                      <a:pt x="88912" y="469874"/>
                    </a:lnTo>
                    <a:lnTo>
                      <a:pt x="88912" y="497357"/>
                    </a:lnTo>
                    <a:lnTo>
                      <a:pt x="94691" y="497357"/>
                    </a:lnTo>
                    <a:lnTo>
                      <a:pt x="94691" y="525513"/>
                    </a:lnTo>
                    <a:lnTo>
                      <a:pt x="109867" y="525513"/>
                    </a:lnTo>
                    <a:lnTo>
                      <a:pt x="109867" y="553732"/>
                    </a:lnTo>
                    <a:lnTo>
                      <a:pt x="118541" y="553732"/>
                    </a:lnTo>
                    <a:lnTo>
                      <a:pt x="118541" y="582637"/>
                    </a:lnTo>
                    <a:lnTo>
                      <a:pt x="127228" y="582637"/>
                    </a:lnTo>
                    <a:lnTo>
                      <a:pt x="127228" y="611555"/>
                    </a:lnTo>
                    <a:lnTo>
                      <a:pt x="130835" y="611555"/>
                    </a:lnTo>
                    <a:lnTo>
                      <a:pt x="130835" y="668655"/>
                    </a:lnTo>
                    <a:lnTo>
                      <a:pt x="145288" y="668655"/>
                    </a:lnTo>
                    <a:lnTo>
                      <a:pt x="145288" y="696836"/>
                    </a:lnTo>
                    <a:lnTo>
                      <a:pt x="160464" y="696836"/>
                    </a:lnTo>
                    <a:lnTo>
                      <a:pt x="160464" y="725779"/>
                    </a:lnTo>
                    <a:lnTo>
                      <a:pt x="181432" y="725779"/>
                    </a:lnTo>
                    <a:lnTo>
                      <a:pt x="181432" y="754684"/>
                    </a:lnTo>
                    <a:lnTo>
                      <a:pt x="190119" y="754684"/>
                    </a:lnTo>
                    <a:lnTo>
                      <a:pt x="190119" y="782878"/>
                    </a:lnTo>
                    <a:lnTo>
                      <a:pt x="192989" y="782878"/>
                    </a:lnTo>
                    <a:lnTo>
                      <a:pt x="192989" y="811784"/>
                    </a:lnTo>
                    <a:lnTo>
                      <a:pt x="195897" y="811784"/>
                    </a:lnTo>
                    <a:lnTo>
                      <a:pt x="195897" y="840701"/>
                    </a:lnTo>
                    <a:lnTo>
                      <a:pt x="204558" y="840701"/>
                    </a:lnTo>
                    <a:lnTo>
                      <a:pt x="204558" y="897826"/>
                    </a:lnTo>
                    <a:lnTo>
                      <a:pt x="208178" y="897826"/>
                    </a:lnTo>
                    <a:lnTo>
                      <a:pt x="208178" y="926007"/>
                    </a:lnTo>
                    <a:lnTo>
                      <a:pt x="211074" y="926007"/>
                    </a:lnTo>
                    <a:lnTo>
                      <a:pt x="211074" y="954900"/>
                    </a:lnTo>
                    <a:lnTo>
                      <a:pt x="213956" y="954900"/>
                    </a:lnTo>
                    <a:lnTo>
                      <a:pt x="213956" y="983830"/>
                    </a:lnTo>
                    <a:lnTo>
                      <a:pt x="234924" y="983830"/>
                    </a:lnTo>
                    <a:lnTo>
                      <a:pt x="234924" y="1011999"/>
                    </a:lnTo>
                    <a:lnTo>
                      <a:pt x="240703" y="1011999"/>
                    </a:lnTo>
                    <a:lnTo>
                      <a:pt x="240703" y="1040930"/>
                    </a:lnTo>
                    <a:lnTo>
                      <a:pt x="281914" y="1040930"/>
                    </a:lnTo>
                    <a:lnTo>
                      <a:pt x="281914" y="1069149"/>
                    </a:lnTo>
                    <a:lnTo>
                      <a:pt x="315150" y="1069149"/>
                    </a:lnTo>
                    <a:lnTo>
                      <a:pt x="315150" y="1098054"/>
                    </a:lnTo>
                    <a:lnTo>
                      <a:pt x="320929" y="1098054"/>
                    </a:lnTo>
                    <a:lnTo>
                      <a:pt x="320929" y="1126921"/>
                    </a:lnTo>
                    <a:lnTo>
                      <a:pt x="448881" y="1126921"/>
                    </a:lnTo>
                    <a:lnTo>
                      <a:pt x="448881" y="1171765"/>
                    </a:lnTo>
                    <a:lnTo>
                      <a:pt x="475627" y="1171765"/>
                    </a:lnTo>
                    <a:lnTo>
                      <a:pt x="475627" y="1216583"/>
                    </a:lnTo>
                    <a:lnTo>
                      <a:pt x="573938" y="1216583"/>
                    </a:lnTo>
                    <a:lnTo>
                      <a:pt x="573938" y="1261389"/>
                    </a:lnTo>
                    <a:lnTo>
                      <a:pt x="627443" y="1261389"/>
                    </a:lnTo>
                    <a:lnTo>
                      <a:pt x="627443" y="1306918"/>
                    </a:lnTo>
                    <a:lnTo>
                      <a:pt x="980897" y="1306918"/>
                    </a:lnTo>
                  </a:path>
                </a:pathLst>
              </a:custGeom>
              <a:noFill/>
              <a:ln w="19050" cap="flat" cmpd="sng">
                <a:solidFill>
                  <a:schemeClr val="dk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nvGrpSpPr>
              <p:cNvPr id="902" name="Group 901">
                <a:extLst>
                  <a:ext uri="{FF2B5EF4-FFF2-40B4-BE49-F238E27FC236}">
                    <a16:creationId xmlns:a16="http://schemas.microsoft.com/office/drawing/2014/main" id="{E67C340E-A119-4BCF-B877-2459E1A16713}"/>
                  </a:ext>
                </a:extLst>
              </p:cNvPr>
              <p:cNvGrpSpPr/>
              <p:nvPr/>
            </p:nvGrpSpPr>
            <p:grpSpPr>
              <a:xfrm>
                <a:off x="9370267" y="1028299"/>
                <a:ext cx="5015160" cy="2608450"/>
                <a:chOff x="9370267" y="1028299"/>
                <a:chExt cx="5015160" cy="2608450"/>
              </a:xfrm>
            </p:grpSpPr>
            <p:sp>
              <p:nvSpPr>
                <p:cNvPr id="903" name="Google Shape;2953;p22">
                  <a:extLst>
                    <a:ext uri="{FF2B5EF4-FFF2-40B4-BE49-F238E27FC236}">
                      <a16:creationId xmlns:a16="http://schemas.microsoft.com/office/drawing/2014/main" id="{D2631A83-0C5A-4B66-8C0F-97190F022093}"/>
                    </a:ext>
                  </a:extLst>
                </p:cNvPr>
                <p:cNvSpPr/>
                <p:nvPr/>
              </p:nvSpPr>
              <p:spPr>
                <a:xfrm>
                  <a:off x="9371515" y="1066758"/>
                  <a:ext cx="4994866" cy="2569991"/>
                </a:xfrm>
                <a:custGeom>
                  <a:avLst/>
                  <a:gdLst/>
                  <a:ahLst/>
                  <a:cxnLst/>
                  <a:rect l="l" t="t" r="r" b="b"/>
                  <a:pathLst>
                    <a:path w="2284729" h="1253490" extrusionOk="0">
                      <a:moveTo>
                        <a:pt x="0" y="0"/>
                      </a:moveTo>
                      <a:lnTo>
                        <a:pt x="5791" y="0"/>
                      </a:lnTo>
                      <a:lnTo>
                        <a:pt x="5791" y="7264"/>
                      </a:lnTo>
                      <a:lnTo>
                        <a:pt x="8674" y="7264"/>
                      </a:lnTo>
                      <a:lnTo>
                        <a:pt x="8674" y="10858"/>
                      </a:lnTo>
                      <a:lnTo>
                        <a:pt x="17348" y="10858"/>
                      </a:lnTo>
                      <a:lnTo>
                        <a:pt x="17348" y="18110"/>
                      </a:lnTo>
                      <a:lnTo>
                        <a:pt x="20243" y="18110"/>
                      </a:lnTo>
                      <a:lnTo>
                        <a:pt x="20243" y="32562"/>
                      </a:lnTo>
                      <a:lnTo>
                        <a:pt x="23126" y="32562"/>
                      </a:lnTo>
                      <a:lnTo>
                        <a:pt x="23126" y="36182"/>
                      </a:lnTo>
                      <a:lnTo>
                        <a:pt x="26733" y="36182"/>
                      </a:lnTo>
                      <a:lnTo>
                        <a:pt x="26733" y="60744"/>
                      </a:lnTo>
                      <a:lnTo>
                        <a:pt x="29641" y="60744"/>
                      </a:lnTo>
                      <a:lnTo>
                        <a:pt x="29641" y="64363"/>
                      </a:lnTo>
                      <a:lnTo>
                        <a:pt x="32524" y="64363"/>
                      </a:lnTo>
                      <a:lnTo>
                        <a:pt x="32524" y="67983"/>
                      </a:lnTo>
                      <a:lnTo>
                        <a:pt x="35420" y="67983"/>
                      </a:lnTo>
                      <a:lnTo>
                        <a:pt x="35420" y="78828"/>
                      </a:lnTo>
                      <a:lnTo>
                        <a:pt x="38303" y="78828"/>
                      </a:lnTo>
                      <a:lnTo>
                        <a:pt x="38303" y="86067"/>
                      </a:lnTo>
                      <a:lnTo>
                        <a:pt x="41198" y="86067"/>
                      </a:lnTo>
                      <a:lnTo>
                        <a:pt x="41198" y="89662"/>
                      </a:lnTo>
                      <a:lnTo>
                        <a:pt x="44094" y="89662"/>
                      </a:lnTo>
                      <a:lnTo>
                        <a:pt x="44094" y="100507"/>
                      </a:lnTo>
                      <a:lnTo>
                        <a:pt x="46977" y="100507"/>
                      </a:lnTo>
                      <a:lnTo>
                        <a:pt x="46977" y="107721"/>
                      </a:lnTo>
                      <a:lnTo>
                        <a:pt x="49872" y="107721"/>
                      </a:lnTo>
                      <a:lnTo>
                        <a:pt x="49872" y="122186"/>
                      </a:lnTo>
                      <a:lnTo>
                        <a:pt x="53479" y="122186"/>
                      </a:lnTo>
                      <a:lnTo>
                        <a:pt x="53479" y="125806"/>
                      </a:lnTo>
                      <a:lnTo>
                        <a:pt x="56375" y="125806"/>
                      </a:lnTo>
                      <a:lnTo>
                        <a:pt x="56375" y="133045"/>
                      </a:lnTo>
                      <a:lnTo>
                        <a:pt x="59283" y="133045"/>
                      </a:lnTo>
                      <a:lnTo>
                        <a:pt x="59283" y="140271"/>
                      </a:lnTo>
                      <a:lnTo>
                        <a:pt x="62153" y="140271"/>
                      </a:lnTo>
                      <a:lnTo>
                        <a:pt x="62153" y="147485"/>
                      </a:lnTo>
                      <a:lnTo>
                        <a:pt x="65049" y="147485"/>
                      </a:lnTo>
                      <a:lnTo>
                        <a:pt x="65049" y="158330"/>
                      </a:lnTo>
                      <a:lnTo>
                        <a:pt x="70840" y="158330"/>
                      </a:lnTo>
                      <a:lnTo>
                        <a:pt x="70840" y="172783"/>
                      </a:lnTo>
                      <a:lnTo>
                        <a:pt x="73736" y="172783"/>
                      </a:lnTo>
                      <a:lnTo>
                        <a:pt x="73736" y="180009"/>
                      </a:lnTo>
                      <a:lnTo>
                        <a:pt x="76619" y="180009"/>
                      </a:lnTo>
                      <a:lnTo>
                        <a:pt x="76619" y="190842"/>
                      </a:lnTo>
                      <a:lnTo>
                        <a:pt x="80225" y="190842"/>
                      </a:lnTo>
                      <a:lnTo>
                        <a:pt x="80225" y="198094"/>
                      </a:lnTo>
                      <a:lnTo>
                        <a:pt x="83134" y="198094"/>
                      </a:lnTo>
                      <a:lnTo>
                        <a:pt x="83134" y="212521"/>
                      </a:lnTo>
                      <a:lnTo>
                        <a:pt x="86017" y="212521"/>
                      </a:lnTo>
                      <a:lnTo>
                        <a:pt x="86017" y="216192"/>
                      </a:lnTo>
                      <a:lnTo>
                        <a:pt x="88912" y="216192"/>
                      </a:lnTo>
                      <a:lnTo>
                        <a:pt x="88912" y="230606"/>
                      </a:lnTo>
                      <a:lnTo>
                        <a:pt x="91795" y="230606"/>
                      </a:lnTo>
                      <a:lnTo>
                        <a:pt x="91795" y="241477"/>
                      </a:lnTo>
                      <a:lnTo>
                        <a:pt x="94691" y="241477"/>
                      </a:lnTo>
                      <a:lnTo>
                        <a:pt x="94691" y="255904"/>
                      </a:lnTo>
                      <a:lnTo>
                        <a:pt x="97586" y="255904"/>
                      </a:lnTo>
                      <a:lnTo>
                        <a:pt x="97586" y="266776"/>
                      </a:lnTo>
                      <a:lnTo>
                        <a:pt x="100469" y="266776"/>
                      </a:lnTo>
                      <a:lnTo>
                        <a:pt x="100469" y="270370"/>
                      </a:lnTo>
                      <a:lnTo>
                        <a:pt x="104089" y="270370"/>
                      </a:lnTo>
                      <a:lnTo>
                        <a:pt x="104089" y="281228"/>
                      </a:lnTo>
                      <a:lnTo>
                        <a:pt x="106984" y="281228"/>
                      </a:lnTo>
                      <a:lnTo>
                        <a:pt x="106984" y="292049"/>
                      </a:lnTo>
                      <a:lnTo>
                        <a:pt x="109867" y="292049"/>
                      </a:lnTo>
                      <a:lnTo>
                        <a:pt x="109867" y="302907"/>
                      </a:lnTo>
                      <a:lnTo>
                        <a:pt x="115658" y="302907"/>
                      </a:lnTo>
                      <a:lnTo>
                        <a:pt x="115658" y="310134"/>
                      </a:lnTo>
                      <a:lnTo>
                        <a:pt x="118541" y="310134"/>
                      </a:lnTo>
                      <a:lnTo>
                        <a:pt x="118541" y="313753"/>
                      </a:lnTo>
                      <a:lnTo>
                        <a:pt x="121437" y="313753"/>
                      </a:lnTo>
                      <a:lnTo>
                        <a:pt x="121437" y="335432"/>
                      </a:lnTo>
                      <a:lnTo>
                        <a:pt x="124320" y="335432"/>
                      </a:lnTo>
                      <a:lnTo>
                        <a:pt x="124320" y="339051"/>
                      </a:lnTo>
                      <a:lnTo>
                        <a:pt x="127228" y="339051"/>
                      </a:lnTo>
                      <a:lnTo>
                        <a:pt x="127228" y="361454"/>
                      </a:lnTo>
                      <a:lnTo>
                        <a:pt x="130835" y="361454"/>
                      </a:lnTo>
                      <a:lnTo>
                        <a:pt x="130835" y="368668"/>
                      </a:lnTo>
                      <a:lnTo>
                        <a:pt x="133731" y="368668"/>
                      </a:lnTo>
                      <a:lnTo>
                        <a:pt x="133731" y="375932"/>
                      </a:lnTo>
                      <a:lnTo>
                        <a:pt x="136613" y="375932"/>
                      </a:lnTo>
                      <a:lnTo>
                        <a:pt x="136613" y="383133"/>
                      </a:lnTo>
                      <a:lnTo>
                        <a:pt x="139509" y="383133"/>
                      </a:lnTo>
                      <a:lnTo>
                        <a:pt x="139509" y="386753"/>
                      </a:lnTo>
                      <a:lnTo>
                        <a:pt x="145288" y="386753"/>
                      </a:lnTo>
                      <a:lnTo>
                        <a:pt x="145288" y="393966"/>
                      </a:lnTo>
                      <a:lnTo>
                        <a:pt x="148183" y="393966"/>
                      </a:lnTo>
                      <a:lnTo>
                        <a:pt x="148183" y="405549"/>
                      </a:lnTo>
                      <a:lnTo>
                        <a:pt x="151066" y="405549"/>
                      </a:lnTo>
                      <a:lnTo>
                        <a:pt x="151066" y="416369"/>
                      </a:lnTo>
                      <a:lnTo>
                        <a:pt x="157581" y="416369"/>
                      </a:lnTo>
                      <a:lnTo>
                        <a:pt x="157581" y="419989"/>
                      </a:lnTo>
                      <a:lnTo>
                        <a:pt x="160464" y="419989"/>
                      </a:lnTo>
                      <a:lnTo>
                        <a:pt x="160464" y="427240"/>
                      </a:lnTo>
                      <a:lnTo>
                        <a:pt x="163360" y="427240"/>
                      </a:lnTo>
                      <a:lnTo>
                        <a:pt x="163360" y="438073"/>
                      </a:lnTo>
                      <a:lnTo>
                        <a:pt x="166243" y="438073"/>
                      </a:lnTo>
                      <a:lnTo>
                        <a:pt x="166243" y="453250"/>
                      </a:lnTo>
                      <a:lnTo>
                        <a:pt x="169138" y="453250"/>
                      </a:lnTo>
                      <a:lnTo>
                        <a:pt x="169138" y="456857"/>
                      </a:lnTo>
                      <a:lnTo>
                        <a:pt x="172034" y="456857"/>
                      </a:lnTo>
                      <a:lnTo>
                        <a:pt x="172034" y="467741"/>
                      </a:lnTo>
                      <a:lnTo>
                        <a:pt x="174917" y="467741"/>
                      </a:lnTo>
                      <a:lnTo>
                        <a:pt x="174917" y="471360"/>
                      </a:lnTo>
                      <a:lnTo>
                        <a:pt x="177825" y="471360"/>
                      </a:lnTo>
                      <a:lnTo>
                        <a:pt x="177825" y="478561"/>
                      </a:lnTo>
                      <a:lnTo>
                        <a:pt x="181432" y="478561"/>
                      </a:lnTo>
                      <a:lnTo>
                        <a:pt x="181432" y="489369"/>
                      </a:lnTo>
                      <a:lnTo>
                        <a:pt x="184327" y="489369"/>
                      </a:lnTo>
                      <a:lnTo>
                        <a:pt x="184327" y="493737"/>
                      </a:lnTo>
                      <a:lnTo>
                        <a:pt x="187210" y="493737"/>
                      </a:lnTo>
                      <a:lnTo>
                        <a:pt x="187210" y="500976"/>
                      </a:lnTo>
                      <a:lnTo>
                        <a:pt x="190119" y="500976"/>
                      </a:lnTo>
                      <a:lnTo>
                        <a:pt x="190119" y="508203"/>
                      </a:lnTo>
                      <a:lnTo>
                        <a:pt x="192989" y="508203"/>
                      </a:lnTo>
                      <a:lnTo>
                        <a:pt x="192989" y="515416"/>
                      </a:lnTo>
                      <a:lnTo>
                        <a:pt x="198767" y="515416"/>
                      </a:lnTo>
                      <a:lnTo>
                        <a:pt x="198767" y="522681"/>
                      </a:lnTo>
                      <a:lnTo>
                        <a:pt x="201676" y="522681"/>
                      </a:lnTo>
                      <a:lnTo>
                        <a:pt x="201676" y="530593"/>
                      </a:lnTo>
                      <a:lnTo>
                        <a:pt x="208178" y="530593"/>
                      </a:lnTo>
                      <a:lnTo>
                        <a:pt x="208178" y="534212"/>
                      </a:lnTo>
                      <a:lnTo>
                        <a:pt x="213956" y="534212"/>
                      </a:lnTo>
                      <a:lnTo>
                        <a:pt x="213956" y="545058"/>
                      </a:lnTo>
                      <a:lnTo>
                        <a:pt x="216865" y="545058"/>
                      </a:lnTo>
                      <a:lnTo>
                        <a:pt x="216865" y="553021"/>
                      </a:lnTo>
                      <a:lnTo>
                        <a:pt x="219748" y="553021"/>
                      </a:lnTo>
                      <a:lnTo>
                        <a:pt x="219748" y="556615"/>
                      </a:lnTo>
                      <a:lnTo>
                        <a:pt x="222631" y="556615"/>
                      </a:lnTo>
                      <a:lnTo>
                        <a:pt x="222631" y="563829"/>
                      </a:lnTo>
                      <a:lnTo>
                        <a:pt x="225526" y="563829"/>
                      </a:lnTo>
                      <a:lnTo>
                        <a:pt x="225526" y="567474"/>
                      </a:lnTo>
                      <a:lnTo>
                        <a:pt x="228422" y="567474"/>
                      </a:lnTo>
                      <a:lnTo>
                        <a:pt x="228422" y="571106"/>
                      </a:lnTo>
                      <a:lnTo>
                        <a:pt x="234924" y="571106"/>
                      </a:lnTo>
                      <a:lnTo>
                        <a:pt x="234924" y="574700"/>
                      </a:lnTo>
                      <a:lnTo>
                        <a:pt x="240703" y="574700"/>
                      </a:lnTo>
                      <a:lnTo>
                        <a:pt x="240703" y="582637"/>
                      </a:lnTo>
                      <a:lnTo>
                        <a:pt x="243611" y="582637"/>
                      </a:lnTo>
                      <a:lnTo>
                        <a:pt x="243611" y="586257"/>
                      </a:lnTo>
                      <a:lnTo>
                        <a:pt x="252260" y="586257"/>
                      </a:lnTo>
                      <a:lnTo>
                        <a:pt x="252260" y="593496"/>
                      </a:lnTo>
                      <a:lnTo>
                        <a:pt x="255168" y="593496"/>
                      </a:lnTo>
                      <a:lnTo>
                        <a:pt x="255168" y="600722"/>
                      </a:lnTo>
                      <a:lnTo>
                        <a:pt x="258775" y="600722"/>
                      </a:lnTo>
                      <a:lnTo>
                        <a:pt x="258775" y="605040"/>
                      </a:lnTo>
                      <a:lnTo>
                        <a:pt x="261658" y="605040"/>
                      </a:lnTo>
                      <a:lnTo>
                        <a:pt x="261658" y="608685"/>
                      </a:lnTo>
                      <a:lnTo>
                        <a:pt x="264553" y="608685"/>
                      </a:lnTo>
                      <a:lnTo>
                        <a:pt x="264553" y="612279"/>
                      </a:lnTo>
                      <a:lnTo>
                        <a:pt x="270332" y="612279"/>
                      </a:lnTo>
                      <a:lnTo>
                        <a:pt x="270332" y="619518"/>
                      </a:lnTo>
                      <a:lnTo>
                        <a:pt x="273227" y="619518"/>
                      </a:lnTo>
                      <a:lnTo>
                        <a:pt x="273227" y="623138"/>
                      </a:lnTo>
                      <a:lnTo>
                        <a:pt x="276123" y="623138"/>
                      </a:lnTo>
                      <a:lnTo>
                        <a:pt x="276123" y="631075"/>
                      </a:lnTo>
                      <a:lnTo>
                        <a:pt x="279019" y="631075"/>
                      </a:lnTo>
                      <a:lnTo>
                        <a:pt x="279019" y="641921"/>
                      </a:lnTo>
                      <a:lnTo>
                        <a:pt x="281914" y="641921"/>
                      </a:lnTo>
                      <a:lnTo>
                        <a:pt x="281914" y="649160"/>
                      </a:lnTo>
                      <a:lnTo>
                        <a:pt x="288417" y="649160"/>
                      </a:lnTo>
                      <a:lnTo>
                        <a:pt x="288417" y="660692"/>
                      </a:lnTo>
                      <a:lnTo>
                        <a:pt x="291299" y="660692"/>
                      </a:lnTo>
                      <a:lnTo>
                        <a:pt x="291299" y="664311"/>
                      </a:lnTo>
                      <a:lnTo>
                        <a:pt x="294195" y="664311"/>
                      </a:lnTo>
                      <a:lnTo>
                        <a:pt x="294195" y="672249"/>
                      </a:lnTo>
                      <a:lnTo>
                        <a:pt x="297078" y="675881"/>
                      </a:lnTo>
                      <a:lnTo>
                        <a:pt x="299986" y="675881"/>
                      </a:lnTo>
                      <a:lnTo>
                        <a:pt x="299986" y="679500"/>
                      </a:lnTo>
                      <a:lnTo>
                        <a:pt x="308648" y="679500"/>
                      </a:lnTo>
                      <a:lnTo>
                        <a:pt x="308648" y="683145"/>
                      </a:lnTo>
                      <a:lnTo>
                        <a:pt x="326720" y="683145"/>
                      </a:lnTo>
                      <a:lnTo>
                        <a:pt x="326720" y="687463"/>
                      </a:lnTo>
                      <a:lnTo>
                        <a:pt x="329603" y="687463"/>
                      </a:lnTo>
                      <a:lnTo>
                        <a:pt x="329603" y="691083"/>
                      </a:lnTo>
                      <a:lnTo>
                        <a:pt x="339013" y="691083"/>
                      </a:lnTo>
                      <a:lnTo>
                        <a:pt x="339013" y="695426"/>
                      </a:lnTo>
                      <a:lnTo>
                        <a:pt x="341896" y="695426"/>
                      </a:lnTo>
                      <a:lnTo>
                        <a:pt x="341896" y="699046"/>
                      </a:lnTo>
                      <a:lnTo>
                        <a:pt x="344792" y="699046"/>
                      </a:lnTo>
                      <a:lnTo>
                        <a:pt x="344792" y="711327"/>
                      </a:lnTo>
                      <a:lnTo>
                        <a:pt x="347687" y="711327"/>
                      </a:lnTo>
                      <a:lnTo>
                        <a:pt x="347687" y="714946"/>
                      </a:lnTo>
                      <a:lnTo>
                        <a:pt x="356362" y="714946"/>
                      </a:lnTo>
                      <a:lnTo>
                        <a:pt x="356362" y="719264"/>
                      </a:lnTo>
                      <a:lnTo>
                        <a:pt x="359244" y="719264"/>
                      </a:lnTo>
                      <a:lnTo>
                        <a:pt x="359244" y="722884"/>
                      </a:lnTo>
                      <a:lnTo>
                        <a:pt x="365760" y="722884"/>
                      </a:lnTo>
                      <a:lnTo>
                        <a:pt x="365760" y="727227"/>
                      </a:lnTo>
                      <a:lnTo>
                        <a:pt x="377329" y="727227"/>
                      </a:lnTo>
                      <a:lnTo>
                        <a:pt x="377329" y="735164"/>
                      </a:lnTo>
                      <a:lnTo>
                        <a:pt x="383108" y="735164"/>
                      </a:lnTo>
                      <a:lnTo>
                        <a:pt x="383108" y="739495"/>
                      </a:lnTo>
                      <a:lnTo>
                        <a:pt x="386003" y="739495"/>
                      </a:lnTo>
                      <a:lnTo>
                        <a:pt x="386003" y="743839"/>
                      </a:lnTo>
                      <a:lnTo>
                        <a:pt x="392506" y="743839"/>
                      </a:lnTo>
                      <a:lnTo>
                        <a:pt x="392506" y="747433"/>
                      </a:lnTo>
                      <a:lnTo>
                        <a:pt x="395401" y="747433"/>
                      </a:lnTo>
                      <a:lnTo>
                        <a:pt x="395401" y="751776"/>
                      </a:lnTo>
                      <a:lnTo>
                        <a:pt x="398284" y="751776"/>
                      </a:lnTo>
                      <a:lnTo>
                        <a:pt x="398284" y="756145"/>
                      </a:lnTo>
                      <a:lnTo>
                        <a:pt x="401180" y="756145"/>
                      </a:lnTo>
                      <a:lnTo>
                        <a:pt x="401180" y="764806"/>
                      </a:lnTo>
                      <a:lnTo>
                        <a:pt x="406971" y="764806"/>
                      </a:lnTo>
                      <a:lnTo>
                        <a:pt x="406971" y="769137"/>
                      </a:lnTo>
                      <a:lnTo>
                        <a:pt x="409854" y="769137"/>
                      </a:lnTo>
                      <a:lnTo>
                        <a:pt x="409854" y="772744"/>
                      </a:lnTo>
                      <a:lnTo>
                        <a:pt x="412737" y="772744"/>
                      </a:lnTo>
                      <a:lnTo>
                        <a:pt x="412737" y="785761"/>
                      </a:lnTo>
                      <a:lnTo>
                        <a:pt x="416356" y="785761"/>
                      </a:lnTo>
                      <a:lnTo>
                        <a:pt x="416356" y="790105"/>
                      </a:lnTo>
                      <a:lnTo>
                        <a:pt x="443090" y="790105"/>
                      </a:lnTo>
                      <a:lnTo>
                        <a:pt x="443090" y="794423"/>
                      </a:lnTo>
                      <a:lnTo>
                        <a:pt x="448881" y="794423"/>
                      </a:lnTo>
                      <a:lnTo>
                        <a:pt x="448881" y="798779"/>
                      </a:lnTo>
                      <a:lnTo>
                        <a:pt x="451777" y="798779"/>
                      </a:lnTo>
                      <a:lnTo>
                        <a:pt x="451777" y="808164"/>
                      </a:lnTo>
                      <a:lnTo>
                        <a:pt x="463346" y="808164"/>
                      </a:lnTo>
                      <a:lnTo>
                        <a:pt x="463346" y="812520"/>
                      </a:lnTo>
                      <a:lnTo>
                        <a:pt x="469836" y="812520"/>
                      </a:lnTo>
                      <a:lnTo>
                        <a:pt x="469836" y="816838"/>
                      </a:lnTo>
                      <a:lnTo>
                        <a:pt x="475627" y="816838"/>
                      </a:lnTo>
                      <a:lnTo>
                        <a:pt x="475627" y="821905"/>
                      </a:lnTo>
                      <a:lnTo>
                        <a:pt x="502373" y="821905"/>
                      </a:lnTo>
                      <a:lnTo>
                        <a:pt x="502373" y="831303"/>
                      </a:lnTo>
                      <a:lnTo>
                        <a:pt x="505282" y="831303"/>
                      </a:lnTo>
                      <a:lnTo>
                        <a:pt x="505282" y="835647"/>
                      </a:lnTo>
                      <a:lnTo>
                        <a:pt x="511048" y="835647"/>
                      </a:lnTo>
                      <a:lnTo>
                        <a:pt x="511048" y="840701"/>
                      </a:lnTo>
                      <a:lnTo>
                        <a:pt x="532015" y="840701"/>
                      </a:lnTo>
                      <a:lnTo>
                        <a:pt x="532015" y="845743"/>
                      </a:lnTo>
                      <a:lnTo>
                        <a:pt x="534885" y="845743"/>
                      </a:lnTo>
                      <a:lnTo>
                        <a:pt x="534885" y="850823"/>
                      </a:lnTo>
                      <a:lnTo>
                        <a:pt x="540677" y="850823"/>
                      </a:lnTo>
                      <a:lnTo>
                        <a:pt x="540677" y="855878"/>
                      </a:lnTo>
                      <a:lnTo>
                        <a:pt x="552970" y="855878"/>
                      </a:lnTo>
                      <a:lnTo>
                        <a:pt x="552970" y="871042"/>
                      </a:lnTo>
                      <a:lnTo>
                        <a:pt x="555866" y="871042"/>
                      </a:lnTo>
                      <a:lnTo>
                        <a:pt x="555866" y="876122"/>
                      </a:lnTo>
                      <a:lnTo>
                        <a:pt x="571042" y="876122"/>
                      </a:lnTo>
                      <a:lnTo>
                        <a:pt x="571042" y="891311"/>
                      </a:lnTo>
                      <a:lnTo>
                        <a:pt x="576834" y="891311"/>
                      </a:lnTo>
                      <a:lnTo>
                        <a:pt x="576834" y="897089"/>
                      </a:lnTo>
                      <a:lnTo>
                        <a:pt x="582637" y="897089"/>
                      </a:lnTo>
                      <a:lnTo>
                        <a:pt x="582637" y="902169"/>
                      </a:lnTo>
                      <a:lnTo>
                        <a:pt x="603580" y="902169"/>
                      </a:lnTo>
                      <a:lnTo>
                        <a:pt x="603580" y="907199"/>
                      </a:lnTo>
                      <a:lnTo>
                        <a:pt x="612267" y="907199"/>
                      </a:lnTo>
                      <a:lnTo>
                        <a:pt x="612267" y="912990"/>
                      </a:lnTo>
                      <a:lnTo>
                        <a:pt x="621639" y="912990"/>
                      </a:lnTo>
                      <a:lnTo>
                        <a:pt x="621639" y="923848"/>
                      </a:lnTo>
                      <a:lnTo>
                        <a:pt x="627443" y="923848"/>
                      </a:lnTo>
                      <a:lnTo>
                        <a:pt x="627443" y="929627"/>
                      </a:lnTo>
                      <a:lnTo>
                        <a:pt x="630326" y="929627"/>
                      </a:lnTo>
                      <a:lnTo>
                        <a:pt x="630326" y="934669"/>
                      </a:lnTo>
                      <a:lnTo>
                        <a:pt x="633222" y="934669"/>
                      </a:lnTo>
                      <a:lnTo>
                        <a:pt x="633222" y="940473"/>
                      </a:lnTo>
                      <a:lnTo>
                        <a:pt x="644791" y="940473"/>
                      </a:lnTo>
                      <a:lnTo>
                        <a:pt x="644791" y="946251"/>
                      </a:lnTo>
                      <a:lnTo>
                        <a:pt x="651294" y="946251"/>
                      </a:lnTo>
                      <a:lnTo>
                        <a:pt x="651294" y="957834"/>
                      </a:lnTo>
                      <a:lnTo>
                        <a:pt x="657059" y="957834"/>
                      </a:lnTo>
                      <a:lnTo>
                        <a:pt x="657059" y="963587"/>
                      </a:lnTo>
                      <a:lnTo>
                        <a:pt x="675144" y="963587"/>
                      </a:lnTo>
                      <a:lnTo>
                        <a:pt x="675144" y="970114"/>
                      </a:lnTo>
                      <a:lnTo>
                        <a:pt x="683818" y="970114"/>
                      </a:lnTo>
                      <a:lnTo>
                        <a:pt x="683818" y="977328"/>
                      </a:lnTo>
                      <a:lnTo>
                        <a:pt x="686701" y="977328"/>
                      </a:lnTo>
                      <a:lnTo>
                        <a:pt x="686701" y="983830"/>
                      </a:lnTo>
                      <a:lnTo>
                        <a:pt x="695388" y="983830"/>
                      </a:lnTo>
                      <a:lnTo>
                        <a:pt x="695388" y="990346"/>
                      </a:lnTo>
                      <a:lnTo>
                        <a:pt x="716330" y="990346"/>
                      </a:lnTo>
                      <a:lnTo>
                        <a:pt x="716330" y="1004062"/>
                      </a:lnTo>
                      <a:lnTo>
                        <a:pt x="725716" y="1004062"/>
                      </a:lnTo>
                      <a:lnTo>
                        <a:pt x="725716" y="1011313"/>
                      </a:lnTo>
                      <a:lnTo>
                        <a:pt x="731507" y="1011313"/>
                      </a:lnTo>
                      <a:lnTo>
                        <a:pt x="731507" y="1017803"/>
                      </a:lnTo>
                      <a:lnTo>
                        <a:pt x="734428" y="1017803"/>
                      </a:lnTo>
                      <a:lnTo>
                        <a:pt x="734428" y="1025029"/>
                      </a:lnTo>
                      <a:lnTo>
                        <a:pt x="755370" y="1025029"/>
                      </a:lnTo>
                      <a:lnTo>
                        <a:pt x="755370" y="1032268"/>
                      </a:lnTo>
                      <a:lnTo>
                        <a:pt x="764032" y="1032268"/>
                      </a:lnTo>
                      <a:lnTo>
                        <a:pt x="764032" y="1040206"/>
                      </a:lnTo>
                      <a:lnTo>
                        <a:pt x="766940" y="1040206"/>
                      </a:lnTo>
                      <a:lnTo>
                        <a:pt x="766940" y="1047445"/>
                      </a:lnTo>
                      <a:lnTo>
                        <a:pt x="769810" y="1047445"/>
                      </a:lnTo>
                      <a:lnTo>
                        <a:pt x="769810" y="1055382"/>
                      </a:lnTo>
                      <a:lnTo>
                        <a:pt x="847153" y="1055382"/>
                      </a:lnTo>
                      <a:lnTo>
                        <a:pt x="847153" y="1065530"/>
                      </a:lnTo>
                      <a:lnTo>
                        <a:pt x="865251" y="1065530"/>
                      </a:lnTo>
                      <a:lnTo>
                        <a:pt x="865251" y="1075626"/>
                      </a:lnTo>
                      <a:lnTo>
                        <a:pt x="891984" y="1075626"/>
                      </a:lnTo>
                      <a:lnTo>
                        <a:pt x="891984" y="1085773"/>
                      </a:lnTo>
                      <a:lnTo>
                        <a:pt x="969327" y="1085773"/>
                      </a:lnTo>
                      <a:lnTo>
                        <a:pt x="969327" y="1095870"/>
                      </a:lnTo>
                      <a:lnTo>
                        <a:pt x="998956" y="1095870"/>
                      </a:lnTo>
                      <a:lnTo>
                        <a:pt x="998956" y="1106716"/>
                      </a:lnTo>
                      <a:lnTo>
                        <a:pt x="1017041" y="1106716"/>
                      </a:lnTo>
                      <a:lnTo>
                        <a:pt x="1017041" y="1117549"/>
                      </a:lnTo>
                      <a:lnTo>
                        <a:pt x="1097280" y="1117549"/>
                      </a:lnTo>
                      <a:lnTo>
                        <a:pt x="1097280" y="1129106"/>
                      </a:lnTo>
                      <a:lnTo>
                        <a:pt x="1189799" y="1129106"/>
                      </a:lnTo>
                      <a:lnTo>
                        <a:pt x="1189799" y="1142834"/>
                      </a:lnTo>
                      <a:lnTo>
                        <a:pt x="1320622" y="1142834"/>
                      </a:lnTo>
                      <a:lnTo>
                        <a:pt x="1320622" y="1159497"/>
                      </a:lnTo>
                      <a:lnTo>
                        <a:pt x="1555572" y="1159497"/>
                      </a:lnTo>
                      <a:lnTo>
                        <a:pt x="1555572" y="1190561"/>
                      </a:lnTo>
                      <a:lnTo>
                        <a:pt x="1692173" y="1190561"/>
                      </a:lnTo>
                      <a:lnTo>
                        <a:pt x="1692173" y="1253439"/>
                      </a:lnTo>
                      <a:lnTo>
                        <a:pt x="2284196" y="1253439"/>
                      </a:lnTo>
                    </a:path>
                  </a:pathLst>
                </a:custGeom>
                <a:noFill/>
                <a:ln w="1905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nvGrpSpPr>
                <p:cNvPr id="904" name="Group 903">
                  <a:extLst>
                    <a:ext uri="{FF2B5EF4-FFF2-40B4-BE49-F238E27FC236}">
                      <a16:creationId xmlns:a16="http://schemas.microsoft.com/office/drawing/2014/main" id="{2AD52B21-7FED-46FE-BB48-281BB102215F}"/>
                    </a:ext>
                  </a:extLst>
                </p:cNvPr>
                <p:cNvGrpSpPr/>
                <p:nvPr/>
              </p:nvGrpSpPr>
              <p:grpSpPr>
                <a:xfrm>
                  <a:off x="9370267" y="1028299"/>
                  <a:ext cx="5015160" cy="2608370"/>
                  <a:chOff x="9370267" y="1028299"/>
                  <a:chExt cx="5015160" cy="2608370"/>
                </a:xfrm>
                <a:solidFill>
                  <a:schemeClr val="tx2"/>
                </a:solidFill>
              </p:grpSpPr>
              <p:sp>
                <p:nvSpPr>
                  <p:cNvPr id="905" name="Google Shape;2954;p22">
                    <a:extLst>
                      <a:ext uri="{FF2B5EF4-FFF2-40B4-BE49-F238E27FC236}">
                        <a16:creationId xmlns:a16="http://schemas.microsoft.com/office/drawing/2014/main" id="{2C128AF8-6107-429F-B415-270B9B367E4A}"/>
                      </a:ext>
                    </a:extLst>
                  </p:cNvPr>
                  <p:cNvSpPr/>
                  <p:nvPr/>
                </p:nvSpPr>
                <p:spPr>
                  <a:xfrm>
                    <a:off x="9441454" y="1189815"/>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06" name="Google Shape;2955;p22">
                    <a:extLst>
                      <a:ext uri="{FF2B5EF4-FFF2-40B4-BE49-F238E27FC236}">
                        <a16:creationId xmlns:a16="http://schemas.microsoft.com/office/drawing/2014/main" id="{AE6D6A92-E43D-43FF-9E51-D9B4B4E88B73}"/>
                      </a:ext>
                    </a:extLst>
                  </p:cNvPr>
                  <p:cNvSpPr/>
                  <p:nvPr/>
                </p:nvSpPr>
                <p:spPr>
                  <a:xfrm>
                    <a:off x="9466720" y="1263869"/>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07" name="Google Shape;2956;p22">
                    <a:extLst>
                      <a:ext uri="{FF2B5EF4-FFF2-40B4-BE49-F238E27FC236}">
                        <a16:creationId xmlns:a16="http://schemas.microsoft.com/office/drawing/2014/main" id="{8780BF41-CF75-45E1-805B-A417E6E68339}"/>
                      </a:ext>
                    </a:extLst>
                  </p:cNvPr>
                  <p:cNvSpPr/>
                  <p:nvPr/>
                </p:nvSpPr>
                <p:spPr>
                  <a:xfrm>
                    <a:off x="9493625" y="1315738"/>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08" name="Google Shape;2957;p22">
                    <a:extLst>
                      <a:ext uri="{FF2B5EF4-FFF2-40B4-BE49-F238E27FC236}">
                        <a16:creationId xmlns:a16="http://schemas.microsoft.com/office/drawing/2014/main" id="{F7783D63-E5D2-43C2-9053-555245EEAFA1}"/>
                      </a:ext>
                    </a:extLst>
                  </p:cNvPr>
                  <p:cNvSpPr/>
                  <p:nvPr/>
                </p:nvSpPr>
                <p:spPr>
                  <a:xfrm>
                    <a:off x="9571089" y="1560317"/>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09" name="Google Shape;2958;p22">
                    <a:extLst>
                      <a:ext uri="{FF2B5EF4-FFF2-40B4-BE49-F238E27FC236}">
                        <a16:creationId xmlns:a16="http://schemas.microsoft.com/office/drawing/2014/main" id="{DD1DCBC8-F108-4D85-9FC3-A152466D6631}"/>
                      </a:ext>
                    </a:extLst>
                  </p:cNvPr>
                  <p:cNvSpPr/>
                  <p:nvPr/>
                </p:nvSpPr>
                <p:spPr>
                  <a:xfrm>
                    <a:off x="9733816" y="1972347"/>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10" name="Google Shape;2959;p22">
                    <a:extLst>
                      <a:ext uri="{FF2B5EF4-FFF2-40B4-BE49-F238E27FC236}">
                        <a16:creationId xmlns:a16="http://schemas.microsoft.com/office/drawing/2014/main" id="{63FF07C6-42F6-4F6A-ABED-B7F6346F0DCD}"/>
                      </a:ext>
                    </a:extLst>
                  </p:cNvPr>
                  <p:cNvSpPr/>
                  <p:nvPr/>
                </p:nvSpPr>
                <p:spPr>
                  <a:xfrm>
                    <a:off x="9740119" y="1979718"/>
                    <a:ext cx="27765" cy="54681"/>
                  </a:xfrm>
                  <a:custGeom>
                    <a:avLst/>
                    <a:gdLst/>
                    <a:ahLst/>
                    <a:cxnLst/>
                    <a:rect l="l" t="t" r="r" b="b"/>
                    <a:pathLst>
                      <a:path w="12700" h="26670" extrusionOk="0">
                        <a:moveTo>
                          <a:pt x="0" y="26073"/>
                        </a:moveTo>
                        <a:lnTo>
                          <a:pt x="12700" y="26073"/>
                        </a:lnTo>
                        <a:lnTo>
                          <a:pt x="12700" y="0"/>
                        </a:lnTo>
                        <a:lnTo>
                          <a:pt x="0" y="0"/>
                        </a:lnTo>
                        <a:lnTo>
                          <a:pt x="0" y="26073"/>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11" name="Google Shape;2960;p22">
                    <a:extLst>
                      <a:ext uri="{FF2B5EF4-FFF2-40B4-BE49-F238E27FC236}">
                        <a16:creationId xmlns:a16="http://schemas.microsoft.com/office/drawing/2014/main" id="{52475972-5828-4569-89B8-6D975EB0FD5F}"/>
                      </a:ext>
                    </a:extLst>
                  </p:cNvPr>
                  <p:cNvSpPr/>
                  <p:nvPr/>
                </p:nvSpPr>
                <p:spPr>
                  <a:xfrm>
                    <a:off x="9746450" y="1994533"/>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12" name="Google Shape;2961;p22">
                    <a:extLst>
                      <a:ext uri="{FF2B5EF4-FFF2-40B4-BE49-F238E27FC236}">
                        <a16:creationId xmlns:a16="http://schemas.microsoft.com/office/drawing/2014/main" id="{C9A9C97F-C853-4BDE-B1EF-365DB125DD60}"/>
                      </a:ext>
                    </a:extLst>
                  </p:cNvPr>
                  <p:cNvSpPr/>
                  <p:nvPr/>
                </p:nvSpPr>
                <p:spPr>
                  <a:xfrm>
                    <a:off x="9773353" y="2055307"/>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13" name="Google Shape;2962;p22">
                    <a:extLst>
                      <a:ext uri="{FF2B5EF4-FFF2-40B4-BE49-F238E27FC236}">
                        <a16:creationId xmlns:a16="http://schemas.microsoft.com/office/drawing/2014/main" id="{AB5AC420-9C23-49C1-95A1-F17418556AC3}"/>
                      </a:ext>
                    </a:extLst>
                  </p:cNvPr>
                  <p:cNvSpPr/>
                  <p:nvPr/>
                </p:nvSpPr>
                <p:spPr>
                  <a:xfrm>
                    <a:off x="9779656" y="2070096"/>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14" name="Google Shape;2963;p22">
                    <a:extLst>
                      <a:ext uri="{FF2B5EF4-FFF2-40B4-BE49-F238E27FC236}">
                        <a16:creationId xmlns:a16="http://schemas.microsoft.com/office/drawing/2014/main" id="{5408E3CA-E821-470A-BD6A-4E441EB4C63D}"/>
                      </a:ext>
                    </a:extLst>
                  </p:cNvPr>
                  <p:cNvSpPr/>
                  <p:nvPr/>
                </p:nvSpPr>
                <p:spPr>
                  <a:xfrm>
                    <a:off x="9792288" y="2084991"/>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15" name="Google Shape;2964;p22">
                    <a:extLst>
                      <a:ext uri="{FF2B5EF4-FFF2-40B4-BE49-F238E27FC236}">
                        <a16:creationId xmlns:a16="http://schemas.microsoft.com/office/drawing/2014/main" id="{6171B9D6-979D-487C-9E95-A8177A2DBFA1}"/>
                      </a:ext>
                    </a:extLst>
                  </p:cNvPr>
                  <p:cNvSpPr/>
                  <p:nvPr/>
                </p:nvSpPr>
                <p:spPr>
                  <a:xfrm>
                    <a:off x="9831825" y="2147196"/>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16" name="Google Shape;2965;p22">
                    <a:extLst>
                      <a:ext uri="{FF2B5EF4-FFF2-40B4-BE49-F238E27FC236}">
                        <a16:creationId xmlns:a16="http://schemas.microsoft.com/office/drawing/2014/main" id="{3FE20083-FD28-4FA4-9704-B3568A915C72}"/>
                      </a:ext>
                    </a:extLst>
                  </p:cNvPr>
                  <p:cNvSpPr/>
                  <p:nvPr/>
                </p:nvSpPr>
                <p:spPr>
                  <a:xfrm>
                    <a:off x="9857120" y="2184275"/>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17" name="Google Shape;2966;p22">
                    <a:extLst>
                      <a:ext uri="{FF2B5EF4-FFF2-40B4-BE49-F238E27FC236}">
                        <a16:creationId xmlns:a16="http://schemas.microsoft.com/office/drawing/2014/main" id="{FB653AA0-3F7A-4BA6-8872-F01AD5681C32}"/>
                      </a:ext>
                    </a:extLst>
                  </p:cNvPr>
                  <p:cNvSpPr/>
                  <p:nvPr/>
                </p:nvSpPr>
                <p:spPr>
                  <a:xfrm>
                    <a:off x="9929780" y="2261322"/>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18" name="Google Shape;2967;p22">
                    <a:extLst>
                      <a:ext uri="{FF2B5EF4-FFF2-40B4-BE49-F238E27FC236}">
                        <a16:creationId xmlns:a16="http://schemas.microsoft.com/office/drawing/2014/main" id="{42A07AA1-B4AF-49BD-AB46-07EC15F5CEA2}"/>
                      </a:ext>
                    </a:extLst>
                  </p:cNvPr>
                  <p:cNvSpPr/>
                  <p:nvPr/>
                </p:nvSpPr>
                <p:spPr>
                  <a:xfrm>
                    <a:off x="10032538" y="2413985"/>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19" name="Google Shape;2968;p22">
                    <a:extLst>
                      <a:ext uri="{FF2B5EF4-FFF2-40B4-BE49-F238E27FC236}">
                        <a16:creationId xmlns:a16="http://schemas.microsoft.com/office/drawing/2014/main" id="{589B4E8E-56E1-475F-B923-40EF13BDB5BC}"/>
                      </a:ext>
                    </a:extLst>
                  </p:cNvPr>
                  <p:cNvSpPr/>
                  <p:nvPr/>
                </p:nvSpPr>
                <p:spPr>
                  <a:xfrm>
                    <a:off x="10040449" y="2413985"/>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20" name="Google Shape;2969;p22">
                    <a:extLst>
                      <a:ext uri="{FF2B5EF4-FFF2-40B4-BE49-F238E27FC236}">
                        <a16:creationId xmlns:a16="http://schemas.microsoft.com/office/drawing/2014/main" id="{8867E3B5-1F42-483D-A4E1-CEB7C3BA9241}"/>
                      </a:ext>
                    </a:extLst>
                  </p:cNvPr>
                  <p:cNvSpPr/>
                  <p:nvPr/>
                </p:nvSpPr>
                <p:spPr>
                  <a:xfrm>
                    <a:off x="10065744" y="2413985"/>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21" name="Google Shape;2970;p22">
                    <a:extLst>
                      <a:ext uri="{FF2B5EF4-FFF2-40B4-BE49-F238E27FC236}">
                        <a16:creationId xmlns:a16="http://schemas.microsoft.com/office/drawing/2014/main" id="{456D03C6-C1E6-4C84-BF2D-B3C2B9587DC5}"/>
                      </a:ext>
                    </a:extLst>
                  </p:cNvPr>
                  <p:cNvSpPr/>
                  <p:nvPr/>
                </p:nvSpPr>
                <p:spPr>
                  <a:xfrm>
                    <a:off x="10105253" y="2446533"/>
                    <a:ext cx="27765" cy="54681"/>
                  </a:xfrm>
                  <a:custGeom>
                    <a:avLst/>
                    <a:gdLst/>
                    <a:ahLst/>
                    <a:cxnLst/>
                    <a:rect l="l" t="t" r="r" b="b"/>
                    <a:pathLst>
                      <a:path w="12700" h="26670" extrusionOk="0">
                        <a:moveTo>
                          <a:pt x="0" y="26073"/>
                        </a:moveTo>
                        <a:lnTo>
                          <a:pt x="12700" y="26073"/>
                        </a:lnTo>
                        <a:lnTo>
                          <a:pt x="12700" y="0"/>
                        </a:lnTo>
                        <a:lnTo>
                          <a:pt x="0" y="0"/>
                        </a:lnTo>
                        <a:lnTo>
                          <a:pt x="0" y="26073"/>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22" name="Google Shape;2971;p22">
                    <a:extLst>
                      <a:ext uri="{FF2B5EF4-FFF2-40B4-BE49-F238E27FC236}">
                        <a16:creationId xmlns:a16="http://schemas.microsoft.com/office/drawing/2014/main" id="{5A5EF272-597B-4226-81CE-EEFE633B52CA}"/>
                      </a:ext>
                    </a:extLst>
                  </p:cNvPr>
                  <p:cNvSpPr/>
                  <p:nvPr/>
                </p:nvSpPr>
                <p:spPr>
                  <a:xfrm>
                    <a:off x="10111555" y="2471764"/>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23" name="Google Shape;2972;p22">
                    <a:extLst>
                      <a:ext uri="{FF2B5EF4-FFF2-40B4-BE49-F238E27FC236}">
                        <a16:creationId xmlns:a16="http://schemas.microsoft.com/office/drawing/2014/main" id="{DA64C175-92D0-4B1F-BA96-D97C219C621F}"/>
                      </a:ext>
                    </a:extLst>
                  </p:cNvPr>
                  <p:cNvSpPr/>
                  <p:nvPr/>
                </p:nvSpPr>
                <p:spPr>
                  <a:xfrm>
                    <a:off x="10117913" y="2479186"/>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24" name="Google Shape;2973;p22">
                    <a:extLst>
                      <a:ext uri="{FF2B5EF4-FFF2-40B4-BE49-F238E27FC236}">
                        <a16:creationId xmlns:a16="http://schemas.microsoft.com/office/drawing/2014/main" id="{F47B6A24-17E1-40D4-88F3-694816F7CE27}"/>
                      </a:ext>
                    </a:extLst>
                  </p:cNvPr>
                  <p:cNvSpPr/>
                  <p:nvPr/>
                </p:nvSpPr>
                <p:spPr>
                  <a:xfrm>
                    <a:off x="10143207" y="2495461"/>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25" name="Google Shape;2974;p22">
                    <a:extLst>
                      <a:ext uri="{FF2B5EF4-FFF2-40B4-BE49-F238E27FC236}">
                        <a16:creationId xmlns:a16="http://schemas.microsoft.com/office/drawing/2014/main" id="{D6B5AA11-1987-4357-96AC-C356598D994B}"/>
                      </a:ext>
                    </a:extLst>
                  </p:cNvPr>
                  <p:cNvSpPr/>
                  <p:nvPr/>
                </p:nvSpPr>
                <p:spPr>
                  <a:xfrm>
                    <a:off x="10151093" y="2495461"/>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26" name="Google Shape;2975;p22">
                    <a:extLst>
                      <a:ext uri="{FF2B5EF4-FFF2-40B4-BE49-F238E27FC236}">
                        <a16:creationId xmlns:a16="http://schemas.microsoft.com/office/drawing/2014/main" id="{1A4B2793-7DF8-4FD1-BA83-D00BC34B3AED}"/>
                      </a:ext>
                    </a:extLst>
                  </p:cNvPr>
                  <p:cNvSpPr/>
                  <p:nvPr/>
                </p:nvSpPr>
                <p:spPr>
                  <a:xfrm>
                    <a:off x="10157422" y="2504365"/>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27" name="Google Shape;2976;p22">
                    <a:extLst>
                      <a:ext uri="{FF2B5EF4-FFF2-40B4-BE49-F238E27FC236}">
                        <a16:creationId xmlns:a16="http://schemas.microsoft.com/office/drawing/2014/main" id="{F67CE9DE-1181-4EA6-8336-9A207E09E6D2}"/>
                      </a:ext>
                    </a:extLst>
                  </p:cNvPr>
                  <p:cNvSpPr/>
                  <p:nvPr/>
                </p:nvSpPr>
                <p:spPr>
                  <a:xfrm>
                    <a:off x="10201708" y="2538422"/>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28" name="Google Shape;2977;p22">
                    <a:extLst>
                      <a:ext uri="{FF2B5EF4-FFF2-40B4-BE49-F238E27FC236}">
                        <a16:creationId xmlns:a16="http://schemas.microsoft.com/office/drawing/2014/main" id="{832DEC56-405C-445E-A85F-364DB4B6C74E}"/>
                      </a:ext>
                    </a:extLst>
                  </p:cNvPr>
                  <p:cNvSpPr/>
                  <p:nvPr/>
                </p:nvSpPr>
                <p:spPr>
                  <a:xfrm>
                    <a:off x="10228556" y="2563655"/>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29" name="Google Shape;2978;p22">
                    <a:extLst>
                      <a:ext uri="{FF2B5EF4-FFF2-40B4-BE49-F238E27FC236}">
                        <a16:creationId xmlns:a16="http://schemas.microsoft.com/office/drawing/2014/main" id="{4AC478E4-EFC1-451E-9863-1FD23B491E19}"/>
                      </a:ext>
                    </a:extLst>
                  </p:cNvPr>
                  <p:cNvSpPr/>
                  <p:nvPr/>
                </p:nvSpPr>
                <p:spPr>
                  <a:xfrm>
                    <a:off x="10268037" y="2633280"/>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30" name="Google Shape;2979;p22">
                    <a:extLst>
                      <a:ext uri="{FF2B5EF4-FFF2-40B4-BE49-F238E27FC236}">
                        <a16:creationId xmlns:a16="http://schemas.microsoft.com/office/drawing/2014/main" id="{E9561E7C-9AE3-44E4-8D74-37C6164D1622}"/>
                      </a:ext>
                    </a:extLst>
                  </p:cNvPr>
                  <p:cNvSpPr/>
                  <p:nvPr/>
                </p:nvSpPr>
                <p:spPr>
                  <a:xfrm>
                    <a:off x="10287028" y="2633280"/>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31" name="Google Shape;2980;p22">
                    <a:extLst>
                      <a:ext uri="{FF2B5EF4-FFF2-40B4-BE49-F238E27FC236}">
                        <a16:creationId xmlns:a16="http://schemas.microsoft.com/office/drawing/2014/main" id="{1F4723E9-6DF5-4C2A-9FE8-0A386C85E2DD}"/>
                      </a:ext>
                    </a:extLst>
                  </p:cNvPr>
                  <p:cNvSpPr/>
                  <p:nvPr/>
                </p:nvSpPr>
                <p:spPr>
                  <a:xfrm>
                    <a:off x="10320206" y="2633280"/>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32" name="Google Shape;2981;p22">
                    <a:extLst>
                      <a:ext uri="{FF2B5EF4-FFF2-40B4-BE49-F238E27FC236}">
                        <a16:creationId xmlns:a16="http://schemas.microsoft.com/office/drawing/2014/main" id="{9744D60A-4D8C-4C3A-9B84-ED818C792A77}"/>
                      </a:ext>
                    </a:extLst>
                  </p:cNvPr>
                  <p:cNvSpPr/>
                  <p:nvPr/>
                </p:nvSpPr>
                <p:spPr>
                  <a:xfrm>
                    <a:off x="10397669" y="2698480"/>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33" name="Google Shape;2982;p22">
                    <a:extLst>
                      <a:ext uri="{FF2B5EF4-FFF2-40B4-BE49-F238E27FC236}">
                        <a16:creationId xmlns:a16="http://schemas.microsoft.com/office/drawing/2014/main" id="{464C71F3-90DF-4917-B197-79272C85D090}"/>
                      </a:ext>
                    </a:extLst>
                  </p:cNvPr>
                  <p:cNvSpPr/>
                  <p:nvPr/>
                </p:nvSpPr>
                <p:spPr>
                  <a:xfrm>
                    <a:off x="10404001" y="2698480"/>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34" name="Google Shape;2983;p22">
                    <a:extLst>
                      <a:ext uri="{FF2B5EF4-FFF2-40B4-BE49-F238E27FC236}">
                        <a16:creationId xmlns:a16="http://schemas.microsoft.com/office/drawing/2014/main" id="{989E0C7B-8544-4367-8E63-7229726F23A2}"/>
                      </a:ext>
                    </a:extLst>
                  </p:cNvPr>
                  <p:cNvSpPr/>
                  <p:nvPr/>
                </p:nvSpPr>
                <p:spPr>
                  <a:xfrm>
                    <a:off x="10416661" y="2698480"/>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35" name="Google Shape;2984;p22">
                    <a:extLst>
                      <a:ext uri="{FF2B5EF4-FFF2-40B4-BE49-F238E27FC236}">
                        <a16:creationId xmlns:a16="http://schemas.microsoft.com/office/drawing/2014/main" id="{2BEADA47-DA8C-4C7F-82F1-452FC0A2A47C}"/>
                      </a:ext>
                    </a:extLst>
                  </p:cNvPr>
                  <p:cNvSpPr/>
                  <p:nvPr/>
                </p:nvSpPr>
                <p:spPr>
                  <a:xfrm>
                    <a:off x="10437207" y="2698480"/>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36" name="Google Shape;2985;p22">
                    <a:extLst>
                      <a:ext uri="{FF2B5EF4-FFF2-40B4-BE49-F238E27FC236}">
                        <a16:creationId xmlns:a16="http://schemas.microsoft.com/office/drawing/2014/main" id="{9D0BE772-AF77-4C64-93F6-4FAE195B8CA9}"/>
                      </a:ext>
                    </a:extLst>
                  </p:cNvPr>
                  <p:cNvSpPr/>
                  <p:nvPr/>
                </p:nvSpPr>
                <p:spPr>
                  <a:xfrm>
                    <a:off x="10618954" y="2852628"/>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37" name="Google Shape;2986;p22">
                    <a:extLst>
                      <a:ext uri="{FF2B5EF4-FFF2-40B4-BE49-F238E27FC236}">
                        <a16:creationId xmlns:a16="http://schemas.microsoft.com/office/drawing/2014/main" id="{4BE1E9DA-62B5-49D5-8473-67C6BDE0D9EE}"/>
                      </a:ext>
                    </a:extLst>
                  </p:cNvPr>
                  <p:cNvSpPr/>
                  <p:nvPr/>
                </p:nvSpPr>
                <p:spPr>
                  <a:xfrm>
                    <a:off x="10631588" y="2863045"/>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38" name="Google Shape;2987;p22">
                    <a:extLst>
                      <a:ext uri="{FF2B5EF4-FFF2-40B4-BE49-F238E27FC236}">
                        <a16:creationId xmlns:a16="http://schemas.microsoft.com/office/drawing/2014/main" id="{D875A5B9-A1AF-427C-AA98-D4CFCD182016}"/>
                      </a:ext>
                    </a:extLst>
                  </p:cNvPr>
                  <p:cNvSpPr/>
                  <p:nvPr/>
                </p:nvSpPr>
                <p:spPr>
                  <a:xfrm>
                    <a:off x="10650551" y="2863045"/>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39" name="Google Shape;2988;p22">
                    <a:extLst>
                      <a:ext uri="{FF2B5EF4-FFF2-40B4-BE49-F238E27FC236}">
                        <a16:creationId xmlns:a16="http://schemas.microsoft.com/office/drawing/2014/main" id="{B1BECA44-396D-4868-B09E-5F4D3FB0C6DA}"/>
                      </a:ext>
                    </a:extLst>
                  </p:cNvPr>
                  <p:cNvSpPr/>
                  <p:nvPr/>
                </p:nvSpPr>
                <p:spPr>
                  <a:xfrm>
                    <a:off x="10658463" y="2863045"/>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40" name="Google Shape;2989;p22">
                    <a:extLst>
                      <a:ext uri="{FF2B5EF4-FFF2-40B4-BE49-F238E27FC236}">
                        <a16:creationId xmlns:a16="http://schemas.microsoft.com/office/drawing/2014/main" id="{3313A8D8-BF58-436D-AC59-9E773286BDD9}"/>
                      </a:ext>
                    </a:extLst>
                  </p:cNvPr>
                  <p:cNvSpPr/>
                  <p:nvPr/>
                </p:nvSpPr>
                <p:spPr>
                  <a:xfrm>
                    <a:off x="10729569" y="2919339"/>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41" name="Google Shape;2990;p22">
                    <a:extLst>
                      <a:ext uri="{FF2B5EF4-FFF2-40B4-BE49-F238E27FC236}">
                        <a16:creationId xmlns:a16="http://schemas.microsoft.com/office/drawing/2014/main" id="{1A65C340-D4C4-49CC-9EEF-7EF61782B3C6}"/>
                      </a:ext>
                    </a:extLst>
                  </p:cNvPr>
                  <p:cNvSpPr/>
                  <p:nvPr/>
                </p:nvSpPr>
                <p:spPr>
                  <a:xfrm>
                    <a:off x="10767495" y="2953372"/>
                    <a:ext cx="27765" cy="54681"/>
                  </a:xfrm>
                  <a:custGeom>
                    <a:avLst/>
                    <a:gdLst/>
                    <a:ahLst/>
                    <a:cxnLst/>
                    <a:rect l="l" t="t" r="r" b="b"/>
                    <a:pathLst>
                      <a:path w="12700" h="26670" extrusionOk="0">
                        <a:moveTo>
                          <a:pt x="0" y="26073"/>
                        </a:moveTo>
                        <a:lnTo>
                          <a:pt x="12700" y="26073"/>
                        </a:lnTo>
                        <a:lnTo>
                          <a:pt x="12700" y="0"/>
                        </a:lnTo>
                        <a:lnTo>
                          <a:pt x="0" y="0"/>
                        </a:lnTo>
                        <a:lnTo>
                          <a:pt x="0" y="26073"/>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42" name="Google Shape;2991;p22">
                    <a:extLst>
                      <a:ext uri="{FF2B5EF4-FFF2-40B4-BE49-F238E27FC236}">
                        <a16:creationId xmlns:a16="http://schemas.microsoft.com/office/drawing/2014/main" id="{2118CF65-9814-4F69-9C9C-CE6E61F82833}"/>
                      </a:ext>
                    </a:extLst>
                  </p:cNvPr>
                  <p:cNvSpPr/>
                  <p:nvPr/>
                </p:nvSpPr>
                <p:spPr>
                  <a:xfrm>
                    <a:off x="10775409" y="2953372"/>
                    <a:ext cx="27765" cy="54681"/>
                  </a:xfrm>
                  <a:custGeom>
                    <a:avLst/>
                    <a:gdLst/>
                    <a:ahLst/>
                    <a:cxnLst/>
                    <a:rect l="l" t="t" r="r" b="b"/>
                    <a:pathLst>
                      <a:path w="12700" h="26670" extrusionOk="0">
                        <a:moveTo>
                          <a:pt x="0" y="26073"/>
                        </a:moveTo>
                        <a:lnTo>
                          <a:pt x="12700" y="26073"/>
                        </a:lnTo>
                        <a:lnTo>
                          <a:pt x="12700" y="0"/>
                        </a:lnTo>
                        <a:lnTo>
                          <a:pt x="0" y="0"/>
                        </a:lnTo>
                        <a:lnTo>
                          <a:pt x="0" y="26073"/>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43" name="Google Shape;2992;p22">
                    <a:extLst>
                      <a:ext uri="{FF2B5EF4-FFF2-40B4-BE49-F238E27FC236}">
                        <a16:creationId xmlns:a16="http://schemas.microsoft.com/office/drawing/2014/main" id="{F4370852-32EB-474C-819D-D2DB3A4B81D2}"/>
                      </a:ext>
                    </a:extLst>
                  </p:cNvPr>
                  <p:cNvSpPr/>
                  <p:nvPr/>
                </p:nvSpPr>
                <p:spPr>
                  <a:xfrm>
                    <a:off x="10963459" y="3114939"/>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44" name="Google Shape;2993;p22">
                    <a:extLst>
                      <a:ext uri="{FF2B5EF4-FFF2-40B4-BE49-F238E27FC236}">
                        <a16:creationId xmlns:a16="http://schemas.microsoft.com/office/drawing/2014/main" id="{1B8B4365-0520-47C7-926D-62B06024766F}"/>
                      </a:ext>
                    </a:extLst>
                  </p:cNvPr>
                  <p:cNvSpPr/>
                  <p:nvPr/>
                </p:nvSpPr>
                <p:spPr>
                  <a:xfrm>
                    <a:off x="10982394" y="3114939"/>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45" name="Google Shape;2994;p22">
                    <a:extLst>
                      <a:ext uri="{FF2B5EF4-FFF2-40B4-BE49-F238E27FC236}">
                        <a16:creationId xmlns:a16="http://schemas.microsoft.com/office/drawing/2014/main" id="{57A6D03B-D244-4143-ADAD-9E300691D30B}"/>
                      </a:ext>
                    </a:extLst>
                  </p:cNvPr>
                  <p:cNvSpPr/>
                  <p:nvPr/>
                </p:nvSpPr>
                <p:spPr>
                  <a:xfrm>
                    <a:off x="10988753" y="3114939"/>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46" name="Google Shape;2995;p22">
                    <a:extLst>
                      <a:ext uri="{FF2B5EF4-FFF2-40B4-BE49-F238E27FC236}">
                        <a16:creationId xmlns:a16="http://schemas.microsoft.com/office/drawing/2014/main" id="{585DA737-B5B4-4FD8-BCDE-B278E842020B}"/>
                      </a:ext>
                    </a:extLst>
                  </p:cNvPr>
                  <p:cNvSpPr/>
                  <p:nvPr/>
                </p:nvSpPr>
                <p:spPr>
                  <a:xfrm>
                    <a:off x="11002968" y="3114939"/>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47" name="Google Shape;2996;p22">
                    <a:extLst>
                      <a:ext uri="{FF2B5EF4-FFF2-40B4-BE49-F238E27FC236}">
                        <a16:creationId xmlns:a16="http://schemas.microsoft.com/office/drawing/2014/main" id="{B8E20C7A-A680-4B61-A7DA-B1C2E3D44F6F}"/>
                      </a:ext>
                    </a:extLst>
                  </p:cNvPr>
                  <p:cNvSpPr/>
                  <p:nvPr/>
                </p:nvSpPr>
                <p:spPr>
                  <a:xfrm>
                    <a:off x="11321872" y="3239481"/>
                    <a:ext cx="0" cy="54681"/>
                  </a:xfrm>
                  <a:custGeom>
                    <a:avLst/>
                    <a:gdLst/>
                    <a:ahLst/>
                    <a:cxnLst/>
                    <a:rect l="l" t="t" r="r" b="b"/>
                    <a:pathLst>
                      <a:path w="120000" h="26670" extrusionOk="0">
                        <a:moveTo>
                          <a:pt x="0" y="0"/>
                        </a:moveTo>
                        <a:lnTo>
                          <a:pt x="0" y="26047"/>
                        </a:lnTo>
                      </a:path>
                    </a:pathLst>
                  </a:custGeom>
                  <a:grpFill/>
                  <a:ln w="12700"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48" name="Google Shape;2997;p22">
                    <a:extLst>
                      <a:ext uri="{FF2B5EF4-FFF2-40B4-BE49-F238E27FC236}">
                        <a16:creationId xmlns:a16="http://schemas.microsoft.com/office/drawing/2014/main" id="{D589C6B0-5FD2-4E48-A165-7B4ACF9C5206}"/>
                      </a:ext>
                    </a:extLst>
                  </p:cNvPr>
                  <p:cNvSpPr/>
                  <p:nvPr/>
                </p:nvSpPr>
                <p:spPr>
                  <a:xfrm>
                    <a:off x="11367658" y="3239481"/>
                    <a:ext cx="0" cy="54681"/>
                  </a:xfrm>
                  <a:custGeom>
                    <a:avLst/>
                    <a:gdLst/>
                    <a:ahLst/>
                    <a:cxnLst/>
                    <a:rect l="l" t="t" r="r" b="b"/>
                    <a:pathLst>
                      <a:path w="120000" h="26670" extrusionOk="0">
                        <a:moveTo>
                          <a:pt x="0" y="0"/>
                        </a:moveTo>
                        <a:lnTo>
                          <a:pt x="0" y="26047"/>
                        </a:lnTo>
                      </a:path>
                    </a:pathLst>
                  </a:custGeom>
                  <a:grpFill/>
                  <a:ln w="12700"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49" name="Google Shape;2998;p22">
                    <a:extLst>
                      <a:ext uri="{FF2B5EF4-FFF2-40B4-BE49-F238E27FC236}">
                        <a16:creationId xmlns:a16="http://schemas.microsoft.com/office/drawing/2014/main" id="{E1927E69-A652-40C5-89FC-B4B17EC92CB4}"/>
                      </a:ext>
                    </a:extLst>
                  </p:cNvPr>
                  <p:cNvSpPr/>
                  <p:nvPr/>
                </p:nvSpPr>
                <p:spPr>
                  <a:xfrm>
                    <a:off x="11666349" y="3304681"/>
                    <a:ext cx="0" cy="53377"/>
                  </a:xfrm>
                  <a:custGeom>
                    <a:avLst/>
                    <a:gdLst/>
                    <a:ahLst/>
                    <a:cxnLst/>
                    <a:rect l="l" t="t" r="r" b="b"/>
                    <a:pathLst>
                      <a:path w="120000" h="26034" extrusionOk="0">
                        <a:moveTo>
                          <a:pt x="0" y="0"/>
                        </a:moveTo>
                        <a:lnTo>
                          <a:pt x="0" y="26022"/>
                        </a:lnTo>
                      </a:path>
                    </a:pathLst>
                  </a:custGeom>
                  <a:grpFill/>
                  <a:ln w="12700"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50" name="Google Shape;2999;p22">
                    <a:extLst>
                      <a:ext uri="{FF2B5EF4-FFF2-40B4-BE49-F238E27FC236}">
                        <a16:creationId xmlns:a16="http://schemas.microsoft.com/office/drawing/2014/main" id="{7D67EA7B-B95A-4E7E-AF9F-BB1705A906A3}"/>
                      </a:ext>
                    </a:extLst>
                  </p:cNvPr>
                  <p:cNvSpPr/>
                  <p:nvPr/>
                </p:nvSpPr>
                <p:spPr>
                  <a:xfrm>
                    <a:off x="11835436" y="3328376"/>
                    <a:ext cx="0" cy="53377"/>
                  </a:xfrm>
                  <a:custGeom>
                    <a:avLst/>
                    <a:gdLst/>
                    <a:ahLst/>
                    <a:cxnLst/>
                    <a:rect l="l" t="t" r="r" b="b"/>
                    <a:pathLst>
                      <a:path w="120000" h="26034" extrusionOk="0">
                        <a:moveTo>
                          <a:pt x="0" y="0"/>
                        </a:moveTo>
                        <a:lnTo>
                          <a:pt x="0" y="26022"/>
                        </a:lnTo>
                      </a:path>
                    </a:pathLst>
                  </a:custGeom>
                  <a:grpFill/>
                  <a:ln w="12700"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51" name="Google Shape;3000;p22">
                    <a:extLst>
                      <a:ext uri="{FF2B5EF4-FFF2-40B4-BE49-F238E27FC236}">
                        <a16:creationId xmlns:a16="http://schemas.microsoft.com/office/drawing/2014/main" id="{7D92B733-901D-4199-9121-619DF1A5FC0A}"/>
                      </a:ext>
                    </a:extLst>
                  </p:cNvPr>
                  <p:cNvSpPr/>
                  <p:nvPr/>
                </p:nvSpPr>
                <p:spPr>
                  <a:xfrm>
                    <a:off x="12056692" y="3356551"/>
                    <a:ext cx="0" cy="53377"/>
                  </a:xfrm>
                  <a:custGeom>
                    <a:avLst/>
                    <a:gdLst/>
                    <a:ahLst/>
                    <a:cxnLst/>
                    <a:rect l="l" t="t" r="r" b="b"/>
                    <a:pathLst>
                      <a:path w="120000" h="26034" extrusionOk="0">
                        <a:moveTo>
                          <a:pt x="0" y="0"/>
                        </a:moveTo>
                        <a:lnTo>
                          <a:pt x="0" y="26022"/>
                        </a:lnTo>
                      </a:path>
                    </a:pathLst>
                  </a:custGeom>
                  <a:grpFill/>
                  <a:ln w="12700"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52" name="Google Shape;3001;p22">
                    <a:extLst>
                      <a:ext uri="{FF2B5EF4-FFF2-40B4-BE49-F238E27FC236}">
                        <a16:creationId xmlns:a16="http://schemas.microsoft.com/office/drawing/2014/main" id="{A2EC13E1-E1EA-4CF6-ABA1-56D8E5D91B1C}"/>
                      </a:ext>
                    </a:extLst>
                  </p:cNvPr>
                  <p:cNvSpPr/>
                  <p:nvPr/>
                </p:nvSpPr>
                <p:spPr>
                  <a:xfrm>
                    <a:off x="12148066" y="3356524"/>
                    <a:ext cx="0" cy="53377"/>
                  </a:xfrm>
                  <a:custGeom>
                    <a:avLst/>
                    <a:gdLst/>
                    <a:ahLst/>
                    <a:cxnLst/>
                    <a:rect l="l" t="t" r="r" b="b"/>
                    <a:pathLst>
                      <a:path w="120000" h="26034" extrusionOk="0">
                        <a:moveTo>
                          <a:pt x="0" y="0"/>
                        </a:moveTo>
                        <a:lnTo>
                          <a:pt x="0" y="26022"/>
                        </a:lnTo>
                      </a:path>
                    </a:pathLst>
                  </a:custGeom>
                  <a:grpFill/>
                  <a:ln w="12700"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53" name="Google Shape;3002;p22">
                    <a:extLst>
                      <a:ext uri="{FF2B5EF4-FFF2-40B4-BE49-F238E27FC236}">
                        <a16:creationId xmlns:a16="http://schemas.microsoft.com/office/drawing/2014/main" id="{685C0698-B663-46DF-87AA-B45C00B48A09}"/>
                      </a:ext>
                    </a:extLst>
                  </p:cNvPr>
                  <p:cNvSpPr/>
                  <p:nvPr/>
                </p:nvSpPr>
                <p:spPr>
                  <a:xfrm>
                    <a:off x="12200209" y="3356524"/>
                    <a:ext cx="0" cy="53377"/>
                  </a:xfrm>
                  <a:custGeom>
                    <a:avLst/>
                    <a:gdLst/>
                    <a:ahLst/>
                    <a:cxnLst/>
                    <a:rect l="l" t="t" r="r" b="b"/>
                    <a:pathLst>
                      <a:path w="120000" h="26034" extrusionOk="0">
                        <a:moveTo>
                          <a:pt x="0" y="0"/>
                        </a:moveTo>
                        <a:lnTo>
                          <a:pt x="0" y="26022"/>
                        </a:lnTo>
                      </a:path>
                    </a:pathLst>
                  </a:custGeom>
                  <a:grpFill/>
                  <a:ln w="12700"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54" name="Google Shape;3003;p22">
                    <a:extLst>
                      <a:ext uri="{FF2B5EF4-FFF2-40B4-BE49-F238E27FC236}">
                        <a16:creationId xmlns:a16="http://schemas.microsoft.com/office/drawing/2014/main" id="{74A7EB8E-430F-4468-87F5-504B5C4FA6F7}"/>
                      </a:ext>
                    </a:extLst>
                  </p:cNvPr>
                  <p:cNvSpPr/>
                  <p:nvPr/>
                </p:nvSpPr>
                <p:spPr>
                  <a:xfrm>
                    <a:off x="12244770" y="3390608"/>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55" name="Google Shape;3004;p22">
                    <a:extLst>
                      <a:ext uri="{FF2B5EF4-FFF2-40B4-BE49-F238E27FC236}">
                        <a16:creationId xmlns:a16="http://schemas.microsoft.com/office/drawing/2014/main" id="{7FC83D88-B55E-428C-9511-12FE92B8B864}"/>
                      </a:ext>
                    </a:extLst>
                  </p:cNvPr>
                  <p:cNvSpPr/>
                  <p:nvPr/>
                </p:nvSpPr>
                <p:spPr>
                  <a:xfrm>
                    <a:off x="12276422" y="3390608"/>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56" name="Google Shape;3005;p22">
                    <a:extLst>
                      <a:ext uri="{FF2B5EF4-FFF2-40B4-BE49-F238E27FC236}">
                        <a16:creationId xmlns:a16="http://schemas.microsoft.com/office/drawing/2014/main" id="{6C771D11-B2A0-4BAF-9E42-B5AD06FBD718}"/>
                      </a:ext>
                    </a:extLst>
                  </p:cNvPr>
                  <p:cNvSpPr/>
                  <p:nvPr/>
                </p:nvSpPr>
                <p:spPr>
                  <a:xfrm>
                    <a:off x="12342419" y="3390608"/>
                    <a:ext cx="0" cy="54681"/>
                  </a:xfrm>
                  <a:custGeom>
                    <a:avLst/>
                    <a:gdLst/>
                    <a:ahLst/>
                    <a:cxnLst/>
                    <a:rect l="l" t="t" r="r" b="b"/>
                    <a:pathLst>
                      <a:path w="120000" h="26670" extrusionOk="0">
                        <a:moveTo>
                          <a:pt x="0" y="0"/>
                        </a:moveTo>
                        <a:lnTo>
                          <a:pt x="0" y="26047"/>
                        </a:lnTo>
                      </a:path>
                    </a:pathLst>
                  </a:custGeom>
                  <a:grpFill/>
                  <a:ln w="12700"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57" name="Google Shape;3006;p22">
                    <a:extLst>
                      <a:ext uri="{FF2B5EF4-FFF2-40B4-BE49-F238E27FC236}">
                        <a16:creationId xmlns:a16="http://schemas.microsoft.com/office/drawing/2014/main" id="{A74A3A3A-A2C8-47CB-B69A-A172C1A207B8}"/>
                      </a:ext>
                    </a:extLst>
                  </p:cNvPr>
                  <p:cNvSpPr/>
                  <p:nvPr/>
                </p:nvSpPr>
                <p:spPr>
                  <a:xfrm>
                    <a:off x="12400919" y="3390608"/>
                    <a:ext cx="0" cy="54681"/>
                  </a:xfrm>
                  <a:custGeom>
                    <a:avLst/>
                    <a:gdLst/>
                    <a:ahLst/>
                    <a:cxnLst/>
                    <a:rect l="l" t="t" r="r" b="b"/>
                    <a:pathLst>
                      <a:path w="120000" h="26670" extrusionOk="0">
                        <a:moveTo>
                          <a:pt x="0" y="0"/>
                        </a:moveTo>
                        <a:lnTo>
                          <a:pt x="0" y="26047"/>
                        </a:lnTo>
                      </a:path>
                    </a:pathLst>
                  </a:custGeom>
                  <a:grpFill/>
                  <a:ln w="12700"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58" name="Google Shape;3007;p22">
                    <a:extLst>
                      <a:ext uri="{FF2B5EF4-FFF2-40B4-BE49-F238E27FC236}">
                        <a16:creationId xmlns:a16="http://schemas.microsoft.com/office/drawing/2014/main" id="{BAAAC450-C7D3-4733-BF3A-27B167B7D94B}"/>
                      </a:ext>
                    </a:extLst>
                  </p:cNvPr>
                  <p:cNvSpPr/>
                  <p:nvPr/>
                </p:nvSpPr>
                <p:spPr>
                  <a:xfrm>
                    <a:off x="12478383" y="3390608"/>
                    <a:ext cx="0" cy="54681"/>
                  </a:xfrm>
                  <a:custGeom>
                    <a:avLst/>
                    <a:gdLst/>
                    <a:ahLst/>
                    <a:cxnLst/>
                    <a:rect l="l" t="t" r="r" b="b"/>
                    <a:pathLst>
                      <a:path w="120000" h="26670" extrusionOk="0">
                        <a:moveTo>
                          <a:pt x="0" y="0"/>
                        </a:moveTo>
                        <a:lnTo>
                          <a:pt x="0" y="26047"/>
                        </a:lnTo>
                      </a:path>
                    </a:pathLst>
                  </a:custGeom>
                  <a:grpFill/>
                  <a:ln w="12700"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59" name="Google Shape;3008;p22">
                    <a:extLst>
                      <a:ext uri="{FF2B5EF4-FFF2-40B4-BE49-F238E27FC236}">
                        <a16:creationId xmlns:a16="http://schemas.microsoft.com/office/drawing/2014/main" id="{24FEE845-54F5-4CE1-9393-7E0C206DFE41}"/>
                      </a:ext>
                    </a:extLst>
                  </p:cNvPr>
                  <p:cNvSpPr/>
                  <p:nvPr/>
                </p:nvSpPr>
                <p:spPr>
                  <a:xfrm>
                    <a:off x="12544712" y="3390608"/>
                    <a:ext cx="0" cy="54681"/>
                  </a:xfrm>
                  <a:custGeom>
                    <a:avLst/>
                    <a:gdLst/>
                    <a:ahLst/>
                    <a:cxnLst/>
                    <a:rect l="l" t="t" r="r" b="b"/>
                    <a:pathLst>
                      <a:path w="120000" h="26670" extrusionOk="0">
                        <a:moveTo>
                          <a:pt x="0" y="0"/>
                        </a:moveTo>
                        <a:lnTo>
                          <a:pt x="0" y="26047"/>
                        </a:lnTo>
                      </a:path>
                    </a:pathLst>
                  </a:custGeom>
                  <a:grpFill/>
                  <a:ln w="12700"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60" name="Google Shape;3009;p22">
                    <a:extLst>
                      <a:ext uri="{FF2B5EF4-FFF2-40B4-BE49-F238E27FC236}">
                        <a16:creationId xmlns:a16="http://schemas.microsoft.com/office/drawing/2014/main" id="{3C374982-F444-4BE6-B316-CD4AAE836490}"/>
                      </a:ext>
                    </a:extLst>
                  </p:cNvPr>
                  <p:cNvSpPr/>
                  <p:nvPr/>
                </p:nvSpPr>
                <p:spPr>
                  <a:xfrm>
                    <a:off x="12582973" y="3390608"/>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61" name="Google Shape;3010;p22">
                    <a:extLst>
                      <a:ext uri="{FF2B5EF4-FFF2-40B4-BE49-F238E27FC236}">
                        <a16:creationId xmlns:a16="http://schemas.microsoft.com/office/drawing/2014/main" id="{9873D939-87C2-49A8-BA30-3A4CA9358B4A}"/>
                      </a:ext>
                    </a:extLst>
                  </p:cNvPr>
                  <p:cNvSpPr/>
                  <p:nvPr/>
                </p:nvSpPr>
                <p:spPr>
                  <a:xfrm>
                    <a:off x="12614596" y="3390608"/>
                    <a:ext cx="27765" cy="54681"/>
                  </a:xfrm>
                  <a:custGeom>
                    <a:avLst/>
                    <a:gdLst/>
                    <a:ahLst/>
                    <a:cxnLst/>
                    <a:rect l="l" t="t" r="r" b="b"/>
                    <a:pathLst>
                      <a:path w="12700" h="26670" extrusionOk="0">
                        <a:moveTo>
                          <a:pt x="0" y="26047"/>
                        </a:moveTo>
                        <a:lnTo>
                          <a:pt x="12700" y="26047"/>
                        </a:lnTo>
                        <a:lnTo>
                          <a:pt x="12700" y="0"/>
                        </a:lnTo>
                        <a:lnTo>
                          <a:pt x="0" y="0"/>
                        </a:lnTo>
                        <a:lnTo>
                          <a:pt x="0" y="26047"/>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62" name="Google Shape;3011;p22">
                    <a:extLst>
                      <a:ext uri="{FF2B5EF4-FFF2-40B4-BE49-F238E27FC236}">
                        <a16:creationId xmlns:a16="http://schemas.microsoft.com/office/drawing/2014/main" id="{837A5ADC-77DD-4576-A772-6A0124C3E079}"/>
                      </a:ext>
                    </a:extLst>
                  </p:cNvPr>
                  <p:cNvSpPr/>
                  <p:nvPr/>
                </p:nvSpPr>
                <p:spPr>
                  <a:xfrm>
                    <a:off x="12765942" y="3390608"/>
                    <a:ext cx="0" cy="54681"/>
                  </a:xfrm>
                  <a:custGeom>
                    <a:avLst/>
                    <a:gdLst/>
                    <a:ahLst/>
                    <a:cxnLst/>
                    <a:rect l="l" t="t" r="r" b="b"/>
                    <a:pathLst>
                      <a:path w="120000" h="26670" extrusionOk="0">
                        <a:moveTo>
                          <a:pt x="0" y="0"/>
                        </a:moveTo>
                        <a:lnTo>
                          <a:pt x="0" y="26047"/>
                        </a:lnTo>
                      </a:path>
                    </a:pathLst>
                  </a:custGeom>
                  <a:grpFill/>
                  <a:ln w="12700"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63" name="Google Shape;3050;p22">
                    <a:extLst>
                      <a:ext uri="{FF2B5EF4-FFF2-40B4-BE49-F238E27FC236}">
                        <a16:creationId xmlns:a16="http://schemas.microsoft.com/office/drawing/2014/main" id="{8047CF57-376F-4AB7-AF20-C4F3663FFFCB}"/>
                      </a:ext>
                    </a:extLst>
                  </p:cNvPr>
                  <p:cNvSpPr/>
                  <p:nvPr/>
                </p:nvSpPr>
                <p:spPr>
                  <a:xfrm>
                    <a:off x="9370267" y="1028299"/>
                    <a:ext cx="27765" cy="53377"/>
                  </a:xfrm>
                  <a:custGeom>
                    <a:avLst/>
                    <a:gdLst/>
                    <a:ahLst/>
                    <a:cxnLst/>
                    <a:rect l="l" t="t" r="r" b="b"/>
                    <a:pathLst>
                      <a:path w="12700" h="26035"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64" name="Google Shape;3051;p22">
                    <a:extLst>
                      <a:ext uri="{FF2B5EF4-FFF2-40B4-BE49-F238E27FC236}">
                        <a16:creationId xmlns:a16="http://schemas.microsoft.com/office/drawing/2014/main" id="{3FDD8B91-AD3A-40D6-8BAE-22AA753163CA}"/>
                      </a:ext>
                    </a:extLst>
                  </p:cNvPr>
                  <p:cNvSpPr/>
                  <p:nvPr/>
                </p:nvSpPr>
                <p:spPr>
                  <a:xfrm>
                    <a:off x="9376596" y="1035694"/>
                    <a:ext cx="27765" cy="53377"/>
                  </a:xfrm>
                  <a:custGeom>
                    <a:avLst/>
                    <a:gdLst/>
                    <a:ahLst/>
                    <a:cxnLst/>
                    <a:rect l="l" t="t" r="r" b="b"/>
                    <a:pathLst>
                      <a:path w="12700" h="26035"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65" name="Google Shape;3052;p22">
                    <a:extLst>
                      <a:ext uri="{FF2B5EF4-FFF2-40B4-BE49-F238E27FC236}">
                        <a16:creationId xmlns:a16="http://schemas.microsoft.com/office/drawing/2014/main" id="{4E8000F5-D346-4FBB-BA88-6FE356F20690}"/>
                      </a:ext>
                    </a:extLst>
                  </p:cNvPr>
                  <p:cNvSpPr/>
                  <p:nvPr/>
                </p:nvSpPr>
                <p:spPr>
                  <a:xfrm>
                    <a:off x="9395588" y="1050587"/>
                    <a:ext cx="27765" cy="53377"/>
                  </a:xfrm>
                  <a:custGeom>
                    <a:avLst/>
                    <a:gdLst/>
                    <a:ahLst/>
                    <a:cxnLst/>
                    <a:rect l="l" t="t" r="r" b="b"/>
                    <a:pathLst>
                      <a:path w="12700" h="26035"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66" name="Google Shape;3053;p22">
                    <a:extLst>
                      <a:ext uri="{FF2B5EF4-FFF2-40B4-BE49-F238E27FC236}">
                        <a16:creationId xmlns:a16="http://schemas.microsoft.com/office/drawing/2014/main" id="{89DA703F-9B3A-4F5A-BAEC-27DD8B5B8ED8}"/>
                      </a:ext>
                    </a:extLst>
                  </p:cNvPr>
                  <p:cNvSpPr/>
                  <p:nvPr/>
                </p:nvSpPr>
                <p:spPr>
                  <a:xfrm>
                    <a:off x="9401919" y="1080195"/>
                    <a:ext cx="27765" cy="53377"/>
                  </a:xfrm>
                  <a:custGeom>
                    <a:avLst/>
                    <a:gdLst/>
                    <a:ahLst/>
                    <a:cxnLst/>
                    <a:rect l="l" t="t" r="r" b="b"/>
                    <a:pathLst>
                      <a:path w="12700" h="26035"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67" name="Google Shape;3054;p22">
                    <a:extLst>
                      <a:ext uri="{FF2B5EF4-FFF2-40B4-BE49-F238E27FC236}">
                        <a16:creationId xmlns:a16="http://schemas.microsoft.com/office/drawing/2014/main" id="{641D03C0-57B3-4F88-A8A4-B98F0EF4D2A0}"/>
                      </a:ext>
                    </a:extLst>
                  </p:cNvPr>
                  <p:cNvSpPr/>
                  <p:nvPr/>
                </p:nvSpPr>
                <p:spPr>
                  <a:xfrm>
                    <a:off x="9408219" y="1087562"/>
                    <a:ext cx="27765" cy="53377"/>
                  </a:xfrm>
                  <a:custGeom>
                    <a:avLst/>
                    <a:gdLst/>
                    <a:ahLst/>
                    <a:cxnLst/>
                    <a:rect l="l" t="t" r="r" b="b"/>
                    <a:pathLst>
                      <a:path w="12700" h="26035" extrusionOk="0">
                        <a:moveTo>
                          <a:pt x="0" y="26034"/>
                        </a:moveTo>
                        <a:lnTo>
                          <a:pt x="12700" y="26034"/>
                        </a:lnTo>
                        <a:lnTo>
                          <a:pt x="12700" y="0"/>
                        </a:lnTo>
                        <a:lnTo>
                          <a:pt x="0" y="0"/>
                        </a:lnTo>
                        <a:lnTo>
                          <a:pt x="0" y="26034"/>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68" name="Google Shape;3055;p22">
                    <a:extLst>
                      <a:ext uri="{FF2B5EF4-FFF2-40B4-BE49-F238E27FC236}">
                        <a16:creationId xmlns:a16="http://schemas.microsoft.com/office/drawing/2014/main" id="{F9D8AC4D-4986-4A32-915A-695875C5A10E}"/>
                      </a:ext>
                    </a:extLst>
                  </p:cNvPr>
                  <p:cNvSpPr/>
                  <p:nvPr/>
                </p:nvSpPr>
                <p:spPr>
                  <a:xfrm>
                    <a:off x="9416133" y="1137947"/>
                    <a:ext cx="27765" cy="53377"/>
                  </a:xfrm>
                  <a:custGeom>
                    <a:avLst/>
                    <a:gdLst/>
                    <a:ahLst/>
                    <a:cxnLst/>
                    <a:rect l="l" t="t" r="r" b="b"/>
                    <a:pathLst>
                      <a:path w="12700" h="26035"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69" name="Google Shape;3056;p22">
                    <a:extLst>
                      <a:ext uri="{FF2B5EF4-FFF2-40B4-BE49-F238E27FC236}">
                        <a16:creationId xmlns:a16="http://schemas.microsoft.com/office/drawing/2014/main" id="{B4FB5922-4302-4D85-A747-489E130BF205}"/>
                      </a:ext>
                    </a:extLst>
                  </p:cNvPr>
                  <p:cNvSpPr/>
                  <p:nvPr/>
                </p:nvSpPr>
                <p:spPr>
                  <a:xfrm>
                    <a:off x="9422462" y="1145369"/>
                    <a:ext cx="27765" cy="53377"/>
                  </a:xfrm>
                  <a:custGeom>
                    <a:avLst/>
                    <a:gdLst/>
                    <a:ahLst/>
                    <a:cxnLst/>
                    <a:rect l="l" t="t" r="r" b="b"/>
                    <a:pathLst>
                      <a:path w="12700" h="26035"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70" name="Google Shape;3057;p22">
                    <a:extLst>
                      <a:ext uri="{FF2B5EF4-FFF2-40B4-BE49-F238E27FC236}">
                        <a16:creationId xmlns:a16="http://schemas.microsoft.com/office/drawing/2014/main" id="{AE9C5415-8DBE-405F-BF6B-AAC4E296FB3B}"/>
                      </a:ext>
                    </a:extLst>
                  </p:cNvPr>
                  <p:cNvSpPr/>
                  <p:nvPr/>
                </p:nvSpPr>
                <p:spPr>
                  <a:xfrm>
                    <a:off x="9428794" y="1152763"/>
                    <a:ext cx="27765" cy="53377"/>
                  </a:xfrm>
                  <a:custGeom>
                    <a:avLst/>
                    <a:gdLst/>
                    <a:ahLst/>
                    <a:cxnLst/>
                    <a:rect l="l" t="t" r="r" b="b"/>
                    <a:pathLst>
                      <a:path w="12700" h="26035" extrusionOk="0">
                        <a:moveTo>
                          <a:pt x="0" y="26034"/>
                        </a:moveTo>
                        <a:lnTo>
                          <a:pt x="12700" y="26034"/>
                        </a:lnTo>
                        <a:lnTo>
                          <a:pt x="12700" y="0"/>
                        </a:lnTo>
                        <a:lnTo>
                          <a:pt x="0" y="0"/>
                        </a:lnTo>
                        <a:lnTo>
                          <a:pt x="0" y="26034"/>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71" name="Google Shape;3058;p22">
                    <a:extLst>
                      <a:ext uri="{FF2B5EF4-FFF2-40B4-BE49-F238E27FC236}">
                        <a16:creationId xmlns:a16="http://schemas.microsoft.com/office/drawing/2014/main" id="{8D443575-22AC-449B-B1B1-0D61E4BACF12}"/>
                      </a:ext>
                    </a:extLst>
                  </p:cNvPr>
                  <p:cNvSpPr/>
                  <p:nvPr/>
                </p:nvSpPr>
                <p:spPr>
                  <a:xfrm>
                    <a:off x="9435151" y="1175026"/>
                    <a:ext cx="27765" cy="53377"/>
                  </a:xfrm>
                  <a:custGeom>
                    <a:avLst/>
                    <a:gdLst/>
                    <a:ahLst/>
                    <a:cxnLst/>
                    <a:rect l="l" t="t" r="r" b="b"/>
                    <a:pathLst>
                      <a:path w="12700" h="26035"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72" name="Google Shape;3059;p22">
                    <a:extLst>
                      <a:ext uri="{FF2B5EF4-FFF2-40B4-BE49-F238E27FC236}">
                        <a16:creationId xmlns:a16="http://schemas.microsoft.com/office/drawing/2014/main" id="{B333DA4A-C8D3-4702-AAA7-F2F94B6E6341}"/>
                      </a:ext>
                    </a:extLst>
                  </p:cNvPr>
                  <p:cNvSpPr/>
                  <p:nvPr/>
                </p:nvSpPr>
                <p:spPr>
                  <a:xfrm>
                    <a:off x="9447814" y="1197264"/>
                    <a:ext cx="27765" cy="53377"/>
                  </a:xfrm>
                  <a:custGeom>
                    <a:avLst/>
                    <a:gdLst/>
                    <a:ahLst/>
                    <a:cxnLst/>
                    <a:rect l="l" t="t" r="r" b="b"/>
                    <a:pathLst>
                      <a:path w="12700" h="26035"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73" name="Google Shape;3060;p22">
                    <a:extLst>
                      <a:ext uri="{FF2B5EF4-FFF2-40B4-BE49-F238E27FC236}">
                        <a16:creationId xmlns:a16="http://schemas.microsoft.com/office/drawing/2014/main" id="{C7A82728-DA74-4F09-BECC-BB43882B43EE}"/>
                      </a:ext>
                    </a:extLst>
                  </p:cNvPr>
                  <p:cNvSpPr/>
                  <p:nvPr/>
                </p:nvSpPr>
                <p:spPr>
                  <a:xfrm>
                    <a:off x="9454114" y="1219474"/>
                    <a:ext cx="27765" cy="53377"/>
                  </a:xfrm>
                  <a:custGeom>
                    <a:avLst/>
                    <a:gdLst/>
                    <a:ahLst/>
                    <a:cxnLst/>
                    <a:rect l="l" t="t" r="r" b="b"/>
                    <a:pathLst>
                      <a:path w="12700" h="26035"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74" name="Google Shape;3061;p22">
                    <a:extLst>
                      <a:ext uri="{FF2B5EF4-FFF2-40B4-BE49-F238E27FC236}">
                        <a16:creationId xmlns:a16="http://schemas.microsoft.com/office/drawing/2014/main" id="{55F9380A-8A29-45DA-9BC3-8A9B55E493F7}"/>
                      </a:ext>
                    </a:extLst>
                  </p:cNvPr>
                  <p:cNvSpPr/>
                  <p:nvPr/>
                </p:nvSpPr>
                <p:spPr>
                  <a:xfrm>
                    <a:off x="9460417" y="1234316"/>
                    <a:ext cx="27765" cy="53377"/>
                  </a:xfrm>
                  <a:custGeom>
                    <a:avLst/>
                    <a:gdLst/>
                    <a:ahLst/>
                    <a:cxnLst/>
                    <a:rect l="l" t="t" r="r" b="b"/>
                    <a:pathLst>
                      <a:path w="12700" h="26035"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75" name="Google Shape;3062;p22">
                    <a:extLst>
                      <a:ext uri="{FF2B5EF4-FFF2-40B4-BE49-F238E27FC236}">
                        <a16:creationId xmlns:a16="http://schemas.microsoft.com/office/drawing/2014/main" id="{CCFAC9B1-0E82-4C4F-B164-F8F7BCC1AC72}"/>
                      </a:ext>
                    </a:extLst>
                  </p:cNvPr>
                  <p:cNvSpPr/>
                  <p:nvPr/>
                </p:nvSpPr>
                <p:spPr>
                  <a:xfrm>
                    <a:off x="9474634" y="1271342"/>
                    <a:ext cx="27765" cy="53377"/>
                  </a:xfrm>
                  <a:custGeom>
                    <a:avLst/>
                    <a:gdLst/>
                    <a:ahLst/>
                    <a:cxnLst/>
                    <a:rect l="l" t="t" r="r" b="b"/>
                    <a:pathLst>
                      <a:path w="12700" h="26035"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76" name="Google Shape;3063;p22">
                    <a:extLst>
                      <a:ext uri="{FF2B5EF4-FFF2-40B4-BE49-F238E27FC236}">
                        <a16:creationId xmlns:a16="http://schemas.microsoft.com/office/drawing/2014/main" id="{8DFFC037-42FC-40C2-BC51-8FE7D06298F0}"/>
                      </a:ext>
                    </a:extLst>
                  </p:cNvPr>
                  <p:cNvSpPr/>
                  <p:nvPr/>
                </p:nvSpPr>
                <p:spPr>
                  <a:xfrm>
                    <a:off x="9480963" y="1286210"/>
                    <a:ext cx="27765" cy="53377"/>
                  </a:xfrm>
                  <a:custGeom>
                    <a:avLst/>
                    <a:gdLst/>
                    <a:ahLst/>
                    <a:cxnLst/>
                    <a:rect l="l" t="t" r="r" b="b"/>
                    <a:pathLst>
                      <a:path w="12700" h="26035"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77" name="Google Shape;3064;p22">
                    <a:extLst>
                      <a:ext uri="{FF2B5EF4-FFF2-40B4-BE49-F238E27FC236}">
                        <a16:creationId xmlns:a16="http://schemas.microsoft.com/office/drawing/2014/main" id="{104211DA-05A3-4253-A920-252FEE9FEE27}"/>
                      </a:ext>
                    </a:extLst>
                  </p:cNvPr>
                  <p:cNvSpPr/>
                  <p:nvPr/>
                </p:nvSpPr>
                <p:spPr>
                  <a:xfrm>
                    <a:off x="9487322" y="1300999"/>
                    <a:ext cx="27765" cy="53377"/>
                  </a:xfrm>
                  <a:custGeom>
                    <a:avLst/>
                    <a:gdLst/>
                    <a:ahLst/>
                    <a:cxnLst/>
                    <a:rect l="l" t="t" r="r" b="b"/>
                    <a:pathLst>
                      <a:path w="12700" h="26035"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78" name="Google Shape;3065;p22">
                    <a:extLst>
                      <a:ext uri="{FF2B5EF4-FFF2-40B4-BE49-F238E27FC236}">
                        <a16:creationId xmlns:a16="http://schemas.microsoft.com/office/drawing/2014/main" id="{57862DD4-DFA9-42B9-BB0F-F8526E986ABC}"/>
                      </a:ext>
                    </a:extLst>
                  </p:cNvPr>
                  <p:cNvSpPr/>
                  <p:nvPr/>
                </p:nvSpPr>
                <p:spPr>
                  <a:xfrm>
                    <a:off x="9499954" y="1338078"/>
                    <a:ext cx="27765" cy="53377"/>
                  </a:xfrm>
                  <a:custGeom>
                    <a:avLst/>
                    <a:gdLst/>
                    <a:ahLst/>
                    <a:cxnLst/>
                    <a:rect l="l" t="t" r="r" b="b"/>
                    <a:pathLst>
                      <a:path w="12700" h="26035"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79" name="Google Shape;3066;p22">
                    <a:extLst>
                      <a:ext uri="{FF2B5EF4-FFF2-40B4-BE49-F238E27FC236}">
                        <a16:creationId xmlns:a16="http://schemas.microsoft.com/office/drawing/2014/main" id="{B1FED898-ACA8-4211-9CBD-3518006ABF5A}"/>
                      </a:ext>
                    </a:extLst>
                  </p:cNvPr>
                  <p:cNvSpPr/>
                  <p:nvPr/>
                </p:nvSpPr>
                <p:spPr>
                  <a:xfrm>
                    <a:off x="9506286" y="1338078"/>
                    <a:ext cx="27765" cy="53377"/>
                  </a:xfrm>
                  <a:custGeom>
                    <a:avLst/>
                    <a:gdLst/>
                    <a:ahLst/>
                    <a:cxnLst/>
                    <a:rect l="l" t="t" r="r" b="b"/>
                    <a:pathLst>
                      <a:path w="12700" h="26035"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80" name="Google Shape;3067;p22">
                    <a:extLst>
                      <a:ext uri="{FF2B5EF4-FFF2-40B4-BE49-F238E27FC236}">
                        <a16:creationId xmlns:a16="http://schemas.microsoft.com/office/drawing/2014/main" id="{62945C06-7C5F-4ABB-8E4B-D368ABB3EB6B}"/>
                      </a:ext>
                    </a:extLst>
                  </p:cNvPr>
                  <p:cNvSpPr/>
                  <p:nvPr/>
                </p:nvSpPr>
                <p:spPr>
                  <a:xfrm>
                    <a:off x="9512615" y="1367684"/>
                    <a:ext cx="27765" cy="53377"/>
                  </a:xfrm>
                  <a:custGeom>
                    <a:avLst/>
                    <a:gdLst/>
                    <a:ahLst/>
                    <a:cxnLst/>
                    <a:rect l="l" t="t" r="r" b="b"/>
                    <a:pathLst>
                      <a:path w="12700" h="26035"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81" name="Google Shape;3068;p22">
                    <a:extLst>
                      <a:ext uri="{FF2B5EF4-FFF2-40B4-BE49-F238E27FC236}">
                        <a16:creationId xmlns:a16="http://schemas.microsoft.com/office/drawing/2014/main" id="{ABC097FC-2D5B-4BFB-8E17-DC8578F4792E}"/>
                      </a:ext>
                    </a:extLst>
                  </p:cNvPr>
                  <p:cNvSpPr/>
                  <p:nvPr/>
                </p:nvSpPr>
                <p:spPr>
                  <a:xfrm>
                    <a:off x="9518946" y="1382475"/>
                    <a:ext cx="27765" cy="53377"/>
                  </a:xfrm>
                  <a:custGeom>
                    <a:avLst/>
                    <a:gdLst/>
                    <a:ahLst/>
                    <a:cxnLst/>
                    <a:rect l="l" t="t" r="r" b="b"/>
                    <a:pathLst>
                      <a:path w="12700" h="26035"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82" name="Google Shape;3069;p22">
                    <a:extLst>
                      <a:ext uri="{FF2B5EF4-FFF2-40B4-BE49-F238E27FC236}">
                        <a16:creationId xmlns:a16="http://schemas.microsoft.com/office/drawing/2014/main" id="{02517B54-CC3C-4A60-B9B3-14E895BD73D7}"/>
                      </a:ext>
                    </a:extLst>
                  </p:cNvPr>
                  <p:cNvSpPr/>
                  <p:nvPr/>
                </p:nvSpPr>
                <p:spPr>
                  <a:xfrm>
                    <a:off x="9525249" y="1404736"/>
                    <a:ext cx="27765" cy="53377"/>
                  </a:xfrm>
                  <a:custGeom>
                    <a:avLst/>
                    <a:gdLst/>
                    <a:ahLst/>
                    <a:cxnLst/>
                    <a:rect l="l" t="t" r="r" b="b"/>
                    <a:pathLst>
                      <a:path w="12700" h="26035"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83" name="Google Shape;3070;p22">
                    <a:extLst>
                      <a:ext uri="{FF2B5EF4-FFF2-40B4-BE49-F238E27FC236}">
                        <a16:creationId xmlns:a16="http://schemas.microsoft.com/office/drawing/2014/main" id="{08C76FF1-77C9-46B5-954E-7FB52B63F62A}"/>
                      </a:ext>
                    </a:extLst>
                  </p:cNvPr>
                  <p:cNvSpPr/>
                  <p:nvPr/>
                </p:nvSpPr>
                <p:spPr>
                  <a:xfrm>
                    <a:off x="9533160" y="1419552"/>
                    <a:ext cx="27765" cy="53377"/>
                  </a:xfrm>
                  <a:custGeom>
                    <a:avLst/>
                    <a:gdLst/>
                    <a:ahLst/>
                    <a:cxnLst/>
                    <a:rect l="l" t="t" r="r" b="b"/>
                    <a:pathLst>
                      <a:path w="12700" h="26035"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84" name="Google Shape;3071;p22">
                    <a:extLst>
                      <a:ext uri="{FF2B5EF4-FFF2-40B4-BE49-F238E27FC236}">
                        <a16:creationId xmlns:a16="http://schemas.microsoft.com/office/drawing/2014/main" id="{CA7E174C-E8DD-495B-A61A-21A68FE3C7E6}"/>
                      </a:ext>
                    </a:extLst>
                  </p:cNvPr>
                  <p:cNvSpPr/>
                  <p:nvPr/>
                </p:nvSpPr>
                <p:spPr>
                  <a:xfrm>
                    <a:off x="9539520" y="1449184"/>
                    <a:ext cx="27765" cy="53377"/>
                  </a:xfrm>
                  <a:custGeom>
                    <a:avLst/>
                    <a:gdLst/>
                    <a:ahLst/>
                    <a:cxnLst/>
                    <a:rect l="l" t="t" r="r" b="b"/>
                    <a:pathLst>
                      <a:path w="12700" h="26035"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85" name="Google Shape;3072;p22">
                    <a:extLst>
                      <a:ext uri="{FF2B5EF4-FFF2-40B4-BE49-F238E27FC236}">
                        <a16:creationId xmlns:a16="http://schemas.microsoft.com/office/drawing/2014/main" id="{CEF98F45-69F2-437A-A5AD-599E558CCCEA}"/>
                      </a:ext>
                    </a:extLst>
                  </p:cNvPr>
                  <p:cNvSpPr/>
                  <p:nvPr/>
                </p:nvSpPr>
                <p:spPr>
                  <a:xfrm>
                    <a:off x="9545823" y="1456657"/>
                    <a:ext cx="27765" cy="53377"/>
                  </a:xfrm>
                  <a:custGeom>
                    <a:avLst/>
                    <a:gdLst/>
                    <a:ahLst/>
                    <a:cxnLst/>
                    <a:rect l="l" t="t" r="r" b="b"/>
                    <a:pathLst>
                      <a:path w="12700" h="26035"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86" name="Google Shape;3073;p22">
                    <a:extLst>
                      <a:ext uri="{FF2B5EF4-FFF2-40B4-BE49-F238E27FC236}">
                        <a16:creationId xmlns:a16="http://schemas.microsoft.com/office/drawing/2014/main" id="{E0DB2D52-1BDF-4E86-BB3B-15CA76F90D7A}"/>
                      </a:ext>
                    </a:extLst>
                  </p:cNvPr>
                  <p:cNvSpPr/>
                  <p:nvPr/>
                </p:nvSpPr>
                <p:spPr>
                  <a:xfrm>
                    <a:off x="9552152" y="1486210"/>
                    <a:ext cx="27765" cy="53377"/>
                  </a:xfrm>
                  <a:custGeom>
                    <a:avLst/>
                    <a:gdLst/>
                    <a:ahLst/>
                    <a:cxnLst/>
                    <a:rect l="l" t="t" r="r" b="b"/>
                    <a:pathLst>
                      <a:path w="12700" h="26035"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87" name="Google Shape;3074;p22">
                    <a:extLst>
                      <a:ext uri="{FF2B5EF4-FFF2-40B4-BE49-F238E27FC236}">
                        <a16:creationId xmlns:a16="http://schemas.microsoft.com/office/drawing/2014/main" id="{14F87C5A-E473-4721-8007-918C4F85C799}"/>
                      </a:ext>
                    </a:extLst>
                  </p:cNvPr>
                  <p:cNvSpPr/>
                  <p:nvPr/>
                </p:nvSpPr>
                <p:spPr>
                  <a:xfrm>
                    <a:off x="9558455" y="1508501"/>
                    <a:ext cx="27765" cy="53377"/>
                  </a:xfrm>
                  <a:custGeom>
                    <a:avLst/>
                    <a:gdLst/>
                    <a:ahLst/>
                    <a:cxnLst/>
                    <a:rect l="l" t="t" r="r" b="b"/>
                    <a:pathLst>
                      <a:path w="12700" h="26035"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88" name="Google Shape;3075;p22">
                    <a:extLst>
                      <a:ext uri="{FF2B5EF4-FFF2-40B4-BE49-F238E27FC236}">
                        <a16:creationId xmlns:a16="http://schemas.microsoft.com/office/drawing/2014/main" id="{2E7B26D8-57DF-473D-917C-CA865FE77457}"/>
                      </a:ext>
                    </a:extLst>
                  </p:cNvPr>
                  <p:cNvSpPr/>
                  <p:nvPr/>
                </p:nvSpPr>
                <p:spPr>
                  <a:xfrm>
                    <a:off x="9564757" y="1538080"/>
                    <a:ext cx="27765" cy="53377"/>
                  </a:xfrm>
                  <a:custGeom>
                    <a:avLst/>
                    <a:gdLst/>
                    <a:ahLst/>
                    <a:cxnLst/>
                    <a:rect l="l" t="t" r="r" b="b"/>
                    <a:pathLst>
                      <a:path w="12700" h="26035"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89" name="Google Shape;3076;p22">
                    <a:extLst>
                      <a:ext uri="{FF2B5EF4-FFF2-40B4-BE49-F238E27FC236}">
                        <a16:creationId xmlns:a16="http://schemas.microsoft.com/office/drawing/2014/main" id="{CFF20766-B28F-491C-A9E7-182BBF6587DB}"/>
                      </a:ext>
                    </a:extLst>
                  </p:cNvPr>
                  <p:cNvSpPr/>
                  <p:nvPr/>
                </p:nvSpPr>
                <p:spPr>
                  <a:xfrm>
                    <a:off x="9577391" y="1567737"/>
                    <a:ext cx="27765" cy="53377"/>
                  </a:xfrm>
                  <a:custGeom>
                    <a:avLst/>
                    <a:gdLst/>
                    <a:ahLst/>
                    <a:cxnLst/>
                    <a:rect l="l" t="t" r="r" b="b"/>
                    <a:pathLst>
                      <a:path w="12700" h="26035"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90" name="Google Shape;3077;p22">
                    <a:extLst>
                      <a:ext uri="{FF2B5EF4-FFF2-40B4-BE49-F238E27FC236}">
                        <a16:creationId xmlns:a16="http://schemas.microsoft.com/office/drawing/2014/main" id="{22986B0A-855F-4162-9FB9-B1D73524ED5E}"/>
                      </a:ext>
                    </a:extLst>
                  </p:cNvPr>
                  <p:cNvSpPr/>
                  <p:nvPr/>
                </p:nvSpPr>
                <p:spPr>
                  <a:xfrm>
                    <a:off x="9585303" y="1590025"/>
                    <a:ext cx="27765" cy="53377"/>
                  </a:xfrm>
                  <a:custGeom>
                    <a:avLst/>
                    <a:gdLst/>
                    <a:ahLst/>
                    <a:cxnLst/>
                    <a:rect l="l" t="t" r="r" b="b"/>
                    <a:pathLst>
                      <a:path w="12700" h="26035"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91" name="Google Shape;3078;p22">
                    <a:extLst>
                      <a:ext uri="{FF2B5EF4-FFF2-40B4-BE49-F238E27FC236}">
                        <a16:creationId xmlns:a16="http://schemas.microsoft.com/office/drawing/2014/main" id="{4303B24E-223C-4E89-9576-FD04209CA3B5}"/>
                      </a:ext>
                    </a:extLst>
                  </p:cNvPr>
                  <p:cNvSpPr/>
                  <p:nvPr/>
                </p:nvSpPr>
                <p:spPr>
                  <a:xfrm>
                    <a:off x="9591635" y="1612185"/>
                    <a:ext cx="27765" cy="53377"/>
                  </a:xfrm>
                  <a:custGeom>
                    <a:avLst/>
                    <a:gdLst/>
                    <a:ahLst/>
                    <a:cxnLst/>
                    <a:rect l="l" t="t" r="r" b="b"/>
                    <a:pathLst>
                      <a:path w="12700" h="26035"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92" name="Google Shape;3079;p22">
                    <a:extLst>
                      <a:ext uri="{FF2B5EF4-FFF2-40B4-BE49-F238E27FC236}">
                        <a16:creationId xmlns:a16="http://schemas.microsoft.com/office/drawing/2014/main" id="{4112635C-F2D8-44AC-8516-27867CE33524}"/>
                      </a:ext>
                    </a:extLst>
                  </p:cNvPr>
                  <p:cNvSpPr/>
                  <p:nvPr/>
                </p:nvSpPr>
                <p:spPr>
                  <a:xfrm>
                    <a:off x="9597964" y="1634473"/>
                    <a:ext cx="27765" cy="53377"/>
                  </a:xfrm>
                  <a:custGeom>
                    <a:avLst/>
                    <a:gdLst/>
                    <a:ahLst/>
                    <a:cxnLst/>
                    <a:rect l="l" t="t" r="r" b="b"/>
                    <a:pathLst>
                      <a:path w="12700" h="26035"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93" name="Google Shape;3080;p22">
                    <a:extLst>
                      <a:ext uri="{FF2B5EF4-FFF2-40B4-BE49-F238E27FC236}">
                        <a16:creationId xmlns:a16="http://schemas.microsoft.com/office/drawing/2014/main" id="{6B91171F-3B9B-4B77-AA58-D1B2DC4FB644}"/>
                      </a:ext>
                    </a:extLst>
                  </p:cNvPr>
                  <p:cNvSpPr/>
                  <p:nvPr/>
                </p:nvSpPr>
                <p:spPr>
                  <a:xfrm>
                    <a:off x="9610598" y="1649264"/>
                    <a:ext cx="27765" cy="53377"/>
                  </a:xfrm>
                  <a:custGeom>
                    <a:avLst/>
                    <a:gdLst/>
                    <a:ahLst/>
                    <a:cxnLst/>
                    <a:rect l="l" t="t" r="r" b="b"/>
                    <a:pathLst>
                      <a:path w="12700" h="26035"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94" name="Google Shape;3081;p22">
                    <a:extLst>
                      <a:ext uri="{FF2B5EF4-FFF2-40B4-BE49-F238E27FC236}">
                        <a16:creationId xmlns:a16="http://schemas.microsoft.com/office/drawing/2014/main" id="{0BABAC29-5389-4FF9-8B6F-93B0BDFCD86A}"/>
                      </a:ext>
                    </a:extLst>
                  </p:cNvPr>
                  <p:cNvSpPr/>
                  <p:nvPr/>
                </p:nvSpPr>
                <p:spPr>
                  <a:xfrm>
                    <a:off x="9616900" y="1656684"/>
                    <a:ext cx="27765" cy="53377"/>
                  </a:xfrm>
                  <a:custGeom>
                    <a:avLst/>
                    <a:gdLst/>
                    <a:ahLst/>
                    <a:cxnLst/>
                    <a:rect l="l" t="t" r="r" b="b"/>
                    <a:pathLst>
                      <a:path w="12700" h="26035"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95" name="Google Shape;3082;p22">
                    <a:extLst>
                      <a:ext uri="{FF2B5EF4-FFF2-40B4-BE49-F238E27FC236}">
                        <a16:creationId xmlns:a16="http://schemas.microsoft.com/office/drawing/2014/main" id="{082F36CD-6BB3-4EEA-8563-8D4F6E043103}"/>
                      </a:ext>
                    </a:extLst>
                  </p:cNvPr>
                  <p:cNvSpPr/>
                  <p:nvPr/>
                </p:nvSpPr>
                <p:spPr>
                  <a:xfrm>
                    <a:off x="9623229" y="1701131"/>
                    <a:ext cx="27765" cy="53377"/>
                  </a:xfrm>
                  <a:custGeom>
                    <a:avLst/>
                    <a:gdLst/>
                    <a:ahLst/>
                    <a:cxnLst/>
                    <a:rect l="l" t="t" r="r" b="b"/>
                    <a:pathLst>
                      <a:path w="12700" h="26035"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96" name="Google Shape;3083;p22">
                    <a:extLst>
                      <a:ext uri="{FF2B5EF4-FFF2-40B4-BE49-F238E27FC236}">
                        <a16:creationId xmlns:a16="http://schemas.microsoft.com/office/drawing/2014/main" id="{E2F7FAC4-E8A3-47F7-B8CC-5835BD371409}"/>
                      </a:ext>
                    </a:extLst>
                  </p:cNvPr>
                  <p:cNvSpPr/>
                  <p:nvPr/>
                </p:nvSpPr>
                <p:spPr>
                  <a:xfrm>
                    <a:off x="9629532" y="1708553"/>
                    <a:ext cx="27765" cy="53377"/>
                  </a:xfrm>
                  <a:custGeom>
                    <a:avLst/>
                    <a:gdLst/>
                    <a:ahLst/>
                    <a:cxnLst/>
                    <a:rect l="l" t="t" r="r" b="b"/>
                    <a:pathLst>
                      <a:path w="12700" h="26035"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97" name="Google Shape;3084;p22">
                    <a:extLst>
                      <a:ext uri="{FF2B5EF4-FFF2-40B4-BE49-F238E27FC236}">
                        <a16:creationId xmlns:a16="http://schemas.microsoft.com/office/drawing/2014/main" id="{AFCAB6E3-CACE-402E-A013-AB9AC7F59BB3}"/>
                      </a:ext>
                    </a:extLst>
                  </p:cNvPr>
                  <p:cNvSpPr/>
                  <p:nvPr/>
                </p:nvSpPr>
                <p:spPr>
                  <a:xfrm>
                    <a:off x="9635863" y="1754486"/>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98" name="Google Shape;3085;p22">
                    <a:extLst>
                      <a:ext uri="{FF2B5EF4-FFF2-40B4-BE49-F238E27FC236}">
                        <a16:creationId xmlns:a16="http://schemas.microsoft.com/office/drawing/2014/main" id="{2056048A-8CFC-416B-ADB0-6FB72C6D6A3B}"/>
                      </a:ext>
                    </a:extLst>
                  </p:cNvPr>
                  <p:cNvSpPr/>
                  <p:nvPr/>
                </p:nvSpPr>
                <p:spPr>
                  <a:xfrm>
                    <a:off x="9643775" y="1769274"/>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99" name="Google Shape;3086;p22">
                    <a:extLst>
                      <a:ext uri="{FF2B5EF4-FFF2-40B4-BE49-F238E27FC236}">
                        <a16:creationId xmlns:a16="http://schemas.microsoft.com/office/drawing/2014/main" id="{A38495A8-6125-4F44-B883-B4366916010A}"/>
                      </a:ext>
                    </a:extLst>
                  </p:cNvPr>
                  <p:cNvSpPr/>
                  <p:nvPr/>
                </p:nvSpPr>
                <p:spPr>
                  <a:xfrm>
                    <a:off x="9650107" y="1784143"/>
                    <a:ext cx="27765" cy="53377"/>
                  </a:xfrm>
                  <a:custGeom>
                    <a:avLst/>
                    <a:gdLst/>
                    <a:ahLst/>
                    <a:cxnLst/>
                    <a:rect l="l" t="t" r="r" b="b"/>
                    <a:pathLst>
                      <a:path w="12700" h="26034" extrusionOk="0">
                        <a:moveTo>
                          <a:pt x="0" y="26034"/>
                        </a:moveTo>
                        <a:lnTo>
                          <a:pt x="12700" y="26034"/>
                        </a:lnTo>
                        <a:lnTo>
                          <a:pt x="12700" y="0"/>
                        </a:lnTo>
                        <a:lnTo>
                          <a:pt x="0" y="0"/>
                        </a:lnTo>
                        <a:lnTo>
                          <a:pt x="0" y="26034"/>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00" name="Google Shape;3087;p22">
                    <a:extLst>
                      <a:ext uri="{FF2B5EF4-FFF2-40B4-BE49-F238E27FC236}">
                        <a16:creationId xmlns:a16="http://schemas.microsoft.com/office/drawing/2014/main" id="{F9F1324C-EBC6-44F9-A79E-1688E7555D77}"/>
                      </a:ext>
                    </a:extLst>
                  </p:cNvPr>
                  <p:cNvSpPr/>
                  <p:nvPr/>
                </p:nvSpPr>
                <p:spPr>
                  <a:xfrm>
                    <a:off x="9656409" y="1798933"/>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01" name="Google Shape;3088;p22">
                    <a:extLst>
                      <a:ext uri="{FF2B5EF4-FFF2-40B4-BE49-F238E27FC236}">
                        <a16:creationId xmlns:a16="http://schemas.microsoft.com/office/drawing/2014/main" id="{7C6553B5-3EA9-4567-BDB7-BAB761479DFD}"/>
                      </a:ext>
                    </a:extLst>
                  </p:cNvPr>
                  <p:cNvSpPr/>
                  <p:nvPr/>
                </p:nvSpPr>
                <p:spPr>
                  <a:xfrm>
                    <a:off x="9662712" y="1806353"/>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02" name="Google Shape;3089;p22">
                    <a:extLst>
                      <a:ext uri="{FF2B5EF4-FFF2-40B4-BE49-F238E27FC236}">
                        <a16:creationId xmlns:a16="http://schemas.microsoft.com/office/drawing/2014/main" id="{F54D1229-33CD-47B1-A4C5-C094F5F78D66}"/>
                      </a:ext>
                    </a:extLst>
                  </p:cNvPr>
                  <p:cNvSpPr/>
                  <p:nvPr/>
                </p:nvSpPr>
                <p:spPr>
                  <a:xfrm>
                    <a:off x="9675344" y="1821195"/>
                    <a:ext cx="27765" cy="53377"/>
                  </a:xfrm>
                  <a:custGeom>
                    <a:avLst/>
                    <a:gdLst/>
                    <a:ahLst/>
                    <a:cxnLst/>
                    <a:rect l="l" t="t" r="r" b="b"/>
                    <a:pathLst>
                      <a:path w="12700" h="26034"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03" name="Google Shape;3090;p22">
                    <a:extLst>
                      <a:ext uri="{FF2B5EF4-FFF2-40B4-BE49-F238E27FC236}">
                        <a16:creationId xmlns:a16="http://schemas.microsoft.com/office/drawing/2014/main" id="{1E3B992E-755B-42F4-8C53-91DF30EC1E50}"/>
                      </a:ext>
                    </a:extLst>
                  </p:cNvPr>
                  <p:cNvSpPr/>
                  <p:nvPr/>
                </p:nvSpPr>
                <p:spPr>
                  <a:xfrm>
                    <a:off x="9681675" y="1844863"/>
                    <a:ext cx="27765" cy="53377"/>
                  </a:xfrm>
                  <a:custGeom>
                    <a:avLst/>
                    <a:gdLst/>
                    <a:ahLst/>
                    <a:cxnLst/>
                    <a:rect l="l" t="t" r="r" b="b"/>
                    <a:pathLst>
                      <a:path w="12700" h="26034" extrusionOk="0">
                        <a:moveTo>
                          <a:pt x="0" y="26034"/>
                        </a:moveTo>
                        <a:lnTo>
                          <a:pt x="12700" y="26034"/>
                        </a:lnTo>
                        <a:lnTo>
                          <a:pt x="12700" y="0"/>
                        </a:lnTo>
                        <a:lnTo>
                          <a:pt x="0" y="0"/>
                        </a:lnTo>
                        <a:lnTo>
                          <a:pt x="0" y="26034"/>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04" name="Google Shape;3091;p22">
                    <a:extLst>
                      <a:ext uri="{FF2B5EF4-FFF2-40B4-BE49-F238E27FC236}">
                        <a16:creationId xmlns:a16="http://schemas.microsoft.com/office/drawing/2014/main" id="{4E6BB80C-A600-47C2-B5DD-3183A5112F26}"/>
                      </a:ext>
                    </a:extLst>
                  </p:cNvPr>
                  <p:cNvSpPr/>
                  <p:nvPr/>
                </p:nvSpPr>
                <p:spPr>
                  <a:xfrm>
                    <a:off x="9687978" y="1867076"/>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05" name="Google Shape;3092;p22">
                    <a:extLst>
                      <a:ext uri="{FF2B5EF4-FFF2-40B4-BE49-F238E27FC236}">
                        <a16:creationId xmlns:a16="http://schemas.microsoft.com/office/drawing/2014/main" id="{0FC2E3F6-F971-40B5-AE04-40FC42EDF0B9}"/>
                      </a:ext>
                    </a:extLst>
                  </p:cNvPr>
                  <p:cNvSpPr/>
                  <p:nvPr/>
                </p:nvSpPr>
                <p:spPr>
                  <a:xfrm>
                    <a:off x="9702221" y="1874496"/>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06" name="Google Shape;3093;p22">
                    <a:extLst>
                      <a:ext uri="{FF2B5EF4-FFF2-40B4-BE49-F238E27FC236}">
                        <a16:creationId xmlns:a16="http://schemas.microsoft.com/office/drawing/2014/main" id="{8063BBD7-F5DE-40B9-9834-30C4AF893FF2}"/>
                      </a:ext>
                    </a:extLst>
                  </p:cNvPr>
                  <p:cNvSpPr/>
                  <p:nvPr/>
                </p:nvSpPr>
                <p:spPr>
                  <a:xfrm>
                    <a:off x="9708524" y="1889365"/>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07" name="Google Shape;3094;p22">
                    <a:extLst>
                      <a:ext uri="{FF2B5EF4-FFF2-40B4-BE49-F238E27FC236}">
                        <a16:creationId xmlns:a16="http://schemas.microsoft.com/office/drawing/2014/main" id="{16C5BC02-B42C-4FA0-B4AC-8E8A6847B40C}"/>
                      </a:ext>
                    </a:extLst>
                  </p:cNvPr>
                  <p:cNvSpPr/>
                  <p:nvPr/>
                </p:nvSpPr>
                <p:spPr>
                  <a:xfrm>
                    <a:off x="9714853" y="1911575"/>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08" name="Google Shape;3095;p22">
                    <a:extLst>
                      <a:ext uri="{FF2B5EF4-FFF2-40B4-BE49-F238E27FC236}">
                        <a16:creationId xmlns:a16="http://schemas.microsoft.com/office/drawing/2014/main" id="{7C1DF46E-6828-46AB-8A13-2FDFEAA41C0D}"/>
                      </a:ext>
                    </a:extLst>
                  </p:cNvPr>
                  <p:cNvSpPr/>
                  <p:nvPr/>
                </p:nvSpPr>
                <p:spPr>
                  <a:xfrm>
                    <a:off x="9721156" y="1942717"/>
                    <a:ext cx="27765" cy="53377"/>
                  </a:xfrm>
                  <a:custGeom>
                    <a:avLst/>
                    <a:gdLst/>
                    <a:ahLst/>
                    <a:cxnLst/>
                    <a:rect l="l" t="t" r="r" b="b"/>
                    <a:pathLst>
                      <a:path w="12700" h="26034"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09" name="Google Shape;3096;p22">
                    <a:extLst>
                      <a:ext uri="{FF2B5EF4-FFF2-40B4-BE49-F238E27FC236}">
                        <a16:creationId xmlns:a16="http://schemas.microsoft.com/office/drawing/2014/main" id="{5FAAB5DB-852A-46AD-9DA2-61BF4AFBD6F5}"/>
                      </a:ext>
                    </a:extLst>
                  </p:cNvPr>
                  <p:cNvSpPr/>
                  <p:nvPr/>
                </p:nvSpPr>
                <p:spPr>
                  <a:xfrm>
                    <a:off x="9727487" y="1950139"/>
                    <a:ext cx="27765" cy="53377"/>
                  </a:xfrm>
                  <a:custGeom>
                    <a:avLst/>
                    <a:gdLst/>
                    <a:ahLst/>
                    <a:cxnLst/>
                    <a:rect l="l" t="t" r="r" b="b"/>
                    <a:pathLst>
                      <a:path w="12700" h="26034"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10" name="Google Shape;3097;p22">
                    <a:extLst>
                      <a:ext uri="{FF2B5EF4-FFF2-40B4-BE49-F238E27FC236}">
                        <a16:creationId xmlns:a16="http://schemas.microsoft.com/office/drawing/2014/main" id="{29E0463B-DCCB-4C6D-8B93-510CAF7ACA3C}"/>
                      </a:ext>
                    </a:extLst>
                  </p:cNvPr>
                  <p:cNvSpPr/>
                  <p:nvPr/>
                </p:nvSpPr>
                <p:spPr>
                  <a:xfrm>
                    <a:off x="9754362" y="2016848"/>
                    <a:ext cx="27765" cy="53377"/>
                  </a:xfrm>
                  <a:custGeom>
                    <a:avLst/>
                    <a:gdLst/>
                    <a:ahLst/>
                    <a:cxnLst/>
                    <a:rect l="l" t="t" r="r" b="b"/>
                    <a:pathLst>
                      <a:path w="12700" h="26034" extrusionOk="0">
                        <a:moveTo>
                          <a:pt x="0" y="25971"/>
                        </a:moveTo>
                        <a:lnTo>
                          <a:pt x="12700" y="25971"/>
                        </a:lnTo>
                        <a:lnTo>
                          <a:pt x="12700" y="0"/>
                        </a:lnTo>
                        <a:lnTo>
                          <a:pt x="0" y="0"/>
                        </a:lnTo>
                        <a:lnTo>
                          <a:pt x="0" y="25971"/>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11" name="Google Shape;3098;p22">
                    <a:extLst>
                      <a:ext uri="{FF2B5EF4-FFF2-40B4-BE49-F238E27FC236}">
                        <a16:creationId xmlns:a16="http://schemas.microsoft.com/office/drawing/2014/main" id="{4EA41944-3512-47B6-AF0D-789DAABB2DD0}"/>
                      </a:ext>
                    </a:extLst>
                  </p:cNvPr>
                  <p:cNvSpPr/>
                  <p:nvPr/>
                </p:nvSpPr>
                <p:spPr>
                  <a:xfrm>
                    <a:off x="9760693" y="2025752"/>
                    <a:ext cx="27765" cy="53377"/>
                  </a:xfrm>
                  <a:custGeom>
                    <a:avLst/>
                    <a:gdLst/>
                    <a:ahLst/>
                    <a:cxnLst/>
                    <a:rect l="l" t="t" r="r" b="b"/>
                    <a:pathLst>
                      <a:path w="12700" h="26034"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12" name="Google Shape;3099;p22">
                    <a:extLst>
                      <a:ext uri="{FF2B5EF4-FFF2-40B4-BE49-F238E27FC236}">
                        <a16:creationId xmlns:a16="http://schemas.microsoft.com/office/drawing/2014/main" id="{D22974C5-712E-4621-8AED-EB4E7178A3CF}"/>
                      </a:ext>
                    </a:extLst>
                  </p:cNvPr>
                  <p:cNvSpPr/>
                  <p:nvPr/>
                </p:nvSpPr>
                <p:spPr>
                  <a:xfrm>
                    <a:off x="9767024" y="2040543"/>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13" name="Google Shape;3100;p22">
                    <a:extLst>
                      <a:ext uri="{FF2B5EF4-FFF2-40B4-BE49-F238E27FC236}">
                        <a16:creationId xmlns:a16="http://schemas.microsoft.com/office/drawing/2014/main" id="{3014FDE9-335D-4768-9865-0CC23253BC51}"/>
                      </a:ext>
                    </a:extLst>
                  </p:cNvPr>
                  <p:cNvSpPr/>
                  <p:nvPr/>
                </p:nvSpPr>
                <p:spPr>
                  <a:xfrm>
                    <a:off x="9798648" y="2101266"/>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14" name="Google Shape;3101;p22">
                    <a:extLst>
                      <a:ext uri="{FF2B5EF4-FFF2-40B4-BE49-F238E27FC236}">
                        <a16:creationId xmlns:a16="http://schemas.microsoft.com/office/drawing/2014/main" id="{95BEA2BE-C374-4954-9343-3007E41D7D9C}"/>
                      </a:ext>
                    </a:extLst>
                  </p:cNvPr>
                  <p:cNvSpPr/>
                  <p:nvPr/>
                </p:nvSpPr>
                <p:spPr>
                  <a:xfrm>
                    <a:off x="9804950" y="2101266"/>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15" name="Google Shape;3102;p22">
                    <a:extLst>
                      <a:ext uri="{FF2B5EF4-FFF2-40B4-BE49-F238E27FC236}">
                        <a16:creationId xmlns:a16="http://schemas.microsoft.com/office/drawing/2014/main" id="{05DA4BAE-99D4-4BB8-9B12-831FAFFC35F1}"/>
                      </a:ext>
                    </a:extLst>
                  </p:cNvPr>
                  <p:cNvSpPr/>
                  <p:nvPr/>
                </p:nvSpPr>
                <p:spPr>
                  <a:xfrm>
                    <a:off x="9812862" y="2108710"/>
                    <a:ext cx="27765" cy="53377"/>
                  </a:xfrm>
                  <a:custGeom>
                    <a:avLst/>
                    <a:gdLst/>
                    <a:ahLst/>
                    <a:cxnLst/>
                    <a:rect l="l" t="t" r="r" b="b"/>
                    <a:pathLst>
                      <a:path w="12700" h="26034"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16" name="Google Shape;3103;p22">
                    <a:extLst>
                      <a:ext uri="{FF2B5EF4-FFF2-40B4-BE49-F238E27FC236}">
                        <a16:creationId xmlns:a16="http://schemas.microsoft.com/office/drawing/2014/main" id="{DD482F2F-D1F5-4065-9912-93066607CEA4}"/>
                      </a:ext>
                    </a:extLst>
                  </p:cNvPr>
                  <p:cNvSpPr/>
                  <p:nvPr/>
                </p:nvSpPr>
                <p:spPr>
                  <a:xfrm>
                    <a:off x="9825496" y="2130923"/>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17" name="Google Shape;3104;p22">
                    <a:extLst>
                      <a:ext uri="{FF2B5EF4-FFF2-40B4-BE49-F238E27FC236}">
                        <a16:creationId xmlns:a16="http://schemas.microsoft.com/office/drawing/2014/main" id="{52BB60E5-BD60-4946-BC62-73B123F1333A}"/>
                      </a:ext>
                    </a:extLst>
                  </p:cNvPr>
                  <p:cNvSpPr/>
                  <p:nvPr/>
                </p:nvSpPr>
                <p:spPr>
                  <a:xfrm>
                    <a:off x="9844459" y="2169433"/>
                    <a:ext cx="27765" cy="53377"/>
                  </a:xfrm>
                  <a:custGeom>
                    <a:avLst/>
                    <a:gdLst/>
                    <a:ahLst/>
                    <a:cxnLst/>
                    <a:rect l="l" t="t" r="r" b="b"/>
                    <a:pathLst>
                      <a:path w="12700" h="26034"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18" name="Google Shape;3105;p22">
                    <a:extLst>
                      <a:ext uri="{FF2B5EF4-FFF2-40B4-BE49-F238E27FC236}">
                        <a16:creationId xmlns:a16="http://schemas.microsoft.com/office/drawing/2014/main" id="{2CDD6A5E-0D74-4255-86BF-2AE5AB038BDE}"/>
                      </a:ext>
                    </a:extLst>
                  </p:cNvPr>
                  <p:cNvSpPr/>
                  <p:nvPr/>
                </p:nvSpPr>
                <p:spPr>
                  <a:xfrm>
                    <a:off x="9850788" y="2176906"/>
                    <a:ext cx="27765" cy="53377"/>
                  </a:xfrm>
                  <a:custGeom>
                    <a:avLst/>
                    <a:gdLst/>
                    <a:ahLst/>
                    <a:cxnLst/>
                    <a:rect l="l" t="t" r="r" b="b"/>
                    <a:pathLst>
                      <a:path w="12700" h="26034"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19" name="Google Shape;3106;p22">
                    <a:extLst>
                      <a:ext uri="{FF2B5EF4-FFF2-40B4-BE49-F238E27FC236}">
                        <a16:creationId xmlns:a16="http://schemas.microsoft.com/office/drawing/2014/main" id="{5257825A-D034-46EA-BB33-2588D033486D}"/>
                      </a:ext>
                    </a:extLst>
                  </p:cNvPr>
                  <p:cNvSpPr/>
                  <p:nvPr/>
                </p:nvSpPr>
                <p:spPr>
                  <a:xfrm>
                    <a:off x="9871334" y="2191695"/>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20" name="Google Shape;3107;p22">
                    <a:extLst>
                      <a:ext uri="{FF2B5EF4-FFF2-40B4-BE49-F238E27FC236}">
                        <a16:creationId xmlns:a16="http://schemas.microsoft.com/office/drawing/2014/main" id="{F8267E78-BEFE-49C1-AC55-89BF48C1D1B2}"/>
                      </a:ext>
                    </a:extLst>
                  </p:cNvPr>
                  <p:cNvSpPr/>
                  <p:nvPr/>
                </p:nvSpPr>
                <p:spPr>
                  <a:xfrm>
                    <a:off x="9883968" y="2207970"/>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21" name="Google Shape;3108;p22">
                    <a:extLst>
                      <a:ext uri="{FF2B5EF4-FFF2-40B4-BE49-F238E27FC236}">
                        <a16:creationId xmlns:a16="http://schemas.microsoft.com/office/drawing/2014/main" id="{6BB987A3-F471-4F39-89EC-53AA21AB7EE3}"/>
                      </a:ext>
                    </a:extLst>
                  </p:cNvPr>
                  <p:cNvSpPr/>
                  <p:nvPr/>
                </p:nvSpPr>
                <p:spPr>
                  <a:xfrm>
                    <a:off x="9890297" y="2215392"/>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22" name="Google Shape;3109;p22">
                    <a:extLst>
                      <a:ext uri="{FF2B5EF4-FFF2-40B4-BE49-F238E27FC236}">
                        <a16:creationId xmlns:a16="http://schemas.microsoft.com/office/drawing/2014/main" id="{49AB7E67-29C8-4CE6-9A65-3DB87A342299}"/>
                      </a:ext>
                    </a:extLst>
                  </p:cNvPr>
                  <p:cNvSpPr/>
                  <p:nvPr/>
                </p:nvSpPr>
                <p:spPr>
                  <a:xfrm>
                    <a:off x="9909234" y="2230232"/>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23" name="Google Shape;3110;p22">
                    <a:extLst>
                      <a:ext uri="{FF2B5EF4-FFF2-40B4-BE49-F238E27FC236}">
                        <a16:creationId xmlns:a16="http://schemas.microsoft.com/office/drawing/2014/main" id="{D555FD97-6248-4CFE-B69E-A80E916232D0}"/>
                      </a:ext>
                    </a:extLst>
                  </p:cNvPr>
                  <p:cNvSpPr/>
                  <p:nvPr/>
                </p:nvSpPr>
                <p:spPr>
                  <a:xfrm>
                    <a:off x="9915565" y="2245049"/>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24" name="Google Shape;3111;p22">
                    <a:extLst>
                      <a:ext uri="{FF2B5EF4-FFF2-40B4-BE49-F238E27FC236}">
                        <a16:creationId xmlns:a16="http://schemas.microsoft.com/office/drawing/2014/main" id="{08BF9DAD-545B-472E-AFF9-F11D538A33B7}"/>
                      </a:ext>
                    </a:extLst>
                  </p:cNvPr>
                  <p:cNvSpPr/>
                  <p:nvPr/>
                </p:nvSpPr>
                <p:spPr>
                  <a:xfrm>
                    <a:off x="9923477" y="2253954"/>
                    <a:ext cx="27765" cy="53377"/>
                  </a:xfrm>
                  <a:custGeom>
                    <a:avLst/>
                    <a:gdLst/>
                    <a:ahLst/>
                    <a:cxnLst/>
                    <a:rect l="l" t="t" r="r" b="b"/>
                    <a:pathLst>
                      <a:path w="12700" h="26034"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25" name="Google Shape;3112;p22">
                    <a:extLst>
                      <a:ext uri="{FF2B5EF4-FFF2-40B4-BE49-F238E27FC236}">
                        <a16:creationId xmlns:a16="http://schemas.microsoft.com/office/drawing/2014/main" id="{FF118CAD-CD8A-4AF6-AE2F-948343555855}"/>
                      </a:ext>
                    </a:extLst>
                  </p:cNvPr>
                  <p:cNvSpPr/>
                  <p:nvPr/>
                </p:nvSpPr>
                <p:spPr>
                  <a:xfrm>
                    <a:off x="9936109" y="2268742"/>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26" name="Google Shape;3113;p22">
                    <a:extLst>
                      <a:ext uri="{FF2B5EF4-FFF2-40B4-BE49-F238E27FC236}">
                        <a16:creationId xmlns:a16="http://schemas.microsoft.com/office/drawing/2014/main" id="{E39972F0-CBA8-425E-9434-437AB1D1AC91}"/>
                      </a:ext>
                    </a:extLst>
                  </p:cNvPr>
                  <p:cNvSpPr/>
                  <p:nvPr/>
                </p:nvSpPr>
                <p:spPr>
                  <a:xfrm>
                    <a:off x="9948743" y="2283584"/>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27" name="Google Shape;3114;p22">
                    <a:extLst>
                      <a:ext uri="{FF2B5EF4-FFF2-40B4-BE49-F238E27FC236}">
                        <a16:creationId xmlns:a16="http://schemas.microsoft.com/office/drawing/2014/main" id="{45003E54-977E-4C37-BC29-B451286E6BD8}"/>
                      </a:ext>
                    </a:extLst>
                  </p:cNvPr>
                  <p:cNvSpPr/>
                  <p:nvPr/>
                </p:nvSpPr>
                <p:spPr>
                  <a:xfrm>
                    <a:off x="9955074" y="2291006"/>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28" name="Google Shape;3115;p22">
                    <a:extLst>
                      <a:ext uri="{FF2B5EF4-FFF2-40B4-BE49-F238E27FC236}">
                        <a16:creationId xmlns:a16="http://schemas.microsoft.com/office/drawing/2014/main" id="{64B14784-EA8C-49B0-BDB4-71EB00A7E51F}"/>
                      </a:ext>
                    </a:extLst>
                  </p:cNvPr>
                  <p:cNvSpPr/>
                  <p:nvPr/>
                </p:nvSpPr>
                <p:spPr>
                  <a:xfrm>
                    <a:off x="9961432" y="2307254"/>
                    <a:ext cx="27765" cy="53377"/>
                  </a:xfrm>
                  <a:custGeom>
                    <a:avLst/>
                    <a:gdLst/>
                    <a:ahLst/>
                    <a:cxnLst/>
                    <a:rect l="l" t="t" r="r" b="b"/>
                    <a:pathLst>
                      <a:path w="12700" h="26034" extrusionOk="0">
                        <a:moveTo>
                          <a:pt x="0" y="26034"/>
                        </a:moveTo>
                        <a:lnTo>
                          <a:pt x="12700" y="26034"/>
                        </a:lnTo>
                        <a:lnTo>
                          <a:pt x="12700" y="0"/>
                        </a:lnTo>
                        <a:lnTo>
                          <a:pt x="0" y="0"/>
                        </a:lnTo>
                        <a:lnTo>
                          <a:pt x="0" y="26034"/>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29" name="Google Shape;3116;p22">
                    <a:extLst>
                      <a:ext uri="{FF2B5EF4-FFF2-40B4-BE49-F238E27FC236}">
                        <a16:creationId xmlns:a16="http://schemas.microsoft.com/office/drawing/2014/main" id="{09E56376-5B11-41C2-9D3D-F9846E7D7248}"/>
                      </a:ext>
                    </a:extLst>
                  </p:cNvPr>
                  <p:cNvSpPr/>
                  <p:nvPr/>
                </p:nvSpPr>
                <p:spPr>
                  <a:xfrm>
                    <a:off x="9967734" y="2329518"/>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30" name="Google Shape;3117;p22">
                    <a:extLst>
                      <a:ext uri="{FF2B5EF4-FFF2-40B4-BE49-F238E27FC236}">
                        <a16:creationId xmlns:a16="http://schemas.microsoft.com/office/drawing/2014/main" id="{8149EC66-05B7-4731-9843-479BDEC4FB4A}"/>
                      </a:ext>
                    </a:extLst>
                  </p:cNvPr>
                  <p:cNvSpPr/>
                  <p:nvPr/>
                </p:nvSpPr>
                <p:spPr>
                  <a:xfrm>
                    <a:off x="9974063" y="2344360"/>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31" name="Google Shape;3118;p22">
                    <a:extLst>
                      <a:ext uri="{FF2B5EF4-FFF2-40B4-BE49-F238E27FC236}">
                        <a16:creationId xmlns:a16="http://schemas.microsoft.com/office/drawing/2014/main" id="{D4510CFF-1B9D-4EA9-81F4-7DA6D62DB7F3}"/>
                      </a:ext>
                    </a:extLst>
                  </p:cNvPr>
                  <p:cNvSpPr/>
                  <p:nvPr/>
                </p:nvSpPr>
                <p:spPr>
                  <a:xfrm>
                    <a:off x="9988280" y="2368053"/>
                    <a:ext cx="27765" cy="53377"/>
                  </a:xfrm>
                  <a:custGeom>
                    <a:avLst/>
                    <a:gdLst/>
                    <a:ahLst/>
                    <a:cxnLst/>
                    <a:rect l="l" t="t" r="r" b="b"/>
                    <a:pathLst>
                      <a:path w="12700" h="26034"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32" name="Google Shape;3119;p22">
                    <a:extLst>
                      <a:ext uri="{FF2B5EF4-FFF2-40B4-BE49-F238E27FC236}">
                        <a16:creationId xmlns:a16="http://schemas.microsoft.com/office/drawing/2014/main" id="{C356DA9B-BDE0-43D3-A05B-5BE7EC55447B}"/>
                      </a:ext>
                    </a:extLst>
                  </p:cNvPr>
                  <p:cNvSpPr/>
                  <p:nvPr/>
                </p:nvSpPr>
                <p:spPr>
                  <a:xfrm>
                    <a:off x="9994609" y="2375448"/>
                    <a:ext cx="27765" cy="53377"/>
                  </a:xfrm>
                  <a:custGeom>
                    <a:avLst/>
                    <a:gdLst/>
                    <a:ahLst/>
                    <a:cxnLst/>
                    <a:rect l="l" t="t" r="r" b="b"/>
                    <a:pathLst>
                      <a:path w="12700" h="26034"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33" name="Google Shape;3120;p22">
                    <a:extLst>
                      <a:ext uri="{FF2B5EF4-FFF2-40B4-BE49-F238E27FC236}">
                        <a16:creationId xmlns:a16="http://schemas.microsoft.com/office/drawing/2014/main" id="{ABB5A11F-710B-4E7A-B9F6-B2ECD733AD48}"/>
                      </a:ext>
                    </a:extLst>
                  </p:cNvPr>
                  <p:cNvSpPr/>
                  <p:nvPr/>
                </p:nvSpPr>
                <p:spPr>
                  <a:xfrm>
                    <a:off x="10000912" y="2391775"/>
                    <a:ext cx="27765" cy="53377"/>
                  </a:xfrm>
                  <a:custGeom>
                    <a:avLst/>
                    <a:gdLst/>
                    <a:ahLst/>
                    <a:cxnLst/>
                    <a:rect l="l" t="t" r="r" b="b"/>
                    <a:pathLst>
                      <a:path w="12700" h="26034" extrusionOk="0">
                        <a:moveTo>
                          <a:pt x="0" y="25984"/>
                        </a:moveTo>
                        <a:lnTo>
                          <a:pt x="12700" y="25984"/>
                        </a:lnTo>
                        <a:lnTo>
                          <a:pt x="12700" y="0"/>
                        </a:lnTo>
                        <a:lnTo>
                          <a:pt x="0" y="0"/>
                        </a:lnTo>
                        <a:lnTo>
                          <a:pt x="0" y="25984"/>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34" name="Google Shape;3121;p22">
                    <a:extLst>
                      <a:ext uri="{FF2B5EF4-FFF2-40B4-BE49-F238E27FC236}">
                        <a16:creationId xmlns:a16="http://schemas.microsoft.com/office/drawing/2014/main" id="{E0277728-FEB8-4960-AD7D-FD51DA8586A5}"/>
                      </a:ext>
                    </a:extLst>
                  </p:cNvPr>
                  <p:cNvSpPr/>
                  <p:nvPr/>
                </p:nvSpPr>
                <p:spPr>
                  <a:xfrm>
                    <a:off x="10007243" y="2399195"/>
                    <a:ext cx="27765" cy="53377"/>
                  </a:xfrm>
                  <a:custGeom>
                    <a:avLst/>
                    <a:gdLst/>
                    <a:ahLst/>
                    <a:cxnLst/>
                    <a:rect l="l" t="t" r="r" b="b"/>
                    <a:pathLst>
                      <a:path w="12700" h="26034"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35" name="Google Shape;3122;p22">
                    <a:extLst>
                      <a:ext uri="{FF2B5EF4-FFF2-40B4-BE49-F238E27FC236}">
                        <a16:creationId xmlns:a16="http://schemas.microsoft.com/office/drawing/2014/main" id="{BA432215-3ED8-46A7-A009-D7A095E6C721}"/>
                      </a:ext>
                    </a:extLst>
                  </p:cNvPr>
                  <p:cNvSpPr/>
                  <p:nvPr/>
                </p:nvSpPr>
                <p:spPr>
                  <a:xfrm>
                    <a:off x="10013575" y="2406616"/>
                    <a:ext cx="27765" cy="53377"/>
                  </a:xfrm>
                  <a:custGeom>
                    <a:avLst/>
                    <a:gdLst/>
                    <a:ahLst/>
                    <a:cxnLst/>
                    <a:rect l="l" t="t" r="r" b="b"/>
                    <a:pathLst>
                      <a:path w="12700" h="26034"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36" name="Google Shape;3123;p22">
                    <a:extLst>
                      <a:ext uri="{FF2B5EF4-FFF2-40B4-BE49-F238E27FC236}">
                        <a16:creationId xmlns:a16="http://schemas.microsoft.com/office/drawing/2014/main" id="{37110570-B328-4697-B590-B49BBE685BD8}"/>
                      </a:ext>
                    </a:extLst>
                  </p:cNvPr>
                  <p:cNvSpPr/>
                  <p:nvPr/>
                </p:nvSpPr>
                <p:spPr>
                  <a:xfrm>
                    <a:off x="10072047" y="2422892"/>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37" name="Google Shape;3124;p22">
                    <a:extLst>
                      <a:ext uri="{FF2B5EF4-FFF2-40B4-BE49-F238E27FC236}">
                        <a16:creationId xmlns:a16="http://schemas.microsoft.com/office/drawing/2014/main" id="{C8F69819-D59C-4824-AADB-E51D9D32F006}"/>
                      </a:ext>
                    </a:extLst>
                  </p:cNvPr>
                  <p:cNvSpPr/>
                  <p:nvPr/>
                </p:nvSpPr>
                <p:spPr>
                  <a:xfrm>
                    <a:off x="10078376" y="2430311"/>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38" name="Google Shape;3125;p22">
                    <a:extLst>
                      <a:ext uri="{FF2B5EF4-FFF2-40B4-BE49-F238E27FC236}">
                        <a16:creationId xmlns:a16="http://schemas.microsoft.com/office/drawing/2014/main" id="{D00B2D44-F64A-4533-A646-F42DD5313BD0}"/>
                      </a:ext>
                    </a:extLst>
                  </p:cNvPr>
                  <p:cNvSpPr/>
                  <p:nvPr/>
                </p:nvSpPr>
                <p:spPr>
                  <a:xfrm>
                    <a:off x="10091038" y="2430311"/>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39" name="Google Shape;3126;p22">
                    <a:extLst>
                      <a:ext uri="{FF2B5EF4-FFF2-40B4-BE49-F238E27FC236}">
                        <a16:creationId xmlns:a16="http://schemas.microsoft.com/office/drawing/2014/main" id="{87D2180B-C99E-44D1-8F96-E2B5FCD4F8F4}"/>
                      </a:ext>
                    </a:extLst>
                  </p:cNvPr>
                  <p:cNvSpPr/>
                  <p:nvPr/>
                </p:nvSpPr>
                <p:spPr>
                  <a:xfrm>
                    <a:off x="10098921" y="2439216"/>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40" name="Google Shape;3127;p22">
                    <a:extLst>
                      <a:ext uri="{FF2B5EF4-FFF2-40B4-BE49-F238E27FC236}">
                        <a16:creationId xmlns:a16="http://schemas.microsoft.com/office/drawing/2014/main" id="{4FBC9AD5-4F3D-4D0F-A566-6451D5998807}"/>
                      </a:ext>
                    </a:extLst>
                  </p:cNvPr>
                  <p:cNvSpPr/>
                  <p:nvPr/>
                </p:nvSpPr>
                <p:spPr>
                  <a:xfrm>
                    <a:off x="10136876" y="2488090"/>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41" name="Google Shape;3128;p22">
                    <a:extLst>
                      <a:ext uri="{FF2B5EF4-FFF2-40B4-BE49-F238E27FC236}">
                        <a16:creationId xmlns:a16="http://schemas.microsoft.com/office/drawing/2014/main" id="{F3EEC013-57CE-4DB9-8BDA-C74918063869}"/>
                      </a:ext>
                    </a:extLst>
                  </p:cNvPr>
                  <p:cNvSpPr/>
                  <p:nvPr/>
                </p:nvSpPr>
                <p:spPr>
                  <a:xfrm>
                    <a:off x="10182716" y="2520691"/>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42" name="Google Shape;3129;p22">
                    <a:extLst>
                      <a:ext uri="{FF2B5EF4-FFF2-40B4-BE49-F238E27FC236}">
                        <a16:creationId xmlns:a16="http://schemas.microsoft.com/office/drawing/2014/main" id="{5BBC3DA9-3B0B-4C05-97E9-46DEE14D5D23}"/>
                      </a:ext>
                    </a:extLst>
                  </p:cNvPr>
                  <p:cNvSpPr/>
                  <p:nvPr/>
                </p:nvSpPr>
                <p:spPr>
                  <a:xfrm>
                    <a:off x="10195376" y="2529649"/>
                    <a:ext cx="27765" cy="53377"/>
                  </a:xfrm>
                  <a:custGeom>
                    <a:avLst/>
                    <a:gdLst/>
                    <a:ahLst/>
                    <a:cxnLst/>
                    <a:rect l="l" t="t" r="r" b="b"/>
                    <a:pathLst>
                      <a:path w="12700" h="26034" extrusionOk="0">
                        <a:moveTo>
                          <a:pt x="0" y="25984"/>
                        </a:moveTo>
                        <a:lnTo>
                          <a:pt x="12700" y="25984"/>
                        </a:lnTo>
                        <a:lnTo>
                          <a:pt x="12700" y="0"/>
                        </a:lnTo>
                        <a:lnTo>
                          <a:pt x="0" y="0"/>
                        </a:lnTo>
                        <a:lnTo>
                          <a:pt x="0" y="25984"/>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43" name="Google Shape;3130;p22">
                    <a:extLst>
                      <a:ext uri="{FF2B5EF4-FFF2-40B4-BE49-F238E27FC236}">
                        <a16:creationId xmlns:a16="http://schemas.microsoft.com/office/drawing/2014/main" id="{2DA69450-5E5C-4EF3-9FDC-A7830C021008}"/>
                      </a:ext>
                    </a:extLst>
                  </p:cNvPr>
                  <p:cNvSpPr/>
                  <p:nvPr/>
                </p:nvSpPr>
                <p:spPr>
                  <a:xfrm>
                    <a:off x="10215922" y="2545869"/>
                    <a:ext cx="27765" cy="53377"/>
                  </a:xfrm>
                  <a:custGeom>
                    <a:avLst/>
                    <a:gdLst/>
                    <a:ahLst/>
                    <a:cxnLst/>
                    <a:rect l="l" t="t" r="r" b="b"/>
                    <a:pathLst>
                      <a:path w="12700" h="26034"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44" name="Google Shape;3131;p22">
                    <a:extLst>
                      <a:ext uri="{FF2B5EF4-FFF2-40B4-BE49-F238E27FC236}">
                        <a16:creationId xmlns:a16="http://schemas.microsoft.com/office/drawing/2014/main" id="{0AAC1E53-4754-4EAA-B1F3-3D839F5E03B0}"/>
                      </a:ext>
                    </a:extLst>
                  </p:cNvPr>
                  <p:cNvSpPr/>
                  <p:nvPr/>
                </p:nvSpPr>
                <p:spPr>
                  <a:xfrm>
                    <a:off x="10222253" y="2554802"/>
                    <a:ext cx="27765" cy="53377"/>
                  </a:xfrm>
                  <a:custGeom>
                    <a:avLst/>
                    <a:gdLst/>
                    <a:ahLst/>
                    <a:cxnLst/>
                    <a:rect l="l" t="t" r="r" b="b"/>
                    <a:pathLst>
                      <a:path w="12700" h="26034"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45" name="Google Shape;3132;p22">
                    <a:extLst>
                      <a:ext uri="{FF2B5EF4-FFF2-40B4-BE49-F238E27FC236}">
                        <a16:creationId xmlns:a16="http://schemas.microsoft.com/office/drawing/2014/main" id="{E60CA585-0BE6-4CEE-B31C-BD922B5EC30B}"/>
                      </a:ext>
                    </a:extLst>
                  </p:cNvPr>
                  <p:cNvSpPr/>
                  <p:nvPr/>
                </p:nvSpPr>
                <p:spPr>
                  <a:xfrm>
                    <a:off x="10234859" y="2581463"/>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46" name="Google Shape;3133;p22">
                    <a:extLst>
                      <a:ext uri="{FF2B5EF4-FFF2-40B4-BE49-F238E27FC236}">
                        <a16:creationId xmlns:a16="http://schemas.microsoft.com/office/drawing/2014/main" id="{74A2EBC2-5748-4E9C-93F8-37C7B13C253F}"/>
                      </a:ext>
                    </a:extLst>
                  </p:cNvPr>
                  <p:cNvSpPr/>
                  <p:nvPr/>
                </p:nvSpPr>
                <p:spPr>
                  <a:xfrm>
                    <a:off x="10247519" y="2590370"/>
                    <a:ext cx="27765" cy="53377"/>
                  </a:xfrm>
                  <a:custGeom>
                    <a:avLst/>
                    <a:gdLst/>
                    <a:ahLst/>
                    <a:cxnLst/>
                    <a:rect l="l" t="t" r="r" b="b"/>
                    <a:pathLst>
                      <a:path w="12700" h="26034"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47" name="Google Shape;3134;p22">
                    <a:extLst>
                      <a:ext uri="{FF2B5EF4-FFF2-40B4-BE49-F238E27FC236}">
                        <a16:creationId xmlns:a16="http://schemas.microsoft.com/office/drawing/2014/main" id="{9AFE092D-4BE9-40E0-B2A4-A15EF4F0727F}"/>
                      </a:ext>
                    </a:extLst>
                  </p:cNvPr>
                  <p:cNvSpPr/>
                  <p:nvPr/>
                </p:nvSpPr>
                <p:spPr>
                  <a:xfrm>
                    <a:off x="10253848" y="2597738"/>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48" name="Google Shape;3135;p22">
                    <a:extLst>
                      <a:ext uri="{FF2B5EF4-FFF2-40B4-BE49-F238E27FC236}">
                        <a16:creationId xmlns:a16="http://schemas.microsoft.com/office/drawing/2014/main" id="{E949655B-C8FE-4C34-A55B-2F57DC89095A}"/>
                      </a:ext>
                    </a:extLst>
                  </p:cNvPr>
                  <p:cNvSpPr/>
                  <p:nvPr/>
                </p:nvSpPr>
                <p:spPr>
                  <a:xfrm>
                    <a:off x="10260151" y="2624429"/>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49" name="Google Shape;3136;p22">
                    <a:extLst>
                      <a:ext uri="{FF2B5EF4-FFF2-40B4-BE49-F238E27FC236}">
                        <a16:creationId xmlns:a16="http://schemas.microsoft.com/office/drawing/2014/main" id="{4E900989-7940-4EC8-B762-A31C6EB5F21F}"/>
                      </a:ext>
                    </a:extLst>
                  </p:cNvPr>
                  <p:cNvSpPr/>
                  <p:nvPr/>
                </p:nvSpPr>
                <p:spPr>
                  <a:xfrm>
                    <a:off x="10326509" y="2642237"/>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50" name="Google Shape;3137;p22">
                    <a:extLst>
                      <a:ext uri="{FF2B5EF4-FFF2-40B4-BE49-F238E27FC236}">
                        <a16:creationId xmlns:a16="http://schemas.microsoft.com/office/drawing/2014/main" id="{897A0971-FB2A-4AAE-B917-444FD78BA703}"/>
                      </a:ext>
                    </a:extLst>
                  </p:cNvPr>
                  <p:cNvSpPr/>
                  <p:nvPr/>
                </p:nvSpPr>
                <p:spPr>
                  <a:xfrm>
                    <a:off x="10339169" y="2651090"/>
                    <a:ext cx="27765" cy="53377"/>
                  </a:xfrm>
                  <a:custGeom>
                    <a:avLst/>
                    <a:gdLst/>
                    <a:ahLst/>
                    <a:cxnLst/>
                    <a:rect l="l" t="t" r="r" b="b"/>
                    <a:pathLst>
                      <a:path w="12700" h="26034" extrusionOk="0">
                        <a:moveTo>
                          <a:pt x="0" y="26035"/>
                        </a:moveTo>
                        <a:lnTo>
                          <a:pt x="12700" y="26035"/>
                        </a:lnTo>
                        <a:lnTo>
                          <a:pt x="12700" y="0"/>
                        </a:lnTo>
                        <a:lnTo>
                          <a:pt x="0" y="0"/>
                        </a:lnTo>
                        <a:lnTo>
                          <a:pt x="0" y="26035"/>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51" name="Google Shape;3138;p22">
                    <a:extLst>
                      <a:ext uri="{FF2B5EF4-FFF2-40B4-BE49-F238E27FC236}">
                        <a16:creationId xmlns:a16="http://schemas.microsoft.com/office/drawing/2014/main" id="{8C94A653-513B-4B83-818A-A7175960A9D3}"/>
                      </a:ext>
                    </a:extLst>
                  </p:cNvPr>
                  <p:cNvSpPr/>
                  <p:nvPr/>
                </p:nvSpPr>
                <p:spPr>
                  <a:xfrm>
                    <a:off x="10345500" y="2670412"/>
                    <a:ext cx="27765" cy="53377"/>
                  </a:xfrm>
                  <a:custGeom>
                    <a:avLst/>
                    <a:gdLst/>
                    <a:ahLst/>
                    <a:cxnLst/>
                    <a:rect l="l" t="t" r="r" b="b"/>
                    <a:pathLst>
                      <a:path w="12700" h="26034"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52" name="Google Shape;3139;p22">
                    <a:extLst>
                      <a:ext uri="{FF2B5EF4-FFF2-40B4-BE49-F238E27FC236}">
                        <a16:creationId xmlns:a16="http://schemas.microsoft.com/office/drawing/2014/main" id="{942D26E2-9666-47FE-B1B6-9489A30F7CD1}"/>
                      </a:ext>
                    </a:extLst>
                  </p:cNvPr>
                  <p:cNvSpPr/>
                  <p:nvPr/>
                </p:nvSpPr>
                <p:spPr>
                  <a:xfrm>
                    <a:off x="10364463" y="2670412"/>
                    <a:ext cx="27765" cy="53377"/>
                  </a:xfrm>
                  <a:custGeom>
                    <a:avLst/>
                    <a:gdLst/>
                    <a:ahLst/>
                    <a:cxnLst/>
                    <a:rect l="l" t="t" r="r" b="b"/>
                    <a:pathLst>
                      <a:path w="12700" h="26034"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53" name="Google Shape;3140;p22">
                    <a:extLst>
                      <a:ext uri="{FF2B5EF4-FFF2-40B4-BE49-F238E27FC236}">
                        <a16:creationId xmlns:a16="http://schemas.microsoft.com/office/drawing/2014/main" id="{EEE73F45-1ED0-4850-9323-331AAD64E0F9}"/>
                      </a:ext>
                    </a:extLst>
                  </p:cNvPr>
                  <p:cNvSpPr/>
                  <p:nvPr/>
                </p:nvSpPr>
                <p:spPr>
                  <a:xfrm>
                    <a:off x="10370794" y="2679265"/>
                    <a:ext cx="27765" cy="53377"/>
                  </a:xfrm>
                  <a:custGeom>
                    <a:avLst/>
                    <a:gdLst/>
                    <a:ahLst/>
                    <a:cxnLst/>
                    <a:rect l="l" t="t" r="r" b="b"/>
                    <a:pathLst>
                      <a:path w="12700" h="26034" extrusionOk="0">
                        <a:moveTo>
                          <a:pt x="0" y="26034"/>
                        </a:moveTo>
                        <a:lnTo>
                          <a:pt x="12700" y="26034"/>
                        </a:lnTo>
                        <a:lnTo>
                          <a:pt x="12700" y="0"/>
                        </a:lnTo>
                        <a:lnTo>
                          <a:pt x="0" y="0"/>
                        </a:lnTo>
                        <a:lnTo>
                          <a:pt x="0" y="26034"/>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54" name="Google Shape;3141;p22">
                    <a:extLst>
                      <a:ext uri="{FF2B5EF4-FFF2-40B4-BE49-F238E27FC236}">
                        <a16:creationId xmlns:a16="http://schemas.microsoft.com/office/drawing/2014/main" id="{C298248B-B648-4ACD-9C76-9183FACDF340}"/>
                      </a:ext>
                    </a:extLst>
                  </p:cNvPr>
                  <p:cNvSpPr/>
                  <p:nvPr/>
                </p:nvSpPr>
                <p:spPr>
                  <a:xfrm>
                    <a:off x="10385009" y="2688196"/>
                    <a:ext cx="27765" cy="53377"/>
                  </a:xfrm>
                  <a:custGeom>
                    <a:avLst/>
                    <a:gdLst/>
                    <a:ahLst/>
                    <a:cxnLst/>
                    <a:rect l="l" t="t" r="r" b="b"/>
                    <a:pathLst>
                      <a:path w="12700" h="26034"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55" name="Google Shape;3142;p22">
                    <a:extLst>
                      <a:ext uri="{FF2B5EF4-FFF2-40B4-BE49-F238E27FC236}">
                        <a16:creationId xmlns:a16="http://schemas.microsoft.com/office/drawing/2014/main" id="{0D3B1287-E537-4729-86CE-B58967F4C43F}"/>
                      </a:ext>
                    </a:extLst>
                  </p:cNvPr>
                  <p:cNvSpPr/>
                  <p:nvPr/>
                </p:nvSpPr>
                <p:spPr>
                  <a:xfrm>
                    <a:off x="10456170" y="2717802"/>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56" name="Google Shape;3143;p22">
                    <a:extLst>
                      <a:ext uri="{FF2B5EF4-FFF2-40B4-BE49-F238E27FC236}">
                        <a16:creationId xmlns:a16="http://schemas.microsoft.com/office/drawing/2014/main" id="{92811896-D87F-459D-8414-00DE15135CE1}"/>
                      </a:ext>
                    </a:extLst>
                  </p:cNvPr>
                  <p:cNvSpPr/>
                  <p:nvPr/>
                </p:nvSpPr>
                <p:spPr>
                  <a:xfrm>
                    <a:off x="10462527" y="2726706"/>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57" name="Google Shape;3144;p22">
                    <a:extLst>
                      <a:ext uri="{FF2B5EF4-FFF2-40B4-BE49-F238E27FC236}">
                        <a16:creationId xmlns:a16="http://schemas.microsoft.com/office/drawing/2014/main" id="{4016DDEB-EED4-44A9-A587-21DCFEBB95A7}"/>
                      </a:ext>
                    </a:extLst>
                  </p:cNvPr>
                  <p:cNvSpPr/>
                  <p:nvPr/>
                </p:nvSpPr>
                <p:spPr>
                  <a:xfrm>
                    <a:off x="10475161" y="2737071"/>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58" name="Google Shape;3145;p22">
                    <a:extLst>
                      <a:ext uri="{FF2B5EF4-FFF2-40B4-BE49-F238E27FC236}">
                        <a16:creationId xmlns:a16="http://schemas.microsoft.com/office/drawing/2014/main" id="{CB2F4AA2-A099-4B0D-BE02-364131EE9764}"/>
                      </a:ext>
                    </a:extLst>
                  </p:cNvPr>
                  <p:cNvSpPr/>
                  <p:nvPr/>
                </p:nvSpPr>
                <p:spPr>
                  <a:xfrm>
                    <a:off x="10495707" y="2737071"/>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59" name="Google Shape;3146;p22">
                    <a:extLst>
                      <a:ext uri="{FF2B5EF4-FFF2-40B4-BE49-F238E27FC236}">
                        <a16:creationId xmlns:a16="http://schemas.microsoft.com/office/drawing/2014/main" id="{A2D0220F-CC43-41EC-8D38-DA8598015CBC}"/>
                      </a:ext>
                    </a:extLst>
                  </p:cNvPr>
                  <p:cNvSpPr/>
                  <p:nvPr/>
                </p:nvSpPr>
                <p:spPr>
                  <a:xfrm>
                    <a:off x="10508341" y="2737071"/>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60" name="Google Shape;3147;p22">
                    <a:extLst>
                      <a:ext uri="{FF2B5EF4-FFF2-40B4-BE49-F238E27FC236}">
                        <a16:creationId xmlns:a16="http://schemas.microsoft.com/office/drawing/2014/main" id="{A9DCE6F7-8B7D-4C05-A814-D00DB4DABA6C}"/>
                      </a:ext>
                    </a:extLst>
                  </p:cNvPr>
                  <p:cNvSpPr/>
                  <p:nvPr/>
                </p:nvSpPr>
                <p:spPr>
                  <a:xfrm>
                    <a:off x="10514670" y="2737071"/>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61" name="Google Shape;3148;p22">
                    <a:extLst>
                      <a:ext uri="{FF2B5EF4-FFF2-40B4-BE49-F238E27FC236}">
                        <a16:creationId xmlns:a16="http://schemas.microsoft.com/office/drawing/2014/main" id="{368EC164-FDDC-4450-BBA1-D85ECA3B2CEF}"/>
                      </a:ext>
                    </a:extLst>
                  </p:cNvPr>
                  <p:cNvSpPr/>
                  <p:nvPr/>
                </p:nvSpPr>
                <p:spPr>
                  <a:xfrm>
                    <a:off x="10521001" y="2747459"/>
                    <a:ext cx="27765" cy="53377"/>
                  </a:xfrm>
                  <a:custGeom>
                    <a:avLst/>
                    <a:gdLst/>
                    <a:ahLst/>
                    <a:cxnLst/>
                    <a:rect l="l" t="t" r="r" b="b"/>
                    <a:pathLst>
                      <a:path w="12700" h="26034"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62" name="Google Shape;3149;p22">
                    <a:extLst>
                      <a:ext uri="{FF2B5EF4-FFF2-40B4-BE49-F238E27FC236}">
                        <a16:creationId xmlns:a16="http://schemas.microsoft.com/office/drawing/2014/main" id="{F077A63F-2704-4AAC-8848-36F8B64A4EC3}"/>
                      </a:ext>
                    </a:extLst>
                  </p:cNvPr>
                  <p:cNvSpPr/>
                  <p:nvPr/>
                </p:nvSpPr>
                <p:spPr>
                  <a:xfrm>
                    <a:off x="10527304" y="2757875"/>
                    <a:ext cx="27765" cy="53377"/>
                  </a:xfrm>
                  <a:custGeom>
                    <a:avLst/>
                    <a:gdLst/>
                    <a:ahLst/>
                    <a:cxnLst/>
                    <a:rect l="l" t="t" r="r" b="b"/>
                    <a:pathLst>
                      <a:path w="12700" h="26034"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63" name="Google Shape;3150;p22">
                    <a:extLst>
                      <a:ext uri="{FF2B5EF4-FFF2-40B4-BE49-F238E27FC236}">
                        <a16:creationId xmlns:a16="http://schemas.microsoft.com/office/drawing/2014/main" id="{CDA1AA70-2FDA-4ED4-98BA-3FFD3C2C8A79}"/>
                      </a:ext>
                    </a:extLst>
                  </p:cNvPr>
                  <p:cNvSpPr/>
                  <p:nvPr/>
                </p:nvSpPr>
                <p:spPr>
                  <a:xfrm>
                    <a:off x="10539964" y="2768212"/>
                    <a:ext cx="27765" cy="53377"/>
                  </a:xfrm>
                  <a:custGeom>
                    <a:avLst/>
                    <a:gdLst/>
                    <a:ahLst/>
                    <a:cxnLst/>
                    <a:rect l="l" t="t" r="r" b="b"/>
                    <a:pathLst>
                      <a:path w="12700" h="26034"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64" name="Google Shape;3151;p22">
                    <a:extLst>
                      <a:ext uri="{FF2B5EF4-FFF2-40B4-BE49-F238E27FC236}">
                        <a16:creationId xmlns:a16="http://schemas.microsoft.com/office/drawing/2014/main" id="{0B7E91BB-64AB-4B3A-944A-7196C60B267B}"/>
                      </a:ext>
                    </a:extLst>
                  </p:cNvPr>
                  <p:cNvSpPr/>
                  <p:nvPr/>
                </p:nvSpPr>
                <p:spPr>
                  <a:xfrm>
                    <a:off x="10547850" y="2768212"/>
                    <a:ext cx="27765" cy="53377"/>
                  </a:xfrm>
                  <a:custGeom>
                    <a:avLst/>
                    <a:gdLst/>
                    <a:ahLst/>
                    <a:cxnLst/>
                    <a:rect l="l" t="t" r="r" b="b"/>
                    <a:pathLst>
                      <a:path w="12700" h="26034"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65" name="Google Shape;3152;p22">
                    <a:extLst>
                      <a:ext uri="{FF2B5EF4-FFF2-40B4-BE49-F238E27FC236}">
                        <a16:creationId xmlns:a16="http://schemas.microsoft.com/office/drawing/2014/main" id="{6D099E1E-84AD-4134-A537-B83D814C55E4}"/>
                      </a:ext>
                    </a:extLst>
                  </p:cNvPr>
                  <p:cNvSpPr/>
                  <p:nvPr/>
                </p:nvSpPr>
                <p:spPr>
                  <a:xfrm>
                    <a:off x="10566813" y="2799327"/>
                    <a:ext cx="27765" cy="53377"/>
                  </a:xfrm>
                  <a:custGeom>
                    <a:avLst/>
                    <a:gdLst/>
                    <a:ahLst/>
                    <a:cxnLst/>
                    <a:rect l="l" t="t" r="r" b="b"/>
                    <a:pathLst>
                      <a:path w="12700" h="26034"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66" name="Google Shape;3153;p22">
                    <a:extLst>
                      <a:ext uri="{FF2B5EF4-FFF2-40B4-BE49-F238E27FC236}">
                        <a16:creationId xmlns:a16="http://schemas.microsoft.com/office/drawing/2014/main" id="{F5E18C3E-422D-4724-B440-D71A9498A972}"/>
                      </a:ext>
                    </a:extLst>
                  </p:cNvPr>
                  <p:cNvSpPr/>
                  <p:nvPr/>
                </p:nvSpPr>
                <p:spPr>
                  <a:xfrm>
                    <a:off x="10573142" y="2809691"/>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67" name="Google Shape;3154;p22">
                    <a:extLst>
                      <a:ext uri="{FF2B5EF4-FFF2-40B4-BE49-F238E27FC236}">
                        <a16:creationId xmlns:a16="http://schemas.microsoft.com/office/drawing/2014/main" id="{6A36A887-EA06-4ADA-AFEE-46491EABD65A}"/>
                      </a:ext>
                    </a:extLst>
                  </p:cNvPr>
                  <p:cNvSpPr/>
                  <p:nvPr/>
                </p:nvSpPr>
                <p:spPr>
                  <a:xfrm>
                    <a:off x="10585776" y="2809691"/>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68" name="Google Shape;3155;p22">
                    <a:extLst>
                      <a:ext uri="{FF2B5EF4-FFF2-40B4-BE49-F238E27FC236}">
                        <a16:creationId xmlns:a16="http://schemas.microsoft.com/office/drawing/2014/main" id="{763FDC09-580C-4F04-90E2-B1CC1694952C}"/>
                      </a:ext>
                    </a:extLst>
                  </p:cNvPr>
                  <p:cNvSpPr/>
                  <p:nvPr/>
                </p:nvSpPr>
                <p:spPr>
                  <a:xfrm>
                    <a:off x="10606322" y="2840833"/>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69" name="Google Shape;3156;p22">
                    <a:extLst>
                      <a:ext uri="{FF2B5EF4-FFF2-40B4-BE49-F238E27FC236}">
                        <a16:creationId xmlns:a16="http://schemas.microsoft.com/office/drawing/2014/main" id="{F6F23AD0-05D1-4DCB-96D1-771F196C2A7B}"/>
                      </a:ext>
                    </a:extLst>
                  </p:cNvPr>
                  <p:cNvSpPr/>
                  <p:nvPr/>
                </p:nvSpPr>
                <p:spPr>
                  <a:xfrm>
                    <a:off x="10677428" y="2873434"/>
                    <a:ext cx="27765" cy="53377"/>
                  </a:xfrm>
                  <a:custGeom>
                    <a:avLst/>
                    <a:gdLst/>
                    <a:ahLst/>
                    <a:cxnLst/>
                    <a:rect l="l" t="t" r="r" b="b"/>
                    <a:pathLst>
                      <a:path w="12700" h="26034"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70" name="Google Shape;3157;p22">
                    <a:extLst>
                      <a:ext uri="{FF2B5EF4-FFF2-40B4-BE49-F238E27FC236}">
                        <a16:creationId xmlns:a16="http://schemas.microsoft.com/office/drawing/2014/main" id="{646D880F-2555-4BEE-BAB9-4D2F8A1577D4}"/>
                      </a:ext>
                    </a:extLst>
                  </p:cNvPr>
                  <p:cNvSpPr/>
                  <p:nvPr/>
                </p:nvSpPr>
                <p:spPr>
                  <a:xfrm>
                    <a:off x="10696417" y="2885280"/>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71" name="Google Shape;3158;p22">
                    <a:extLst>
                      <a:ext uri="{FF2B5EF4-FFF2-40B4-BE49-F238E27FC236}">
                        <a16:creationId xmlns:a16="http://schemas.microsoft.com/office/drawing/2014/main" id="{9D5BC892-3717-4399-B9C8-B2CF317C6E2C}"/>
                      </a:ext>
                    </a:extLst>
                  </p:cNvPr>
                  <p:cNvSpPr/>
                  <p:nvPr/>
                </p:nvSpPr>
                <p:spPr>
                  <a:xfrm>
                    <a:off x="10716909" y="2907544"/>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72" name="Google Shape;3159;p22">
                    <a:extLst>
                      <a:ext uri="{FF2B5EF4-FFF2-40B4-BE49-F238E27FC236}">
                        <a16:creationId xmlns:a16="http://schemas.microsoft.com/office/drawing/2014/main" id="{F4A97225-913C-4441-8894-16EF0564B9AB}"/>
                      </a:ext>
                    </a:extLst>
                  </p:cNvPr>
                  <p:cNvSpPr/>
                  <p:nvPr/>
                </p:nvSpPr>
                <p:spPr>
                  <a:xfrm>
                    <a:off x="10735900" y="2929728"/>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73" name="Google Shape;3160;p22">
                    <a:extLst>
                      <a:ext uri="{FF2B5EF4-FFF2-40B4-BE49-F238E27FC236}">
                        <a16:creationId xmlns:a16="http://schemas.microsoft.com/office/drawing/2014/main" id="{22B5E2DA-CF5B-47AB-99F4-E8ACD838239D}"/>
                      </a:ext>
                    </a:extLst>
                  </p:cNvPr>
                  <p:cNvSpPr/>
                  <p:nvPr/>
                </p:nvSpPr>
                <p:spPr>
                  <a:xfrm>
                    <a:off x="10742229" y="2941628"/>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74" name="Google Shape;3161;p22">
                    <a:extLst>
                      <a:ext uri="{FF2B5EF4-FFF2-40B4-BE49-F238E27FC236}">
                        <a16:creationId xmlns:a16="http://schemas.microsoft.com/office/drawing/2014/main" id="{C8BE1C68-4447-408B-ABA9-1E3A9D64F276}"/>
                      </a:ext>
                    </a:extLst>
                  </p:cNvPr>
                  <p:cNvSpPr/>
                  <p:nvPr/>
                </p:nvSpPr>
                <p:spPr>
                  <a:xfrm>
                    <a:off x="10761192" y="2941628"/>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75" name="Google Shape;3162;p22">
                    <a:extLst>
                      <a:ext uri="{FF2B5EF4-FFF2-40B4-BE49-F238E27FC236}">
                        <a16:creationId xmlns:a16="http://schemas.microsoft.com/office/drawing/2014/main" id="{447349AC-A510-46DA-B7D9-812E730BFF35}"/>
                      </a:ext>
                    </a:extLst>
                  </p:cNvPr>
                  <p:cNvSpPr/>
                  <p:nvPr/>
                </p:nvSpPr>
                <p:spPr>
                  <a:xfrm>
                    <a:off x="10781738" y="2977223"/>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76" name="Google Shape;3163;p22">
                    <a:extLst>
                      <a:ext uri="{FF2B5EF4-FFF2-40B4-BE49-F238E27FC236}">
                        <a16:creationId xmlns:a16="http://schemas.microsoft.com/office/drawing/2014/main" id="{6290D583-F5E4-42D8-89BF-2A1ECE9B23E9}"/>
                      </a:ext>
                    </a:extLst>
                  </p:cNvPr>
                  <p:cNvSpPr/>
                  <p:nvPr/>
                </p:nvSpPr>
                <p:spPr>
                  <a:xfrm>
                    <a:off x="10794344" y="2989018"/>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77" name="Google Shape;3164;p22">
                    <a:extLst>
                      <a:ext uri="{FF2B5EF4-FFF2-40B4-BE49-F238E27FC236}">
                        <a16:creationId xmlns:a16="http://schemas.microsoft.com/office/drawing/2014/main" id="{7A2E6B86-7185-4DD4-AA90-A1809D15375C}"/>
                      </a:ext>
                    </a:extLst>
                  </p:cNvPr>
                  <p:cNvSpPr/>
                  <p:nvPr/>
                </p:nvSpPr>
                <p:spPr>
                  <a:xfrm>
                    <a:off x="10800703" y="2989018"/>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78" name="Google Shape;3165;p22">
                    <a:extLst>
                      <a:ext uri="{FF2B5EF4-FFF2-40B4-BE49-F238E27FC236}">
                        <a16:creationId xmlns:a16="http://schemas.microsoft.com/office/drawing/2014/main" id="{6DA795D1-4271-44C5-B533-D1EDC06E39DD}"/>
                      </a:ext>
                    </a:extLst>
                  </p:cNvPr>
                  <p:cNvSpPr/>
                  <p:nvPr/>
                </p:nvSpPr>
                <p:spPr>
                  <a:xfrm>
                    <a:off x="10813335" y="2989018"/>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79" name="Google Shape;3166;p22">
                    <a:extLst>
                      <a:ext uri="{FF2B5EF4-FFF2-40B4-BE49-F238E27FC236}">
                        <a16:creationId xmlns:a16="http://schemas.microsoft.com/office/drawing/2014/main" id="{070E44BF-68DB-4DFE-A792-0552485CF3EC}"/>
                      </a:ext>
                    </a:extLst>
                  </p:cNvPr>
                  <p:cNvSpPr/>
                  <p:nvPr/>
                </p:nvSpPr>
                <p:spPr>
                  <a:xfrm>
                    <a:off x="10825995" y="2989018"/>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80" name="Google Shape;3167;p22">
                    <a:extLst>
                      <a:ext uri="{FF2B5EF4-FFF2-40B4-BE49-F238E27FC236}">
                        <a16:creationId xmlns:a16="http://schemas.microsoft.com/office/drawing/2014/main" id="{D158023D-B225-4C83-AA5C-0EE25DB50498}"/>
                      </a:ext>
                    </a:extLst>
                  </p:cNvPr>
                  <p:cNvSpPr/>
                  <p:nvPr/>
                </p:nvSpPr>
                <p:spPr>
                  <a:xfrm>
                    <a:off x="10833881" y="3002402"/>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81" name="Google Shape;3168;p22">
                    <a:extLst>
                      <a:ext uri="{FF2B5EF4-FFF2-40B4-BE49-F238E27FC236}">
                        <a16:creationId xmlns:a16="http://schemas.microsoft.com/office/drawing/2014/main" id="{D74CCF6F-F225-488D-BB99-3E3317D378FB}"/>
                      </a:ext>
                    </a:extLst>
                  </p:cNvPr>
                  <p:cNvSpPr/>
                  <p:nvPr/>
                </p:nvSpPr>
                <p:spPr>
                  <a:xfrm>
                    <a:off x="10840184" y="3002402"/>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82" name="Google Shape;3169;p22">
                    <a:extLst>
                      <a:ext uri="{FF2B5EF4-FFF2-40B4-BE49-F238E27FC236}">
                        <a16:creationId xmlns:a16="http://schemas.microsoft.com/office/drawing/2014/main" id="{9C093D59-E2D5-4DD6-ADA9-ED22943B1809}"/>
                      </a:ext>
                    </a:extLst>
                  </p:cNvPr>
                  <p:cNvSpPr/>
                  <p:nvPr/>
                </p:nvSpPr>
                <p:spPr>
                  <a:xfrm>
                    <a:off x="10846515" y="3002402"/>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83" name="Google Shape;3170;p22">
                    <a:extLst>
                      <a:ext uri="{FF2B5EF4-FFF2-40B4-BE49-F238E27FC236}">
                        <a16:creationId xmlns:a16="http://schemas.microsoft.com/office/drawing/2014/main" id="{B92F4EAE-C50B-4E2A-9E3A-A1B438A9E938}"/>
                      </a:ext>
                    </a:extLst>
                  </p:cNvPr>
                  <p:cNvSpPr/>
                  <p:nvPr/>
                </p:nvSpPr>
                <p:spPr>
                  <a:xfrm>
                    <a:off x="10852816" y="3017190"/>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84" name="Google Shape;3171;p22">
                    <a:extLst>
                      <a:ext uri="{FF2B5EF4-FFF2-40B4-BE49-F238E27FC236}">
                        <a16:creationId xmlns:a16="http://schemas.microsoft.com/office/drawing/2014/main" id="{B24161CB-2984-4F38-8DB3-8D7FCA835294}"/>
                      </a:ext>
                    </a:extLst>
                  </p:cNvPr>
                  <p:cNvSpPr/>
                  <p:nvPr/>
                </p:nvSpPr>
                <p:spPr>
                  <a:xfrm>
                    <a:off x="10859175" y="3030575"/>
                    <a:ext cx="27765" cy="53377"/>
                  </a:xfrm>
                  <a:custGeom>
                    <a:avLst/>
                    <a:gdLst/>
                    <a:ahLst/>
                    <a:cxnLst/>
                    <a:rect l="l" t="t" r="r" b="b"/>
                    <a:pathLst>
                      <a:path w="12700" h="26034"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85" name="Google Shape;3172;p22">
                    <a:extLst>
                      <a:ext uri="{FF2B5EF4-FFF2-40B4-BE49-F238E27FC236}">
                        <a16:creationId xmlns:a16="http://schemas.microsoft.com/office/drawing/2014/main" id="{AFA82926-2BA6-4626-BF07-EE2603044F8F}"/>
                      </a:ext>
                    </a:extLst>
                  </p:cNvPr>
                  <p:cNvSpPr/>
                  <p:nvPr/>
                </p:nvSpPr>
                <p:spPr>
                  <a:xfrm>
                    <a:off x="10878138" y="3043908"/>
                    <a:ext cx="27765" cy="53377"/>
                  </a:xfrm>
                  <a:custGeom>
                    <a:avLst/>
                    <a:gdLst/>
                    <a:ahLst/>
                    <a:cxnLst/>
                    <a:rect l="l" t="t" r="r" b="b"/>
                    <a:pathLst>
                      <a:path w="12700" h="26034"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86" name="Google Shape;3173;p22">
                    <a:extLst>
                      <a:ext uri="{FF2B5EF4-FFF2-40B4-BE49-F238E27FC236}">
                        <a16:creationId xmlns:a16="http://schemas.microsoft.com/office/drawing/2014/main" id="{8DA26914-9D8A-4EDB-BED0-167A8FA786BA}"/>
                      </a:ext>
                    </a:extLst>
                  </p:cNvPr>
                  <p:cNvSpPr/>
                  <p:nvPr/>
                </p:nvSpPr>
                <p:spPr>
                  <a:xfrm>
                    <a:off x="10917619" y="3043908"/>
                    <a:ext cx="27765" cy="53377"/>
                  </a:xfrm>
                  <a:custGeom>
                    <a:avLst/>
                    <a:gdLst/>
                    <a:ahLst/>
                    <a:cxnLst/>
                    <a:rect l="l" t="t" r="r" b="b"/>
                    <a:pathLst>
                      <a:path w="12700" h="26034"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87" name="Google Shape;3174;p22">
                    <a:extLst>
                      <a:ext uri="{FF2B5EF4-FFF2-40B4-BE49-F238E27FC236}">
                        <a16:creationId xmlns:a16="http://schemas.microsoft.com/office/drawing/2014/main" id="{186C614E-3B59-4B14-B58C-C2EA5B0F5E20}"/>
                      </a:ext>
                    </a:extLst>
                  </p:cNvPr>
                  <p:cNvSpPr/>
                  <p:nvPr/>
                </p:nvSpPr>
                <p:spPr>
                  <a:xfrm>
                    <a:off x="10923950" y="3072029"/>
                    <a:ext cx="27765" cy="53377"/>
                  </a:xfrm>
                  <a:custGeom>
                    <a:avLst/>
                    <a:gdLst/>
                    <a:ahLst/>
                    <a:cxnLst/>
                    <a:rect l="l" t="t" r="r" b="b"/>
                    <a:pathLst>
                      <a:path w="12700" h="26034"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88" name="Google Shape;3175;p22">
                    <a:extLst>
                      <a:ext uri="{FF2B5EF4-FFF2-40B4-BE49-F238E27FC236}">
                        <a16:creationId xmlns:a16="http://schemas.microsoft.com/office/drawing/2014/main" id="{C393E637-FFD4-4737-9EB5-BD5DA9B05A6B}"/>
                      </a:ext>
                    </a:extLst>
                  </p:cNvPr>
                  <p:cNvSpPr/>
                  <p:nvPr/>
                </p:nvSpPr>
                <p:spPr>
                  <a:xfrm>
                    <a:off x="10944496" y="3086871"/>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89" name="Google Shape;3176;p22">
                    <a:extLst>
                      <a:ext uri="{FF2B5EF4-FFF2-40B4-BE49-F238E27FC236}">
                        <a16:creationId xmlns:a16="http://schemas.microsoft.com/office/drawing/2014/main" id="{69DB586C-798F-4C92-AEE3-B3E564CD7D54}"/>
                      </a:ext>
                    </a:extLst>
                  </p:cNvPr>
                  <p:cNvSpPr/>
                  <p:nvPr/>
                </p:nvSpPr>
                <p:spPr>
                  <a:xfrm>
                    <a:off x="10950825" y="3086871"/>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90" name="Google Shape;3177;p22">
                    <a:extLst>
                      <a:ext uri="{FF2B5EF4-FFF2-40B4-BE49-F238E27FC236}">
                        <a16:creationId xmlns:a16="http://schemas.microsoft.com/office/drawing/2014/main" id="{8FCD6991-3CD0-4871-9633-943DB49E29EA}"/>
                      </a:ext>
                    </a:extLst>
                  </p:cNvPr>
                  <p:cNvSpPr/>
                  <p:nvPr/>
                </p:nvSpPr>
                <p:spPr>
                  <a:xfrm>
                    <a:off x="10957128" y="3100150"/>
                    <a:ext cx="27765" cy="53377"/>
                  </a:xfrm>
                  <a:custGeom>
                    <a:avLst/>
                    <a:gdLst/>
                    <a:ahLst/>
                    <a:cxnLst/>
                    <a:rect l="l" t="t" r="r" b="b"/>
                    <a:pathLst>
                      <a:path w="12700" h="26034" extrusionOk="0">
                        <a:moveTo>
                          <a:pt x="0" y="26034"/>
                        </a:moveTo>
                        <a:lnTo>
                          <a:pt x="12700" y="26034"/>
                        </a:lnTo>
                        <a:lnTo>
                          <a:pt x="12700" y="0"/>
                        </a:lnTo>
                        <a:lnTo>
                          <a:pt x="0" y="0"/>
                        </a:lnTo>
                        <a:lnTo>
                          <a:pt x="0" y="26034"/>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91" name="Google Shape;3178;p22">
                    <a:extLst>
                      <a:ext uri="{FF2B5EF4-FFF2-40B4-BE49-F238E27FC236}">
                        <a16:creationId xmlns:a16="http://schemas.microsoft.com/office/drawing/2014/main" id="{D491C741-148D-4757-AE81-0BFF6520F76D}"/>
                      </a:ext>
                    </a:extLst>
                  </p:cNvPr>
                  <p:cNvSpPr/>
                  <p:nvPr/>
                </p:nvSpPr>
                <p:spPr>
                  <a:xfrm>
                    <a:off x="11009299" y="3129832"/>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92" name="Google Shape;3179;p22">
                    <a:extLst>
                      <a:ext uri="{FF2B5EF4-FFF2-40B4-BE49-F238E27FC236}">
                        <a16:creationId xmlns:a16="http://schemas.microsoft.com/office/drawing/2014/main" id="{854BAE73-84F2-490E-83EA-6B8B28145CB4}"/>
                      </a:ext>
                    </a:extLst>
                  </p:cNvPr>
                  <p:cNvSpPr/>
                  <p:nvPr/>
                </p:nvSpPr>
                <p:spPr>
                  <a:xfrm>
                    <a:off x="11028262" y="3146159"/>
                    <a:ext cx="27765" cy="53377"/>
                  </a:xfrm>
                  <a:custGeom>
                    <a:avLst/>
                    <a:gdLst/>
                    <a:ahLst/>
                    <a:cxnLst/>
                    <a:rect l="l" t="t" r="r" b="b"/>
                    <a:pathLst>
                      <a:path w="12700" h="26034" extrusionOk="0">
                        <a:moveTo>
                          <a:pt x="0" y="25996"/>
                        </a:moveTo>
                        <a:lnTo>
                          <a:pt x="12700" y="25996"/>
                        </a:lnTo>
                        <a:lnTo>
                          <a:pt x="12700" y="0"/>
                        </a:lnTo>
                        <a:lnTo>
                          <a:pt x="0" y="0"/>
                        </a:lnTo>
                        <a:lnTo>
                          <a:pt x="0" y="25996"/>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93" name="Google Shape;3180;p22">
                    <a:extLst>
                      <a:ext uri="{FF2B5EF4-FFF2-40B4-BE49-F238E27FC236}">
                        <a16:creationId xmlns:a16="http://schemas.microsoft.com/office/drawing/2014/main" id="{2EA79997-7F89-4EBC-92E2-F7351F0D04A8}"/>
                      </a:ext>
                    </a:extLst>
                  </p:cNvPr>
                  <p:cNvSpPr/>
                  <p:nvPr/>
                </p:nvSpPr>
                <p:spPr>
                  <a:xfrm>
                    <a:off x="11034591" y="3160976"/>
                    <a:ext cx="27765" cy="53377"/>
                  </a:xfrm>
                  <a:custGeom>
                    <a:avLst/>
                    <a:gdLst/>
                    <a:ahLst/>
                    <a:cxnLst/>
                    <a:rect l="l" t="t" r="r" b="b"/>
                    <a:pathLst>
                      <a:path w="12700" h="26034"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94" name="Google Shape;3181;p22">
                    <a:extLst>
                      <a:ext uri="{FF2B5EF4-FFF2-40B4-BE49-F238E27FC236}">
                        <a16:creationId xmlns:a16="http://schemas.microsoft.com/office/drawing/2014/main" id="{77553145-C505-402C-870F-C081FCAFE773}"/>
                      </a:ext>
                    </a:extLst>
                  </p:cNvPr>
                  <p:cNvSpPr/>
                  <p:nvPr/>
                </p:nvSpPr>
                <p:spPr>
                  <a:xfrm>
                    <a:off x="11040894" y="3177198"/>
                    <a:ext cx="27765" cy="53377"/>
                  </a:xfrm>
                  <a:custGeom>
                    <a:avLst/>
                    <a:gdLst/>
                    <a:ahLst/>
                    <a:cxnLst/>
                    <a:rect l="l" t="t" r="r" b="b"/>
                    <a:pathLst>
                      <a:path w="12700" h="26034" extrusionOk="0">
                        <a:moveTo>
                          <a:pt x="0" y="26035"/>
                        </a:moveTo>
                        <a:lnTo>
                          <a:pt x="12700" y="26035"/>
                        </a:lnTo>
                        <a:lnTo>
                          <a:pt x="12700" y="0"/>
                        </a:lnTo>
                        <a:lnTo>
                          <a:pt x="0" y="0"/>
                        </a:lnTo>
                        <a:lnTo>
                          <a:pt x="0" y="26035"/>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95" name="Google Shape;3182;p22">
                    <a:extLst>
                      <a:ext uri="{FF2B5EF4-FFF2-40B4-BE49-F238E27FC236}">
                        <a16:creationId xmlns:a16="http://schemas.microsoft.com/office/drawing/2014/main" id="{2B258953-70A5-4158-A798-4A47DC8E787D}"/>
                      </a:ext>
                    </a:extLst>
                  </p:cNvPr>
                  <p:cNvSpPr/>
                  <p:nvPr/>
                </p:nvSpPr>
                <p:spPr>
                  <a:xfrm>
                    <a:off x="11047225" y="3177198"/>
                    <a:ext cx="27765" cy="53377"/>
                  </a:xfrm>
                  <a:custGeom>
                    <a:avLst/>
                    <a:gdLst/>
                    <a:ahLst/>
                    <a:cxnLst/>
                    <a:rect l="l" t="t" r="r" b="b"/>
                    <a:pathLst>
                      <a:path w="12700" h="26034" extrusionOk="0">
                        <a:moveTo>
                          <a:pt x="0" y="26035"/>
                        </a:moveTo>
                        <a:lnTo>
                          <a:pt x="12700" y="26035"/>
                        </a:lnTo>
                        <a:lnTo>
                          <a:pt x="12700" y="0"/>
                        </a:lnTo>
                        <a:lnTo>
                          <a:pt x="0" y="0"/>
                        </a:lnTo>
                        <a:lnTo>
                          <a:pt x="0" y="26035"/>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96" name="Google Shape;3183;p22">
                    <a:extLst>
                      <a:ext uri="{FF2B5EF4-FFF2-40B4-BE49-F238E27FC236}">
                        <a16:creationId xmlns:a16="http://schemas.microsoft.com/office/drawing/2014/main" id="{2B078D39-7FCB-4D4E-8376-47B0B86DB133}"/>
                      </a:ext>
                    </a:extLst>
                  </p:cNvPr>
                  <p:cNvSpPr/>
                  <p:nvPr/>
                </p:nvSpPr>
                <p:spPr>
                  <a:xfrm>
                    <a:off x="11061440" y="3177198"/>
                    <a:ext cx="27765" cy="53377"/>
                  </a:xfrm>
                  <a:custGeom>
                    <a:avLst/>
                    <a:gdLst/>
                    <a:ahLst/>
                    <a:cxnLst/>
                    <a:rect l="l" t="t" r="r" b="b"/>
                    <a:pathLst>
                      <a:path w="12700" h="26034" extrusionOk="0">
                        <a:moveTo>
                          <a:pt x="0" y="26035"/>
                        </a:moveTo>
                        <a:lnTo>
                          <a:pt x="12700" y="26035"/>
                        </a:lnTo>
                        <a:lnTo>
                          <a:pt x="12700" y="0"/>
                        </a:lnTo>
                        <a:lnTo>
                          <a:pt x="0" y="0"/>
                        </a:lnTo>
                        <a:lnTo>
                          <a:pt x="0" y="26035"/>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97" name="Google Shape;3184;p22">
                    <a:extLst>
                      <a:ext uri="{FF2B5EF4-FFF2-40B4-BE49-F238E27FC236}">
                        <a16:creationId xmlns:a16="http://schemas.microsoft.com/office/drawing/2014/main" id="{5E204821-5928-4E73-9074-6E63C869F3D2}"/>
                      </a:ext>
                    </a:extLst>
                  </p:cNvPr>
                  <p:cNvSpPr/>
                  <p:nvPr/>
                </p:nvSpPr>
                <p:spPr>
                  <a:xfrm>
                    <a:off x="11067771" y="3177198"/>
                    <a:ext cx="27765" cy="53377"/>
                  </a:xfrm>
                  <a:custGeom>
                    <a:avLst/>
                    <a:gdLst/>
                    <a:ahLst/>
                    <a:cxnLst/>
                    <a:rect l="l" t="t" r="r" b="b"/>
                    <a:pathLst>
                      <a:path w="12700" h="26034" extrusionOk="0">
                        <a:moveTo>
                          <a:pt x="0" y="26035"/>
                        </a:moveTo>
                        <a:lnTo>
                          <a:pt x="12700" y="26035"/>
                        </a:lnTo>
                        <a:lnTo>
                          <a:pt x="12700" y="0"/>
                        </a:lnTo>
                        <a:lnTo>
                          <a:pt x="0" y="0"/>
                        </a:lnTo>
                        <a:lnTo>
                          <a:pt x="0" y="26035"/>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98" name="Google Shape;3185;p22">
                    <a:extLst>
                      <a:ext uri="{FF2B5EF4-FFF2-40B4-BE49-F238E27FC236}">
                        <a16:creationId xmlns:a16="http://schemas.microsoft.com/office/drawing/2014/main" id="{B82E8E73-25C1-4CC4-BC0C-3843D11659A9}"/>
                      </a:ext>
                    </a:extLst>
                  </p:cNvPr>
                  <p:cNvSpPr/>
                  <p:nvPr/>
                </p:nvSpPr>
                <p:spPr>
                  <a:xfrm>
                    <a:off x="11080403" y="3177198"/>
                    <a:ext cx="27765" cy="53377"/>
                  </a:xfrm>
                  <a:custGeom>
                    <a:avLst/>
                    <a:gdLst/>
                    <a:ahLst/>
                    <a:cxnLst/>
                    <a:rect l="l" t="t" r="r" b="b"/>
                    <a:pathLst>
                      <a:path w="12700" h="26034" extrusionOk="0">
                        <a:moveTo>
                          <a:pt x="0" y="26035"/>
                        </a:moveTo>
                        <a:lnTo>
                          <a:pt x="12700" y="26035"/>
                        </a:lnTo>
                        <a:lnTo>
                          <a:pt x="12700" y="0"/>
                        </a:lnTo>
                        <a:lnTo>
                          <a:pt x="0" y="0"/>
                        </a:lnTo>
                        <a:lnTo>
                          <a:pt x="0" y="26035"/>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099" name="Google Shape;3186;p22">
                    <a:extLst>
                      <a:ext uri="{FF2B5EF4-FFF2-40B4-BE49-F238E27FC236}">
                        <a16:creationId xmlns:a16="http://schemas.microsoft.com/office/drawing/2014/main" id="{6F6E8462-8D15-4496-9632-F4DB22E780DF}"/>
                      </a:ext>
                    </a:extLst>
                  </p:cNvPr>
                  <p:cNvSpPr/>
                  <p:nvPr/>
                </p:nvSpPr>
                <p:spPr>
                  <a:xfrm>
                    <a:off x="11086706" y="3177198"/>
                    <a:ext cx="27765" cy="53377"/>
                  </a:xfrm>
                  <a:custGeom>
                    <a:avLst/>
                    <a:gdLst/>
                    <a:ahLst/>
                    <a:cxnLst/>
                    <a:rect l="l" t="t" r="r" b="b"/>
                    <a:pathLst>
                      <a:path w="12700" h="26034" extrusionOk="0">
                        <a:moveTo>
                          <a:pt x="0" y="26035"/>
                        </a:moveTo>
                        <a:lnTo>
                          <a:pt x="12700" y="26035"/>
                        </a:lnTo>
                        <a:lnTo>
                          <a:pt x="12700" y="0"/>
                        </a:lnTo>
                        <a:lnTo>
                          <a:pt x="0" y="0"/>
                        </a:lnTo>
                        <a:lnTo>
                          <a:pt x="0" y="26035"/>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00" name="Google Shape;3187;p22">
                    <a:extLst>
                      <a:ext uri="{FF2B5EF4-FFF2-40B4-BE49-F238E27FC236}">
                        <a16:creationId xmlns:a16="http://schemas.microsoft.com/office/drawing/2014/main" id="{535DF0A3-ED9F-4564-A1DF-F6FD714C6069}"/>
                      </a:ext>
                    </a:extLst>
                  </p:cNvPr>
                  <p:cNvSpPr/>
                  <p:nvPr/>
                </p:nvSpPr>
                <p:spPr>
                  <a:xfrm>
                    <a:off x="11099394" y="3177198"/>
                    <a:ext cx="27765" cy="53377"/>
                  </a:xfrm>
                  <a:custGeom>
                    <a:avLst/>
                    <a:gdLst/>
                    <a:ahLst/>
                    <a:cxnLst/>
                    <a:rect l="l" t="t" r="r" b="b"/>
                    <a:pathLst>
                      <a:path w="12700" h="26034" extrusionOk="0">
                        <a:moveTo>
                          <a:pt x="0" y="26035"/>
                        </a:moveTo>
                        <a:lnTo>
                          <a:pt x="12700" y="26035"/>
                        </a:lnTo>
                        <a:lnTo>
                          <a:pt x="12700" y="0"/>
                        </a:lnTo>
                        <a:lnTo>
                          <a:pt x="0" y="0"/>
                        </a:lnTo>
                        <a:lnTo>
                          <a:pt x="0" y="26035"/>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01" name="Google Shape;3188;p22">
                    <a:extLst>
                      <a:ext uri="{FF2B5EF4-FFF2-40B4-BE49-F238E27FC236}">
                        <a16:creationId xmlns:a16="http://schemas.microsoft.com/office/drawing/2014/main" id="{65821DD9-B5E1-4F2C-8533-F5D2C9F63DB2}"/>
                      </a:ext>
                    </a:extLst>
                  </p:cNvPr>
                  <p:cNvSpPr/>
                  <p:nvPr/>
                </p:nvSpPr>
                <p:spPr>
                  <a:xfrm>
                    <a:off x="11151537" y="3177198"/>
                    <a:ext cx="27765" cy="53377"/>
                  </a:xfrm>
                  <a:custGeom>
                    <a:avLst/>
                    <a:gdLst/>
                    <a:ahLst/>
                    <a:cxnLst/>
                    <a:rect l="l" t="t" r="r" b="b"/>
                    <a:pathLst>
                      <a:path w="12700" h="26034" extrusionOk="0">
                        <a:moveTo>
                          <a:pt x="0" y="26035"/>
                        </a:moveTo>
                        <a:lnTo>
                          <a:pt x="12700" y="26035"/>
                        </a:lnTo>
                        <a:lnTo>
                          <a:pt x="12700" y="0"/>
                        </a:lnTo>
                        <a:lnTo>
                          <a:pt x="0" y="0"/>
                        </a:lnTo>
                        <a:lnTo>
                          <a:pt x="0" y="26035"/>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02" name="Google Shape;3189;p22">
                    <a:extLst>
                      <a:ext uri="{FF2B5EF4-FFF2-40B4-BE49-F238E27FC236}">
                        <a16:creationId xmlns:a16="http://schemas.microsoft.com/office/drawing/2014/main" id="{EFC390E2-9423-4921-83E1-EB45687B291D}"/>
                      </a:ext>
                    </a:extLst>
                  </p:cNvPr>
                  <p:cNvSpPr/>
                  <p:nvPr/>
                </p:nvSpPr>
                <p:spPr>
                  <a:xfrm>
                    <a:off x="11191018" y="3177198"/>
                    <a:ext cx="27765" cy="53377"/>
                  </a:xfrm>
                  <a:custGeom>
                    <a:avLst/>
                    <a:gdLst/>
                    <a:ahLst/>
                    <a:cxnLst/>
                    <a:rect l="l" t="t" r="r" b="b"/>
                    <a:pathLst>
                      <a:path w="12700" h="26034" extrusionOk="0">
                        <a:moveTo>
                          <a:pt x="0" y="26035"/>
                        </a:moveTo>
                        <a:lnTo>
                          <a:pt x="12700" y="26035"/>
                        </a:lnTo>
                        <a:lnTo>
                          <a:pt x="12700" y="0"/>
                        </a:lnTo>
                        <a:lnTo>
                          <a:pt x="0" y="0"/>
                        </a:lnTo>
                        <a:lnTo>
                          <a:pt x="0" y="26035"/>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03" name="Google Shape;3190;p22">
                    <a:extLst>
                      <a:ext uri="{FF2B5EF4-FFF2-40B4-BE49-F238E27FC236}">
                        <a16:creationId xmlns:a16="http://schemas.microsoft.com/office/drawing/2014/main" id="{56808244-14F5-45F2-A12E-638736EECA5C}"/>
                      </a:ext>
                    </a:extLst>
                  </p:cNvPr>
                  <p:cNvSpPr/>
                  <p:nvPr/>
                </p:nvSpPr>
                <p:spPr>
                  <a:xfrm>
                    <a:off x="11209981" y="3198028"/>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04" name="Google Shape;3191;p22">
                    <a:extLst>
                      <a:ext uri="{FF2B5EF4-FFF2-40B4-BE49-F238E27FC236}">
                        <a16:creationId xmlns:a16="http://schemas.microsoft.com/office/drawing/2014/main" id="{08DEEF37-7439-4742-8D1B-3EA395CCC2CB}"/>
                      </a:ext>
                    </a:extLst>
                  </p:cNvPr>
                  <p:cNvSpPr/>
                  <p:nvPr/>
                </p:nvSpPr>
                <p:spPr>
                  <a:xfrm>
                    <a:off x="11249518" y="3218728"/>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05" name="Google Shape;3192;p22">
                    <a:extLst>
                      <a:ext uri="{FF2B5EF4-FFF2-40B4-BE49-F238E27FC236}">
                        <a16:creationId xmlns:a16="http://schemas.microsoft.com/office/drawing/2014/main" id="{5BB6600D-7C1C-4146-8FA3-06D8636B2481}"/>
                      </a:ext>
                    </a:extLst>
                  </p:cNvPr>
                  <p:cNvSpPr/>
                  <p:nvPr/>
                </p:nvSpPr>
                <p:spPr>
                  <a:xfrm>
                    <a:off x="11477051" y="3260233"/>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06" name="Google Shape;3193;p22">
                    <a:extLst>
                      <a:ext uri="{FF2B5EF4-FFF2-40B4-BE49-F238E27FC236}">
                        <a16:creationId xmlns:a16="http://schemas.microsoft.com/office/drawing/2014/main" id="{A038F843-2019-41CA-A32E-CCBEBF0EFEA7}"/>
                      </a:ext>
                    </a:extLst>
                  </p:cNvPr>
                  <p:cNvSpPr/>
                  <p:nvPr/>
                </p:nvSpPr>
                <p:spPr>
                  <a:xfrm>
                    <a:off x="11489683" y="3260233"/>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07" name="Google Shape;3194;p22">
                    <a:extLst>
                      <a:ext uri="{FF2B5EF4-FFF2-40B4-BE49-F238E27FC236}">
                        <a16:creationId xmlns:a16="http://schemas.microsoft.com/office/drawing/2014/main" id="{C11717C6-8FDC-4F58-B151-078E4821A11D}"/>
                      </a:ext>
                    </a:extLst>
                  </p:cNvPr>
                  <p:cNvSpPr/>
                  <p:nvPr/>
                </p:nvSpPr>
                <p:spPr>
                  <a:xfrm>
                    <a:off x="11541826" y="3282471"/>
                    <a:ext cx="27765" cy="53377"/>
                  </a:xfrm>
                  <a:custGeom>
                    <a:avLst/>
                    <a:gdLst/>
                    <a:ahLst/>
                    <a:cxnLst/>
                    <a:rect l="l" t="t" r="r" b="b"/>
                    <a:pathLst>
                      <a:path w="12700" h="26034" extrusionOk="0">
                        <a:moveTo>
                          <a:pt x="0" y="26035"/>
                        </a:moveTo>
                        <a:lnTo>
                          <a:pt x="12700" y="26035"/>
                        </a:lnTo>
                        <a:lnTo>
                          <a:pt x="12700" y="0"/>
                        </a:lnTo>
                        <a:lnTo>
                          <a:pt x="0" y="0"/>
                        </a:lnTo>
                        <a:lnTo>
                          <a:pt x="0" y="26035"/>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08" name="Google Shape;3195;p22">
                    <a:extLst>
                      <a:ext uri="{FF2B5EF4-FFF2-40B4-BE49-F238E27FC236}">
                        <a16:creationId xmlns:a16="http://schemas.microsoft.com/office/drawing/2014/main" id="{26BF5E98-C420-464A-ACBB-855259D0667B}"/>
                      </a:ext>
                    </a:extLst>
                  </p:cNvPr>
                  <p:cNvSpPr/>
                  <p:nvPr/>
                </p:nvSpPr>
                <p:spPr>
                  <a:xfrm>
                    <a:off x="11581361" y="3304681"/>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09" name="Google Shape;3196;p22">
                    <a:extLst>
                      <a:ext uri="{FF2B5EF4-FFF2-40B4-BE49-F238E27FC236}">
                        <a16:creationId xmlns:a16="http://schemas.microsoft.com/office/drawing/2014/main" id="{FCA9B26E-DE10-4C4E-9BCC-DD46A304F0E8}"/>
                      </a:ext>
                    </a:extLst>
                  </p:cNvPr>
                  <p:cNvSpPr/>
                  <p:nvPr/>
                </p:nvSpPr>
                <p:spPr>
                  <a:xfrm>
                    <a:off x="11600298" y="3304681"/>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10" name="Google Shape;3197;p22">
                    <a:extLst>
                      <a:ext uri="{FF2B5EF4-FFF2-40B4-BE49-F238E27FC236}">
                        <a16:creationId xmlns:a16="http://schemas.microsoft.com/office/drawing/2014/main" id="{3FAFA970-540B-4838-831A-FCE4E4F0AE90}"/>
                      </a:ext>
                    </a:extLst>
                  </p:cNvPr>
                  <p:cNvSpPr/>
                  <p:nvPr/>
                </p:nvSpPr>
                <p:spPr>
                  <a:xfrm>
                    <a:off x="11756779" y="3328376"/>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11" name="Google Shape;3198;p22">
                    <a:extLst>
                      <a:ext uri="{FF2B5EF4-FFF2-40B4-BE49-F238E27FC236}">
                        <a16:creationId xmlns:a16="http://schemas.microsoft.com/office/drawing/2014/main" id="{6EB8B66D-BC11-4163-9392-D1D4D7D71B15}"/>
                      </a:ext>
                    </a:extLst>
                  </p:cNvPr>
                  <p:cNvSpPr/>
                  <p:nvPr/>
                </p:nvSpPr>
                <p:spPr>
                  <a:xfrm>
                    <a:off x="11775713" y="3328376"/>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12" name="Google Shape;3199;p22">
                    <a:extLst>
                      <a:ext uri="{FF2B5EF4-FFF2-40B4-BE49-F238E27FC236}">
                        <a16:creationId xmlns:a16="http://schemas.microsoft.com/office/drawing/2014/main" id="{1FBD0ECE-8CDE-4E24-8EA2-B8A5C4C1DFE8}"/>
                      </a:ext>
                    </a:extLst>
                  </p:cNvPr>
                  <p:cNvSpPr/>
                  <p:nvPr/>
                </p:nvSpPr>
                <p:spPr>
                  <a:xfrm>
                    <a:off x="11886357" y="3328376"/>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13" name="Google Shape;3200;p22">
                    <a:extLst>
                      <a:ext uri="{FF2B5EF4-FFF2-40B4-BE49-F238E27FC236}">
                        <a16:creationId xmlns:a16="http://schemas.microsoft.com/office/drawing/2014/main" id="{AE5757F3-F940-4B36-BADB-70E69CB83CFB}"/>
                      </a:ext>
                    </a:extLst>
                  </p:cNvPr>
                  <p:cNvSpPr/>
                  <p:nvPr/>
                </p:nvSpPr>
                <p:spPr>
                  <a:xfrm>
                    <a:off x="11892660" y="3328376"/>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14" name="Google Shape;3201;p22">
                    <a:extLst>
                      <a:ext uri="{FF2B5EF4-FFF2-40B4-BE49-F238E27FC236}">
                        <a16:creationId xmlns:a16="http://schemas.microsoft.com/office/drawing/2014/main" id="{474BA98E-C2B1-4E19-A0F4-A80BF8247288}"/>
                      </a:ext>
                    </a:extLst>
                  </p:cNvPr>
                  <p:cNvSpPr/>
                  <p:nvPr/>
                </p:nvSpPr>
                <p:spPr>
                  <a:xfrm>
                    <a:off x="11959046" y="3356551"/>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15" name="Google Shape;3202;p22">
                    <a:extLst>
                      <a:ext uri="{FF2B5EF4-FFF2-40B4-BE49-F238E27FC236}">
                        <a16:creationId xmlns:a16="http://schemas.microsoft.com/office/drawing/2014/main" id="{EADEFC21-3FED-44DE-A34E-37FEB47896E3}"/>
                      </a:ext>
                    </a:extLst>
                  </p:cNvPr>
                  <p:cNvSpPr/>
                  <p:nvPr/>
                </p:nvSpPr>
                <p:spPr>
                  <a:xfrm>
                    <a:off x="11996972" y="3356551"/>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16" name="Google Shape;3203;p22">
                    <a:extLst>
                      <a:ext uri="{FF2B5EF4-FFF2-40B4-BE49-F238E27FC236}">
                        <a16:creationId xmlns:a16="http://schemas.microsoft.com/office/drawing/2014/main" id="{6C82EC11-7863-4391-B680-F9A1D62009CB}"/>
                      </a:ext>
                    </a:extLst>
                  </p:cNvPr>
                  <p:cNvSpPr/>
                  <p:nvPr/>
                </p:nvSpPr>
                <p:spPr>
                  <a:xfrm>
                    <a:off x="12758391" y="3454375"/>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17" name="Google Shape;3204;p22">
                    <a:extLst>
                      <a:ext uri="{FF2B5EF4-FFF2-40B4-BE49-F238E27FC236}">
                        <a16:creationId xmlns:a16="http://schemas.microsoft.com/office/drawing/2014/main" id="{DAE4FCA9-8F97-4E07-A394-2EFB24CB8C44}"/>
                      </a:ext>
                    </a:extLst>
                  </p:cNvPr>
                  <p:cNvSpPr/>
                  <p:nvPr/>
                </p:nvSpPr>
                <p:spPr>
                  <a:xfrm>
                    <a:off x="12764720" y="3454375"/>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18" name="Google Shape;3205;p22">
                    <a:extLst>
                      <a:ext uri="{FF2B5EF4-FFF2-40B4-BE49-F238E27FC236}">
                        <a16:creationId xmlns:a16="http://schemas.microsoft.com/office/drawing/2014/main" id="{7EFCD51C-8943-47A8-9767-C396C222C90D}"/>
                      </a:ext>
                    </a:extLst>
                  </p:cNvPr>
                  <p:cNvSpPr/>
                  <p:nvPr/>
                </p:nvSpPr>
                <p:spPr>
                  <a:xfrm>
                    <a:off x="12848486" y="3454375"/>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19" name="Google Shape;3206;p22">
                    <a:extLst>
                      <a:ext uri="{FF2B5EF4-FFF2-40B4-BE49-F238E27FC236}">
                        <a16:creationId xmlns:a16="http://schemas.microsoft.com/office/drawing/2014/main" id="{13B5AC4D-81DF-4B31-8544-11EA2853E107}"/>
                      </a:ext>
                    </a:extLst>
                  </p:cNvPr>
                  <p:cNvSpPr/>
                  <p:nvPr/>
                </p:nvSpPr>
                <p:spPr>
                  <a:xfrm>
                    <a:off x="12887966" y="3454375"/>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20" name="Google Shape;3207;p22">
                    <a:extLst>
                      <a:ext uri="{FF2B5EF4-FFF2-40B4-BE49-F238E27FC236}">
                        <a16:creationId xmlns:a16="http://schemas.microsoft.com/office/drawing/2014/main" id="{EEA86DD4-15F0-452C-AA44-36C206222518}"/>
                      </a:ext>
                    </a:extLst>
                  </p:cNvPr>
                  <p:cNvSpPr/>
                  <p:nvPr/>
                </p:nvSpPr>
                <p:spPr>
                  <a:xfrm>
                    <a:off x="13057082" y="3583292"/>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21" name="Google Shape;3208;p22">
                    <a:extLst>
                      <a:ext uri="{FF2B5EF4-FFF2-40B4-BE49-F238E27FC236}">
                        <a16:creationId xmlns:a16="http://schemas.microsoft.com/office/drawing/2014/main" id="{27BC3ACC-5C1D-42DB-B4DA-304F17B81223}"/>
                      </a:ext>
                    </a:extLst>
                  </p:cNvPr>
                  <p:cNvSpPr/>
                  <p:nvPr/>
                </p:nvSpPr>
                <p:spPr>
                  <a:xfrm>
                    <a:off x="13082348" y="3583292"/>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22" name="Google Shape;3209;p22">
                    <a:extLst>
                      <a:ext uri="{FF2B5EF4-FFF2-40B4-BE49-F238E27FC236}">
                        <a16:creationId xmlns:a16="http://schemas.microsoft.com/office/drawing/2014/main" id="{B886D251-1966-4B4D-9E6E-9A97E803B267}"/>
                      </a:ext>
                    </a:extLst>
                  </p:cNvPr>
                  <p:cNvSpPr/>
                  <p:nvPr/>
                </p:nvSpPr>
                <p:spPr>
                  <a:xfrm>
                    <a:off x="14351333" y="3583292"/>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a:solidFill>
                      <a:schemeClr val="tx2"/>
                    </a:solid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23" name="Google Shape;3210;p22">
                    <a:extLst>
                      <a:ext uri="{FF2B5EF4-FFF2-40B4-BE49-F238E27FC236}">
                        <a16:creationId xmlns:a16="http://schemas.microsoft.com/office/drawing/2014/main" id="{81432B3D-3DAA-4F1B-8442-F767575147CE}"/>
                      </a:ext>
                    </a:extLst>
                  </p:cNvPr>
                  <p:cNvSpPr/>
                  <p:nvPr/>
                </p:nvSpPr>
                <p:spPr>
                  <a:xfrm>
                    <a:off x="14357662" y="3583292"/>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a:solidFill>
                      <a:schemeClr val="tx2"/>
                    </a:solid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24" name="Google Shape;3211;p22">
                    <a:extLst>
                      <a:ext uri="{FF2B5EF4-FFF2-40B4-BE49-F238E27FC236}">
                        <a16:creationId xmlns:a16="http://schemas.microsoft.com/office/drawing/2014/main" id="{E33F7DE2-D2DE-4D35-8F61-BE72CB78E762}"/>
                      </a:ext>
                    </a:extLst>
                  </p:cNvPr>
                  <p:cNvSpPr/>
                  <p:nvPr/>
                </p:nvSpPr>
                <p:spPr>
                  <a:xfrm>
                    <a:off x="9382927" y="1124617"/>
                    <a:ext cx="27765" cy="53377"/>
                  </a:xfrm>
                  <a:custGeom>
                    <a:avLst/>
                    <a:gdLst/>
                    <a:ahLst/>
                    <a:cxnLst/>
                    <a:rect l="l" t="t" r="r" b="b"/>
                    <a:pathLst>
                      <a:path w="12700" h="26035" extrusionOk="0">
                        <a:moveTo>
                          <a:pt x="0" y="26009"/>
                        </a:moveTo>
                        <a:lnTo>
                          <a:pt x="12700" y="26009"/>
                        </a:lnTo>
                        <a:lnTo>
                          <a:pt x="12700" y="0"/>
                        </a:lnTo>
                        <a:lnTo>
                          <a:pt x="0" y="0"/>
                        </a:lnTo>
                        <a:lnTo>
                          <a:pt x="0" y="26009"/>
                        </a:lnTo>
                        <a:close/>
                      </a:path>
                    </a:pathLst>
                  </a:custGeom>
                  <a:grpFill/>
                  <a:ln w="9525" cap="flat" cmpd="sng">
                    <a:solidFill>
                      <a:schemeClr val="tx2"/>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grpSp>
        </p:grpSp>
        <p:grpSp>
          <p:nvGrpSpPr>
            <p:cNvPr id="850" name="Group 849">
              <a:extLst>
                <a:ext uri="{FF2B5EF4-FFF2-40B4-BE49-F238E27FC236}">
                  <a16:creationId xmlns:a16="http://schemas.microsoft.com/office/drawing/2014/main" id="{B93331F5-ECCF-4807-A5BC-BD7A187AC5F9}"/>
                </a:ext>
              </a:extLst>
            </p:cNvPr>
            <p:cNvGrpSpPr/>
            <p:nvPr/>
          </p:nvGrpSpPr>
          <p:grpSpPr>
            <a:xfrm>
              <a:off x="9403112" y="1235774"/>
              <a:ext cx="2112975" cy="2510543"/>
              <a:chOff x="9403112" y="1235774"/>
              <a:chExt cx="2112975" cy="2510543"/>
            </a:xfrm>
            <a:solidFill>
              <a:schemeClr val="tx1"/>
            </a:solidFill>
          </p:grpSpPr>
          <p:sp>
            <p:nvSpPr>
              <p:cNvPr id="851" name="Google Shape;3015;p22">
                <a:extLst>
                  <a:ext uri="{FF2B5EF4-FFF2-40B4-BE49-F238E27FC236}">
                    <a16:creationId xmlns:a16="http://schemas.microsoft.com/office/drawing/2014/main" id="{8347346F-22DD-48F3-8FDC-2DFC13D06645}"/>
                  </a:ext>
                </a:extLst>
              </p:cNvPr>
              <p:cNvSpPr/>
              <p:nvPr/>
            </p:nvSpPr>
            <p:spPr>
              <a:xfrm>
                <a:off x="9436319" y="1349849"/>
                <a:ext cx="0" cy="53377"/>
              </a:xfrm>
              <a:custGeom>
                <a:avLst/>
                <a:gdLst/>
                <a:ahLst/>
                <a:cxnLst/>
                <a:rect l="l" t="t" r="r" b="b"/>
                <a:pathLst>
                  <a:path w="120000" h="26035" extrusionOk="0">
                    <a:moveTo>
                      <a:pt x="0" y="0"/>
                    </a:moveTo>
                    <a:lnTo>
                      <a:pt x="0" y="26022"/>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52" name="Google Shape;3016;p22">
                <a:extLst>
                  <a:ext uri="{FF2B5EF4-FFF2-40B4-BE49-F238E27FC236}">
                    <a16:creationId xmlns:a16="http://schemas.microsoft.com/office/drawing/2014/main" id="{F3615B8E-B19D-4889-ACD1-6C637126CF25}"/>
                  </a:ext>
                </a:extLst>
              </p:cNvPr>
              <p:cNvSpPr/>
              <p:nvPr/>
            </p:nvSpPr>
            <p:spPr>
              <a:xfrm>
                <a:off x="9448979" y="1407627"/>
                <a:ext cx="0" cy="53377"/>
              </a:xfrm>
              <a:custGeom>
                <a:avLst/>
                <a:gdLst/>
                <a:ahLst/>
                <a:cxnLst/>
                <a:rect l="l" t="t" r="r" b="b"/>
                <a:pathLst>
                  <a:path w="120000" h="26035" extrusionOk="0">
                    <a:moveTo>
                      <a:pt x="0" y="0"/>
                    </a:moveTo>
                    <a:lnTo>
                      <a:pt x="0" y="26034"/>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53" name="Google Shape;3019;p22">
                <a:extLst>
                  <a:ext uri="{FF2B5EF4-FFF2-40B4-BE49-F238E27FC236}">
                    <a16:creationId xmlns:a16="http://schemas.microsoft.com/office/drawing/2014/main" id="{FEFED59B-0608-4CAA-BA64-C174E62850BB}"/>
                  </a:ext>
                </a:extLst>
              </p:cNvPr>
              <p:cNvSpPr/>
              <p:nvPr/>
            </p:nvSpPr>
            <p:spPr>
              <a:xfrm>
                <a:off x="9520085" y="1578101"/>
                <a:ext cx="0" cy="53377"/>
              </a:xfrm>
              <a:custGeom>
                <a:avLst/>
                <a:gdLst/>
                <a:ahLst/>
                <a:cxnLst/>
                <a:rect l="l" t="t" r="r" b="b"/>
                <a:pathLst>
                  <a:path w="120000" h="26035" extrusionOk="0">
                    <a:moveTo>
                      <a:pt x="0" y="0"/>
                    </a:moveTo>
                    <a:lnTo>
                      <a:pt x="0" y="26009"/>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54" name="Google Shape;3049;p22">
                <a:extLst>
                  <a:ext uri="{FF2B5EF4-FFF2-40B4-BE49-F238E27FC236}">
                    <a16:creationId xmlns:a16="http://schemas.microsoft.com/office/drawing/2014/main" id="{0FDAB299-CA69-4F84-8ACA-410CBB0A5417}"/>
                  </a:ext>
                </a:extLst>
              </p:cNvPr>
              <p:cNvSpPr/>
              <p:nvPr/>
            </p:nvSpPr>
            <p:spPr>
              <a:xfrm>
                <a:off x="11516087" y="3692940"/>
                <a:ext cx="0" cy="53377"/>
              </a:xfrm>
              <a:custGeom>
                <a:avLst/>
                <a:gdLst/>
                <a:ahLst/>
                <a:cxnLst/>
                <a:rect l="l" t="t" r="r" b="b"/>
                <a:pathLst>
                  <a:path w="120000" h="26034" extrusionOk="0">
                    <a:moveTo>
                      <a:pt x="0" y="0"/>
                    </a:moveTo>
                    <a:lnTo>
                      <a:pt x="0" y="26022"/>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55" name="Google Shape;3013;p22">
                <a:extLst>
                  <a:ext uri="{FF2B5EF4-FFF2-40B4-BE49-F238E27FC236}">
                    <a16:creationId xmlns:a16="http://schemas.microsoft.com/office/drawing/2014/main" id="{22E4FCAB-277C-403E-B046-795A9FAAAE6C}"/>
                  </a:ext>
                </a:extLst>
              </p:cNvPr>
              <p:cNvSpPr/>
              <p:nvPr/>
            </p:nvSpPr>
            <p:spPr>
              <a:xfrm>
                <a:off x="9403112" y="1235774"/>
                <a:ext cx="0" cy="53377"/>
              </a:xfrm>
              <a:custGeom>
                <a:avLst/>
                <a:gdLst/>
                <a:ahLst/>
                <a:cxnLst/>
                <a:rect l="l" t="t" r="r" b="b"/>
                <a:pathLst>
                  <a:path w="120000" h="26035" extrusionOk="0">
                    <a:moveTo>
                      <a:pt x="0" y="0"/>
                    </a:moveTo>
                    <a:lnTo>
                      <a:pt x="0" y="26022"/>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59" name="Google Shape;3014;p22">
                <a:extLst>
                  <a:ext uri="{FF2B5EF4-FFF2-40B4-BE49-F238E27FC236}">
                    <a16:creationId xmlns:a16="http://schemas.microsoft.com/office/drawing/2014/main" id="{528A103B-B1AD-4ED2-B421-9AE1BFAE681A}"/>
                  </a:ext>
                </a:extLst>
              </p:cNvPr>
              <p:cNvSpPr/>
              <p:nvPr/>
            </p:nvSpPr>
            <p:spPr>
              <a:xfrm>
                <a:off x="9429987" y="1293552"/>
                <a:ext cx="0" cy="54681"/>
              </a:xfrm>
              <a:custGeom>
                <a:avLst/>
                <a:gdLst/>
                <a:ahLst/>
                <a:cxnLst/>
                <a:rect l="l" t="t" r="r" b="b"/>
                <a:pathLst>
                  <a:path w="120000" h="26670" extrusionOk="0">
                    <a:moveTo>
                      <a:pt x="0" y="0"/>
                    </a:moveTo>
                    <a:lnTo>
                      <a:pt x="0" y="26047"/>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60" name="Google Shape;3017;p22">
                <a:extLst>
                  <a:ext uri="{FF2B5EF4-FFF2-40B4-BE49-F238E27FC236}">
                    <a16:creationId xmlns:a16="http://schemas.microsoft.com/office/drawing/2014/main" id="{096C2950-25F5-442F-9EBF-6E1CE4074EB3}"/>
                  </a:ext>
                </a:extLst>
              </p:cNvPr>
              <p:cNvSpPr/>
              <p:nvPr/>
            </p:nvSpPr>
            <p:spPr>
              <a:xfrm>
                <a:off x="9455282" y="1463975"/>
                <a:ext cx="0" cy="54681"/>
              </a:xfrm>
              <a:custGeom>
                <a:avLst/>
                <a:gdLst/>
                <a:ahLst/>
                <a:cxnLst/>
                <a:rect l="l" t="t" r="r" b="b"/>
                <a:pathLst>
                  <a:path w="120000" h="26670" extrusionOk="0">
                    <a:moveTo>
                      <a:pt x="0" y="0"/>
                    </a:moveTo>
                    <a:lnTo>
                      <a:pt x="0" y="26047"/>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61" name="Google Shape;3018;p22">
                <a:extLst>
                  <a:ext uri="{FF2B5EF4-FFF2-40B4-BE49-F238E27FC236}">
                    <a16:creationId xmlns:a16="http://schemas.microsoft.com/office/drawing/2014/main" id="{222C33B9-1BA5-4CCA-854E-56A358E14F06}"/>
                  </a:ext>
                </a:extLst>
              </p:cNvPr>
              <p:cNvSpPr/>
              <p:nvPr/>
            </p:nvSpPr>
            <p:spPr>
              <a:xfrm>
                <a:off x="9501148" y="1521780"/>
                <a:ext cx="0" cy="53377"/>
              </a:xfrm>
              <a:custGeom>
                <a:avLst/>
                <a:gdLst/>
                <a:ahLst/>
                <a:cxnLst/>
                <a:rect l="l" t="t" r="r" b="b"/>
                <a:pathLst>
                  <a:path w="120000" h="26035" extrusionOk="0">
                    <a:moveTo>
                      <a:pt x="0" y="0"/>
                    </a:moveTo>
                    <a:lnTo>
                      <a:pt x="0" y="26022"/>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62" name="Google Shape;3020;p22">
                <a:extLst>
                  <a:ext uri="{FF2B5EF4-FFF2-40B4-BE49-F238E27FC236}">
                    <a16:creationId xmlns:a16="http://schemas.microsoft.com/office/drawing/2014/main" id="{2629F237-A9F4-4B97-97EC-689F47FD5775}"/>
                  </a:ext>
                </a:extLst>
              </p:cNvPr>
              <p:cNvSpPr/>
              <p:nvPr/>
            </p:nvSpPr>
            <p:spPr>
              <a:xfrm>
                <a:off x="9526414" y="1692200"/>
                <a:ext cx="0" cy="53377"/>
              </a:xfrm>
              <a:custGeom>
                <a:avLst/>
                <a:gdLst/>
                <a:ahLst/>
                <a:cxnLst/>
                <a:rect l="l" t="t" r="r" b="b"/>
                <a:pathLst>
                  <a:path w="120000" h="26035" extrusionOk="0">
                    <a:moveTo>
                      <a:pt x="0" y="0"/>
                    </a:moveTo>
                    <a:lnTo>
                      <a:pt x="0" y="25996"/>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64" name="Google Shape;3021;p22">
                <a:extLst>
                  <a:ext uri="{FF2B5EF4-FFF2-40B4-BE49-F238E27FC236}">
                    <a16:creationId xmlns:a16="http://schemas.microsoft.com/office/drawing/2014/main" id="{99634E62-F7B9-461F-A4AA-8ADC5018C671}"/>
                  </a:ext>
                </a:extLst>
              </p:cNvPr>
              <p:cNvSpPr/>
              <p:nvPr/>
            </p:nvSpPr>
            <p:spPr>
              <a:xfrm>
                <a:off x="9532745" y="1748497"/>
                <a:ext cx="0" cy="54681"/>
              </a:xfrm>
              <a:custGeom>
                <a:avLst/>
                <a:gdLst/>
                <a:ahLst/>
                <a:cxnLst/>
                <a:rect l="l" t="t" r="r" b="b"/>
                <a:pathLst>
                  <a:path w="120000" h="26670" extrusionOk="0">
                    <a:moveTo>
                      <a:pt x="0" y="0"/>
                    </a:moveTo>
                    <a:lnTo>
                      <a:pt x="0" y="26047"/>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65" name="Google Shape;3022;p22">
                <a:extLst>
                  <a:ext uri="{FF2B5EF4-FFF2-40B4-BE49-F238E27FC236}">
                    <a16:creationId xmlns:a16="http://schemas.microsoft.com/office/drawing/2014/main" id="{1FE880D6-3261-4203-9261-8712847755E4}"/>
                  </a:ext>
                </a:extLst>
              </p:cNvPr>
              <p:cNvSpPr/>
              <p:nvPr/>
            </p:nvSpPr>
            <p:spPr>
              <a:xfrm>
                <a:off x="9539048" y="1862674"/>
                <a:ext cx="0" cy="53377"/>
              </a:xfrm>
              <a:custGeom>
                <a:avLst/>
                <a:gdLst/>
                <a:ahLst/>
                <a:cxnLst/>
                <a:rect l="l" t="t" r="r" b="b"/>
                <a:pathLst>
                  <a:path w="120000" h="26034" extrusionOk="0">
                    <a:moveTo>
                      <a:pt x="0" y="0"/>
                    </a:moveTo>
                    <a:lnTo>
                      <a:pt x="0" y="25996"/>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66" name="Google Shape;3023;p22">
                <a:extLst>
                  <a:ext uri="{FF2B5EF4-FFF2-40B4-BE49-F238E27FC236}">
                    <a16:creationId xmlns:a16="http://schemas.microsoft.com/office/drawing/2014/main" id="{74F0442C-9160-4FCD-B456-1565A1B391DF}"/>
                  </a:ext>
                </a:extLst>
              </p:cNvPr>
              <p:cNvSpPr/>
              <p:nvPr/>
            </p:nvSpPr>
            <p:spPr>
              <a:xfrm>
                <a:off x="9546960" y="1976749"/>
                <a:ext cx="0" cy="53377"/>
              </a:xfrm>
              <a:custGeom>
                <a:avLst/>
                <a:gdLst/>
                <a:ahLst/>
                <a:cxnLst/>
                <a:rect l="l" t="t" r="r" b="b"/>
                <a:pathLst>
                  <a:path w="120000" h="26034" extrusionOk="0">
                    <a:moveTo>
                      <a:pt x="0" y="0"/>
                    </a:moveTo>
                    <a:lnTo>
                      <a:pt x="0" y="26022"/>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67" name="Google Shape;3024;p22">
                <a:extLst>
                  <a:ext uri="{FF2B5EF4-FFF2-40B4-BE49-F238E27FC236}">
                    <a16:creationId xmlns:a16="http://schemas.microsoft.com/office/drawing/2014/main" id="{2287E76F-1355-4493-BD0C-7740FEECEF34}"/>
                  </a:ext>
                </a:extLst>
              </p:cNvPr>
              <p:cNvSpPr/>
              <p:nvPr/>
            </p:nvSpPr>
            <p:spPr>
              <a:xfrm>
                <a:off x="9565951" y="2033148"/>
                <a:ext cx="0" cy="53377"/>
              </a:xfrm>
              <a:custGeom>
                <a:avLst/>
                <a:gdLst/>
                <a:ahLst/>
                <a:cxnLst/>
                <a:rect l="l" t="t" r="r" b="b"/>
                <a:pathLst>
                  <a:path w="120000" h="26034" extrusionOk="0">
                    <a:moveTo>
                      <a:pt x="0" y="0"/>
                    </a:moveTo>
                    <a:lnTo>
                      <a:pt x="0" y="25996"/>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68" name="Google Shape;3025;p22">
                <a:extLst>
                  <a:ext uri="{FF2B5EF4-FFF2-40B4-BE49-F238E27FC236}">
                    <a16:creationId xmlns:a16="http://schemas.microsoft.com/office/drawing/2014/main" id="{0696E3A5-F10F-4798-AA25-5FB2B8E1A00C}"/>
                  </a:ext>
                </a:extLst>
              </p:cNvPr>
              <p:cNvSpPr/>
              <p:nvPr/>
            </p:nvSpPr>
            <p:spPr>
              <a:xfrm>
                <a:off x="9611791" y="2148705"/>
                <a:ext cx="0" cy="53377"/>
              </a:xfrm>
              <a:custGeom>
                <a:avLst/>
                <a:gdLst/>
                <a:ahLst/>
                <a:cxnLst/>
                <a:rect l="l" t="t" r="r" b="b"/>
                <a:pathLst>
                  <a:path w="120000" h="26034" extrusionOk="0">
                    <a:moveTo>
                      <a:pt x="0" y="0"/>
                    </a:moveTo>
                    <a:lnTo>
                      <a:pt x="0" y="26009"/>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69" name="Google Shape;3026;p22">
                <a:extLst>
                  <a:ext uri="{FF2B5EF4-FFF2-40B4-BE49-F238E27FC236}">
                    <a16:creationId xmlns:a16="http://schemas.microsoft.com/office/drawing/2014/main" id="{5D43770A-FC64-4072-8D3A-8C9AC7B25FFF}"/>
                  </a:ext>
                </a:extLst>
              </p:cNvPr>
              <p:cNvSpPr/>
              <p:nvPr/>
            </p:nvSpPr>
            <p:spPr>
              <a:xfrm>
                <a:off x="9630726" y="2207943"/>
                <a:ext cx="0" cy="53377"/>
              </a:xfrm>
              <a:custGeom>
                <a:avLst/>
                <a:gdLst/>
                <a:ahLst/>
                <a:cxnLst/>
                <a:rect l="l" t="t" r="r" b="b"/>
                <a:pathLst>
                  <a:path w="120000" h="26034" extrusionOk="0">
                    <a:moveTo>
                      <a:pt x="0" y="0"/>
                    </a:moveTo>
                    <a:lnTo>
                      <a:pt x="0" y="26022"/>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70" name="Google Shape;3027;p22">
                <a:extLst>
                  <a:ext uri="{FF2B5EF4-FFF2-40B4-BE49-F238E27FC236}">
                    <a16:creationId xmlns:a16="http://schemas.microsoft.com/office/drawing/2014/main" id="{A6C29FF1-149D-46B1-ADA9-DE9475374703}"/>
                  </a:ext>
                </a:extLst>
              </p:cNvPr>
              <p:cNvSpPr/>
              <p:nvPr/>
            </p:nvSpPr>
            <p:spPr>
              <a:xfrm>
                <a:off x="9649689" y="2267233"/>
                <a:ext cx="0" cy="53377"/>
              </a:xfrm>
              <a:custGeom>
                <a:avLst/>
                <a:gdLst/>
                <a:ahLst/>
                <a:cxnLst/>
                <a:rect l="l" t="t" r="r" b="b"/>
                <a:pathLst>
                  <a:path w="120000" h="26034" extrusionOk="0">
                    <a:moveTo>
                      <a:pt x="0" y="0"/>
                    </a:moveTo>
                    <a:lnTo>
                      <a:pt x="0" y="26022"/>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71" name="Google Shape;3028;p22">
                <a:extLst>
                  <a:ext uri="{FF2B5EF4-FFF2-40B4-BE49-F238E27FC236}">
                    <a16:creationId xmlns:a16="http://schemas.microsoft.com/office/drawing/2014/main" id="{56A1A784-0167-434E-BA31-06272D230B53}"/>
                  </a:ext>
                </a:extLst>
              </p:cNvPr>
              <p:cNvSpPr/>
              <p:nvPr/>
            </p:nvSpPr>
            <p:spPr>
              <a:xfrm>
                <a:off x="9657603" y="2384303"/>
                <a:ext cx="0" cy="53377"/>
              </a:xfrm>
              <a:custGeom>
                <a:avLst/>
                <a:gdLst/>
                <a:ahLst/>
                <a:cxnLst/>
                <a:rect l="l" t="t" r="r" b="b"/>
                <a:pathLst>
                  <a:path w="120000" h="26034" extrusionOk="0">
                    <a:moveTo>
                      <a:pt x="0" y="0"/>
                    </a:moveTo>
                    <a:lnTo>
                      <a:pt x="0" y="26022"/>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72" name="Google Shape;3029;p22">
                <a:extLst>
                  <a:ext uri="{FF2B5EF4-FFF2-40B4-BE49-F238E27FC236}">
                    <a16:creationId xmlns:a16="http://schemas.microsoft.com/office/drawing/2014/main" id="{230D4FB3-1217-476B-90D1-175F8F56B6B2}"/>
                  </a:ext>
                </a:extLst>
              </p:cNvPr>
              <p:cNvSpPr/>
              <p:nvPr/>
            </p:nvSpPr>
            <p:spPr>
              <a:xfrm>
                <a:off x="9689198" y="2442185"/>
                <a:ext cx="0" cy="53377"/>
              </a:xfrm>
              <a:custGeom>
                <a:avLst/>
                <a:gdLst/>
                <a:ahLst/>
                <a:cxnLst/>
                <a:rect l="l" t="t" r="r" b="b"/>
                <a:pathLst>
                  <a:path w="120000" h="26034" extrusionOk="0">
                    <a:moveTo>
                      <a:pt x="0" y="0"/>
                    </a:moveTo>
                    <a:lnTo>
                      <a:pt x="0" y="25971"/>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73" name="Google Shape;3030;p22">
                <a:extLst>
                  <a:ext uri="{FF2B5EF4-FFF2-40B4-BE49-F238E27FC236}">
                    <a16:creationId xmlns:a16="http://schemas.microsoft.com/office/drawing/2014/main" id="{ED542A1C-BD62-4005-96F3-3BE9A6FE2B1F}"/>
                  </a:ext>
                </a:extLst>
              </p:cNvPr>
              <p:cNvSpPr/>
              <p:nvPr/>
            </p:nvSpPr>
            <p:spPr>
              <a:xfrm>
                <a:off x="9722378" y="2501423"/>
                <a:ext cx="0" cy="53377"/>
              </a:xfrm>
              <a:custGeom>
                <a:avLst/>
                <a:gdLst/>
                <a:ahLst/>
                <a:cxnLst/>
                <a:rect l="l" t="t" r="r" b="b"/>
                <a:pathLst>
                  <a:path w="120000" h="26034" extrusionOk="0">
                    <a:moveTo>
                      <a:pt x="0" y="0"/>
                    </a:moveTo>
                    <a:lnTo>
                      <a:pt x="0" y="26022"/>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74" name="Google Shape;3031;p22">
                <a:extLst>
                  <a:ext uri="{FF2B5EF4-FFF2-40B4-BE49-F238E27FC236}">
                    <a16:creationId xmlns:a16="http://schemas.microsoft.com/office/drawing/2014/main" id="{42CAA868-918F-4F19-8FE2-CD9684ABB049}"/>
                  </a:ext>
                </a:extLst>
              </p:cNvPr>
              <p:cNvSpPr/>
              <p:nvPr/>
            </p:nvSpPr>
            <p:spPr>
              <a:xfrm>
                <a:off x="9768218" y="2560686"/>
                <a:ext cx="0" cy="53377"/>
              </a:xfrm>
              <a:custGeom>
                <a:avLst/>
                <a:gdLst/>
                <a:ahLst/>
                <a:cxnLst/>
                <a:rect l="l" t="t" r="r" b="b"/>
                <a:pathLst>
                  <a:path w="120000" h="26034" extrusionOk="0">
                    <a:moveTo>
                      <a:pt x="0" y="0"/>
                    </a:moveTo>
                    <a:lnTo>
                      <a:pt x="0" y="26022"/>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77" name="Google Shape;3032;p22">
                <a:extLst>
                  <a:ext uri="{FF2B5EF4-FFF2-40B4-BE49-F238E27FC236}">
                    <a16:creationId xmlns:a16="http://schemas.microsoft.com/office/drawing/2014/main" id="{1DBB76DA-3631-4BE1-B1A8-D4BBF01F1312}"/>
                  </a:ext>
                </a:extLst>
              </p:cNvPr>
              <p:cNvSpPr/>
              <p:nvPr/>
            </p:nvSpPr>
            <p:spPr>
              <a:xfrm>
                <a:off x="9787207" y="2618518"/>
                <a:ext cx="0" cy="53377"/>
              </a:xfrm>
              <a:custGeom>
                <a:avLst/>
                <a:gdLst/>
                <a:ahLst/>
                <a:cxnLst/>
                <a:rect l="l" t="t" r="r" b="b"/>
                <a:pathLst>
                  <a:path w="120000" h="26034" extrusionOk="0">
                    <a:moveTo>
                      <a:pt x="0" y="0"/>
                    </a:moveTo>
                    <a:lnTo>
                      <a:pt x="0" y="26009"/>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78" name="Google Shape;3033;p22">
                <a:extLst>
                  <a:ext uri="{FF2B5EF4-FFF2-40B4-BE49-F238E27FC236}">
                    <a16:creationId xmlns:a16="http://schemas.microsoft.com/office/drawing/2014/main" id="{DD0A3231-EB77-453C-B6F5-22D7BA3EE8B6}"/>
                  </a:ext>
                </a:extLst>
              </p:cNvPr>
              <p:cNvSpPr/>
              <p:nvPr/>
            </p:nvSpPr>
            <p:spPr>
              <a:xfrm>
                <a:off x="9793510" y="2677754"/>
                <a:ext cx="0" cy="53377"/>
              </a:xfrm>
              <a:custGeom>
                <a:avLst/>
                <a:gdLst/>
                <a:ahLst/>
                <a:cxnLst/>
                <a:rect l="l" t="t" r="r" b="b"/>
                <a:pathLst>
                  <a:path w="120000" h="26034" extrusionOk="0">
                    <a:moveTo>
                      <a:pt x="0" y="0"/>
                    </a:moveTo>
                    <a:lnTo>
                      <a:pt x="0" y="26022"/>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79" name="Google Shape;3034;p22">
                <a:extLst>
                  <a:ext uri="{FF2B5EF4-FFF2-40B4-BE49-F238E27FC236}">
                    <a16:creationId xmlns:a16="http://schemas.microsoft.com/office/drawing/2014/main" id="{4F054903-1284-4B1A-86D5-E826ED06F265}"/>
                  </a:ext>
                </a:extLst>
              </p:cNvPr>
              <p:cNvSpPr/>
              <p:nvPr/>
            </p:nvSpPr>
            <p:spPr>
              <a:xfrm>
                <a:off x="9799870" y="2737044"/>
                <a:ext cx="0" cy="53377"/>
              </a:xfrm>
              <a:custGeom>
                <a:avLst/>
                <a:gdLst/>
                <a:ahLst/>
                <a:cxnLst/>
                <a:rect l="l" t="t" r="r" b="b"/>
                <a:pathLst>
                  <a:path w="120000" h="26034" extrusionOk="0">
                    <a:moveTo>
                      <a:pt x="0" y="0"/>
                    </a:moveTo>
                    <a:lnTo>
                      <a:pt x="0" y="26022"/>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80" name="Google Shape;3035;p22">
                <a:extLst>
                  <a:ext uri="{FF2B5EF4-FFF2-40B4-BE49-F238E27FC236}">
                    <a16:creationId xmlns:a16="http://schemas.microsoft.com/office/drawing/2014/main" id="{7EAF2757-07B0-46FE-B173-26BFC4A937E6}"/>
                  </a:ext>
                </a:extLst>
              </p:cNvPr>
              <p:cNvSpPr/>
              <p:nvPr/>
            </p:nvSpPr>
            <p:spPr>
              <a:xfrm>
                <a:off x="9818833" y="2854112"/>
                <a:ext cx="0" cy="54681"/>
              </a:xfrm>
              <a:custGeom>
                <a:avLst/>
                <a:gdLst/>
                <a:ahLst/>
                <a:cxnLst/>
                <a:rect l="l" t="t" r="r" b="b"/>
                <a:pathLst>
                  <a:path w="120000" h="26670" extrusionOk="0">
                    <a:moveTo>
                      <a:pt x="0" y="0"/>
                    </a:moveTo>
                    <a:lnTo>
                      <a:pt x="0" y="26047"/>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81" name="Google Shape;3036;p22">
                <a:extLst>
                  <a:ext uri="{FF2B5EF4-FFF2-40B4-BE49-F238E27FC236}">
                    <a16:creationId xmlns:a16="http://schemas.microsoft.com/office/drawing/2014/main" id="{5C34693C-9DA3-42CA-A4B5-7A8AEE9F039E}"/>
                  </a:ext>
                </a:extLst>
              </p:cNvPr>
              <p:cNvSpPr/>
              <p:nvPr/>
            </p:nvSpPr>
            <p:spPr>
              <a:xfrm>
                <a:off x="9826745" y="2911944"/>
                <a:ext cx="0" cy="53377"/>
              </a:xfrm>
              <a:custGeom>
                <a:avLst/>
                <a:gdLst/>
                <a:ahLst/>
                <a:cxnLst/>
                <a:rect l="l" t="t" r="r" b="b"/>
                <a:pathLst>
                  <a:path w="120000" h="26034" extrusionOk="0">
                    <a:moveTo>
                      <a:pt x="0" y="0"/>
                    </a:moveTo>
                    <a:lnTo>
                      <a:pt x="0" y="26022"/>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82" name="Google Shape;3037;p22">
                <a:extLst>
                  <a:ext uri="{FF2B5EF4-FFF2-40B4-BE49-F238E27FC236}">
                    <a16:creationId xmlns:a16="http://schemas.microsoft.com/office/drawing/2014/main" id="{E4518C7E-2953-4EB2-A63C-A5FA6C3EC01C}"/>
                  </a:ext>
                </a:extLst>
              </p:cNvPr>
              <p:cNvSpPr/>
              <p:nvPr/>
            </p:nvSpPr>
            <p:spPr>
              <a:xfrm>
                <a:off x="9833076" y="2971207"/>
                <a:ext cx="0" cy="53377"/>
              </a:xfrm>
              <a:custGeom>
                <a:avLst/>
                <a:gdLst/>
                <a:ahLst/>
                <a:cxnLst/>
                <a:rect l="l" t="t" r="r" b="b"/>
                <a:pathLst>
                  <a:path w="120000" h="26034" extrusionOk="0">
                    <a:moveTo>
                      <a:pt x="0" y="0"/>
                    </a:moveTo>
                    <a:lnTo>
                      <a:pt x="0" y="26009"/>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83" name="Google Shape;3038;p22">
                <a:extLst>
                  <a:ext uri="{FF2B5EF4-FFF2-40B4-BE49-F238E27FC236}">
                    <a16:creationId xmlns:a16="http://schemas.microsoft.com/office/drawing/2014/main" id="{52D65E6D-28BD-49E9-AFC4-EBED6DB25D3E}"/>
                  </a:ext>
                </a:extLst>
              </p:cNvPr>
              <p:cNvSpPr/>
              <p:nvPr/>
            </p:nvSpPr>
            <p:spPr>
              <a:xfrm>
                <a:off x="9839379" y="3030548"/>
                <a:ext cx="0" cy="53377"/>
              </a:xfrm>
              <a:custGeom>
                <a:avLst/>
                <a:gdLst/>
                <a:ahLst/>
                <a:cxnLst/>
                <a:rect l="l" t="t" r="r" b="b"/>
                <a:pathLst>
                  <a:path w="120000" h="26034" extrusionOk="0">
                    <a:moveTo>
                      <a:pt x="0" y="0"/>
                    </a:moveTo>
                    <a:lnTo>
                      <a:pt x="0" y="25996"/>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84" name="Google Shape;3039;p22">
                <a:extLst>
                  <a:ext uri="{FF2B5EF4-FFF2-40B4-BE49-F238E27FC236}">
                    <a16:creationId xmlns:a16="http://schemas.microsoft.com/office/drawing/2014/main" id="{91864492-5781-465E-B10C-B129E3C9D9C2}"/>
                  </a:ext>
                </a:extLst>
              </p:cNvPr>
              <p:cNvSpPr/>
              <p:nvPr/>
            </p:nvSpPr>
            <p:spPr>
              <a:xfrm>
                <a:off x="9885217" y="3088329"/>
                <a:ext cx="0" cy="53377"/>
              </a:xfrm>
              <a:custGeom>
                <a:avLst/>
                <a:gdLst/>
                <a:ahLst/>
                <a:cxnLst/>
                <a:rect l="l" t="t" r="r" b="b"/>
                <a:pathLst>
                  <a:path w="120000" h="26034" extrusionOk="0">
                    <a:moveTo>
                      <a:pt x="0" y="0"/>
                    </a:moveTo>
                    <a:lnTo>
                      <a:pt x="0" y="25984"/>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85" name="Google Shape;3040;p22">
                <a:extLst>
                  <a:ext uri="{FF2B5EF4-FFF2-40B4-BE49-F238E27FC236}">
                    <a16:creationId xmlns:a16="http://schemas.microsoft.com/office/drawing/2014/main" id="{CA92C1C8-80CB-4104-9A55-B059EDAE46DF}"/>
                  </a:ext>
                </a:extLst>
              </p:cNvPr>
              <p:cNvSpPr/>
              <p:nvPr/>
            </p:nvSpPr>
            <p:spPr>
              <a:xfrm>
                <a:off x="9897851" y="3147565"/>
                <a:ext cx="0" cy="53377"/>
              </a:xfrm>
              <a:custGeom>
                <a:avLst/>
                <a:gdLst/>
                <a:ahLst/>
                <a:cxnLst/>
                <a:rect l="l" t="t" r="r" b="b"/>
                <a:pathLst>
                  <a:path w="120000" h="26034" extrusionOk="0">
                    <a:moveTo>
                      <a:pt x="0" y="0"/>
                    </a:moveTo>
                    <a:lnTo>
                      <a:pt x="0" y="26022"/>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86" name="Google Shape;3041;p22">
                <a:extLst>
                  <a:ext uri="{FF2B5EF4-FFF2-40B4-BE49-F238E27FC236}">
                    <a16:creationId xmlns:a16="http://schemas.microsoft.com/office/drawing/2014/main" id="{05C90BC2-C041-4E0C-A611-05E9B48F16B9}"/>
                  </a:ext>
                </a:extLst>
              </p:cNvPr>
              <p:cNvSpPr/>
              <p:nvPr/>
            </p:nvSpPr>
            <p:spPr>
              <a:xfrm>
                <a:off x="9987946" y="3205346"/>
                <a:ext cx="0" cy="54681"/>
              </a:xfrm>
              <a:custGeom>
                <a:avLst/>
                <a:gdLst/>
                <a:ahLst/>
                <a:cxnLst/>
                <a:rect l="l" t="t" r="r" b="b"/>
                <a:pathLst>
                  <a:path w="120000" h="26670" extrusionOk="0">
                    <a:moveTo>
                      <a:pt x="0" y="0"/>
                    </a:moveTo>
                    <a:lnTo>
                      <a:pt x="0" y="26060"/>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87" name="Google Shape;3042;p22">
                <a:extLst>
                  <a:ext uri="{FF2B5EF4-FFF2-40B4-BE49-F238E27FC236}">
                    <a16:creationId xmlns:a16="http://schemas.microsoft.com/office/drawing/2014/main" id="{2319E347-1C2B-4DE4-B0ED-A9EC6B77298E}"/>
                  </a:ext>
                </a:extLst>
              </p:cNvPr>
              <p:cNvSpPr/>
              <p:nvPr/>
            </p:nvSpPr>
            <p:spPr>
              <a:xfrm>
                <a:off x="10060635" y="3264633"/>
                <a:ext cx="0" cy="54681"/>
              </a:xfrm>
              <a:custGeom>
                <a:avLst/>
                <a:gdLst/>
                <a:ahLst/>
                <a:cxnLst/>
                <a:rect l="l" t="t" r="r" b="b"/>
                <a:pathLst>
                  <a:path w="120000" h="26670" extrusionOk="0">
                    <a:moveTo>
                      <a:pt x="0" y="0"/>
                    </a:moveTo>
                    <a:lnTo>
                      <a:pt x="0" y="26047"/>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88" name="Google Shape;3043;p22">
                <a:extLst>
                  <a:ext uri="{FF2B5EF4-FFF2-40B4-BE49-F238E27FC236}">
                    <a16:creationId xmlns:a16="http://schemas.microsoft.com/office/drawing/2014/main" id="{99AE544D-660A-4A15-9A2C-7E7778DDCFA9}"/>
                  </a:ext>
                </a:extLst>
              </p:cNvPr>
              <p:cNvSpPr/>
              <p:nvPr/>
            </p:nvSpPr>
            <p:spPr>
              <a:xfrm>
                <a:off x="10073269" y="3323976"/>
                <a:ext cx="0" cy="53377"/>
              </a:xfrm>
              <a:custGeom>
                <a:avLst/>
                <a:gdLst/>
                <a:ahLst/>
                <a:cxnLst/>
                <a:rect l="l" t="t" r="r" b="b"/>
                <a:pathLst>
                  <a:path w="120000" h="26034" extrusionOk="0">
                    <a:moveTo>
                      <a:pt x="0" y="0"/>
                    </a:moveTo>
                    <a:lnTo>
                      <a:pt x="0" y="25971"/>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89" name="Google Shape;3044;p22">
                <a:extLst>
                  <a:ext uri="{FF2B5EF4-FFF2-40B4-BE49-F238E27FC236}">
                    <a16:creationId xmlns:a16="http://schemas.microsoft.com/office/drawing/2014/main" id="{018A2091-2B2D-4A5F-A6BD-F9A67C18992F}"/>
                  </a:ext>
                </a:extLst>
              </p:cNvPr>
              <p:cNvSpPr/>
              <p:nvPr/>
            </p:nvSpPr>
            <p:spPr>
              <a:xfrm>
                <a:off x="10242353" y="3323976"/>
                <a:ext cx="0" cy="53377"/>
              </a:xfrm>
              <a:custGeom>
                <a:avLst/>
                <a:gdLst/>
                <a:ahLst/>
                <a:cxnLst/>
                <a:rect l="l" t="t" r="r" b="b"/>
                <a:pathLst>
                  <a:path w="120000" h="26034" extrusionOk="0">
                    <a:moveTo>
                      <a:pt x="0" y="0"/>
                    </a:moveTo>
                    <a:lnTo>
                      <a:pt x="0" y="25971"/>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90" name="Google Shape;3045;p22">
                <a:extLst>
                  <a:ext uri="{FF2B5EF4-FFF2-40B4-BE49-F238E27FC236}">
                    <a16:creationId xmlns:a16="http://schemas.microsoft.com/office/drawing/2014/main" id="{8A393A09-4701-4597-BBB0-2C68CB7F0FDD}"/>
                  </a:ext>
                </a:extLst>
              </p:cNvPr>
              <p:cNvSpPr/>
              <p:nvPr/>
            </p:nvSpPr>
            <p:spPr>
              <a:xfrm>
                <a:off x="10334005" y="3323976"/>
                <a:ext cx="0" cy="53377"/>
              </a:xfrm>
              <a:custGeom>
                <a:avLst/>
                <a:gdLst/>
                <a:ahLst/>
                <a:cxnLst/>
                <a:rect l="l" t="t" r="r" b="b"/>
                <a:pathLst>
                  <a:path w="120000" h="26034" extrusionOk="0">
                    <a:moveTo>
                      <a:pt x="0" y="0"/>
                    </a:moveTo>
                    <a:lnTo>
                      <a:pt x="0" y="25971"/>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91" name="Google Shape;3046;p22">
                <a:extLst>
                  <a:ext uri="{FF2B5EF4-FFF2-40B4-BE49-F238E27FC236}">
                    <a16:creationId xmlns:a16="http://schemas.microsoft.com/office/drawing/2014/main" id="{1A2AAB3E-3D27-496A-8670-4319271DEAE9}"/>
                  </a:ext>
                </a:extLst>
              </p:cNvPr>
              <p:cNvSpPr/>
              <p:nvPr/>
            </p:nvSpPr>
            <p:spPr>
              <a:xfrm>
                <a:off x="10352968" y="3415839"/>
                <a:ext cx="0" cy="53377"/>
              </a:xfrm>
              <a:custGeom>
                <a:avLst/>
                <a:gdLst/>
                <a:ahLst/>
                <a:cxnLst/>
                <a:rect l="l" t="t" r="r" b="b"/>
                <a:pathLst>
                  <a:path w="120000" h="26034" extrusionOk="0">
                    <a:moveTo>
                      <a:pt x="0" y="0"/>
                    </a:moveTo>
                    <a:lnTo>
                      <a:pt x="0" y="26022"/>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92" name="Google Shape;3047;p22">
                <a:extLst>
                  <a:ext uri="{FF2B5EF4-FFF2-40B4-BE49-F238E27FC236}">
                    <a16:creationId xmlns:a16="http://schemas.microsoft.com/office/drawing/2014/main" id="{479F5B4D-0C00-4F4C-BC62-882B58EFF1D5}"/>
                  </a:ext>
                </a:extLst>
              </p:cNvPr>
              <p:cNvSpPr/>
              <p:nvPr/>
            </p:nvSpPr>
            <p:spPr>
              <a:xfrm>
                <a:off x="10411442" y="3507727"/>
                <a:ext cx="0" cy="53377"/>
              </a:xfrm>
              <a:custGeom>
                <a:avLst/>
                <a:gdLst/>
                <a:ahLst/>
                <a:cxnLst/>
                <a:rect l="l" t="t" r="r" b="b"/>
                <a:pathLst>
                  <a:path w="120000" h="26034" extrusionOk="0">
                    <a:moveTo>
                      <a:pt x="0" y="0"/>
                    </a:moveTo>
                    <a:lnTo>
                      <a:pt x="0" y="26022"/>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93" name="Google Shape;3048;p22">
                <a:extLst>
                  <a:ext uri="{FF2B5EF4-FFF2-40B4-BE49-F238E27FC236}">
                    <a16:creationId xmlns:a16="http://schemas.microsoft.com/office/drawing/2014/main" id="{E270DE3A-BF8D-4282-B14E-DFFEC096B50E}"/>
                  </a:ext>
                </a:extLst>
              </p:cNvPr>
              <p:cNvSpPr/>
              <p:nvPr/>
            </p:nvSpPr>
            <p:spPr>
              <a:xfrm>
                <a:off x="10626367" y="3599618"/>
                <a:ext cx="0" cy="53377"/>
              </a:xfrm>
              <a:custGeom>
                <a:avLst/>
                <a:gdLst/>
                <a:ahLst/>
                <a:cxnLst/>
                <a:rect l="l" t="t" r="r" b="b"/>
                <a:pathLst>
                  <a:path w="120000" h="26034" extrusionOk="0">
                    <a:moveTo>
                      <a:pt x="0" y="0"/>
                    </a:moveTo>
                    <a:lnTo>
                      <a:pt x="0" y="25996"/>
                    </a:lnTo>
                  </a:path>
                </a:pathLst>
              </a:custGeom>
              <a:grp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94" name="Google Shape;3212;p22">
                <a:extLst>
                  <a:ext uri="{FF2B5EF4-FFF2-40B4-BE49-F238E27FC236}">
                    <a16:creationId xmlns:a16="http://schemas.microsoft.com/office/drawing/2014/main" id="{3DE65AC1-3855-49A9-B7B6-64F81E25E7F7}"/>
                  </a:ext>
                </a:extLst>
              </p:cNvPr>
              <p:cNvSpPr/>
              <p:nvPr/>
            </p:nvSpPr>
            <p:spPr>
              <a:xfrm>
                <a:off x="9564703" y="2090926"/>
                <a:ext cx="27765" cy="53377"/>
              </a:xfrm>
              <a:custGeom>
                <a:avLst/>
                <a:gdLst/>
                <a:ahLst/>
                <a:cxnLst/>
                <a:rect l="l" t="t" r="r" b="b"/>
                <a:pathLst>
                  <a:path w="12700" h="26034" extrusionOk="0">
                    <a:moveTo>
                      <a:pt x="0" y="25996"/>
                    </a:moveTo>
                    <a:lnTo>
                      <a:pt x="12700" y="25996"/>
                    </a:lnTo>
                    <a:lnTo>
                      <a:pt x="12700" y="0"/>
                    </a:lnTo>
                    <a:lnTo>
                      <a:pt x="0" y="0"/>
                    </a:lnTo>
                    <a:lnTo>
                      <a:pt x="0" y="25996"/>
                    </a:lnTo>
                    <a:close/>
                  </a:path>
                </a:pathLst>
              </a:custGeom>
              <a:grpFill/>
              <a:ln w="9525"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95" name="Google Shape;3213;p22">
                <a:extLst>
                  <a:ext uri="{FF2B5EF4-FFF2-40B4-BE49-F238E27FC236}">
                    <a16:creationId xmlns:a16="http://schemas.microsoft.com/office/drawing/2014/main" id="{36D50EFA-AF0B-4ED7-A09C-1A5235DED841}"/>
                  </a:ext>
                </a:extLst>
              </p:cNvPr>
              <p:cNvSpPr/>
              <p:nvPr/>
            </p:nvSpPr>
            <p:spPr>
              <a:xfrm>
                <a:off x="9577335" y="2090926"/>
                <a:ext cx="27765" cy="53377"/>
              </a:xfrm>
              <a:custGeom>
                <a:avLst/>
                <a:gdLst/>
                <a:ahLst/>
                <a:cxnLst/>
                <a:rect l="l" t="t" r="r" b="b"/>
                <a:pathLst>
                  <a:path w="12700" h="26034" extrusionOk="0">
                    <a:moveTo>
                      <a:pt x="0" y="25996"/>
                    </a:moveTo>
                    <a:lnTo>
                      <a:pt x="12700" y="25996"/>
                    </a:lnTo>
                    <a:lnTo>
                      <a:pt x="12700" y="0"/>
                    </a:lnTo>
                    <a:lnTo>
                      <a:pt x="0" y="0"/>
                    </a:lnTo>
                    <a:lnTo>
                      <a:pt x="0" y="25996"/>
                    </a:lnTo>
                    <a:close/>
                  </a:path>
                </a:pathLst>
              </a:custGeom>
              <a:grpFill/>
              <a:ln w="9525"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96" name="Google Shape;3214;p22">
                <a:extLst>
                  <a:ext uri="{FF2B5EF4-FFF2-40B4-BE49-F238E27FC236}">
                    <a16:creationId xmlns:a16="http://schemas.microsoft.com/office/drawing/2014/main" id="{EBA868FC-2983-4AA7-A019-82F80D836B4C}"/>
                  </a:ext>
                </a:extLst>
              </p:cNvPr>
              <p:cNvSpPr/>
              <p:nvPr/>
            </p:nvSpPr>
            <p:spPr>
              <a:xfrm>
                <a:off x="10136821" y="3323976"/>
                <a:ext cx="27765" cy="53377"/>
              </a:xfrm>
              <a:custGeom>
                <a:avLst/>
                <a:gdLst/>
                <a:ahLst/>
                <a:cxnLst/>
                <a:rect l="l" t="t" r="r" b="b"/>
                <a:pathLst>
                  <a:path w="12700" h="26034" extrusionOk="0">
                    <a:moveTo>
                      <a:pt x="0" y="25971"/>
                    </a:moveTo>
                    <a:lnTo>
                      <a:pt x="12700" y="25971"/>
                    </a:lnTo>
                    <a:lnTo>
                      <a:pt x="12700" y="0"/>
                    </a:lnTo>
                    <a:lnTo>
                      <a:pt x="0" y="0"/>
                    </a:lnTo>
                    <a:lnTo>
                      <a:pt x="0" y="25971"/>
                    </a:lnTo>
                    <a:close/>
                  </a:path>
                </a:pathLst>
              </a:custGeom>
              <a:grpFill/>
              <a:ln w="9525"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97" name="Google Shape;3215;p22">
                <a:extLst>
                  <a:ext uri="{FF2B5EF4-FFF2-40B4-BE49-F238E27FC236}">
                    <a16:creationId xmlns:a16="http://schemas.microsoft.com/office/drawing/2014/main" id="{6EF32E55-B241-4403-86A6-1898EF9DA773}"/>
                  </a:ext>
                </a:extLst>
              </p:cNvPr>
              <p:cNvSpPr/>
              <p:nvPr/>
            </p:nvSpPr>
            <p:spPr>
              <a:xfrm>
                <a:off x="10163670" y="3323976"/>
                <a:ext cx="27765" cy="53377"/>
              </a:xfrm>
              <a:custGeom>
                <a:avLst/>
                <a:gdLst/>
                <a:ahLst/>
                <a:cxnLst/>
                <a:rect l="l" t="t" r="r" b="b"/>
                <a:pathLst>
                  <a:path w="12700" h="26034" extrusionOk="0">
                    <a:moveTo>
                      <a:pt x="0" y="25971"/>
                    </a:moveTo>
                    <a:lnTo>
                      <a:pt x="12700" y="25971"/>
                    </a:lnTo>
                    <a:lnTo>
                      <a:pt x="12700" y="0"/>
                    </a:lnTo>
                    <a:lnTo>
                      <a:pt x="0" y="0"/>
                    </a:lnTo>
                    <a:lnTo>
                      <a:pt x="0" y="25971"/>
                    </a:lnTo>
                    <a:close/>
                  </a:path>
                </a:pathLst>
              </a:custGeom>
              <a:grpFill/>
              <a:ln w="9525"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98" name="Google Shape;3216;p22">
                <a:extLst>
                  <a:ext uri="{FF2B5EF4-FFF2-40B4-BE49-F238E27FC236}">
                    <a16:creationId xmlns:a16="http://schemas.microsoft.com/office/drawing/2014/main" id="{0155D505-414D-4C3A-B22E-BBD5769FBD05}"/>
                  </a:ext>
                </a:extLst>
              </p:cNvPr>
              <p:cNvSpPr/>
              <p:nvPr/>
            </p:nvSpPr>
            <p:spPr>
              <a:xfrm>
                <a:off x="10729431" y="3692940"/>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899" name="Google Shape;3217;p22">
                <a:extLst>
                  <a:ext uri="{FF2B5EF4-FFF2-40B4-BE49-F238E27FC236}">
                    <a16:creationId xmlns:a16="http://schemas.microsoft.com/office/drawing/2014/main" id="{107CC5F9-40C1-4FC2-BD53-73BC7C3411A3}"/>
                  </a:ext>
                </a:extLst>
              </p:cNvPr>
              <p:cNvSpPr/>
              <p:nvPr/>
            </p:nvSpPr>
            <p:spPr>
              <a:xfrm>
                <a:off x="10761054" y="3692940"/>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900" name="Google Shape;3218;p22">
                <a:extLst>
                  <a:ext uri="{FF2B5EF4-FFF2-40B4-BE49-F238E27FC236}">
                    <a16:creationId xmlns:a16="http://schemas.microsoft.com/office/drawing/2014/main" id="{C30F103C-E97A-406E-8F44-657C01702660}"/>
                  </a:ext>
                </a:extLst>
              </p:cNvPr>
              <p:cNvSpPr/>
              <p:nvPr/>
            </p:nvSpPr>
            <p:spPr>
              <a:xfrm>
                <a:off x="10800563" y="3692940"/>
                <a:ext cx="27765" cy="53377"/>
              </a:xfrm>
              <a:custGeom>
                <a:avLst/>
                <a:gdLst/>
                <a:ahLst/>
                <a:cxnLst/>
                <a:rect l="l" t="t" r="r" b="b"/>
                <a:pathLst>
                  <a:path w="12700" h="26034" extrusionOk="0">
                    <a:moveTo>
                      <a:pt x="0" y="26022"/>
                    </a:moveTo>
                    <a:lnTo>
                      <a:pt x="12700" y="26022"/>
                    </a:lnTo>
                    <a:lnTo>
                      <a:pt x="12700" y="0"/>
                    </a:lnTo>
                    <a:lnTo>
                      <a:pt x="0" y="0"/>
                    </a:lnTo>
                    <a:lnTo>
                      <a:pt x="0" y="26022"/>
                    </a:lnTo>
                    <a:close/>
                  </a:path>
                </a:pathLst>
              </a:custGeom>
              <a:grpFill/>
              <a:ln w="9525"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grpSp>
      <p:graphicFrame>
        <p:nvGraphicFramePr>
          <p:cNvPr id="1125" name="Google Shape;3433;p24">
            <a:extLst>
              <a:ext uri="{FF2B5EF4-FFF2-40B4-BE49-F238E27FC236}">
                <a16:creationId xmlns:a16="http://schemas.microsoft.com/office/drawing/2014/main" id="{6FD83985-5467-4128-B031-42D7EBB2F527}"/>
              </a:ext>
            </a:extLst>
          </p:cNvPr>
          <p:cNvGraphicFramePr/>
          <p:nvPr/>
        </p:nvGraphicFramePr>
        <p:xfrm>
          <a:off x="448287" y="3858907"/>
          <a:ext cx="3966496" cy="408654"/>
        </p:xfrm>
        <a:graphic>
          <a:graphicData uri="http://schemas.openxmlformats.org/drawingml/2006/table">
            <a:tbl>
              <a:tblPr firstRow="1" bandRow="1">
                <a:noFill/>
              </a:tblPr>
              <a:tblGrid>
                <a:gridCol w="702088">
                  <a:extLst>
                    <a:ext uri="{9D8B030D-6E8A-4147-A177-3AD203B41FA5}">
                      <a16:colId xmlns:a16="http://schemas.microsoft.com/office/drawing/2014/main" val="20000"/>
                    </a:ext>
                  </a:extLst>
                </a:gridCol>
                <a:gridCol w="466344">
                  <a:extLst>
                    <a:ext uri="{9D8B030D-6E8A-4147-A177-3AD203B41FA5}">
                      <a16:colId xmlns:a16="http://schemas.microsoft.com/office/drawing/2014/main" val="20001"/>
                    </a:ext>
                  </a:extLst>
                </a:gridCol>
                <a:gridCol w="466344">
                  <a:extLst>
                    <a:ext uri="{9D8B030D-6E8A-4147-A177-3AD203B41FA5}">
                      <a16:colId xmlns:a16="http://schemas.microsoft.com/office/drawing/2014/main" val="20002"/>
                    </a:ext>
                  </a:extLst>
                </a:gridCol>
                <a:gridCol w="466344">
                  <a:extLst>
                    <a:ext uri="{9D8B030D-6E8A-4147-A177-3AD203B41FA5}">
                      <a16:colId xmlns:a16="http://schemas.microsoft.com/office/drawing/2014/main" val="20003"/>
                    </a:ext>
                  </a:extLst>
                </a:gridCol>
                <a:gridCol w="466344">
                  <a:extLst>
                    <a:ext uri="{9D8B030D-6E8A-4147-A177-3AD203B41FA5}">
                      <a16:colId xmlns:a16="http://schemas.microsoft.com/office/drawing/2014/main" val="20004"/>
                    </a:ext>
                  </a:extLst>
                </a:gridCol>
                <a:gridCol w="466344">
                  <a:extLst>
                    <a:ext uri="{9D8B030D-6E8A-4147-A177-3AD203B41FA5}">
                      <a16:colId xmlns:a16="http://schemas.microsoft.com/office/drawing/2014/main" val="20005"/>
                    </a:ext>
                  </a:extLst>
                </a:gridCol>
                <a:gridCol w="466344">
                  <a:extLst>
                    <a:ext uri="{9D8B030D-6E8A-4147-A177-3AD203B41FA5}">
                      <a16:colId xmlns:a16="http://schemas.microsoft.com/office/drawing/2014/main" val="20006"/>
                    </a:ext>
                  </a:extLst>
                </a:gridCol>
                <a:gridCol w="466344">
                  <a:extLst>
                    <a:ext uri="{9D8B030D-6E8A-4147-A177-3AD203B41FA5}">
                      <a16:colId xmlns:a16="http://schemas.microsoft.com/office/drawing/2014/main" val="959262445"/>
                    </a:ext>
                  </a:extLst>
                </a:gridCol>
              </a:tblGrid>
              <a:tr h="204327">
                <a:tc>
                  <a:txBody>
                    <a:bodyPr/>
                    <a:lstStyle/>
                    <a:p>
                      <a:pPr marL="0" marR="0" lvl="0" indent="0" algn="l" rtl="0">
                        <a:lnSpc>
                          <a:spcPct val="100000"/>
                        </a:lnSpc>
                        <a:spcBef>
                          <a:spcPts val="0"/>
                        </a:spcBef>
                        <a:spcAft>
                          <a:spcPts val="0"/>
                        </a:spcAft>
                        <a:buClr>
                          <a:schemeClr val="accent1"/>
                        </a:buClr>
                        <a:buSzPts val="900"/>
                        <a:buFont typeface="Arial"/>
                        <a:buNone/>
                      </a:pPr>
                      <a:r>
                        <a:rPr lang="en-US" sz="800" b="1" dirty="0">
                          <a:solidFill>
                            <a:schemeClr val="accent4"/>
                          </a:solidFill>
                          <a:latin typeface="Gene Sans Light" panose="00000400000000000000" pitchFamily="2" charset="0"/>
                        </a:rPr>
                        <a:t>&lt; 10 mg:</a:t>
                      </a:r>
                    </a:p>
                  </a:txBody>
                  <a:tcPr marL="0" marR="72000" marT="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accent4"/>
                          </a:solidFill>
                          <a:latin typeface="Gene Sans Light" panose="00000400000000000000" pitchFamily="2" charset="0"/>
                        </a:rPr>
                        <a:t>402</a:t>
                      </a:r>
                      <a:endParaRPr sz="8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accent4"/>
                          </a:solidFill>
                          <a:latin typeface="Gene Sans Light" panose="00000400000000000000" pitchFamily="2" charset="0"/>
                        </a:rPr>
                        <a:t>50</a:t>
                      </a:r>
                      <a:endParaRPr sz="8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accent4"/>
                          </a:solidFill>
                          <a:latin typeface="Gene Sans Light" panose="00000400000000000000" pitchFamily="2" charset="0"/>
                        </a:rPr>
                        <a:t>13</a:t>
                      </a:r>
                      <a:endParaRPr sz="8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accent4"/>
                          </a:solidFill>
                          <a:latin typeface="Gene Sans Light" panose="00000400000000000000" pitchFamily="2" charset="0"/>
                        </a:rPr>
                        <a:t>5</a:t>
                      </a:r>
                      <a:endParaRPr sz="8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accent4"/>
                          </a:solidFill>
                          <a:latin typeface="Gene Sans Light" panose="00000400000000000000" pitchFamily="2" charset="0"/>
                        </a:rPr>
                        <a:t>3</a:t>
                      </a:r>
                      <a:endParaRPr sz="8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accent4"/>
                          </a:solidFill>
                          <a:latin typeface="Gene Sans Light" panose="00000400000000000000" pitchFamily="2" charset="0"/>
                        </a:rPr>
                        <a:t>2</a:t>
                      </a:r>
                      <a:endParaRPr sz="8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accent4"/>
                          </a:solidFill>
                          <a:latin typeface="Gene Sans Light" panose="00000400000000000000" pitchFamily="2" charset="0"/>
                        </a:rPr>
                        <a:t>0</a:t>
                      </a:r>
                      <a:endParaRPr sz="8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0"/>
                  </a:ext>
                </a:extLst>
              </a:tr>
              <a:tr h="204327">
                <a:tc>
                  <a:txBody>
                    <a:bodyPr/>
                    <a:lstStyle/>
                    <a:p>
                      <a:pPr marL="0" marR="0" lvl="0" indent="0" algn="l" rtl="0">
                        <a:lnSpc>
                          <a:spcPct val="100000"/>
                        </a:lnSpc>
                        <a:spcBef>
                          <a:spcPts val="0"/>
                        </a:spcBef>
                        <a:spcAft>
                          <a:spcPts val="0"/>
                        </a:spcAft>
                        <a:buClr>
                          <a:schemeClr val="dk2"/>
                        </a:buClr>
                        <a:buSzPts val="900"/>
                        <a:buFont typeface="Arial"/>
                        <a:buNone/>
                      </a:pPr>
                      <a:r>
                        <a:rPr lang="en-US" sz="800" b="1" dirty="0">
                          <a:solidFill>
                            <a:schemeClr val="tx1"/>
                          </a:solidFill>
                          <a:latin typeface="Gene Sans Light" panose="00000400000000000000" pitchFamily="2" charset="0"/>
                        </a:rPr>
                        <a:t>≥ 10 mg:</a:t>
                      </a:r>
                    </a:p>
                  </a:txBody>
                  <a:tcPr marL="0" marR="72000" marT="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tx1"/>
                          </a:solidFill>
                          <a:latin typeface="Gene Sans Light" panose="00000400000000000000" pitchFamily="2" charset="0"/>
                        </a:rPr>
                        <a:t>53</a:t>
                      </a:r>
                      <a:endParaRPr sz="8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tx1"/>
                          </a:solidFill>
                          <a:latin typeface="Gene Sans Light" panose="00000400000000000000" pitchFamily="2" charset="0"/>
                        </a:rPr>
                        <a:t>2</a:t>
                      </a:r>
                      <a:endParaRPr sz="8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tx1"/>
                          </a:solidFill>
                          <a:latin typeface="Gene Sans Light" panose="00000400000000000000" pitchFamily="2" charset="0"/>
                        </a:rPr>
                        <a:t>1</a:t>
                      </a:r>
                      <a:endParaRPr sz="8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tx1"/>
                          </a:solidFill>
                          <a:latin typeface="Gene Sans Light" panose="00000400000000000000" pitchFamily="2" charset="0"/>
                        </a:rPr>
                        <a:t>0</a:t>
                      </a:r>
                      <a:endParaRPr sz="8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tx1"/>
                          </a:solidFill>
                          <a:latin typeface="Gene Sans Light" panose="00000400000000000000" pitchFamily="2" charset="0"/>
                        </a:rPr>
                        <a:t>0</a:t>
                      </a:r>
                      <a:endParaRPr sz="8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tx1"/>
                          </a:solidFill>
                          <a:latin typeface="Gene Sans Light" panose="00000400000000000000" pitchFamily="2" charset="0"/>
                        </a:rPr>
                        <a:t>0</a:t>
                      </a:r>
                      <a:endParaRPr sz="8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800" dirty="0">
                          <a:solidFill>
                            <a:schemeClr val="tx1"/>
                          </a:solidFill>
                          <a:latin typeface="Gene Sans Light" panose="00000400000000000000" pitchFamily="2" charset="0"/>
                        </a:rPr>
                        <a:t>0</a:t>
                      </a:r>
                      <a:endParaRPr sz="8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126" name="TextBox 1125">
            <a:extLst>
              <a:ext uri="{FF2B5EF4-FFF2-40B4-BE49-F238E27FC236}">
                <a16:creationId xmlns:a16="http://schemas.microsoft.com/office/drawing/2014/main" id="{DA649335-5BD7-4182-97EC-F5CB692E2790}"/>
              </a:ext>
            </a:extLst>
          </p:cNvPr>
          <p:cNvSpPr txBox="1"/>
          <p:nvPr/>
        </p:nvSpPr>
        <p:spPr>
          <a:xfrm>
            <a:off x="381000" y="1209388"/>
            <a:ext cx="3966496" cy="276999"/>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Gene Sans" panose="00000500000000000000" pitchFamily="50" charset="0"/>
                <a:cs typeface="Arial"/>
                <a:sym typeface="Arial"/>
              </a:rPr>
              <a:t>PFS</a:t>
            </a:r>
            <a:endParaRPr kumimoji="0" lang="en-US" sz="1200" b="1" i="0" u="none" strike="noStrike" kern="0" cap="none" spc="0" normalizeH="0" baseline="30000" noProof="0" dirty="0">
              <a:ln>
                <a:noFill/>
              </a:ln>
              <a:solidFill>
                <a:srgbClr val="FFFFFF"/>
              </a:solidFill>
              <a:effectLst/>
              <a:uLnTx/>
              <a:uFillTx/>
              <a:latin typeface="Gene Sans" panose="00000500000000000000" pitchFamily="50" charset="0"/>
              <a:cs typeface="Arial"/>
              <a:sym typeface="Arial"/>
            </a:endParaRPr>
          </a:p>
        </p:txBody>
      </p:sp>
      <p:sp>
        <p:nvSpPr>
          <p:cNvPr id="1127" name="TextBox 1126">
            <a:extLst>
              <a:ext uri="{FF2B5EF4-FFF2-40B4-BE49-F238E27FC236}">
                <a16:creationId xmlns:a16="http://schemas.microsoft.com/office/drawing/2014/main" id="{A38A9E22-F11E-4FAF-A4D0-7798CD53D093}"/>
              </a:ext>
            </a:extLst>
          </p:cNvPr>
          <p:cNvSpPr txBox="1"/>
          <p:nvPr/>
        </p:nvSpPr>
        <p:spPr>
          <a:xfrm>
            <a:off x="4799552" y="1209388"/>
            <a:ext cx="3966496" cy="276999"/>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Gene Sans" panose="00000500000000000000" pitchFamily="50" charset="0"/>
                <a:cs typeface="Arial"/>
                <a:sym typeface="Arial"/>
              </a:rPr>
              <a:t>OS</a:t>
            </a:r>
            <a:endParaRPr kumimoji="0" lang="en-US" sz="1200" b="1" i="0" u="none" strike="noStrike" kern="0" cap="none" spc="0" normalizeH="0" baseline="30000" noProof="0" dirty="0">
              <a:ln>
                <a:noFill/>
              </a:ln>
              <a:solidFill>
                <a:srgbClr val="FFFFFF"/>
              </a:solidFill>
              <a:effectLst/>
              <a:uLnTx/>
              <a:uFillTx/>
              <a:latin typeface="Gene Sans" panose="00000500000000000000" pitchFamily="50" charset="0"/>
              <a:cs typeface="Arial"/>
              <a:sym typeface="Arial"/>
            </a:endParaRPr>
          </a:p>
        </p:txBody>
      </p:sp>
    </p:spTree>
    <p:extLst>
      <p:ext uri="{BB962C8B-B14F-4D97-AF65-F5344CB8AC3E}">
        <p14:creationId xmlns:p14="http://schemas.microsoft.com/office/powerpoint/2010/main" val="2830040193"/>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8D8022E-28A5-48A3-A031-4E43F2208ACC}"/>
              </a:ext>
            </a:extLst>
          </p:cNvPr>
          <p:cNvSpPr>
            <a:spLocks noGrp="1"/>
          </p:cNvSpPr>
          <p:nvPr>
            <p:ph type="body" idx="1"/>
          </p:nvPr>
        </p:nvSpPr>
        <p:spPr/>
        <p:txBody>
          <a:bodyPr/>
          <a:lstStyle/>
          <a:p>
            <a:endParaRPr lang="en-ID" dirty="0"/>
          </a:p>
        </p:txBody>
      </p:sp>
      <p:sp>
        <p:nvSpPr>
          <p:cNvPr id="10" name="Text Placeholder 9">
            <a:extLst>
              <a:ext uri="{FF2B5EF4-FFF2-40B4-BE49-F238E27FC236}">
                <a16:creationId xmlns:a16="http://schemas.microsoft.com/office/drawing/2014/main" id="{7B3BC086-AB13-4F47-A627-4C10D5B2A771}"/>
              </a:ext>
            </a:extLst>
          </p:cNvPr>
          <p:cNvSpPr>
            <a:spLocks noGrp="1"/>
          </p:cNvSpPr>
          <p:nvPr>
            <p:ph type="body" idx="2"/>
          </p:nvPr>
        </p:nvSpPr>
        <p:spPr/>
        <p:txBody>
          <a:bodyPr/>
          <a:lstStyle/>
          <a:p>
            <a:pPr marL="0" indent="0"/>
            <a:r>
              <a:rPr lang="en-US" sz="700" dirty="0">
                <a:latin typeface="Gene Sans Light" panose="00000400000000000000" pitchFamily="2" charset="0"/>
              </a:rPr>
              <a:t>Outcomes to immunotherapy in the group of patients treated with ≥10 mg of prednisone for cancer-related palliative indications or cancer-unrelated indications compared with the group of patients receiving less than 10 mg of prednisone according to overall response rate, progression-free survival (PFS), and overall survival (OS). HR, hazard ratio; NR, not reached. </a:t>
            </a:r>
            <a:r>
              <a:rPr lang="en-US" sz="700" dirty="0" err="1">
                <a:latin typeface="Gene Sans Light" panose="00000400000000000000" pitchFamily="2" charset="0"/>
              </a:rPr>
              <a:t>Ricciuti</a:t>
            </a:r>
            <a:r>
              <a:rPr lang="en-US" sz="700" dirty="0">
                <a:latin typeface="Gene Sans Light" panose="00000400000000000000" pitchFamily="2" charset="0"/>
              </a:rPr>
              <a:t> et al. J Clin Oncol 2019;37:2872-2878.</a:t>
            </a:r>
          </a:p>
        </p:txBody>
      </p:sp>
      <p:sp>
        <p:nvSpPr>
          <p:cNvPr id="8" name="Title 7">
            <a:extLst>
              <a:ext uri="{FF2B5EF4-FFF2-40B4-BE49-F238E27FC236}">
                <a16:creationId xmlns:a16="http://schemas.microsoft.com/office/drawing/2014/main" id="{CFE12123-D4DF-4E7A-B5B1-A37CEADD848E}"/>
              </a:ext>
            </a:extLst>
          </p:cNvPr>
          <p:cNvSpPr>
            <a:spLocks noGrp="1"/>
          </p:cNvSpPr>
          <p:nvPr>
            <p:ph type="title"/>
          </p:nvPr>
        </p:nvSpPr>
        <p:spPr>
          <a:xfrm>
            <a:off x="381648" y="585795"/>
            <a:ext cx="8384400" cy="652455"/>
          </a:xfrm>
        </p:spPr>
        <p:txBody>
          <a:bodyPr/>
          <a:lstStyle/>
          <a:p>
            <a:pPr>
              <a:defRPr/>
            </a:pPr>
            <a:r>
              <a:rPr lang="en-US" dirty="0"/>
              <a:t>Effect of Baseline Corticosteroid Use on Outcome with ICIs</a:t>
            </a:r>
            <a:endParaRPr lang="en-ID" dirty="0">
              <a:latin typeface="Gene Sans" panose="00000500000000000000" pitchFamily="50" charset="0"/>
            </a:endParaRPr>
          </a:p>
        </p:txBody>
      </p:sp>
      <p:cxnSp>
        <p:nvCxnSpPr>
          <p:cNvPr id="441" name="Straight Connector 440">
            <a:extLst>
              <a:ext uri="{FF2B5EF4-FFF2-40B4-BE49-F238E27FC236}">
                <a16:creationId xmlns:a16="http://schemas.microsoft.com/office/drawing/2014/main" id="{4907DD37-A4A9-4B43-9226-7942F509D692}"/>
              </a:ext>
            </a:extLst>
          </p:cNvPr>
          <p:cNvCxnSpPr>
            <a:cxnSpLocks/>
          </p:cNvCxnSpPr>
          <p:nvPr/>
        </p:nvCxnSpPr>
        <p:spPr>
          <a:xfrm>
            <a:off x="922189" y="1684893"/>
            <a:ext cx="308610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7C058187-CD04-4BAA-A67E-E79442F62BB5}"/>
              </a:ext>
            </a:extLst>
          </p:cNvPr>
          <p:cNvCxnSpPr>
            <a:cxnSpLocks/>
          </p:cNvCxnSpPr>
          <p:nvPr/>
        </p:nvCxnSpPr>
        <p:spPr>
          <a:xfrm>
            <a:off x="922189" y="2167465"/>
            <a:ext cx="308610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43" name="Straight Connector 442">
            <a:extLst>
              <a:ext uri="{FF2B5EF4-FFF2-40B4-BE49-F238E27FC236}">
                <a16:creationId xmlns:a16="http://schemas.microsoft.com/office/drawing/2014/main" id="{844E3E67-85B2-4858-BB24-FE7A4E6A2B39}"/>
              </a:ext>
            </a:extLst>
          </p:cNvPr>
          <p:cNvCxnSpPr>
            <a:cxnSpLocks/>
          </p:cNvCxnSpPr>
          <p:nvPr/>
        </p:nvCxnSpPr>
        <p:spPr>
          <a:xfrm>
            <a:off x="922189" y="3154285"/>
            <a:ext cx="308610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BB9B6705-BF7D-4A19-BEB7-0AA50298DC78}"/>
              </a:ext>
            </a:extLst>
          </p:cNvPr>
          <p:cNvCxnSpPr>
            <a:cxnSpLocks/>
          </p:cNvCxnSpPr>
          <p:nvPr/>
        </p:nvCxnSpPr>
        <p:spPr>
          <a:xfrm>
            <a:off x="922189" y="4141105"/>
            <a:ext cx="308610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445" name="Group 444">
            <a:extLst>
              <a:ext uri="{FF2B5EF4-FFF2-40B4-BE49-F238E27FC236}">
                <a16:creationId xmlns:a16="http://schemas.microsoft.com/office/drawing/2014/main" id="{DDB14083-F5C9-4C92-B747-42D2F3C79083}"/>
              </a:ext>
            </a:extLst>
          </p:cNvPr>
          <p:cNvGrpSpPr/>
          <p:nvPr/>
        </p:nvGrpSpPr>
        <p:grpSpPr>
          <a:xfrm>
            <a:off x="377952" y="1243684"/>
            <a:ext cx="3630346" cy="399846"/>
            <a:chOff x="377952" y="1243684"/>
            <a:chExt cx="3630346" cy="399846"/>
          </a:xfrm>
        </p:grpSpPr>
        <p:sp>
          <p:nvSpPr>
            <p:cNvPr id="446" name="TextBox 445">
              <a:extLst>
                <a:ext uri="{FF2B5EF4-FFF2-40B4-BE49-F238E27FC236}">
                  <a16:creationId xmlns:a16="http://schemas.microsoft.com/office/drawing/2014/main" id="{EE8C864B-9879-40DD-BC57-DFCA395F07BA}"/>
                </a:ext>
              </a:extLst>
            </p:cNvPr>
            <p:cNvSpPr txBox="1"/>
            <p:nvPr/>
          </p:nvSpPr>
          <p:spPr>
            <a:xfrm>
              <a:off x="922189" y="1358968"/>
              <a:ext cx="3086109" cy="169277"/>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
                  <a:srgbClr val="000000"/>
                </a:buClr>
                <a:buSzPts val="15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Retrospective review (N = 650)</a:t>
              </a:r>
            </a:p>
          </p:txBody>
        </p:sp>
        <p:grpSp>
          <p:nvGrpSpPr>
            <p:cNvPr id="447" name="Group 446">
              <a:extLst>
                <a:ext uri="{FF2B5EF4-FFF2-40B4-BE49-F238E27FC236}">
                  <a16:creationId xmlns:a16="http://schemas.microsoft.com/office/drawing/2014/main" id="{2FF7E367-B4ED-48E9-B0CC-D2B93E66EE29}"/>
                </a:ext>
              </a:extLst>
            </p:cNvPr>
            <p:cNvGrpSpPr/>
            <p:nvPr/>
          </p:nvGrpSpPr>
          <p:grpSpPr>
            <a:xfrm>
              <a:off x="377952" y="1243684"/>
              <a:ext cx="399846" cy="399846"/>
              <a:chOff x="377952" y="1243684"/>
              <a:chExt cx="399846" cy="399846"/>
            </a:xfrm>
          </p:grpSpPr>
          <p:sp>
            <p:nvSpPr>
              <p:cNvPr id="448" name="Rectangle 447">
                <a:extLst>
                  <a:ext uri="{FF2B5EF4-FFF2-40B4-BE49-F238E27FC236}">
                    <a16:creationId xmlns:a16="http://schemas.microsoft.com/office/drawing/2014/main" id="{E7FF8DE6-F0E7-4461-8255-9F8DC0E710CC}"/>
                  </a:ext>
                </a:extLst>
              </p:cNvPr>
              <p:cNvSpPr/>
              <p:nvPr/>
            </p:nvSpPr>
            <p:spPr>
              <a:xfrm>
                <a:off x="377952" y="1243684"/>
                <a:ext cx="399846" cy="3998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a:ln>
                    <a:noFill/>
                  </a:ln>
                  <a:solidFill>
                    <a:srgbClr val="FFFFFF"/>
                  </a:solidFill>
                  <a:effectLst/>
                  <a:uLnTx/>
                  <a:uFillTx/>
                  <a:latin typeface="Gene Sans Light" panose="00000400000000000000" pitchFamily="2" charset="0"/>
                  <a:ea typeface="+mn-ea"/>
                  <a:cs typeface="+mn-cs"/>
                  <a:sym typeface="Arial"/>
                </a:endParaRPr>
              </a:p>
            </p:txBody>
          </p:sp>
          <p:grpSp>
            <p:nvGrpSpPr>
              <p:cNvPr id="449" name="Group 448">
                <a:extLst>
                  <a:ext uri="{FF2B5EF4-FFF2-40B4-BE49-F238E27FC236}">
                    <a16:creationId xmlns:a16="http://schemas.microsoft.com/office/drawing/2014/main" id="{56B73F14-13A3-43A1-95CF-170721601136}"/>
                  </a:ext>
                </a:extLst>
              </p:cNvPr>
              <p:cNvGrpSpPr/>
              <p:nvPr/>
            </p:nvGrpSpPr>
            <p:grpSpPr>
              <a:xfrm>
                <a:off x="481037" y="1346769"/>
                <a:ext cx="193675" cy="193675"/>
                <a:chOff x="8435975" y="4329113"/>
                <a:chExt cx="360363" cy="360363"/>
              </a:xfrm>
              <a:solidFill>
                <a:schemeClr val="bg1"/>
              </a:solidFill>
            </p:grpSpPr>
            <p:sp>
              <p:nvSpPr>
                <p:cNvPr id="450" name="Freeform 914">
                  <a:extLst>
                    <a:ext uri="{FF2B5EF4-FFF2-40B4-BE49-F238E27FC236}">
                      <a16:creationId xmlns:a16="http://schemas.microsoft.com/office/drawing/2014/main" id="{3889F442-D347-4658-BE5A-0B49A5B911E7}"/>
                    </a:ext>
                  </a:extLst>
                </p:cNvPr>
                <p:cNvSpPr>
                  <a:spLocks noEditPoints="1"/>
                </p:cNvSpPr>
                <p:nvPr/>
              </p:nvSpPr>
              <p:spPr bwMode="auto">
                <a:xfrm>
                  <a:off x="8435975" y="4329113"/>
                  <a:ext cx="360363" cy="239713"/>
                </a:xfrm>
                <a:custGeom>
                  <a:avLst/>
                  <a:gdLst>
                    <a:gd name="T0" fmla="*/ 1554 w 1587"/>
                    <a:gd name="T1" fmla="*/ 1058 h 1058"/>
                    <a:gd name="T2" fmla="*/ 33 w 1587"/>
                    <a:gd name="T3" fmla="*/ 1058 h 1058"/>
                    <a:gd name="T4" fmla="*/ 33 w 1587"/>
                    <a:gd name="T5" fmla="*/ 1058 h 1058"/>
                    <a:gd name="T6" fmla="*/ 25 w 1587"/>
                    <a:gd name="T7" fmla="*/ 1058 h 1058"/>
                    <a:gd name="T8" fmla="*/ 19 w 1587"/>
                    <a:gd name="T9" fmla="*/ 1056 h 1058"/>
                    <a:gd name="T10" fmla="*/ 14 w 1587"/>
                    <a:gd name="T11" fmla="*/ 1053 h 1058"/>
                    <a:gd name="T12" fmla="*/ 9 w 1587"/>
                    <a:gd name="T13" fmla="*/ 1049 h 1058"/>
                    <a:gd name="T14" fmla="*/ 5 w 1587"/>
                    <a:gd name="T15" fmla="*/ 1044 h 1058"/>
                    <a:gd name="T16" fmla="*/ 2 w 1587"/>
                    <a:gd name="T17" fmla="*/ 1039 h 1058"/>
                    <a:gd name="T18" fmla="*/ 1 w 1587"/>
                    <a:gd name="T19" fmla="*/ 1032 h 1058"/>
                    <a:gd name="T20" fmla="*/ 0 w 1587"/>
                    <a:gd name="T21" fmla="*/ 1025 h 1058"/>
                    <a:gd name="T22" fmla="*/ 0 w 1587"/>
                    <a:gd name="T23" fmla="*/ 33 h 1058"/>
                    <a:gd name="T24" fmla="*/ 0 w 1587"/>
                    <a:gd name="T25" fmla="*/ 33 h 1058"/>
                    <a:gd name="T26" fmla="*/ 1 w 1587"/>
                    <a:gd name="T27" fmla="*/ 26 h 1058"/>
                    <a:gd name="T28" fmla="*/ 2 w 1587"/>
                    <a:gd name="T29" fmla="*/ 20 h 1058"/>
                    <a:gd name="T30" fmla="*/ 5 w 1587"/>
                    <a:gd name="T31" fmla="*/ 15 h 1058"/>
                    <a:gd name="T32" fmla="*/ 9 w 1587"/>
                    <a:gd name="T33" fmla="*/ 10 h 1058"/>
                    <a:gd name="T34" fmla="*/ 14 w 1587"/>
                    <a:gd name="T35" fmla="*/ 6 h 1058"/>
                    <a:gd name="T36" fmla="*/ 19 w 1587"/>
                    <a:gd name="T37" fmla="*/ 2 h 1058"/>
                    <a:gd name="T38" fmla="*/ 25 w 1587"/>
                    <a:gd name="T39" fmla="*/ 0 h 1058"/>
                    <a:gd name="T40" fmla="*/ 33 w 1587"/>
                    <a:gd name="T41" fmla="*/ 0 h 1058"/>
                    <a:gd name="T42" fmla="*/ 1554 w 1587"/>
                    <a:gd name="T43" fmla="*/ 0 h 1058"/>
                    <a:gd name="T44" fmla="*/ 1554 w 1587"/>
                    <a:gd name="T45" fmla="*/ 0 h 1058"/>
                    <a:gd name="T46" fmla="*/ 1560 w 1587"/>
                    <a:gd name="T47" fmla="*/ 0 h 1058"/>
                    <a:gd name="T48" fmla="*/ 1566 w 1587"/>
                    <a:gd name="T49" fmla="*/ 2 h 1058"/>
                    <a:gd name="T50" fmla="*/ 1573 w 1587"/>
                    <a:gd name="T51" fmla="*/ 6 h 1058"/>
                    <a:gd name="T52" fmla="*/ 1577 w 1587"/>
                    <a:gd name="T53" fmla="*/ 10 h 1058"/>
                    <a:gd name="T54" fmla="*/ 1581 w 1587"/>
                    <a:gd name="T55" fmla="*/ 15 h 1058"/>
                    <a:gd name="T56" fmla="*/ 1584 w 1587"/>
                    <a:gd name="T57" fmla="*/ 20 h 1058"/>
                    <a:gd name="T58" fmla="*/ 1586 w 1587"/>
                    <a:gd name="T59" fmla="*/ 26 h 1058"/>
                    <a:gd name="T60" fmla="*/ 1587 w 1587"/>
                    <a:gd name="T61" fmla="*/ 33 h 1058"/>
                    <a:gd name="T62" fmla="*/ 1587 w 1587"/>
                    <a:gd name="T63" fmla="*/ 1025 h 1058"/>
                    <a:gd name="T64" fmla="*/ 1587 w 1587"/>
                    <a:gd name="T65" fmla="*/ 1025 h 1058"/>
                    <a:gd name="T66" fmla="*/ 1586 w 1587"/>
                    <a:gd name="T67" fmla="*/ 1032 h 1058"/>
                    <a:gd name="T68" fmla="*/ 1584 w 1587"/>
                    <a:gd name="T69" fmla="*/ 1039 h 1058"/>
                    <a:gd name="T70" fmla="*/ 1581 w 1587"/>
                    <a:gd name="T71" fmla="*/ 1044 h 1058"/>
                    <a:gd name="T72" fmla="*/ 1577 w 1587"/>
                    <a:gd name="T73" fmla="*/ 1049 h 1058"/>
                    <a:gd name="T74" fmla="*/ 1573 w 1587"/>
                    <a:gd name="T75" fmla="*/ 1053 h 1058"/>
                    <a:gd name="T76" fmla="*/ 1566 w 1587"/>
                    <a:gd name="T77" fmla="*/ 1056 h 1058"/>
                    <a:gd name="T78" fmla="*/ 1560 w 1587"/>
                    <a:gd name="T79" fmla="*/ 1058 h 1058"/>
                    <a:gd name="T80" fmla="*/ 1554 w 1587"/>
                    <a:gd name="T81" fmla="*/ 1058 h 1058"/>
                    <a:gd name="T82" fmla="*/ 1554 w 1587"/>
                    <a:gd name="T83" fmla="*/ 1058 h 1058"/>
                    <a:gd name="T84" fmla="*/ 66 w 1587"/>
                    <a:gd name="T85" fmla="*/ 992 h 1058"/>
                    <a:gd name="T86" fmla="*/ 1521 w 1587"/>
                    <a:gd name="T87" fmla="*/ 992 h 1058"/>
                    <a:gd name="T88" fmla="*/ 1521 w 1587"/>
                    <a:gd name="T89" fmla="*/ 67 h 1058"/>
                    <a:gd name="T90" fmla="*/ 66 w 1587"/>
                    <a:gd name="T91" fmla="*/ 67 h 1058"/>
                    <a:gd name="T92" fmla="*/ 66 w 1587"/>
                    <a:gd name="T93" fmla="*/ 992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87" h="1058">
                      <a:moveTo>
                        <a:pt x="1554" y="1058"/>
                      </a:moveTo>
                      <a:lnTo>
                        <a:pt x="33" y="1058"/>
                      </a:lnTo>
                      <a:lnTo>
                        <a:pt x="33" y="1058"/>
                      </a:lnTo>
                      <a:lnTo>
                        <a:pt x="25" y="1058"/>
                      </a:lnTo>
                      <a:lnTo>
                        <a:pt x="19" y="1056"/>
                      </a:lnTo>
                      <a:lnTo>
                        <a:pt x="14" y="1053"/>
                      </a:lnTo>
                      <a:lnTo>
                        <a:pt x="9" y="1049"/>
                      </a:lnTo>
                      <a:lnTo>
                        <a:pt x="5" y="1044"/>
                      </a:lnTo>
                      <a:lnTo>
                        <a:pt x="2" y="1039"/>
                      </a:lnTo>
                      <a:lnTo>
                        <a:pt x="1" y="1032"/>
                      </a:lnTo>
                      <a:lnTo>
                        <a:pt x="0" y="1025"/>
                      </a:lnTo>
                      <a:lnTo>
                        <a:pt x="0" y="33"/>
                      </a:lnTo>
                      <a:lnTo>
                        <a:pt x="0" y="33"/>
                      </a:lnTo>
                      <a:lnTo>
                        <a:pt x="1" y="26"/>
                      </a:lnTo>
                      <a:lnTo>
                        <a:pt x="2" y="20"/>
                      </a:lnTo>
                      <a:lnTo>
                        <a:pt x="5" y="15"/>
                      </a:lnTo>
                      <a:lnTo>
                        <a:pt x="9" y="10"/>
                      </a:lnTo>
                      <a:lnTo>
                        <a:pt x="14" y="6"/>
                      </a:lnTo>
                      <a:lnTo>
                        <a:pt x="19" y="2"/>
                      </a:lnTo>
                      <a:lnTo>
                        <a:pt x="25" y="0"/>
                      </a:lnTo>
                      <a:lnTo>
                        <a:pt x="33" y="0"/>
                      </a:lnTo>
                      <a:lnTo>
                        <a:pt x="1554" y="0"/>
                      </a:lnTo>
                      <a:lnTo>
                        <a:pt x="1554" y="0"/>
                      </a:lnTo>
                      <a:lnTo>
                        <a:pt x="1560" y="0"/>
                      </a:lnTo>
                      <a:lnTo>
                        <a:pt x="1566" y="2"/>
                      </a:lnTo>
                      <a:lnTo>
                        <a:pt x="1573" y="6"/>
                      </a:lnTo>
                      <a:lnTo>
                        <a:pt x="1577" y="10"/>
                      </a:lnTo>
                      <a:lnTo>
                        <a:pt x="1581" y="15"/>
                      </a:lnTo>
                      <a:lnTo>
                        <a:pt x="1584" y="20"/>
                      </a:lnTo>
                      <a:lnTo>
                        <a:pt x="1586" y="26"/>
                      </a:lnTo>
                      <a:lnTo>
                        <a:pt x="1587" y="33"/>
                      </a:lnTo>
                      <a:lnTo>
                        <a:pt x="1587" y="1025"/>
                      </a:lnTo>
                      <a:lnTo>
                        <a:pt x="1587" y="1025"/>
                      </a:lnTo>
                      <a:lnTo>
                        <a:pt x="1586" y="1032"/>
                      </a:lnTo>
                      <a:lnTo>
                        <a:pt x="1584" y="1039"/>
                      </a:lnTo>
                      <a:lnTo>
                        <a:pt x="1581" y="1044"/>
                      </a:lnTo>
                      <a:lnTo>
                        <a:pt x="1577" y="1049"/>
                      </a:lnTo>
                      <a:lnTo>
                        <a:pt x="1573" y="1053"/>
                      </a:lnTo>
                      <a:lnTo>
                        <a:pt x="1566" y="1056"/>
                      </a:lnTo>
                      <a:lnTo>
                        <a:pt x="1560" y="1058"/>
                      </a:lnTo>
                      <a:lnTo>
                        <a:pt x="1554" y="1058"/>
                      </a:lnTo>
                      <a:lnTo>
                        <a:pt x="1554" y="1058"/>
                      </a:lnTo>
                      <a:close/>
                      <a:moveTo>
                        <a:pt x="66" y="992"/>
                      </a:moveTo>
                      <a:lnTo>
                        <a:pt x="1521" y="992"/>
                      </a:lnTo>
                      <a:lnTo>
                        <a:pt x="1521" y="67"/>
                      </a:lnTo>
                      <a:lnTo>
                        <a:pt x="66" y="67"/>
                      </a:lnTo>
                      <a:lnTo>
                        <a:pt x="66" y="9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451" name="Freeform 915">
                  <a:extLst>
                    <a:ext uri="{FF2B5EF4-FFF2-40B4-BE49-F238E27FC236}">
                      <a16:creationId xmlns:a16="http://schemas.microsoft.com/office/drawing/2014/main" id="{7AE82398-02AF-4CC7-8218-B58CFAEB4767}"/>
                    </a:ext>
                  </a:extLst>
                </p:cNvPr>
                <p:cNvSpPr>
                  <a:spLocks/>
                </p:cNvSpPr>
                <p:nvPr/>
              </p:nvSpPr>
              <p:spPr bwMode="auto">
                <a:xfrm>
                  <a:off x="8601075" y="4554538"/>
                  <a:ext cx="14288" cy="60325"/>
                </a:xfrm>
                <a:custGeom>
                  <a:avLst/>
                  <a:gdLst>
                    <a:gd name="T0" fmla="*/ 33 w 66"/>
                    <a:gd name="T1" fmla="*/ 265 h 265"/>
                    <a:gd name="T2" fmla="*/ 33 w 66"/>
                    <a:gd name="T3" fmla="*/ 265 h 265"/>
                    <a:gd name="T4" fmla="*/ 26 w 66"/>
                    <a:gd name="T5" fmla="*/ 264 h 265"/>
                    <a:gd name="T6" fmla="*/ 20 w 66"/>
                    <a:gd name="T7" fmla="*/ 262 h 265"/>
                    <a:gd name="T8" fmla="*/ 15 w 66"/>
                    <a:gd name="T9" fmla="*/ 260 h 265"/>
                    <a:gd name="T10" fmla="*/ 9 w 66"/>
                    <a:gd name="T11" fmla="*/ 256 h 265"/>
                    <a:gd name="T12" fmla="*/ 5 w 66"/>
                    <a:gd name="T13" fmla="*/ 251 h 265"/>
                    <a:gd name="T14" fmla="*/ 2 w 66"/>
                    <a:gd name="T15" fmla="*/ 244 h 265"/>
                    <a:gd name="T16" fmla="*/ 1 w 66"/>
                    <a:gd name="T17" fmla="*/ 238 h 265"/>
                    <a:gd name="T18" fmla="*/ 0 w 66"/>
                    <a:gd name="T19" fmla="*/ 232 h 265"/>
                    <a:gd name="T20" fmla="*/ 0 w 66"/>
                    <a:gd name="T21" fmla="*/ 33 h 265"/>
                    <a:gd name="T22" fmla="*/ 0 w 66"/>
                    <a:gd name="T23" fmla="*/ 33 h 265"/>
                    <a:gd name="T24" fmla="*/ 1 w 66"/>
                    <a:gd name="T25" fmla="*/ 27 h 265"/>
                    <a:gd name="T26" fmla="*/ 2 w 66"/>
                    <a:gd name="T27" fmla="*/ 21 h 265"/>
                    <a:gd name="T28" fmla="*/ 5 w 66"/>
                    <a:gd name="T29" fmla="*/ 15 h 265"/>
                    <a:gd name="T30" fmla="*/ 9 w 66"/>
                    <a:gd name="T31" fmla="*/ 10 h 265"/>
                    <a:gd name="T32" fmla="*/ 15 w 66"/>
                    <a:gd name="T33" fmla="*/ 6 h 265"/>
                    <a:gd name="T34" fmla="*/ 20 w 66"/>
                    <a:gd name="T35" fmla="*/ 3 h 265"/>
                    <a:gd name="T36" fmla="*/ 26 w 66"/>
                    <a:gd name="T37" fmla="*/ 1 h 265"/>
                    <a:gd name="T38" fmla="*/ 33 w 66"/>
                    <a:gd name="T39" fmla="*/ 0 h 265"/>
                    <a:gd name="T40" fmla="*/ 33 w 66"/>
                    <a:gd name="T41" fmla="*/ 0 h 265"/>
                    <a:gd name="T42" fmla="*/ 39 w 66"/>
                    <a:gd name="T43" fmla="*/ 1 h 265"/>
                    <a:gd name="T44" fmla="*/ 46 w 66"/>
                    <a:gd name="T45" fmla="*/ 3 h 265"/>
                    <a:gd name="T46" fmla="*/ 52 w 66"/>
                    <a:gd name="T47" fmla="*/ 6 h 265"/>
                    <a:gd name="T48" fmla="*/ 56 w 66"/>
                    <a:gd name="T49" fmla="*/ 10 h 265"/>
                    <a:gd name="T50" fmla="*/ 60 w 66"/>
                    <a:gd name="T51" fmla="*/ 15 h 265"/>
                    <a:gd name="T52" fmla="*/ 63 w 66"/>
                    <a:gd name="T53" fmla="*/ 21 h 265"/>
                    <a:gd name="T54" fmla="*/ 65 w 66"/>
                    <a:gd name="T55" fmla="*/ 27 h 265"/>
                    <a:gd name="T56" fmla="*/ 66 w 66"/>
                    <a:gd name="T57" fmla="*/ 33 h 265"/>
                    <a:gd name="T58" fmla="*/ 66 w 66"/>
                    <a:gd name="T59" fmla="*/ 232 h 265"/>
                    <a:gd name="T60" fmla="*/ 66 w 66"/>
                    <a:gd name="T61" fmla="*/ 232 h 265"/>
                    <a:gd name="T62" fmla="*/ 65 w 66"/>
                    <a:gd name="T63" fmla="*/ 238 h 265"/>
                    <a:gd name="T64" fmla="*/ 63 w 66"/>
                    <a:gd name="T65" fmla="*/ 244 h 265"/>
                    <a:gd name="T66" fmla="*/ 60 w 66"/>
                    <a:gd name="T67" fmla="*/ 251 h 265"/>
                    <a:gd name="T68" fmla="*/ 56 w 66"/>
                    <a:gd name="T69" fmla="*/ 256 h 265"/>
                    <a:gd name="T70" fmla="*/ 52 w 66"/>
                    <a:gd name="T71" fmla="*/ 260 h 265"/>
                    <a:gd name="T72" fmla="*/ 46 w 66"/>
                    <a:gd name="T73" fmla="*/ 262 h 265"/>
                    <a:gd name="T74" fmla="*/ 39 w 66"/>
                    <a:gd name="T75" fmla="*/ 264 h 265"/>
                    <a:gd name="T76" fmla="*/ 33 w 66"/>
                    <a:gd name="T77" fmla="*/ 265 h 265"/>
                    <a:gd name="T78" fmla="*/ 33 w 66"/>
                    <a:gd name="T79"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265">
                      <a:moveTo>
                        <a:pt x="33" y="265"/>
                      </a:moveTo>
                      <a:lnTo>
                        <a:pt x="33" y="265"/>
                      </a:lnTo>
                      <a:lnTo>
                        <a:pt x="26" y="264"/>
                      </a:lnTo>
                      <a:lnTo>
                        <a:pt x="20" y="262"/>
                      </a:lnTo>
                      <a:lnTo>
                        <a:pt x="15" y="260"/>
                      </a:lnTo>
                      <a:lnTo>
                        <a:pt x="9" y="256"/>
                      </a:lnTo>
                      <a:lnTo>
                        <a:pt x="5" y="251"/>
                      </a:lnTo>
                      <a:lnTo>
                        <a:pt x="2" y="244"/>
                      </a:lnTo>
                      <a:lnTo>
                        <a:pt x="1" y="238"/>
                      </a:lnTo>
                      <a:lnTo>
                        <a:pt x="0" y="232"/>
                      </a:lnTo>
                      <a:lnTo>
                        <a:pt x="0" y="33"/>
                      </a:lnTo>
                      <a:lnTo>
                        <a:pt x="0" y="33"/>
                      </a:lnTo>
                      <a:lnTo>
                        <a:pt x="1" y="27"/>
                      </a:lnTo>
                      <a:lnTo>
                        <a:pt x="2" y="21"/>
                      </a:lnTo>
                      <a:lnTo>
                        <a:pt x="5" y="15"/>
                      </a:lnTo>
                      <a:lnTo>
                        <a:pt x="9" y="10"/>
                      </a:lnTo>
                      <a:lnTo>
                        <a:pt x="15" y="6"/>
                      </a:lnTo>
                      <a:lnTo>
                        <a:pt x="20" y="3"/>
                      </a:lnTo>
                      <a:lnTo>
                        <a:pt x="26" y="1"/>
                      </a:lnTo>
                      <a:lnTo>
                        <a:pt x="33" y="0"/>
                      </a:lnTo>
                      <a:lnTo>
                        <a:pt x="33" y="0"/>
                      </a:lnTo>
                      <a:lnTo>
                        <a:pt x="39" y="1"/>
                      </a:lnTo>
                      <a:lnTo>
                        <a:pt x="46" y="3"/>
                      </a:lnTo>
                      <a:lnTo>
                        <a:pt x="52" y="6"/>
                      </a:lnTo>
                      <a:lnTo>
                        <a:pt x="56" y="10"/>
                      </a:lnTo>
                      <a:lnTo>
                        <a:pt x="60" y="15"/>
                      </a:lnTo>
                      <a:lnTo>
                        <a:pt x="63" y="21"/>
                      </a:lnTo>
                      <a:lnTo>
                        <a:pt x="65" y="27"/>
                      </a:lnTo>
                      <a:lnTo>
                        <a:pt x="66" y="33"/>
                      </a:lnTo>
                      <a:lnTo>
                        <a:pt x="66" y="232"/>
                      </a:lnTo>
                      <a:lnTo>
                        <a:pt x="66" y="232"/>
                      </a:lnTo>
                      <a:lnTo>
                        <a:pt x="65" y="238"/>
                      </a:lnTo>
                      <a:lnTo>
                        <a:pt x="63" y="244"/>
                      </a:lnTo>
                      <a:lnTo>
                        <a:pt x="60" y="251"/>
                      </a:lnTo>
                      <a:lnTo>
                        <a:pt x="56" y="256"/>
                      </a:lnTo>
                      <a:lnTo>
                        <a:pt x="52" y="260"/>
                      </a:lnTo>
                      <a:lnTo>
                        <a:pt x="46" y="262"/>
                      </a:lnTo>
                      <a:lnTo>
                        <a:pt x="39" y="264"/>
                      </a:lnTo>
                      <a:lnTo>
                        <a:pt x="33" y="265"/>
                      </a:lnTo>
                      <a:lnTo>
                        <a:pt x="33"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452" name="Freeform 916">
                  <a:extLst>
                    <a:ext uri="{FF2B5EF4-FFF2-40B4-BE49-F238E27FC236}">
                      <a16:creationId xmlns:a16="http://schemas.microsoft.com/office/drawing/2014/main" id="{DE8064E4-F613-409B-B032-5E47639B3834}"/>
                    </a:ext>
                  </a:extLst>
                </p:cNvPr>
                <p:cNvSpPr>
                  <a:spLocks/>
                </p:cNvSpPr>
                <p:nvPr/>
              </p:nvSpPr>
              <p:spPr bwMode="auto">
                <a:xfrm>
                  <a:off x="8524875" y="4598988"/>
                  <a:ext cx="165100" cy="90488"/>
                </a:xfrm>
                <a:custGeom>
                  <a:avLst/>
                  <a:gdLst>
                    <a:gd name="T0" fmla="*/ 694 w 727"/>
                    <a:gd name="T1" fmla="*/ 396 h 396"/>
                    <a:gd name="T2" fmla="*/ 694 w 727"/>
                    <a:gd name="T3" fmla="*/ 396 h 396"/>
                    <a:gd name="T4" fmla="*/ 688 w 727"/>
                    <a:gd name="T5" fmla="*/ 396 h 396"/>
                    <a:gd name="T6" fmla="*/ 682 w 727"/>
                    <a:gd name="T7" fmla="*/ 394 h 396"/>
                    <a:gd name="T8" fmla="*/ 677 w 727"/>
                    <a:gd name="T9" fmla="*/ 391 h 396"/>
                    <a:gd name="T10" fmla="*/ 672 w 727"/>
                    <a:gd name="T11" fmla="*/ 387 h 396"/>
                    <a:gd name="T12" fmla="*/ 364 w 727"/>
                    <a:gd name="T13" fmla="*/ 79 h 396"/>
                    <a:gd name="T14" fmla="*/ 57 w 727"/>
                    <a:gd name="T15" fmla="*/ 387 h 396"/>
                    <a:gd name="T16" fmla="*/ 57 w 727"/>
                    <a:gd name="T17" fmla="*/ 387 h 396"/>
                    <a:gd name="T18" fmla="*/ 52 w 727"/>
                    <a:gd name="T19" fmla="*/ 391 h 396"/>
                    <a:gd name="T20" fmla="*/ 45 w 727"/>
                    <a:gd name="T21" fmla="*/ 394 h 396"/>
                    <a:gd name="T22" fmla="*/ 39 w 727"/>
                    <a:gd name="T23" fmla="*/ 396 h 396"/>
                    <a:gd name="T24" fmla="*/ 33 w 727"/>
                    <a:gd name="T25" fmla="*/ 396 h 396"/>
                    <a:gd name="T26" fmla="*/ 27 w 727"/>
                    <a:gd name="T27" fmla="*/ 396 h 396"/>
                    <a:gd name="T28" fmla="*/ 21 w 727"/>
                    <a:gd name="T29" fmla="*/ 394 h 396"/>
                    <a:gd name="T30" fmla="*/ 15 w 727"/>
                    <a:gd name="T31" fmla="*/ 391 h 396"/>
                    <a:gd name="T32" fmla="*/ 10 w 727"/>
                    <a:gd name="T33" fmla="*/ 387 h 396"/>
                    <a:gd name="T34" fmla="*/ 10 w 727"/>
                    <a:gd name="T35" fmla="*/ 387 h 396"/>
                    <a:gd name="T36" fmla="*/ 6 w 727"/>
                    <a:gd name="T37" fmla="*/ 382 h 396"/>
                    <a:gd name="T38" fmla="*/ 3 w 727"/>
                    <a:gd name="T39" fmla="*/ 377 h 396"/>
                    <a:gd name="T40" fmla="*/ 1 w 727"/>
                    <a:gd name="T41" fmla="*/ 370 h 396"/>
                    <a:gd name="T42" fmla="*/ 0 w 727"/>
                    <a:gd name="T43" fmla="*/ 364 h 396"/>
                    <a:gd name="T44" fmla="*/ 1 w 727"/>
                    <a:gd name="T45" fmla="*/ 357 h 396"/>
                    <a:gd name="T46" fmla="*/ 3 w 727"/>
                    <a:gd name="T47" fmla="*/ 352 h 396"/>
                    <a:gd name="T48" fmla="*/ 6 w 727"/>
                    <a:gd name="T49" fmla="*/ 346 h 396"/>
                    <a:gd name="T50" fmla="*/ 10 w 727"/>
                    <a:gd name="T51" fmla="*/ 340 h 396"/>
                    <a:gd name="T52" fmla="*/ 340 w 727"/>
                    <a:gd name="T53" fmla="*/ 9 h 396"/>
                    <a:gd name="T54" fmla="*/ 340 w 727"/>
                    <a:gd name="T55" fmla="*/ 9 h 396"/>
                    <a:gd name="T56" fmla="*/ 346 w 727"/>
                    <a:gd name="T57" fmla="*/ 5 h 396"/>
                    <a:gd name="T58" fmla="*/ 352 w 727"/>
                    <a:gd name="T59" fmla="*/ 2 h 396"/>
                    <a:gd name="T60" fmla="*/ 358 w 727"/>
                    <a:gd name="T61" fmla="*/ 1 h 396"/>
                    <a:gd name="T62" fmla="*/ 364 w 727"/>
                    <a:gd name="T63" fmla="*/ 0 h 396"/>
                    <a:gd name="T64" fmla="*/ 370 w 727"/>
                    <a:gd name="T65" fmla="*/ 1 h 396"/>
                    <a:gd name="T66" fmla="*/ 377 w 727"/>
                    <a:gd name="T67" fmla="*/ 2 h 396"/>
                    <a:gd name="T68" fmla="*/ 382 w 727"/>
                    <a:gd name="T69" fmla="*/ 5 h 396"/>
                    <a:gd name="T70" fmla="*/ 387 w 727"/>
                    <a:gd name="T71" fmla="*/ 9 h 396"/>
                    <a:gd name="T72" fmla="*/ 718 w 727"/>
                    <a:gd name="T73" fmla="*/ 340 h 396"/>
                    <a:gd name="T74" fmla="*/ 718 w 727"/>
                    <a:gd name="T75" fmla="*/ 340 h 396"/>
                    <a:gd name="T76" fmla="*/ 722 w 727"/>
                    <a:gd name="T77" fmla="*/ 346 h 396"/>
                    <a:gd name="T78" fmla="*/ 725 w 727"/>
                    <a:gd name="T79" fmla="*/ 352 h 396"/>
                    <a:gd name="T80" fmla="*/ 727 w 727"/>
                    <a:gd name="T81" fmla="*/ 357 h 396"/>
                    <a:gd name="T82" fmla="*/ 727 w 727"/>
                    <a:gd name="T83" fmla="*/ 364 h 396"/>
                    <a:gd name="T84" fmla="*/ 727 w 727"/>
                    <a:gd name="T85" fmla="*/ 370 h 396"/>
                    <a:gd name="T86" fmla="*/ 725 w 727"/>
                    <a:gd name="T87" fmla="*/ 377 h 396"/>
                    <a:gd name="T88" fmla="*/ 722 w 727"/>
                    <a:gd name="T89" fmla="*/ 382 h 396"/>
                    <a:gd name="T90" fmla="*/ 718 w 727"/>
                    <a:gd name="T91" fmla="*/ 387 h 396"/>
                    <a:gd name="T92" fmla="*/ 718 w 727"/>
                    <a:gd name="T93" fmla="*/ 387 h 396"/>
                    <a:gd name="T94" fmla="*/ 713 w 727"/>
                    <a:gd name="T95" fmla="*/ 391 h 396"/>
                    <a:gd name="T96" fmla="*/ 707 w 727"/>
                    <a:gd name="T97" fmla="*/ 394 h 396"/>
                    <a:gd name="T98" fmla="*/ 701 w 727"/>
                    <a:gd name="T99" fmla="*/ 396 h 396"/>
                    <a:gd name="T100" fmla="*/ 694 w 727"/>
                    <a:gd name="T101" fmla="*/ 396 h 396"/>
                    <a:gd name="T102" fmla="*/ 694 w 727"/>
                    <a:gd name="T103" fmla="*/ 39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7" h="396">
                      <a:moveTo>
                        <a:pt x="694" y="396"/>
                      </a:moveTo>
                      <a:lnTo>
                        <a:pt x="694" y="396"/>
                      </a:lnTo>
                      <a:lnTo>
                        <a:pt x="688" y="396"/>
                      </a:lnTo>
                      <a:lnTo>
                        <a:pt x="682" y="394"/>
                      </a:lnTo>
                      <a:lnTo>
                        <a:pt x="677" y="391"/>
                      </a:lnTo>
                      <a:lnTo>
                        <a:pt x="672" y="387"/>
                      </a:lnTo>
                      <a:lnTo>
                        <a:pt x="364" y="79"/>
                      </a:lnTo>
                      <a:lnTo>
                        <a:pt x="57" y="387"/>
                      </a:lnTo>
                      <a:lnTo>
                        <a:pt x="57" y="387"/>
                      </a:lnTo>
                      <a:lnTo>
                        <a:pt x="52" y="391"/>
                      </a:lnTo>
                      <a:lnTo>
                        <a:pt x="45" y="394"/>
                      </a:lnTo>
                      <a:lnTo>
                        <a:pt x="39" y="396"/>
                      </a:lnTo>
                      <a:lnTo>
                        <a:pt x="33" y="396"/>
                      </a:lnTo>
                      <a:lnTo>
                        <a:pt x="27" y="396"/>
                      </a:lnTo>
                      <a:lnTo>
                        <a:pt x="21" y="394"/>
                      </a:lnTo>
                      <a:lnTo>
                        <a:pt x="15" y="391"/>
                      </a:lnTo>
                      <a:lnTo>
                        <a:pt x="10" y="387"/>
                      </a:lnTo>
                      <a:lnTo>
                        <a:pt x="10" y="387"/>
                      </a:lnTo>
                      <a:lnTo>
                        <a:pt x="6" y="382"/>
                      </a:lnTo>
                      <a:lnTo>
                        <a:pt x="3" y="377"/>
                      </a:lnTo>
                      <a:lnTo>
                        <a:pt x="1" y="370"/>
                      </a:lnTo>
                      <a:lnTo>
                        <a:pt x="0" y="364"/>
                      </a:lnTo>
                      <a:lnTo>
                        <a:pt x="1" y="357"/>
                      </a:lnTo>
                      <a:lnTo>
                        <a:pt x="3" y="352"/>
                      </a:lnTo>
                      <a:lnTo>
                        <a:pt x="6" y="346"/>
                      </a:lnTo>
                      <a:lnTo>
                        <a:pt x="10" y="340"/>
                      </a:lnTo>
                      <a:lnTo>
                        <a:pt x="340" y="9"/>
                      </a:lnTo>
                      <a:lnTo>
                        <a:pt x="340" y="9"/>
                      </a:lnTo>
                      <a:lnTo>
                        <a:pt x="346" y="5"/>
                      </a:lnTo>
                      <a:lnTo>
                        <a:pt x="352" y="2"/>
                      </a:lnTo>
                      <a:lnTo>
                        <a:pt x="358" y="1"/>
                      </a:lnTo>
                      <a:lnTo>
                        <a:pt x="364" y="0"/>
                      </a:lnTo>
                      <a:lnTo>
                        <a:pt x="370" y="1"/>
                      </a:lnTo>
                      <a:lnTo>
                        <a:pt x="377" y="2"/>
                      </a:lnTo>
                      <a:lnTo>
                        <a:pt x="382" y="5"/>
                      </a:lnTo>
                      <a:lnTo>
                        <a:pt x="387" y="9"/>
                      </a:lnTo>
                      <a:lnTo>
                        <a:pt x="718" y="340"/>
                      </a:lnTo>
                      <a:lnTo>
                        <a:pt x="718" y="340"/>
                      </a:lnTo>
                      <a:lnTo>
                        <a:pt x="722" y="346"/>
                      </a:lnTo>
                      <a:lnTo>
                        <a:pt x="725" y="352"/>
                      </a:lnTo>
                      <a:lnTo>
                        <a:pt x="727" y="357"/>
                      </a:lnTo>
                      <a:lnTo>
                        <a:pt x="727" y="364"/>
                      </a:lnTo>
                      <a:lnTo>
                        <a:pt x="727" y="370"/>
                      </a:lnTo>
                      <a:lnTo>
                        <a:pt x="725" y="377"/>
                      </a:lnTo>
                      <a:lnTo>
                        <a:pt x="722" y="382"/>
                      </a:lnTo>
                      <a:lnTo>
                        <a:pt x="718" y="387"/>
                      </a:lnTo>
                      <a:lnTo>
                        <a:pt x="718" y="387"/>
                      </a:lnTo>
                      <a:lnTo>
                        <a:pt x="713" y="391"/>
                      </a:lnTo>
                      <a:lnTo>
                        <a:pt x="707" y="394"/>
                      </a:lnTo>
                      <a:lnTo>
                        <a:pt x="701" y="396"/>
                      </a:lnTo>
                      <a:lnTo>
                        <a:pt x="694" y="396"/>
                      </a:lnTo>
                      <a:lnTo>
                        <a:pt x="694" y="3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453" name="Freeform 917">
                  <a:extLst>
                    <a:ext uri="{FF2B5EF4-FFF2-40B4-BE49-F238E27FC236}">
                      <a16:creationId xmlns:a16="http://schemas.microsoft.com/office/drawing/2014/main" id="{C55234C7-A18C-410C-B2C6-06A66D317BB4}"/>
                    </a:ext>
                  </a:extLst>
                </p:cNvPr>
                <p:cNvSpPr>
                  <a:spLocks/>
                </p:cNvSpPr>
                <p:nvPr/>
              </p:nvSpPr>
              <p:spPr bwMode="auto">
                <a:xfrm>
                  <a:off x="8466138" y="4389438"/>
                  <a:ext cx="254000" cy="104775"/>
                </a:xfrm>
                <a:custGeom>
                  <a:avLst/>
                  <a:gdLst>
                    <a:gd name="T0" fmla="*/ 562 w 1124"/>
                    <a:gd name="T1" fmla="*/ 464 h 464"/>
                    <a:gd name="T2" fmla="*/ 557 w 1124"/>
                    <a:gd name="T3" fmla="*/ 463 h 464"/>
                    <a:gd name="T4" fmla="*/ 542 w 1124"/>
                    <a:gd name="T5" fmla="*/ 457 h 464"/>
                    <a:gd name="T6" fmla="*/ 532 w 1124"/>
                    <a:gd name="T7" fmla="*/ 444 h 464"/>
                    <a:gd name="T8" fmla="*/ 323 w 1124"/>
                    <a:gd name="T9" fmla="*/ 319 h 464"/>
                    <a:gd name="T10" fmla="*/ 318 w 1124"/>
                    <a:gd name="T11" fmla="*/ 324 h 464"/>
                    <a:gd name="T12" fmla="*/ 304 w 1124"/>
                    <a:gd name="T13" fmla="*/ 331 h 464"/>
                    <a:gd name="T14" fmla="*/ 33 w 1124"/>
                    <a:gd name="T15" fmla="*/ 332 h 464"/>
                    <a:gd name="T16" fmla="*/ 26 w 1124"/>
                    <a:gd name="T17" fmla="*/ 331 h 464"/>
                    <a:gd name="T18" fmla="*/ 15 w 1124"/>
                    <a:gd name="T19" fmla="*/ 325 h 464"/>
                    <a:gd name="T20" fmla="*/ 5 w 1124"/>
                    <a:gd name="T21" fmla="*/ 317 h 464"/>
                    <a:gd name="T22" fmla="*/ 0 w 1124"/>
                    <a:gd name="T23" fmla="*/ 305 h 464"/>
                    <a:gd name="T24" fmla="*/ 0 w 1124"/>
                    <a:gd name="T25" fmla="*/ 298 h 464"/>
                    <a:gd name="T26" fmla="*/ 2 w 1124"/>
                    <a:gd name="T27" fmla="*/ 286 h 464"/>
                    <a:gd name="T28" fmla="*/ 9 w 1124"/>
                    <a:gd name="T29" fmla="*/ 275 h 464"/>
                    <a:gd name="T30" fmla="*/ 20 w 1124"/>
                    <a:gd name="T31" fmla="*/ 268 h 464"/>
                    <a:gd name="T32" fmla="*/ 33 w 1124"/>
                    <a:gd name="T33" fmla="*/ 265 h 464"/>
                    <a:gd name="T34" fmla="*/ 404 w 1124"/>
                    <a:gd name="T35" fmla="*/ 112 h 464"/>
                    <a:gd name="T36" fmla="*/ 410 w 1124"/>
                    <a:gd name="T37" fmla="*/ 107 h 464"/>
                    <a:gd name="T38" fmla="*/ 425 w 1124"/>
                    <a:gd name="T39" fmla="*/ 101 h 464"/>
                    <a:gd name="T40" fmla="*/ 434 w 1124"/>
                    <a:gd name="T41" fmla="*/ 100 h 464"/>
                    <a:gd name="T42" fmla="*/ 449 w 1124"/>
                    <a:gd name="T43" fmla="*/ 107 h 464"/>
                    <a:gd name="T44" fmla="*/ 460 w 1124"/>
                    <a:gd name="T45" fmla="*/ 119 h 464"/>
                    <a:gd name="T46" fmla="*/ 702 w 1124"/>
                    <a:gd name="T47" fmla="*/ 211 h 464"/>
                    <a:gd name="T48" fmla="*/ 707 w 1124"/>
                    <a:gd name="T49" fmla="*/ 206 h 464"/>
                    <a:gd name="T50" fmla="*/ 719 w 1124"/>
                    <a:gd name="T51" fmla="*/ 200 h 464"/>
                    <a:gd name="T52" fmla="*/ 725 w 1124"/>
                    <a:gd name="T53" fmla="*/ 199 h 464"/>
                    <a:gd name="T54" fmla="*/ 739 w 1124"/>
                    <a:gd name="T55" fmla="*/ 201 h 464"/>
                    <a:gd name="T56" fmla="*/ 750 w 1124"/>
                    <a:gd name="T57" fmla="*/ 208 h 464"/>
                    <a:gd name="T58" fmla="*/ 1064 w 1124"/>
                    <a:gd name="T59" fmla="*/ 15 h 464"/>
                    <a:gd name="T60" fmla="*/ 1068 w 1124"/>
                    <a:gd name="T61" fmla="*/ 10 h 464"/>
                    <a:gd name="T62" fmla="*/ 1079 w 1124"/>
                    <a:gd name="T63" fmla="*/ 2 h 464"/>
                    <a:gd name="T64" fmla="*/ 1092 w 1124"/>
                    <a:gd name="T65" fmla="*/ 0 h 464"/>
                    <a:gd name="T66" fmla="*/ 1104 w 1124"/>
                    <a:gd name="T67" fmla="*/ 3 h 464"/>
                    <a:gd name="T68" fmla="*/ 1109 w 1124"/>
                    <a:gd name="T69" fmla="*/ 7 h 464"/>
                    <a:gd name="T70" fmla="*/ 1119 w 1124"/>
                    <a:gd name="T71" fmla="*/ 16 h 464"/>
                    <a:gd name="T72" fmla="*/ 1124 w 1124"/>
                    <a:gd name="T73" fmla="*/ 28 h 464"/>
                    <a:gd name="T74" fmla="*/ 1123 w 1124"/>
                    <a:gd name="T75" fmla="*/ 41 h 464"/>
                    <a:gd name="T76" fmla="*/ 1118 w 1124"/>
                    <a:gd name="T77" fmla="*/ 53 h 464"/>
                    <a:gd name="T78" fmla="*/ 887 w 1124"/>
                    <a:gd name="T79" fmla="*/ 383 h 464"/>
                    <a:gd name="T80" fmla="*/ 876 w 1124"/>
                    <a:gd name="T81" fmla="*/ 394 h 464"/>
                    <a:gd name="T82" fmla="*/ 862 w 1124"/>
                    <a:gd name="T83" fmla="*/ 398 h 464"/>
                    <a:gd name="T84" fmla="*/ 855 w 1124"/>
                    <a:gd name="T85" fmla="*/ 398 h 464"/>
                    <a:gd name="T86" fmla="*/ 841 w 1124"/>
                    <a:gd name="T87" fmla="*/ 393 h 464"/>
                    <a:gd name="T88" fmla="*/ 730 w 1124"/>
                    <a:gd name="T89" fmla="*/ 281 h 464"/>
                    <a:gd name="T90" fmla="*/ 587 w 1124"/>
                    <a:gd name="T91" fmla="*/ 452 h 464"/>
                    <a:gd name="T92" fmla="*/ 575 w 1124"/>
                    <a:gd name="T93" fmla="*/ 461 h 464"/>
                    <a:gd name="T94" fmla="*/ 562 w 1124"/>
                    <a:gd name="T95"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24" h="464">
                      <a:moveTo>
                        <a:pt x="562" y="464"/>
                      </a:moveTo>
                      <a:lnTo>
                        <a:pt x="562" y="464"/>
                      </a:lnTo>
                      <a:lnTo>
                        <a:pt x="557" y="463"/>
                      </a:lnTo>
                      <a:lnTo>
                        <a:pt x="557" y="463"/>
                      </a:lnTo>
                      <a:lnTo>
                        <a:pt x="550" y="461"/>
                      </a:lnTo>
                      <a:lnTo>
                        <a:pt x="542" y="457"/>
                      </a:lnTo>
                      <a:lnTo>
                        <a:pt x="536" y="452"/>
                      </a:lnTo>
                      <a:lnTo>
                        <a:pt x="532" y="444"/>
                      </a:lnTo>
                      <a:lnTo>
                        <a:pt x="421" y="196"/>
                      </a:lnTo>
                      <a:lnTo>
                        <a:pt x="323" y="319"/>
                      </a:lnTo>
                      <a:lnTo>
                        <a:pt x="323" y="319"/>
                      </a:lnTo>
                      <a:lnTo>
                        <a:pt x="318" y="324"/>
                      </a:lnTo>
                      <a:lnTo>
                        <a:pt x="312" y="328"/>
                      </a:lnTo>
                      <a:lnTo>
                        <a:pt x="304" y="331"/>
                      </a:lnTo>
                      <a:lnTo>
                        <a:pt x="297" y="332"/>
                      </a:lnTo>
                      <a:lnTo>
                        <a:pt x="33" y="332"/>
                      </a:lnTo>
                      <a:lnTo>
                        <a:pt x="33" y="332"/>
                      </a:lnTo>
                      <a:lnTo>
                        <a:pt x="26" y="331"/>
                      </a:lnTo>
                      <a:lnTo>
                        <a:pt x="20" y="328"/>
                      </a:lnTo>
                      <a:lnTo>
                        <a:pt x="15" y="325"/>
                      </a:lnTo>
                      <a:lnTo>
                        <a:pt x="9" y="322"/>
                      </a:lnTo>
                      <a:lnTo>
                        <a:pt x="5" y="317"/>
                      </a:lnTo>
                      <a:lnTo>
                        <a:pt x="2" y="311"/>
                      </a:lnTo>
                      <a:lnTo>
                        <a:pt x="0" y="305"/>
                      </a:lnTo>
                      <a:lnTo>
                        <a:pt x="0" y="298"/>
                      </a:lnTo>
                      <a:lnTo>
                        <a:pt x="0" y="298"/>
                      </a:lnTo>
                      <a:lnTo>
                        <a:pt x="0" y="292"/>
                      </a:lnTo>
                      <a:lnTo>
                        <a:pt x="2" y="286"/>
                      </a:lnTo>
                      <a:lnTo>
                        <a:pt x="5" y="280"/>
                      </a:lnTo>
                      <a:lnTo>
                        <a:pt x="9" y="275"/>
                      </a:lnTo>
                      <a:lnTo>
                        <a:pt x="15" y="270"/>
                      </a:lnTo>
                      <a:lnTo>
                        <a:pt x="20" y="268"/>
                      </a:lnTo>
                      <a:lnTo>
                        <a:pt x="26" y="266"/>
                      </a:lnTo>
                      <a:lnTo>
                        <a:pt x="33" y="265"/>
                      </a:lnTo>
                      <a:lnTo>
                        <a:pt x="282" y="265"/>
                      </a:lnTo>
                      <a:lnTo>
                        <a:pt x="404" y="112"/>
                      </a:lnTo>
                      <a:lnTo>
                        <a:pt x="404" y="112"/>
                      </a:lnTo>
                      <a:lnTo>
                        <a:pt x="410" y="107"/>
                      </a:lnTo>
                      <a:lnTo>
                        <a:pt x="417" y="103"/>
                      </a:lnTo>
                      <a:lnTo>
                        <a:pt x="425" y="101"/>
                      </a:lnTo>
                      <a:lnTo>
                        <a:pt x="434" y="100"/>
                      </a:lnTo>
                      <a:lnTo>
                        <a:pt x="434" y="100"/>
                      </a:lnTo>
                      <a:lnTo>
                        <a:pt x="442" y="103"/>
                      </a:lnTo>
                      <a:lnTo>
                        <a:pt x="449" y="107"/>
                      </a:lnTo>
                      <a:lnTo>
                        <a:pt x="455" y="112"/>
                      </a:lnTo>
                      <a:lnTo>
                        <a:pt x="460" y="119"/>
                      </a:lnTo>
                      <a:lnTo>
                        <a:pt x="570" y="369"/>
                      </a:lnTo>
                      <a:lnTo>
                        <a:pt x="702" y="211"/>
                      </a:lnTo>
                      <a:lnTo>
                        <a:pt x="702" y="211"/>
                      </a:lnTo>
                      <a:lnTo>
                        <a:pt x="707" y="206"/>
                      </a:lnTo>
                      <a:lnTo>
                        <a:pt x="712" y="202"/>
                      </a:lnTo>
                      <a:lnTo>
                        <a:pt x="719" y="200"/>
                      </a:lnTo>
                      <a:lnTo>
                        <a:pt x="725" y="199"/>
                      </a:lnTo>
                      <a:lnTo>
                        <a:pt x="725" y="199"/>
                      </a:lnTo>
                      <a:lnTo>
                        <a:pt x="733" y="200"/>
                      </a:lnTo>
                      <a:lnTo>
                        <a:pt x="739" y="201"/>
                      </a:lnTo>
                      <a:lnTo>
                        <a:pt x="745" y="204"/>
                      </a:lnTo>
                      <a:lnTo>
                        <a:pt x="750" y="208"/>
                      </a:lnTo>
                      <a:lnTo>
                        <a:pt x="855" y="313"/>
                      </a:lnTo>
                      <a:lnTo>
                        <a:pt x="1064" y="15"/>
                      </a:lnTo>
                      <a:lnTo>
                        <a:pt x="1064" y="15"/>
                      </a:lnTo>
                      <a:lnTo>
                        <a:pt x="1068" y="10"/>
                      </a:lnTo>
                      <a:lnTo>
                        <a:pt x="1073" y="5"/>
                      </a:lnTo>
                      <a:lnTo>
                        <a:pt x="1079" y="2"/>
                      </a:lnTo>
                      <a:lnTo>
                        <a:pt x="1086" y="1"/>
                      </a:lnTo>
                      <a:lnTo>
                        <a:pt x="1092" y="0"/>
                      </a:lnTo>
                      <a:lnTo>
                        <a:pt x="1098" y="1"/>
                      </a:lnTo>
                      <a:lnTo>
                        <a:pt x="1104" y="3"/>
                      </a:lnTo>
                      <a:lnTo>
                        <a:pt x="1109" y="7"/>
                      </a:lnTo>
                      <a:lnTo>
                        <a:pt x="1109" y="7"/>
                      </a:lnTo>
                      <a:lnTo>
                        <a:pt x="1115" y="11"/>
                      </a:lnTo>
                      <a:lnTo>
                        <a:pt x="1119" y="16"/>
                      </a:lnTo>
                      <a:lnTo>
                        <a:pt x="1122" y="22"/>
                      </a:lnTo>
                      <a:lnTo>
                        <a:pt x="1124" y="28"/>
                      </a:lnTo>
                      <a:lnTo>
                        <a:pt x="1124" y="34"/>
                      </a:lnTo>
                      <a:lnTo>
                        <a:pt x="1123" y="41"/>
                      </a:lnTo>
                      <a:lnTo>
                        <a:pt x="1121" y="47"/>
                      </a:lnTo>
                      <a:lnTo>
                        <a:pt x="1118" y="53"/>
                      </a:lnTo>
                      <a:lnTo>
                        <a:pt x="887" y="383"/>
                      </a:lnTo>
                      <a:lnTo>
                        <a:pt x="887" y="383"/>
                      </a:lnTo>
                      <a:lnTo>
                        <a:pt x="882" y="388"/>
                      </a:lnTo>
                      <a:lnTo>
                        <a:pt x="876" y="394"/>
                      </a:lnTo>
                      <a:lnTo>
                        <a:pt x="869" y="396"/>
                      </a:lnTo>
                      <a:lnTo>
                        <a:pt x="862" y="398"/>
                      </a:lnTo>
                      <a:lnTo>
                        <a:pt x="862" y="398"/>
                      </a:lnTo>
                      <a:lnTo>
                        <a:pt x="855" y="398"/>
                      </a:lnTo>
                      <a:lnTo>
                        <a:pt x="849" y="396"/>
                      </a:lnTo>
                      <a:lnTo>
                        <a:pt x="841" y="393"/>
                      </a:lnTo>
                      <a:lnTo>
                        <a:pt x="836" y="387"/>
                      </a:lnTo>
                      <a:lnTo>
                        <a:pt x="730" y="281"/>
                      </a:lnTo>
                      <a:lnTo>
                        <a:pt x="587" y="452"/>
                      </a:lnTo>
                      <a:lnTo>
                        <a:pt x="587" y="452"/>
                      </a:lnTo>
                      <a:lnTo>
                        <a:pt x="582" y="457"/>
                      </a:lnTo>
                      <a:lnTo>
                        <a:pt x="575" y="461"/>
                      </a:lnTo>
                      <a:lnTo>
                        <a:pt x="569" y="463"/>
                      </a:lnTo>
                      <a:lnTo>
                        <a:pt x="562" y="464"/>
                      </a:lnTo>
                      <a:lnTo>
                        <a:pt x="562"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454" name="Freeform 918">
                  <a:extLst>
                    <a:ext uri="{FF2B5EF4-FFF2-40B4-BE49-F238E27FC236}">
                      <a16:creationId xmlns:a16="http://schemas.microsoft.com/office/drawing/2014/main" id="{7135D79A-DA6F-4476-8260-5C075E86C618}"/>
                    </a:ext>
                  </a:extLst>
                </p:cNvPr>
                <p:cNvSpPr>
                  <a:spLocks noEditPoints="1"/>
                </p:cNvSpPr>
                <p:nvPr/>
              </p:nvSpPr>
              <p:spPr bwMode="auto">
                <a:xfrm>
                  <a:off x="8466138" y="4359276"/>
                  <a:ext cx="300038" cy="179388"/>
                </a:xfrm>
                <a:custGeom>
                  <a:avLst/>
                  <a:gdLst>
                    <a:gd name="T0" fmla="*/ 1289 w 1323"/>
                    <a:gd name="T1" fmla="*/ 793 h 793"/>
                    <a:gd name="T2" fmla="*/ 33 w 1323"/>
                    <a:gd name="T3" fmla="*/ 793 h 793"/>
                    <a:gd name="T4" fmla="*/ 33 w 1323"/>
                    <a:gd name="T5" fmla="*/ 793 h 793"/>
                    <a:gd name="T6" fmla="*/ 26 w 1323"/>
                    <a:gd name="T7" fmla="*/ 793 h 793"/>
                    <a:gd name="T8" fmla="*/ 20 w 1323"/>
                    <a:gd name="T9" fmla="*/ 791 h 793"/>
                    <a:gd name="T10" fmla="*/ 15 w 1323"/>
                    <a:gd name="T11" fmla="*/ 788 h 793"/>
                    <a:gd name="T12" fmla="*/ 9 w 1323"/>
                    <a:gd name="T13" fmla="*/ 783 h 793"/>
                    <a:gd name="T14" fmla="*/ 5 w 1323"/>
                    <a:gd name="T15" fmla="*/ 778 h 793"/>
                    <a:gd name="T16" fmla="*/ 2 w 1323"/>
                    <a:gd name="T17" fmla="*/ 773 h 793"/>
                    <a:gd name="T18" fmla="*/ 0 w 1323"/>
                    <a:gd name="T19" fmla="*/ 767 h 793"/>
                    <a:gd name="T20" fmla="*/ 0 w 1323"/>
                    <a:gd name="T21" fmla="*/ 760 h 793"/>
                    <a:gd name="T22" fmla="*/ 0 w 1323"/>
                    <a:gd name="T23" fmla="*/ 33 h 793"/>
                    <a:gd name="T24" fmla="*/ 0 w 1323"/>
                    <a:gd name="T25" fmla="*/ 33 h 793"/>
                    <a:gd name="T26" fmla="*/ 0 w 1323"/>
                    <a:gd name="T27" fmla="*/ 26 h 793"/>
                    <a:gd name="T28" fmla="*/ 2 w 1323"/>
                    <a:gd name="T29" fmla="*/ 20 h 793"/>
                    <a:gd name="T30" fmla="*/ 5 w 1323"/>
                    <a:gd name="T31" fmla="*/ 14 h 793"/>
                    <a:gd name="T32" fmla="*/ 9 w 1323"/>
                    <a:gd name="T33" fmla="*/ 9 h 793"/>
                    <a:gd name="T34" fmla="*/ 15 w 1323"/>
                    <a:gd name="T35" fmla="*/ 5 h 793"/>
                    <a:gd name="T36" fmla="*/ 20 w 1323"/>
                    <a:gd name="T37" fmla="*/ 2 h 793"/>
                    <a:gd name="T38" fmla="*/ 26 w 1323"/>
                    <a:gd name="T39" fmla="*/ 0 h 793"/>
                    <a:gd name="T40" fmla="*/ 33 w 1323"/>
                    <a:gd name="T41" fmla="*/ 0 h 793"/>
                    <a:gd name="T42" fmla="*/ 1289 w 1323"/>
                    <a:gd name="T43" fmla="*/ 0 h 793"/>
                    <a:gd name="T44" fmla="*/ 1289 w 1323"/>
                    <a:gd name="T45" fmla="*/ 0 h 793"/>
                    <a:gd name="T46" fmla="*/ 1296 w 1323"/>
                    <a:gd name="T47" fmla="*/ 0 h 793"/>
                    <a:gd name="T48" fmla="*/ 1302 w 1323"/>
                    <a:gd name="T49" fmla="*/ 2 h 793"/>
                    <a:gd name="T50" fmla="*/ 1308 w 1323"/>
                    <a:gd name="T51" fmla="*/ 5 h 793"/>
                    <a:gd name="T52" fmla="*/ 1312 w 1323"/>
                    <a:gd name="T53" fmla="*/ 9 h 793"/>
                    <a:gd name="T54" fmla="*/ 1316 w 1323"/>
                    <a:gd name="T55" fmla="*/ 14 h 793"/>
                    <a:gd name="T56" fmla="*/ 1319 w 1323"/>
                    <a:gd name="T57" fmla="*/ 20 h 793"/>
                    <a:gd name="T58" fmla="*/ 1322 w 1323"/>
                    <a:gd name="T59" fmla="*/ 26 h 793"/>
                    <a:gd name="T60" fmla="*/ 1323 w 1323"/>
                    <a:gd name="T61" fmla="*/ 33 h 793"/>
                    <a:gd name="T62" fmla="*/ 1323 w 1323"/>
                    <a:gd name="T63" fmla="*/ 760 h 793"/>
                    <a:gd name="T64" fmla="*/ 1323 w 1323"/>
                    <a:gd name="T65" fmla="*/ 760 h 793"/>
                    <a:gd name="T66" fmla="*/ 1322 w 1323"/>
                    <a:gd name="T67" fmla="*/ 767 h 793"/>
                    <a:gd name="T68" fmla="*/ 1319 w 1323"/>
                    <a:gd name="T69" fmla="*/ 773 h 793"/>
                    <a:gd name="T70" fmla="*/ 1316 w 1323"/>
                    <a:gd name="T71" fmla="*/ 778 h 793"/>
                    <a:gd name="T72" fmla="*/ 1312 w 1323"/>
                    <a:gd name="T73" fmla="*/ 783 h 793"/>
                    <a:gd name="T74" fmla="*/ 1308 w 1323"/>
                    <a:gd name="T75" fmla="*/ 788 h 793"/>
                    <a:gd name="T76" fmla="*/ 1302 w 1323"/>
                    <a:gd name="T77" fmla="*/ 791 h 793"/>
                    <a:gd name="T78" fmla="*/ 1296 w 1323"/>
                    <a:gd name="T79" fmla="*/ 793 h 793"/>
                    <a:gd name="T80" fmla="*/ 1289 w 1323"/>
                    <a:gd name="T81" fmla="*/ 793 h 793"/>
                    <a:gd name="T82" fmla="*/ 1289 w 1323"/>
                    <a:gd name="T83" fmla="*/ 793 h 793"/>
                    <a:gd name="T84" fmla="*/ 66 w 1323"/>
                    <a:gd name="T85" fmla="*/ 728 h 793"/>
                    <a:gd name="T86" fmla="*/ 1256 w 1323"/>
                    <a:gd name="T87" fmla="*/ 728 h 793"/>
                    <a:gd name="T88" fmla="*/ 1256 w 1323"/>
                    <a:gd name="T89" fmla="*/ 65 h 793"/>
                    <a:gd name="T90" fmla="*/ 66 w 1323"/>
                    <a:gd name="T91" fmla="*/ 65 h 793"/>
                    <a:gd name="T92" fmla="*/ 66 w 1323"/>
                    <a:gd name="T93" fmla="*/ 728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3" h="793">
                      <a:moveTo>
                        <a:pt x="1289" y="793"/>
                      </a:moveTo>
                      <a:lnTo>
                        <a:pt x="33" y="793"/>
                      </a:lnTo>
                      <a:lnTo>
                        <a:pt x="33" y="793"/>
                      </a:lnTo>
                      <a:lnTo>
                        <a:pt x="26" y="793"/>
                      </a:lnTo>
                      <a:lnTo>
                        <a:pt x="20" y="791"/>
                      </a:lnTo>
                      <a:lnTo>
                        <a:pt x="15" y="788"/>
                      </a:lnTo>
                      <a:lnTo>
                        <a:pt x="9" y="783"/>
                      </a:lnTo>
                      <a:lnTo>
                        <a:pt x="5" y="778"/>
                      </a:lnTo>
                      <a:lnTo>
                        <a:pt x="2" y="773"/>
                      </a:lnTo>
                      <a:lnTo>
                        <a:pt x="0" y="767"/>
                      </a:lnTo>
                      <a:lnTo>
                        <a:pt x="0" y="760"/>
                      </a:lnTo>
                      <a:lnTo>
                        <a:pt x="0" y="33"/>
                      </a:lnTo>
                      <a:lnTo>
                        <a:pt x="0" y="33"/>
                      </a:lnTo>
                      <a:lnTo>
                        <a:pt x="0" y="26"/>
                      </a:lnTo>
                      <a:lnTo>
                        <a:pt x="2" y="20"/>
                      </a:lnTo>
                      <a:lnTo>
                        <a:pt x="5" y="14"/>
                      </a:lnTo>
                      <a:lnTo>
                        <a:pt x="9" y="9"/>
                      </a:lnTo>
                      <a:lnTo>
                        <a:pt x="15" y="5"/>
                      </a:lnTo>
                      <a:lnTo>
                        <a:pt x="20" y="2"/>
                      </a:lnTo>
                      <a:lnTo>
                        <a:pt x="26" y="0"/>
                      </a:lnTo>
                      <a:lnTo>
                        <a:pt x="33" y="0"/>
                      </a:lnTo>
                      <a:lnTo>
                        <a:pt x="1289" y="0"/>
                      </a:lnTo>
                      <a:lnTo>
                        <a:pt x="1289" y="0"/>
                      </a:lnTo>
                      <a:lnTo>
                        <a:pt x="1296" y="0"/>
                      </a:lnTo>
                      <a:lnTo>
                        <a:pt x="1302" y="2"/>
                      </a:lnTo>
                      <a:lnTo>
                        <a:pt x="1308" y="5"/>
                      </a:lnTo>
                      <a:lnTo>
                        <a:pt x="1312" y="9"/>
                      </a:lnTo>
                      <a:lnTo>
                        <a:pt x="1316" y="14"/>
                      </a:lnTo>
                      <a:lnTo>
                        <a:pt x="1319" y="20"/>
                      </a:lnTo>
                      <a:lnTo>
                        <a:pt x="1322" y="26"/>
                      </a:lnTo>
                      <a:lnTo>
                        <a:pt x="1323" y="33"/>
                      </a:lnTo>
                      <a:lnTo>
                        <a:pt x="1323" y="760"/>
                      </a:lnTo>
                      <a:lnTo>
                        <a:pt x="1323" y="760"/>
                      </a:lnTo>
                      <a:lnTo>
                        <a:pt x="1322" y="767"/>
                      </a:lnTo>
                      <a:lnTo>
                        <a:pt x="1319" y="773"/>
                      </a:lnTo>
                      <a:lnTo>
                        <a:pt x="1316" y="778"/>
                      </a:lnTo>
                      <a:lnTo>
                        <a:pt x="1312" y="783"/>
                      </a:lnTo>
                      <a:lnTo>
                        <a:pt x="1308" y="788"/>
                      </a:lnTo>
                      <a:lnTo>
                        <a:pt x="1302" y="791"/>
                      </a:lnTo>
                      <a:lnTo>
                        <a:pt x="1296" y="793"/>
                      </a:lnTo>
                      <a:lnTo>
                        <a:pt x="1289" y="793"/>
                      </a:lnTo>
                      <a:lnTo>
                        <a:pt x="1289" y="793"/>
                      </a:lnTo>
                      <a:close/>
                      <a:moveTo>
                        <a:pt x="66" y="728"/>
                      </a:moveTo>
                      <a:lnTo>
                        <a:pt x="1256" y="728"/>
                      </a:lnTo>
                      <a:lnTo>
                        <a:pt x="1256" y="65"/>
                      </a:lnTo>
                      <a:lnTo>
                        <a:pt x="66" y="65"/>
                      </a:lnTo>
                      <a:lnTo>
                        <a:pt x="66" y="7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grpSp>
        <p:nvGrpSpPr>
          <p:cNvPr id="455" name="Group 454">
            <a:extLst>
              <a:ext uri="{FF2B5EF4-FFF2-40B4-BE49-F238E27FC236}">
                <a16:creationId xmlns:a16="http://schemas.microsoft.com/office/drawing/2014/main" id="{D71BD203-1DFC-41A9-AB1A-DBDEF4D88A58}"/>
              </a:ext>
            </a:extLst>
          </p:cNvPr>
          <p:cNvGrpSpPr/>
          <p:nvPr/>
        </p:nvGrpSpPr>
        <p:grpSpPr>
          <a:xfrm>
            <a:off x="377952" y="1726256"/>
            <a:ext cx="3630346" cy="399846"/>
            <a:chOff x="377952" y="1716638"/>
            <a:chExt cx="3630346" cy="399846"/>
          </a:xfrm>
        </p:grpSpPr>
        <p:sp>
          <p:nvSpPr>
            <p:cNvPr id="456" name="TextBox 455">
              <a:extLst>
                <a:ext uri="{FF2B5EF4-FFF2-40B4-BE49-F238E27FC236}">
                  <a16:creationId xmlns:a16="http://schemas.microsoft.com/office/drawing/2014/main" id="{B55C6099-285F-40E8-A59B-A7C4EBB9445D}"/>
                </a:ext>
              </a:extLst>
            </p:cNvPr>
            <p:cNvSpPr txBox="1"/>
            <p:nvPr/>
          </p:nvSpPr>
          <p:spPr>
            <a:xfrm>
              <a:off x="922189" y="1747284"/>
              <a:ext cx="3086109" cy="33855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
                  <a:srgbClr val="000000"/>
                </a:buClr>
                <a:buSzPts val="15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Baseline steroid dose ≥10 mg prednisone equivalents</a:t>
              </a:r>
            </a:p>
          </p:txBody>
        </p:sp>
        <p:grpSp>
          <p:nvGrpSpPr>
            <p:cNvPr id="457" name="Group 456">
              <a:extLst>
                <a:ext uri="{FF2B5EF4-FFF2-40B4-BE49-F238E27FC236}">
                  <a16:creationId xmlns:a16="http://schemas.microsoft.com/office/drawing/2014/main" id="{32C62BA9-022F-43CD-AE2F-E549F69F3DC0}"/>
                </a:ext>
              </a:extLst>
            </p:cNvPr>
            <p:cNvGrpSpPr/>
            <p:nvPr/>
          </p:nvGrpSpPr>
          <p:grpSpPr>
            <a:xfrm>
              <a:off x="377952" y="1716638"/>
              <a:ext cx="399846" cy="399846"/>
              <a:chOff x="377952" y="1716638"/>
              <a:chExt cx="399846" cy="399846"/>
            </a:xfrm>
          </p:grpSpPr>
          <p:sp>
            <p:nvSpPr>
              <p:cNvPr id="458" name="Rectangle 457">
                <a:extLst>
                  <a:ext uri="{FF2B5EF4-FFF2-40B4-BE49-F238E27FC236}">
                    <a16:creationId xmlns:a16="http://schemas.microsoft.com/office/drawing/2014/main" id="{B7239A89-2A9B-443B-8172-355C93E32A1C}"/>
                  </a:ext>
                </a:extLst>
              </p:cNvPr>
              <p:cNvSpPr/>
              <p:nvPr/>
            </p:nvSpPr>
            <p:spPr>
              <a:xfrm>
                <a:off x="377952" y="1716638"/>
                <a:ext cx="399846" cy="3998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a:ln>
                    <a:noFill/>
                  </a:ln>
                  <a:solidFill>
                    <a:srgbClr val="FFFFFF"/>
                  </a:solidFill>
                  <a:effectLst/>
                  <a:uLnTx/>
                  <a:uFillTx/>
                  <a:latin typeface="Gene Sans Light" panose="00000400000000000000" pitchFamily="2" charset="0"/>
                  <a:ea typeface="+mn-ea"/>
                  <a:cs typeface="+mn-cs"/>
                  <a:sym typeface="Arial"/>
                </a:endParaRPr>
              </a:p>
            </p:txBody>
          </p:sp>
          <p:grpSp>
            <p:nvGrpSpPr>
              <p:cNvPr id="459" name="Group 458">
                <a:extLst>
                  <a:ext uri="{FF2B5EF4-FFF2-40B4-BE49-F238E27FC236}">
                    <a16:creationId xmlns:a16="http://schemas.microsoft.com/office/drawing/2014/main" id="{7C60AB87-6E26-45ED-BFF0-2CC8C7BF88BC}"/>
                  </a:ext>
                </a:extLst>
              </p:cNvPr>
              <p:cNvGrpSpPr/>
              <p:nvPr/>
            </p:nvGrpSpPr>
            <p:grpSpPr>
              <a:xfrm>
                <a:off x="473735" y="1812421"/>
                <a:ext cx="208281" cy="208281"/>
                <a:chOff x="9167813" y="1849438"/>
                <a:chExt cx="347663" cy="347663"/>
              </a:xfrm>
              <a:solidFill>
                <a:schemeClr val="bg1"/>
              </a:solidFill>
            </p:grpSpPr>
            <p:sp>
              <p:nvSpPr>
                <p:cNvPr id="460" name="Freeform 14">
                  <a:extLst>
                    <a:ext uri="{FF2B5EF4-FFF2-40B4-BE49-F238E27FC236}">
                      <a16:creationId xmlns:a16="http://schemas.microsoft.com/office/drawing/2014/main" id="{4A98CF42-0C7A-426C-B575-B3FE01425228}"/>
                    </a:ext>
                  </a:extLst>
                </p:cNvPr>
                <p:cNvSpPr>
                  <a:spLocks noEditPoints="1"/>
                </p:cNvSpPr>
                <p:nvPr/>
              </p:nvSpPr>
              <p:spPr bwMode="auto">
                <a:xfrm>
                  <a:off x="9167813" y="1849438"/>
                  <a:ext cx="347663" cy="347663"/>
                </a:xfrm>
                <a:custGeom>
                  <a:avLst/>
                  <a:gdLst>
                    <a:gd name="T0" fmla="*/ 398 w 1536"/>
                    <a:gd name="T1" fmla="*/ 1531 h 1535"/>
                    <a:gd name="T2" fmla="*/ 290 w 1536"/>
                    <a:gd name="T3" fmla="*/ 1501 h 1535"/>
                    <a:gd name="T4" fmla="*/ 190 w 1536"/>
                    <a:gd name="T5" fmla="*/ 1446 h 1535"/>
                    <a:gd name="T6" fmla="*/ 119 w 1536"/>
                    <a:gd name="T7" fmla="*/ 1383 h 1535"/>
                    <a:gd name="T8" fmla="*/ 53 w 1536"/>
                    <a:gd name="T9" fmla="*/ 1288 h 1535"/>
                    <a:gd name="T10" fmla="*/ 14 w 1536"/>
                    <a:gd name="T11" fmla="*/ 1182 h 1535"/>
                    <a:gd name="T12" fmla="*/ 0 w 1536"/>
                    <a:gd name="T13" fmla="*/ 1072 h 1535"/>
                    <a:gd name="T14" fmla="*/ 14 w 1536"/>
                    <a:gd name="T15" fmla="*/ 962 h 1535"/>
                    <a:gd name="T16" fmla="*/ 54 w 1536"/>
                    <a:gd name="T17" fmla="*/ 856 h 1535"/>
                    <a:gd name="T18" fmla="*/ 120 w 1536"/>
                    <a:gd name="T19" fmla="*/ 761 h 1535"/>
                    <a:gd name="T20" fmla="*/ 781 w 1536"/>
                    <a:gd name="T21" fmla="*/ 103 h 1535"/>
                    <a:gd name="T22" fmla="*/ 878 w 1536"/>
                    <a:gd name="T23" fmla="*/ 42 h 1535"/>
                    <a:gd name="T24" fmla="*/ 984 w 1536"/>
                    <a:gd name="T25" fmla="*/ 8 h 1535"/>
                    <a:gd name="T26" fmla="*/ 1095 w 1536"/>
                    <a:gd name="T27" fmla="*/ 0 h 1535"/>
                    <a:gd name="T28" fmla="*/ 1205 w 1536"/>
                    <a:gd name="T29" fmla="*/ 18 h 1535"/>
                    <a:gd name="T30" fmla="*/ 1308 w 1536"/>
                    <a:gd name="T31" fmla="*/ 64 h 1535"/>
                    <a:gd name="T32" fmla="*/ 1401 w 1536"/>
                    <a:gd name="T33" fmla="*/ 135 h 1535"/>
                    <a:gd name="T34" fmla="*/ 1459 w 1536"/>
                    <a:gd name="T35" fmla="*/ 206 h 1535"/>
                    <a:gd name="T36" fmla="*/ 1509 w 1536"/>
                    <a:gd name="T37" fmla="*/ 306 h 1535"/>
                    <a:gd name="T38" fmla="*/ 1534 w 1536"/>
                    <a:gd name="T39" fmla="*/ 417 h 1535"/>
                    <a:gd name="T40" fmla="*/ 1534 w 1536"/>
                    <a:gd name="T41" fmla="*/ 509 h 1535"/>
                    <a:gd name="T42" fmla="*/ 1509 w 1536"/>
                    <a:gd name="T43" fmla="*/ 620 h 1535"/>
                    <a:gd name="T44" fmla="*/ 1459 w 1536"/>
                    <a:gd name="T45" fmla="*/ 721 h 1535"/>
                    <a:gd name="T46" fmla="*/ 792 w 1536"/>
                    <a:gd name="T47" fmla="*/ 1400 h 1535"/>
                    <a:gd name="T48" fmla="*/ 719 w 1536"/>
                    <a:gd name="T49" fmla="*/ 1460 h 1535"/>
                    <a:gd name="T50" fmla="*/ 618 w 1536"/>
                    <a:gd name="T51" fmla="*/ 1509 h 1535"/>
                    <a:gd name="T52" fmla="*/ 508 w 1536"/>
                    <a:gd name="T53" fmla="*/ 1533 h 1535"/>
                    <a:gd name="T54" fmla="*/ 1073 w 1536"/>
                    <a:gd name="T55" fmla="*/ 66 h 1535"/>
                    <a:gd name="T56" fmla="*/ 978 w 1536"/>
                    <a:gd name="T57" fmla="*/ 77 h 1535"/>
                    <a:gd name="T58" fmla="*/ 888 w 1536"/>
                    <a:gd name="T59" fmla="*/ 112 h 1535"/>
                    <a:gd name="T60" fmla="*/ 806 w 1536"/>
                    <a:gd name="T61" fmla="*/ 168 h 1535"/>
                    <a:gd name="T62" fmla="*/ 155 w 1536"/>
                    <a:gd name="T63" fmla="*/ 821 h 1535"/>
                    <a:gd name="T64" fmla="*/ 104 w 1536"/>
                    <a:gd name="T65" fmla="*/ 905 h 1535"/>
                    <a:gd name="T66" fmla="*/ 74 w 1536"/>
                    <a:gd name="T67" fmla="*/ 996 h 1535"/>
                    <a:gd name="T68" fmla="*/ 68 w 1536"/>
                    <a:gd name="T69" fmla="*/ 1091 h 1535"/>
                    <a:gd name="T70" fmla="*/ 83 w 1536"/>
                    <a:gd name="T71" fmla="*/ 1185 h 1535"/>
                    <a:gd name="T72" fmla="*/ 121 w 1536"/>
                    <a:gd name="T73" fmla="*/ 1274 h 1535"/>
                    <a:gd name="T74" fmla="*/ 183 w 1536"/>
                    <a:gd name="T75" fmla="*/ 1353 h 1535"/>
                    <a:gd name="T76" fmla="*/ 246 w 1536"/>
                    <a:gd name="T77" fmla="*/ 1404 h 1535"/>
                    <a:gd name="T78" fmla="*/ 332 w 1536"/>
                    <a:gd name="T79" fmla="*/ 1447 h 1535"/>
                    <a:gd name="T80" fmla="*/ 426 w 1536"/>
                    <a:gd name="T81" fmla="*/ 1468 h 1535"/>
                    <a:gd name="T82" fmla="*/ 521 w 1536"/>
                    <a:gd name="T83" fmla="*/ 1465 h 1535"/>
                    <a:gd name="T84" fmla="*/ 614 w 1536"/>
                    <a:gd name="T85" fmla="*/ 1440 h 1535"/>
                    <a:gd name="T86" fmla="*/ 699 w 1536"/>
                    <a:gd name="T87" fmla="*/ 1392 h 1535"/>
                    <a:gd name="T88" fmla="*/ 1354 w 1536"/>
                    <a:gd name="T89" fmla="*/ 744 h 1535"/>
                    <a:gd name="T90" fmla="*/ 1414 w 1536"/>
                    <a:gd name="T91" fmla="*/ 667 h 1535"/>
                    <a:gd name="T92" fmla="*/ 1453 w 1536"/>
                    <a:gd name="T93" fmla="*/ 579 h 1535"/>
                    <a:gd name="T94" fmla="*/ 1470 w 1536"/>
                    <a:gd name="T95" fmla="*/ 483 h 1535"/>
                    <a:gd name="T96" fmla="*/ 1466 w 1536"/>
                    <a:gd name="T97" fmla="*/ 404 h 1535"/>
                    <a:gd name="T98" fmla="*/ 1440 w 1536"/>
                    <a:gd name="T99" fmla="*/ 311 h 1535"/>
                    <a:gd name="T100" fmla="*/ 1392 w 1536"/>
                    <a:gd name="T101" fmla="*/ 226 h 1535"/>
                    <a:gd name="T102" fmla="*/ 1339 w 1536"/>
                    <a:gd name="T103" fmla="*/ 168 h 1535"/>
                    <a:gd name="T104" fmla="*/ 1258 w 1536"/>
                    <a:gd name="T105" fmla="*/ 112 h 1535"/>
                    <a:gd name="T106" fmla="*/ 1168 w 1536"/>
                    <a:gd name="T107" fmla="*/ 77 h 1535"/>
                    <a:gd name="T108" fmla="*/ 1073 w 1536"/>
                    <a:gd name="T109" fmla="*/ 66 h 1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36" h="1535">
                      <a:moveTo>
                        <a:pt x="464" y="1535"/>
                      </a:moveTo>
                      <a:lnTo>
                        <a:pt x="464" y="1535"/>
                      </a:lnTo>
                      <a:lnTo>
                        <a:pt x="442" y="1535"/>
                      </a:lnTo>
                      <a:lnTo>
                        <a:pt x="419" y="1533"/>
                      </a:lnTo>
                      <a:lnTo>
                        <a:pt x="398" y="1531"/>
                      </a:lnTo>
                      <a:lnTo>
                        <a:pt x="376" y="1527"/>
                      </a:lnTo>
                      <a:lnTo>
                        <a:pt x="353" y="1522"/>
                      </a:lnTo>
                      <a:lnTo>
                        <a:pt x="332" y="1516"/>
                      </a:lnTo>
                      <a:lnTo>
                        <a:pt x="311" y="1509"/>
                      </a:lnTo>
                      <a:lnTo>
                        <a:pt x="290" y="1501"/>
                      </a:lnTo>
                      <a:lnTo>
                        <a:pt x="268" y="1493"/>
                      </a:lnTo>
                      <a:lnTo>
                        <a:pt x="249" y="1482"/>
                      </a:lnTo>
                      <a:lnTo>
                        <a:pt x="228" y="1471"/>
                      </a:lnTo>
                      <a:lnTo>
                        <a:pt x="209" y="1460"/>
                      </a:lnTo>
                      <a:lnTo>
                        <a:pt x="190" y="1446"/>
                      </a:lnTo>
                      <a:lnTo>
                        <a:pt x="171" y="1432"/>
                      </a:lnTo>
                      <a:lnTo>
                        <a:pt x="153" y="1416"/>
                      </a:lnTo>
                      <a:lnTo>
                        <a:pt x="136" y="1400"/>
                      </a:lnTo>
                      <a:lnTo>
                        <a:pt x="136" y="1400"/>
                      </a:lnTo>
                      <a:lnTo>
                        <a:pt x="119" y="1383"/>
                      </a:lnTo>
                      <a:lnTo>
                        <a:pt x="105" y="1364"/>
                      </a:lnTo>
                      <a:lnTo>
                        <a:pt x="90" y="1346"/>
                      </a:lnTo>
                      <a:lnTo>
                        <a:pt x="77" y="1327"/>
                      </a:lnTo>
                      <a:lnTo>
                        <a:pt x="64" y="1308"/>
                      </a:lnTo>
                      <a:lnTo>
                        <a:pt x="53" y="1288"/>
                      </a:lnTo>
                      <a:lnTo>
                        <a:pt x="44" y="1267"/>
                      </a:lnTo>
                      <a:lnTo>
                        <a:pt x="34" y="1246"/>
                      </a:lnTo>
                      <a:lnTo>
                        <a:pt x="26" y="1226"/>
                      </a:lnTo>
                      <a:lnTo>
                        <a:pt x="20" y="1204"/>
                      </a:lnTo>
                      <a:lnTo>
                        <a:pt x="14" y="1182"/>
                      </a:lnTo>
                      <a:lnTo>
                        <a:pt x="9" y="1161"/>
                      </a:lnTo>
                      <a:lnTo>
                        <a:pt x="5" y="1139"/>
                      </a:lnTo>
                      <a:lnTo>
                        <a:pt x="2" y="1116"/>
                      </a:lnTo>
                      <a:lnTo>
                        <a:pt x="1" y="1094"/>
                      </a:lnTo>
                      <a:lnTo>
                        <a:pt x="0" y="1072"/>
                      </a:lnTo>
                      <a:lnTo>
                        <a:pt x="1" y="1050"/>
                      </a:lnTo>
                      <a:lnTo>
                        <a:pt x="2" y="1027"/>
                      </a:lnTo>
                      <a:lnTo>
                        <a:pt x="5" y="1005"/>
                      </a:lnTo>
                      <a:lnTo>
                        <a:pt x="9" y="984"/>
                      </a:lnTo>
                      <a:lnTo>
                        <a:pt x="14" y="962"/>
                      </a:lnTo>
                      <a:lnTo>
                        <a:pt x="20" y="940"/>
                      </a:lnTo>
                      <a:lnTo>
                        <a:pt x="26" y="919"/>
                      </a:lnTo>
                      <a:lnTo>
                        <a:pt x="34" y="898"/>
                      </a:lnTo>
                      <a:lnTo>
                        <a:pt x="44" y="877"/>
                      </a:lnTo>
                      <a:lnTo>
                        <a:pt x="54" y="856"/>
                      </a:lnTo>
                      <a:lnTo>
                        <a:pt x="64" y="837"/>
                      </a:lnTo>
                      <a:lnTo>
                        <a:pt x="77" y="817"/>
                      </a:lnTo>
                      <a:lnTo>
                        <a:pt x="90" y="797"/>
                      </a:lnTo>
                      <a:lnTo>
                        <a:pt x="105" y="779"/>
                      </a:lnTo>
                      <a:lnTo>
                        <a:pt x="120" y="761"/>
                      </a:lnTo>
                      <a:lnTo>
                        <a:pt x="136" y="744"/>
                      </a:lnTo>
                      <a:lnTo>
                        <a:pt x="745" y="135"/>
                      </a:lnTo>
                      <a:lnTo>
                        <a:pt x="745" y="135"/>
                      </a:lnTo>
                      <a:lnTo>
                        <a:pt x="763" y="119"/>
                      </a:lnTo>
                      <a:lnTo>
                        <a:pt x="781" y="103"/>
                      </a:lnTo>
                      <a:lnTo>
                        <a:pt x="799" y="89"/>
                      </a:lnTo>
                      <a:lnTo>
                        <a:pt x="818" y="76"/>
                      </a:lnTo>
                      <a:lnTo>
                        <a:pt x="837" y="64"/>
                      </a:lnTo>
                      <a:lnTo>
                        <a:pt x="857" y="53"/>
                      </a:lnTo>
                      <a:lnTo>
                        <a:pt x="878" y="42"/>
                      </a:lnTo>
                      <a:lnTo>
                        <a:pt x="899" y="34"/>
                      </a:lnTo>
                      <a:lnTo>
                        <a:pt x="919" y="26"/>
                      </a:lnTo>
                      <a:lnTo>
                        <a:pt x="941" y="18"/>
                      </a:lnTo>
                      <a:lnTo>
                        <a:pt x="963" y="13"/>
                      </a:lnTo>
                      <a:lnTo>
                        <a:pt x="984" y="8"/>
                      </a:lnTo>
                      <a:lnTo>
                        <a:pt x="1006" y="5"/>
                      </a:lnTo>
                      <a:lnTo>
                        <a:pt x="1029" y="2"/>
                      </a:lnTo>
                      <a:lnTo>
                        <a:pt x="1051" y="0"/>
                      </a:lnTo>
                      <a:lnTo>
                        <a:pt x="1073" y="0"/>
                      </a:lnTo>
                      <a:lnTo>
                        <a:pt x="1095" y="0"/>
                      </a:lnTo>
                      <a:lnTo>
                        <a:pt x="1118" y="2"/>
                      </a:lnTo>
                      <a:lnTo>
                        <a:pt x="1140" y="5"/>
                      </a:lnTo>
                      <a:lnTo>
                        <a:pt x="1161" y="8"/>
                      </a:lnTo>
                      <a:lnTo>
                        <a:pt x="1183" y="13"/>
                      </a:lnTo>
                      <a:lnTo>
                        <a:pt x="1205" y="18"/>
                      </a:lnTo>
                      <a:lnTo>
                        <a:pt x="1227" y="26"/>
                      </a:lnTo>
                      <a:lnTo>
                        <a:pt x="1247" y="34"/>
                      </a:lnTo>
                      <a:lnTo>
                        <a:pt x="1268" y="42"/>
                      </a:lnTo>
                      <a:lnTo>
                        <a:pt x="1289" y="53"/>
                      </a:lnTo>
                      <a:lnTo>
                        <a:pt x="1308" y="64"/>
                      </a:lnTo>
                      <a:lnTo>
                        <a:pt x="1328" y="76"/>
                      </a:lnTo>
                      <a:lnTo>
                        <a:pt x="1348" y="89"/>
                      </a:lnTo>
                      <a:lnTo>
                        <a:pt x="1366" y="103"/>
                      </a:lnTo>
                      <a:lnTo>
                        <a:pt x="1384" y="119"/>
                      </a:lnTo>
                      <a:lnTo>
                        <a:pt x="1401" y="135"/>
                      </a:lnTo>
                      <a:lnTo>
                        <a:pt x="1401" y="135"/>
                      </a:lnTo>
                      <a:lnTo>
                        <a:pt x="1417" y="152"/>
                      </a:lnTo>
                      <a:lnTo>
                        <a:pt x="1431" y="169"/>
                      </a:lnTo>
                      <a:lnTo>
                        <a:pt x="1446" y="187"/>
                      </a:lnTo>
                      <a:lnTo>
                        <a:pt x="1459" y="206"/>
                      </a:lnTo>
                      <a:lnTo>
                        <a:pt x="1471" y="225"/>
                      </a:lnTo>
                      <a:lnTo>
                        <a:pt x="1482" y="245"/>
                      </a:lnTo>
                      <a:lnTo>
                        <a:pt x="1493" y="265"/>
                      </a:lnTo>
                      <a:lnTo>
                        <a:pt x="1502" y="285"/>
                      </a:lnTo>
                      <a:lnTo>
                        <a:pt x="1509" y="306"/>
                      </a:lnTo>
                      <a:lnTo>
                        <a:pt x="1516" y="328"/>
                      </a:lnTo>
                      <a:lnTo>
                        <a:pt x="1523" y="350"/>
                      </a:lnTo>
                      <a:lnTo>
                        <a:pt x="1528" y="372"/>
                      </a:lnTo>
                      <a:lnTo>
                        <a:pt x="1532" y="394"/>
                      </a:lnTo>
                      <a:lnTo>
                        <a:pt x="1534" y="417"/>
                      </a:lnTo>
                      <a:lnTo>
                        <a:pt x="1536" y="440"/>
                      </a:lnTo>
                      <a:lnTo>
                        <a:pt x="1536" y="463"/>
                      </a:lnTo>
                      <a:lnTo>
                        <a:pt x="1536" y="463"/>
                      </a:lnTo>
                      <a:lnTo>
                        <a:pt x="1536" y="486"/>
                      </a:lnTo>
                      <a:lnTo>
                        <a:pt x="1534" y="509"/>
                      </a:lnTo>
                      <a:lnTo>
                        <a:pt x="1532" y="532"/>
                      </a:lnTo>
                      <a:lnTo>
                        <a:pt x="1528" y="554"/>
                      </a:lnTo>
                      <a:lnTo>
                        <a:pt x="1523" y="577"/>
                      </a:lnTo>
                      <a:lnTo>
                        <a:pt x="1516" y="599"/>
                      </a:lnTo>
                      <a:lnTo>
                        <a:pt x="1509" y="620"/>
                      </a:lnTo>
                      <a:lnTo>
                        <a:pt x="1502" y="641"/>
                      </a:lnTo>
                      <a:lnTo>
                        <a:pt x="1493" y="662"/>
                      </a:lnTo>
                      <a:lnTo>
                        <a:pt x="1482" y="682"/>
                      </a:lnTo>
                      <a:lnTo>
                        <a:pt x="1471" y="701"/>
                      </a:lnTo>
                      <a:lnTo>
                        <a:pt x="1459" y="721"/>
                      </a:lnTo>
                      <a:lnTo>
                        <a:pt x="1446" y="739"/>
                      </a:lnTo>
                      <a:lnTo>
                        <a:pt x="1431" y="757"/>
                      </a:lnTo>
                      <a:lnTo>
                        <a:pt x="1417" y="775"/>
                      </a:lnTo>
                      <a:lnTo>
                        <a:pt x="1401" y="791"/>
                      </a:lnTo>
                      <a:lnTo>
                        <a:pt x="792" y="1400"/>
                      </a:lnTo>
                      <a:lnTo>
                        <a:pt x="792" y="1400"/>
                      </a:lnTo>
                      <a:lnTo>
                        <a:pt x="774" y="1416"/>
                      </a:lnTo>
                      <a:lnTo>
                        <a:pt x="757" y="1432"/>
                      </a:lnTo>
                      <a:lnTo>
                        <a:pt x="738" y="1446"/>
                      </a:lnTo>
                      <a:lnTo>
                        <a:pt x="719" y="1460"/>
                      </a:lnTo>
                      <a:lnTo>
                        <a:pt x="700" y="1471"/>
                      </a:lnTo>
                      <a:lnTo>
                        <a:pt x="680" y="1482"/>
                      </a:lnTo>
                      <a:lnTo>
                        <a:pt x="659" y="1493"/>
                      </a:lnTo>
                      <a:lnTo>
                        <a:pt x="639" y="1501"/>
                      </a:lnTo>
                      <a:lnTo>
                        <a:pt x="618" y="1509"/>
                      </a:lnTo>
                      <a:lnTo>
                        <a:pt x="596" y="1516"/>
                      </a:lnTo>
                      <a:lnTo>
                        <a:pt x="575" y="1522"/>
                      </a:lnTo>
                      <a:lnTo>
                        <a:pt x="553" y="1527"/>
                      </a:lnTo>
                      <a:lnTo>
                        <a:pt x="531" y="1531"/>
                      </a:lnTo>
                      <a:lnTo>
                        <a:pt x="508" y="1533"/>
                      </a:lnTo>
                      <a:lnTo>
                        <a:pt x="487" y="1535"/>
                      </a:lnTo>
                      <a:lnTo>
                        <a:pt x="464" y="1535"/>
                      </a:lnTo>
                      <a:lnTo>
                        <a:pt x="464" y="1535"/>
                      </a:lnTo>
                      <a:close/>
                      <a:moveTo>
                        <a:pt x="1073" y="66"/>
                      </a:moveTo>
                      <a:lnTo>
                        <a:pt x="1073" y="66"/>
                      </a:lnTo>
                      <a:lnTo>
                        <a:pt x="1054" y="66"/>
                      </a:lnTo>
                      <a:lnTo>
                        <a:pt x="1035" y="68"/>
                      </a:lnTo>
                      <a:lnTo>
                        <a:pt x="1015" y="70"/>
                      </a:lnTo>
                      <a:lnTo>
                        <a:pt x="997" y="73"/>
                      </a:lnTo>
                      <a:lnTo>
                        <a:pt x="978" y="77"/>
                      </a:lnTo>
                      <a:lnTo>
                        <a:pt x="960" y="83"/>
                      </a:lnTo>
                      <a:lnTo>
                        <a:pt x="942" y="88"/>
                      </a:lnTo>
                      <a:lnTo>
                        <a:pt x="923" y="95"/>
                      </a:lnTo>
                      <a:lnTo>
                        <a:pt x="906" y="102"/>
                      </a:lnTo>
                      <a:lnTo>
                        <a:pt x="888" y="112"/>
                      </a:lnTo>
                      <a:lnTo>
                        <a:pt x="871" y="121"/>
                      </a:lnTo>
                      <a:lnTo>
                        <a:pt x="854" y="131"/>
                      </a:lnTo>
                      <a:lnTo>
                        <a:pt x="839" y="143"/>
                      </a:lnTo>
                      <a:lnTo>
                        <a:pt x="822" y="155"/>
                      </a:lnTo>
                      <a:lnTo>
                        <a:pt x="806" y="168"/>
                      </a:lnTo>
                      <a:lnTo>
                        <a:pt x="792" y="182"/>
                      </a:lnTo>
                      <a:lnTo>
                        <a:pt x="183" y="791"/>
                      </a:lnTo>
                      <a:lnTo>
                        <a:pt x="183" y="791"/>
                      </a:lnTo>
                      <a:lnTo>
                        <a:pt x="169" y="806"/>
                      </a:lnTo>
                      <a:lnTo>
                        <a:pt x="155" y="821"/>
                      </a:lnTo>
                      <a:lnTo>
                        <a:pt x="143" y="837"/>
                      </a:lnTo>
                      <a:lnTo>
                        <a:pt x="132" y="853"/>
                      </a:lnTo>
                      <a:lnTo>
                        <a:pt x="121" y="870"/>
                      </a:lnTo>
                      <a:lnTo>
                        <a:pt x="112" y="887"/>
                      </a:lnTo>
                      <a:lnTo>
                        <a:pt x="104" y="905"/>
                      </a:lnTo>
                      <a:lnTo>
                        <a:pt x="95" y="923"/>
                      </a:lnTo>
                      <a:lnTo>
                        <a:pt x="89" y="940"/>
                      </a:lnTo>
                      <a:lnTo>
                        <a:pt x="83" y="959"/>
                      </a:lnTo>
                      <a:lnTo>
                        <a:pt x="78" y="977"/>
                      </a:lnTo>
                      <a:lnTo>
                        <a:pt x="74" y="996"/>
                      </a:lnTo>
                      <a:lnTo>
                        <a:pt x="71" y="1015"/>
                      </a:lnTo>
                      <a:lnTo>
                        <a:pt x="69" y="1034"/>
                      </a:lnTo>
                      <a:lnTo>
                        <a:pt x="68" y="1053"/>
                      </a:lnTo>
                      <a:lnTo>
                        <a:pt x="66" y="1072"/>
                      </a:lnTo>
                      <a:lnTo>
                        <a:pt x="68" y="1091"/>
                      </a:lnTo>
                      <a:lnTo>
                        <a:pt x="69" y="1110"/>
                      </a:lnTo>
                      <a:lnTo>
                        <a:pt x="71" y="1130"/>
                      </a:lnTo>
                      <a:lnTo>
                        <a:pt x="74" y="1148"/>
                      </a:lnTo>
                      <a:lnTo>
                        <a:pt x="78" y="1167"/>
                      </a:lnTo>
                      <a:lnTo>
                        <a:pt x="83" y="1185"/>
                      </a:lnTo>
                      <a:lnTo>
                        <a:pt x="89" y="1203"/>
                      </a:lnTo>
                      <a:lnTo>
                        <a:pt x="95" y="1222"/>
                      </a:lnTo>
                      <a:lnTo>
                        <a:pt x="104" y="1239"/>
                      </a:lnTo>
                      <a:lnTo>
                        <a:pt x="112" y="1257"/>
                      </a:lnTo>
                      <a:lnTo>
                        <a:pt x="121" y="1274"/>
                      </a:lnTo>
                      <a:lnTo>
                        <a:pt x="132" y="1291"/>
                      </a:lnTo>
                      <a:lnTo>
                        <a:pt x="143" y="1308"/>
                      </a:lnTo>
                      <a:lnTo>
                        <a:pt x="155" y="1323"/>
                      </a:lnTo>
                      <a:lnTo>
                        <a:pt x="169" y="1339"/>
                      </a:lnTo>
                      <a:lnTo>
                        <a:pt x="183" y="1353"/>
                      </a:lnTo>
                      <a:lnTo>
                        <a:pt x="183" y="1353"/>
                      </a:lnTo>
                      <a:lnTo>
                        <a:pt x="198" y="1368"/>
                      </a:lnTo>
                      <a:lnTo>
                        <a:pt x="213" y="1380"/>
                      </a:lnTo>
                      <a:lnTo>
                        <a:pt x="229" y="1392"/>
                      </a:lnTo>
                      <a:lnTo>
                        <a:pt x="246" y="1404"/>
                      </a:lnTo>
                      <a:lnTo>
                        <a:pt x="262" y="1414"/>
                      </a:lnTo>
                      <a:lnTo>
                        <a:pt x="280" y="1423"/>
                      </a:lnTo>
                      <a:lnTo>
                        <a:pt x="296" y="1433"/>
                      </a:lnTo>
                      <a:lnTo>
                        <a:pt x="315" y="1440"/>
                      </a:lnTo>
                      <a:lnTo>
                        <a:pt x="332" y="1447"/>
                      </a:lnTo>
                      <a:lnTo>
                        <a:pt x="351" y="1452"/>
                      </a:lnTo>
                      <a:lnTo>
                        <a:pt x="370" y="1458"/>
                      </a:lnTo>
                      <a:lnTo>
                        <a:pt x="388" y="1462"/>
                      </a:lnTo>
                      <a:lnTo>
                        <a:pt x="407" y="1465"/>
                      </a:lnTo>
                      <a:lnTo>
                        <a:pt x="426" y="1468"/>
                      </a:lnTo>
                      <a:lnTo>
                        <a:pt x="445" y="1469"/>
                      </a:lnTo>
                      <a:lnTo>
                        <a:pt x="464" y="1469"/>
                      </a:lnTo>
                      <a:lnTo>
                        <a:pt x="484" y="1469"/>
                      </a:lnTo>
                      <a:lnTo>
                        <a:pt x="502" y="1468"/>
                      </a:lnTo>
                      <a:lnTo>
                        <a:pt x="521" y="1465"/>
                      </a:lnTo>
                      <a:lnTo>
                        <a:pt x="540" y="1462"/>
                      </a:lnTo>
                      <a:lnTo>
                        <a:pt x="559" y="1458"/>
                      </a:lnTo>
                      <a:lnTo>
                        <a:pt x="578" y="1452"/>
                      </a:lnTo>
                      <a:lnTo>
                        <a:pt x="595" y="1447"/>
                      </a:lnTo>
                      <a:lnTo>
                        <a:pt x="614" y="1440"/>
                      </a:lnTo>
                      <a:lnTo>
                        <a:pt x="632" y="1433"/>
                      </a:lnTo>
                      <a:lnTo>
                        <a:pt x="649" y="1423"/>
                      </a:lnTo>
                      <a:lnTo>
                        <a:pt x="666" y="1414"/>
                      </a:lnTo>
                      <a:lnTo>
                        <a:pt x="683" y="1404"/>
                      </a:lnTo>
                      <a:lnTo>
                        <a:pt x="699" y="1392"/>
                      </a:lnTo>
                      <a:lnTo>
                        <a:pt x="715" y="1380"/>
                      </a:lnTo>
                      <a:lnTo>
                        <a:pt x="730" y="1368"/>
                      </a:lnTo>
                      <a:lnTo>
                        <a:pt x="745" y="1353"/>
                      </a:lnTo>
                      <a:lnTo>
                        <a:pt x="1354" y="744"/>
                      </a:lnTo>
                      <a:lnTo>
                        <a:pt x="1354" y="744"/>
                      </a:lnTo>
                      <a:lnTo>
                        <a:pt x="1367" y="730"/>
                      </a:lnTo>
                      <a:lnTo>
                        <a:pt x="1381" y="715"/>
                      </a:lnTo>
                      <a:lnTo>
                        <a:pt x="1392" y="699"/>
                      </a:lnTo>
                      <a:lnTo>
                        <a:pt x="1404" y="684"/>
                      </a:lnTo>
                      <a:lnTo>
                        <a:pt x="1414" y="667"/>
                      </a:lnTo>
                      <a:lnTo>
                        <a:pt x="1423" y="651"/>
                      </a:lnTo>
                      <a:lnTo>
                        <a:pt x="1433" y="633"/>
                      </a:lnTo>
                      <a:lnTo>
                        <a:pt x="1440" y="615"/>
                      </a:lnTo>
                      <a:lnTo>
                        <a:pt x="1447" y="598"/>
                      </a:lnTo>
                      <a:lnTo>
                        <a:pt x="1453" y="579"/>
                      </a:lnTo>
                      <a:lnTo>
                        <a:pt x="1458" y="561"/>
                      </a:lnTo>
                      <a:lnTo>
                        <a:pt x="1463" y="542"/>
                      </a:lnTo>
                      <a:lnTo>
                        <a:pt x="1466" y="522"/>
                      </a:lnTo>
                      <a:lnTo>
                        <a:pt x="1468" y="503"/>
                      </a:lnTo>
                      <a:lnTo>
                        <a:pt x="1470" y="483"/>
                      </a:lnTo>
                      <a:lnTo>
                        <a:pt x="1470" y="463"/>
                      </a:lnTo>
                      <a:lnTo>
                        <a:pt x="1470" y="463"/>
                      </a:lnTo>
                      <a:lnTo>
                        <a:pt x="1470" y="444"/>
                      </a:lnTo>
                      <a:lnTo>
                        <a:pt x="1468" y="424"/>
                      </a:lnTo>
                      <a:lnTo>
                        <a:pt x="1466" y="404"/>
                      </a:lnTo>
                      <a:lnTo>
                        <a:pt x="1463" y="385"/>
                      </a:lnTo>
                      <a:lnTo>
                        <a:pt x="1458" y="366"/>
                      </a:lnTo>
                      <a:lnTo>
                        <a:pt x="1453" y="347"/>
                      </a:lnTo>
                      <a:lnTo>
                        <a:pt x="1447" y="329"/>
                      </a:lnTo>
                      <a:lnTo>
                        <a:pt x="1440" y="311"/>
                      </a:lnTo>
                      <a:lnTo>
                        <a:pt x="1433" y="293"/>
                      </a:lnTo>
                      <a:lnTo>
                        <a:pt x="1423" y="276"/>
                      </a:lnTo>
                      <a:lnTo>
                        <a:pt x="1414" y="260"/>
                      </a:lnTo>
                      <a:lnTo>
                        <a:pt x="1404" y="243"/>
                      </a:lnTo>
                      <a:lnTo>
                        <a:pt x="1392" y="226"/>
                      </a:lnTo>
                      <a:lnTo>
                        <a:pt x="1381" y="211"/>
                      </a:lnTo>
                      <a:lnTo>
                        <a:pt x="1367" y="196"/>
                      </a:lnTo>
                      <a:lnTo>
                        <a:pt x="1354" y="182"/>
                      </a:lnTo>
                      <a:lnTo>
                        <a:pt x="1354" y="182"/>
                      </a:lnTo>
                      <a:lnTo>
                        <a:pt x="1339" y="168"/>
                      </a:lnTo>
                      <a:lnTo>
                        <a:pt x="1324" y="155"/>
                      </a:lnTo>
                      <a:lnTo>
                        <a:pt x="1308" y="143"/>
                      </a:lnTo>
                      <a:lnTo>
                        <a:pt x="1292" y="131"/>
                      </a:lnTo>
                      <a:lnTo>
                        <a:pt x="1275" y="121"/>
                      </a:lnTo>
                      <a:lnTo>
                        <a:pt x="1258" y="112"/>
                      </a:lnTo>
                      <a:lnTo>
                        <a:pt x="1240" y="102"/>
                      </a:lnTo>
                      <a:lnTo>
                        <a:pt x="1222" y="95"/>
                      </a:lnTo>
                      <a:lnTo>
                        <a:pt x="1205" y="88"/>
                      </a:lnTo>
                      <a:lnTo>
                        <a:pt x="1186" y="83"/>
                      </a:lnTo>
                      <a:lnTo>
                        <a:pt x="1168" y="77"/>
                      </a:lnTo>
                      <a:lnTo>
                        <a:pt x="1149" y="73"/>
                      </a:lnTo>
                      <a:lnTo>
                        <a:pt x="1130" y="70"/>
                      </a:lnTo>
                      <a:lnTo>
                        <a:pt x="1111" y="68"/>
                      </a:lnTo>
                      <a:lnTo>
                        <a:pt x="1092" y="66"/>
                      </a:lnTo>
                      <a:lnTo>
                        <a:pt x="1073" y="66"/>
                      </a:lnTo>
                      <a:lnTo>
                        <a:pt x="107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461" name="Freeform 15">
                  <a:extLst>
                    <a:ext uri="{FF2B5EF4-FFF2-40B4-BE49-F238E27FC236}">
                      <a16:creationId xmlns:a16="http://schemas.microsoft.com/office/drawing/2014/main" id="{89F30848-964B-49C6-8E3F-4F52DD097943}"/>
                    </a:ext>
                  </a:extLst>
                </p:cNvPr>
                <p:cNvSpPr>
                  <a:spLocks/>
                </p:cNvSpPr>
                <p:nvPr/>
              </p:nvSpPr>
              <p:spPr bwMode="auto">
                <a:xfrm>
                  <a:off x="9264650" y="1946276"/>
                  <a:ext cx="153988" cy="153988"/>
                </a:xfrm>
                <a:custGeom>
                  <a:avLst/>
                  <a:gdLst>
                    <a:gd name="T0" fmla="*/ 642 w 676"/>
                    <a:gd name="T1" fmla="*/ 675 h 675"/>
                    <a:gd name="T2" fmla="*/ 642 w 676"/>
                    <a:gd name="T3" fmla="*/ 675 h 675"/>
                    <a:gd name="T4" fmla="*/ 636 w 676"/>
                    <a:gd name="T5" fmla="*/ 675 h 675"/>
                    <a:gd name="T6" fmla="*/ 630 w 676"/>
                    <a:gd name="T7" fmla="*/ 673 h 675"/>
                    <a:gd name="T8" fmla="*/ 624 w 676"/>
                    <a:gd name="T9" fmla="*/ 670 h 675"/>
                    <a:gd name="T10" fmla="*/ 619 w 676"/>
                    <a:gd name="T11" fmla="*/ 665 h 675"/>
                    <a:gd name="T12" fmla="*/ 10 w 676"/>
                    <a:gd name="T13" fmla="*/ 57 h 675"/>
                    <a:gd name="T14" fmla="*/ 10 w 676"/>
                    <a:gd name="T15" fmla="*/ 57 h 675"/>
                    <a:gd name="T16" fmla="*/ 5 w 676"/>
                    <a:gd name="T17" fmla="*/ 52 h 675"/>
                    <a:gd name="T18" fmla="*/ 3 w 676"/>
                    <a:gd name="T19" fmla="*/ 46 h 675"/>
                    <a:gd name="T20" fmla="*/ 1 w 676"/>
                    <a:gd name="T21" fmla="*/ 40 h 675"/>
                    <a:gd name="T22" fmla="*/ 0 w 676"/>
                    <a:gd name="T23" fmla="*/ 33 h 675"/>
                    <a:gd name="T24" fmla="*/ 1 w 676"/>
                    <a:gd name="T25" fmla="*/ 27 h 675"/>
                    <a:gd name="T26" fmla="*/ 3 w 676"/>
                    <a:gd name="T27" fmla="*/ 21 h 675"/>
                    <a:gd name="T28" fmla="*/ 5 w 676"/>
                    <a:gd name="T29" fmla="*/ 15 h 675"/>
                    <a:gd name="T30" fmla="*/ 10 w 676"/>
                    <a:gd name="T31" fmla="*/ 10 h 675"/>
                    <a:gd name="T32" fmla="*/ 10 w 676"/>
                    <a:gd name="T33" fmla="*/ 10 h 675"/>
                    <a:gd name="T34" fmla="*/ 15 w 676"/>
                    <a:gd name="T35" fmla="*/ 5 h 675"/>
                    <a:gd name="T36" fmla="*/ 20 w 676"/>
                    <a:gd name="T37" fmla="*/ 2 h 675"/>
                    <a:gd name="T38" fmla="*/ 27 w 676"/>
                    <a:gd name="T39" fmla="*/ 0 h 675"/>
                    <a:gd name="T40" fmla="*/ 33 w 676"/>
                    <a:gd name="T41" fmla="*/ 0 h 675"/>
                    <a:gd name="T42" fmla="*/ 39 w 676"/>
                    <a:gd name="T43" fmla="*/ 0 h 675"/>
                    <a:gd name="T44" fmla="*/ 45 w 676"/>
                    <a:gd name="T45" fmla="*/ 2 h 675"/>
                    <a:gd name="T46" fmla="*/ 52 w 676"/>
                    <a:gd name="T47" fmla="*/ 5 h 675"/>
                    <a:gd name="T48" fmla="*/ 57 w 676"/>
                    <a:gd name="T49" fmla="*/ 10 h 675"/>
                    <a:gd name="T50" fmla="*/ 665 w 676"/>
                    <a:gd name="T51" fmla="*/ 619 h 675"/>
                    <a:gd name="T52" fmla="*/ 665 w 676"/>
                    <a:gd name="T53" fmla="*/ 619 h 675"/>
                    <a:gd name="T54" fmla="*/ 669 w 676"/>
                    <a:gd name="T55" fmla="*/ 624 h 675"/>
                    <a:gd name="T56" fmla="*/ 672 w 676"/>
                    <a:gd name="T57" fmla="*/ 629 h 675"/>
                    <a:gd name="T58" fmla="*/ 674 w 676"/>
                    <a:gd name="T59" fmla="*/ 635 h 675"/>
                    <a:gd name="T60" fmla="*/ 676 w 676"/>
                    <a:gd name="T61" fmla="*/ 642 h 675"/>
                    <a:gd name="T62" fmla="*/ 674 w 676"/>
                    <a:gd name="T63" fmla="*/ 648 h 675"/>
                    <a:gd name="T64" fmla="*/ 672 w 676"/>
                    <a:gd name="T65" fmla="*/ 654 h 675"/>
                    <a:gd name="T66" fmla="*/ 669 w 676"/>
                    <a:gd name="T67" fmla="*/ 660 h 675"/>
                    <a:gd name="T68" fmla="*/ 665 w 676"/>
                    <a:gd name="T69" fmla="*/ 665 h 675"/>
                    <a:gd name="T70" fmla="*/ 665 w 676"/>
                    <a:gd name="T71" fmla="*/ 665 h 675"/>
                    <a:gd name="T72" fmla="*/ 660 w 676"/>
                    <a:gd name="T73" fmla="*/ 670 h 675"/>
                    <a:gd name="T74" fmla="*/ 655 w 676"/>
                    <a:gd name="T75" fmla="*/ 673 h 675"/>
                    <a:gd name="T76" fmla="*/ 649 w 676"/>
                    <a:gd name="T77" fmla="*/ 675 h 675"/>
                    <a:gd name="T78" fmla="*/ 642 w 676"/>
                    <a:gd name="T79" fmla="*/ 675 h 675"/>
                    <a:gd name="T80" fmla="*/ 642 w 676"/>
                    <a:gd name="T81" fmla="*/ 675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76" h="675">
                      <a:moveTo>
                        <a:pt x="642" y="675"/>
                      </a:moveTo>
                      <a:lnTo>
                        <a:pt x="642" y="675"/>
                      </a:lnTo>
                      <a:lnTo>
                        <a:pt x="636" y="675"/>
                      </a:lnTo>
                      <a:lnTo>
                        <a:pt x="630" y="673"/>
                      </a:lnTo>
                      <a:lnTo>
                        <a:pt x="624" y="670"/>
                      </a:lnTo>
                      <a:lnTo>
                        <a:pt x="619" y="665"/>
                      </a:lnTo>
                      <a:lnTo>
                        <a:pt x="10" y="57"/>
                      </a:lnTo>
                      <a:lnTo>
                        <a:pt x="10" y="57"/>
                      </a:lnTo>
                      <a:lnTo>
                        <a:pt x="5" y="52"/>
                      </a:lnTo>
                      <a:lnTo>
                        <a:pt x="3" y="46"/>
                      </a:lnTo>
                      <a:lnTo>
                        <a:pt x="1" y="40"/>
                      </a:lnTo>
                      <a:lnTo>
                        <a:pt x="0" y="33"/>
                      </a:lnTo>
                      <a:lnTo>
                        <a:pt x="1" y="27"/>
                      </a:lnTo>
                      <a:lnTo>
                        <a:pt x="3" y="21"/>
                      </a:lnTo>
                      <a:lnTo>
                        <a:pt x="5" y="15"/>
                      </a:lnTo>
                      <a:lnTo>
                        <a:pt x="10" y="10"/>
                      </a:lnTo>
                      <a:lnTo>
                        <a:pt x="10" y="10"/>
                      </a:lnTo>
                      <a:lnTo>
                        <a:pt x="15" y="5"/>
                      </a:lnTo>
                      <a:lnTo>
                        <a:pt x="20" y="2"/>
                      </a:lnTo>
                      <a:lnTo>
                        <a:pt x="27" y="0"/>
                      </a:lnTo>
                      <a:lnTo>
                        <a:pt x="33" y="0"/>
                      </a:lnTo>
                      <a:lnTo>
                        <a:pt x="39" y="0"/>
                      </a:lnTo>
                      <a:lnTo>
                        <a:pt x="45" y="2"/>
                      </a:lnTo>
                      <a:lnTo>
                        <a:pt x="52" y="5"/>
                      </a:lnTo>
                      <a:lnTo>
                        <a:pt x="57" y="10"/>
                      </a:lnTo>
                      <a:lnTo>
                        <a:pt x="665" y="619"/>
                      </a:lnTo>
                      <a:lnTo>
                        <a:pt x="665" y="619"/>
                      </a:lnTo>
                      <a:lnTo>
                        <a:pt x="669" y="624"/>
                      </a:lnTo>
                      <a:lnTo>
                        <a:pt x="672" y="629"/>
                      </a:lnTo>
                      <a:lnTo>
                        <a:pt x="674" y="635"/>
                      </a:lnTo>
                      <a:lnTo>
                        <a:pt x="676" y="642"/>
                      </a:lnTo>
                      <a:lnTo>
                        <a:pt x="674" y="648"/>
                      </a:lnTo>
                      <a:lnTo>
                        <a:pt x="672" y="654"/>
                      </a:lnTo>
                      <a:lnTo>
                        <a:pt x="669" y="660"/>
                      </a:lnTo>
                      <a:lnTo>
                        <a:pt x="665" y="665"/>
                      </a:lnTo>
                      <a:lnTo>
                        <a:pt x="665" y="665"/>
                      </a:lnTo>
                      <a:lnTo>
                        <a:pt x="660" y="670"/>
                      </a:lnTo>
                      <a:lnTo>
                        <a:pt x="655" y="673"/>
                      </a:lnTo>
                      <a:lnTo>
                        <a:pt x="649" y="675"/>
                      </a:lnTo>
                      <a:lnTo>
                        <a:pt x="642" y="675"/>
                      </a:lnTo>
                      <a:lnTo>
                        <a:pt x="642" y="6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462" name="Freeform 16">
                  <a:extLst>
                    <a:ext uri="{FF2B5EF4-FFF2-40B4-BE49-F238E27FC236}">
                      <a16:creationId xmlns:a16="http://schemas.microsoft.com/office/drawing/2014/main" id="{21B27132-7F5A-4143-80D2-2591B6F6BB79}"/>
                    </a:ext>
                  </a:extLst>
                </p:cNvPr>
                <p:cNvSpPr>
                  <a:spLocks/>
                </p:cNvSpPr>
                <p:nvPr/>
              </p:nvSpPr>
              <p:spPr bwMode="auto">
                <a:xfrm>
                  <a:off x="9323388" y="1892301"/>
                  <a:ext cx="131763" cy="63500"/>
                </a:xfrm>
                <a:custGeom>
                  <a:avLst/>
                  <a:gdLst>
                    <a:gd name="T0" fmla="*/ 34 w 582"/>
                    <a:gd name="T1" fmla="*/ 285 h 285"/>
                    <a:gd name="T2" fmla="*/ 21 w 582"/>
                    <a:gd name="T3" fmla="*/ 283 h 285"/>
                    <a:gd name="T4" fmla="*/ 11 w 582"/>
                    <a:gd name="T5" fmla="*/ 275 h 285"/>
                    <a:gd name="T6" fmla="*/ 7 w 582"/>
                    <a:gd name="T7" fmla="*/ 270 h 285"/>
                    <a:gd name="T8" fmla="*/ 1 w 582"/>
                    <a:gd name="T9" fmla="*/ 258 h 285"/>
                    <a:gd name="T10" fmla="*/ 1 w 582"/>
                    <a:gd name="T11" fmla="*/ 245 h 285"/>
                    <a:gd name="T12" fmla="*/ 7 w 582"/>
                    <a:gd name="T13" fmla="*/ 234 h 285"/>
                    <a:gd name="T14" fmla="*/ 151 w 582"/>
                    <a:gd name="T15" fmla="*/ 88 h 285"/>
                    <a:gd name="T16" fmla="*/ 162 w 582"/>
                    <a:gd name="T17" fmla="*/ 78 h 285"/>
                    <a:gd name="T18" fmla="*/ 186 w 582"/>
                    <a:gd name="T19" fmla="*/ 58 h 285"/>
                    <a:gd name="T20" fmla="*/ 211 w 582"/>
                    <a:gd name="T21" fmla="*/ 42 h 285"/>
                    <a:gd name="T22" fmla="*/ 236 w 582"/>
                    <a:gd name="T23" fmla="*/ 28 h 285"/>
                    <a:gd name="T24" fmla="*/ 263 w 582"/>
                    <a:gd name="T25" fmla="*/ 18 h 285"/>
                    <a:gd name="T26" fmla="*/ 290 w 582"/>
                    <a:gd name="T27" fmla="*/ 9 h 285"/>
                    <a:gd name="T28" fmla="*/ 319 w 582"/>
                    <a:gd name="T29" fmla="*/ 3 h 285"/>
                    <a:gd name="T30" fmla="*/ 347 w 582"/>
                    <a:gd name="T31" fmla="*/ 1 h 285"/>
                    <a:gd name="T32" fmla="*/ 376 w 582"/>
                    <a:gd name="T33" fmla="*/ 1 h 285"/>
                    <a:gd name="T34" fmla="*/ 404 w 582"/>
                    <a:gd name="T35" fmla="*/ 3 h 285"/>
                    <a:gd name="T36" fmla="*/ 433 w 582"/>
                    <a:gd name="T37" fmla="*/ 9 h 285"/>
                    <a:gd name="T38" fmla="*/ 460 w 582"/>
                    <a:gd name="T39" fmla="*/ 18 h 285"/>
                    <a:gd name="T40" fmla="*/ 487 w 582"/>
                    <a:gd name="T41" fmla="*/ 28 h 285"/>
                    <a:gd name="T42" fmla="*/ 514 w 582"/>
                    <a:gd name="T43" fmla="*/ 42 h 285"/>
                    <a:gd name="T44" fmla="*/ 538 w 582"/>
                    <a:gd name="T45" fmla="*/ 58 h 285"/>
                    <a:gd name="T46" fmla="*/ 561 w 582"/>
                    <a:gd name="T47" fmla="*/ 78 h 285"/>
                    <a:gd name="T48" fmla="*/ 573 w 582"/>
                    <a:gd name="T49" fmla="*/ 88 h 285"/>
                    <a:gd name="T50" fmla="*/ 580 w 582"/>
                    <a:gd name="T51" fmla="*/ 98 h 285"/>
                    <a:gd name="T52" fmla="*/ 582 w 582"/>
                    <a:gd name="T53" fmla="*/ 111 h 285"/>
                    <a:gd name="T54" fmla="*/ 580 w 582"/>
                    <a:gd name="T55" fmla="*/ 123 h 285"/>
                    <a:gd name="T56" fmla="*/ 573 w 582"/>
                    <a:gd name="T57" fmla="*/ 135 h 285"/>
                    <a:gd name="T58" fmla="*/ 568 w 582"/>
                    <a:gd name="T59" fmla="*/ 139 h 285"/>
                    <a:gd name="T60" fmla="*/ 555 w 582"/>
                    <a:gd name="T61" fmla="*/ 144 h 285"/>
                    <a:gd name="T62" fmla="*/ 543 w 582"/>
                    <a:gd name="T63" fmla="*/ 144 h 285"/>
                    <a:gd name="T64" fmla="*/ 531 w 582"/>
                    <a:gd name="T65" fmla="*/ 139 h 285"/>
                    <a:gd name="T66" fmla="*/ 526 w 582"/>
                    <a:gd name="T67" fmla="*/ 135 h 285"/>
                    <a:gd name="T68" fmla="*/ 489 w 582"/>
                    <a:gd name="T69" fmla="*/ 105 h 285"/>
                    <a:gd name="T70" fmla="*/ 449 w 582"/>
                    <a:gd name="T71" fmla="*/ 84 h 285"/>
                    <a:gd name="T72" fmla="*/ 406 w 582"/>
                    <a:gd name="T73" fmla="*/ 72 h 285"/>
                    <a:gd name="T74" fmla="*/ 362 w 582"/>
                    <a:gd name="T75" fmla="*/ 66 h 285"/>
                    <a:gd name="T76" fmla="*/ 317 w 582"/>
                    <a:gd name="T77" fmla="*/ 72 h 285"/>
                    <a:gd name="T78" fmla="*/ 275 w 582"/>
                    <a:gd name="T79" fmla="*/ 84 h 285"/>
                    <a:gd name="T80" fmla="*/ 234 w 582"/>
                    <a:gd name="T81" fmla="*/ 105 h 285"/>
                    <a:gd name="T82" fmla="*/ 198 w 582"/>
                    <a:gd name="T83" fmla="*/ 135 h 285"/>
                    <a:gd name="T84" fmla="*/ 57 w 582"/>
                    <a:gd name="T85" fmla="*/ 275 h 285"/>
                    <a:gd name="T86" fmla="*/ 46 w 582"/>
                    <a:gd name="T87" fmla="*/ 283 h 285"/>
                    <a:gd name="T88" fmla="*/ 34 w 582"/>
                    <a:gd name="T89" fmla="*/ 28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2" h="285">
                      <a:moveTo>
                        <a:pt x="34" y="285"/>
                      </a:moveTo>
                      <a:lnTo>
                        <a:pt x="34" y="285"/>
                      </a:lnTo>
                      <a:lnTo>
                        <a:pt x="27" y="285"/>
                      </a:lnTo>
                      <a:lnTo>
                        <a:pt x="21" y="283"/>
                      </a:lnTo>
                      <a:lnTo>
                        <a:pt x="16" y="279"/>
                      </a:lnTo>
                      <a:lnTo>
                        <a:pt x="11" y="275"/>
                      </a:lnTo>
                      <a:lnTo>
                        <a:pt x="11" y="275"/>
                      </a:lnTo>
                      <a:lnTo>
                        <a:pt x="7" y="270"/>
                      </a:lnTo>
                      <a:lnTo>
                        <a:pt x="4" y="264"/>
                      </a:lnTo>
                      <a:lnTo>
                        <a:pt x="1" y="258"/>
                      </a:lnTo>
                      <a:lnTo>
                        <a:pt x="0" y="252"/>
                      </a:lnTo>
                      <a:lnTo>
                        <a:pt x="1" y="245"/>
                      </a:lnTo>
                      <a:lnTo>
                        <a:pt x="4" y="239"/>
                      </a:lnTo>
                      <a:lnTo>
                        <a:pt x="7" y="234"/>
                      </a:lnTo>
                      <a:lnTo>
                        <a:pt x="11" y="229"/>
                      </a:lnTo>
                      <a:lnTo>
                        <a:pt x="151" y="88"/>
                      </a:lnTo>
                      <a:lnTo>
                        <a:pt x="151" y="88"/>
                      </a:lnTo>
                      <a:lnTo>
                        <a:pt x="162" y="78"/>
                      </a:lnTo>
                      <a:lnTo>
                        <a:pt x="173" y="67"/>
                      </a:lnTo>
                      <a:lnTo>
                        <a:pt x="186" y="58"/>
                      </a:lnTo>
                      <a:lnTo>
                        <a:pt x="198" y="50"/>
                      </a:lnTo>
                      <a:lnTo>
                        <a:pt x="211" y="42"/>
                      </a:lnTo>
                      <a:lnTo>
                        <a:pt x="223" y="34"/>
                      </a:lnTo>
                      <a:lnTo>
                        <a:pt x="236" y="28"/>
                      </a:lnTo>
                      <a:lnTo>
                        <a:pt x="250" y="23"/>
                      </a:lnTo>
                      <a:lnTo>
                        <a:pt x="263" y="18"/>
                      </a:lnTo>
                      <a:lnTo>
                        <a:pt x="277" y="13"/>
                      </a:lnTo>
                      <a:lnTo>
                        <a:pt x="290" y="9"/>
                      </a:lnTo>
                      <a:lnTo>
                        <a:pt x="305" y="6"/>
                      </a:lnTo>
                      <a:lnTo>
                        <a:pt x="319" y="3"/>
                      </a:lnTo>
                      <a:lnTo>
                        <a:pt x="333" y="2"/>
                      </a:lnTo>
                      <a:lnTo>
                        <a:pt x="347" y="1"/>
                      </a:lnTo>
                      <a:lnTo>
                        <a:pt x="362" y="0"/>
                      </a:lnTo>
                      <a:lnTo>
                        <a:pt x="376" y="1"/>
                      </a:lnTo>
                      <a:lnTo>
                        <a:pt x="391" y="2"/>
                      </a:lnTo>
                      <a:lnTo>
                        <a:pt x="404" y="3"/>
                      </a:lnTo>
                      <a:lnTo>
                        <a:pt x="419" y="6"/>
                      </a:lnTo>
                      <a:lnTo>
                        <a:pt x="433" y="9"/>
                      </a:lnTo>
                      <a:lnTo>
                        <a:pt x="446" y="13"/>
                      </a:lnTo>
                      <a:lnTo>
                        <a:pt x="460" y="18"/>
                      </a:lnTo>
                      <a:lnTo>
                        <a:pt x="474" y="23"/>
                      </a:lnTo>
                      <a:lnTo>
                        <a:pt x="487" y="28"/>
                      </a:lnTo>
                      <a:lnTo>
                        <a:pt x="500" y="34"/>
                      </a:lnTo>
                      <a:lnTo>
                        <a:pt x="514" y="42"/>
                      </a:lnTo>
                      <a:lnTo>
                        <a:pt x="526" y="50"/>
                      </a:lnTo>
                      <a:lnTo>
                        <a:pt x="538" y="58"/>
                      </a:lnTo>
                      <a:lnTo>
                        <a:pt x="550" y="67"/>
                      </a:lnTo>
                      <a:lnTo>
                        <a:pt x="561" y="78"/>
                      </a:lnTo>
                      <a:lnTo>
                        <a:pt x="573" y="88"/>
                      </a:lnTo>
                      <a:lnTo>
                        <a:pt x="573" y="88"/>
                      </a:lnTo>
                      <a:lnTo>
                        <a:pt x="577" y="93"/>
                      </a:lnTo>
                      <a:lnTo>
                        <a:pt x="580" y="98"/>
                      </a:lnTo>
                      <a:lnTo>
                        <a:pt x="582" y="105"/>
                      </a:lnTo>
                      <a:lnTo>
                        <a:pt x="582" y="111"/>
                      </a:lnTo>
                      <a:lnTo>
                        <a:pt x="582" y="117"/>
                      </a:lnTo>
                      <a:lnTo>
                        <a:pt x="580" y="123"/>
                      </a:lnTo>
                      <a:lnTo>
                        <a:pt x="577" y="129"/>
                      </a:lnTo>
                      <a:lnTo>
                        <a:pt x="573" y="135"/>
                      </a:lnTo>
                      <a:lnTo>
                        <a:pt x="573" y="135"/>
                      </a:lnTo>
                      <a:lnTo>
                        <a:pt x="568" y="139"/>
                      </a:lnTo>
                      <a:lnTo>
                        <a:pt x="561" y="142"/>
                      </a:lnTo>
                      <a:lnTo>
                        <a:pt x="555" y="144"/>
                      </a:lnTo>
                      <a:lnTo>
                        <a:pt x="549" y="144"/>
                      </a:lnTo>
                      <a:lnTo>
                        <a:pt x="543" y="144"/>
                      </a:lnTo>
                      <a:lnTo>
                        <a:pt x="537" y="142"/>
                      </a:lnTo>
                      <a:lnTo>
                        <a:pt x="531" y="139"/>
                      </a:lnTo>
                      <a:lnTo>
                        <a:pt x="526" y="135"/>
                      </a:lnTo>
                      <a:lnTo>
                        <a:pt x="526" y="135"/>
                      </a:lnTo>
                      <a:lnTo>
                        <a:pt x="509" y="119"/>
                      </a:lnTo>
                      <a:lnTo>
                        <a:pt x="489" y="105"/>
                      </a:lnTo>
                      <a:lnTo>
                        <a:pt x="469" y="93"/>
                      </a:lnTo>
                      <a:lnTo>
                        <a:pt x="449" y="84"/>
                      </a:lnTo>
                      <a:lnTo>
                        <a:pt x="428" y="77"/>
                      </a:lnTo>
                      <a:lnTo>
                        <a:pt x="406" y="72"/>
                      </a:lnTo>
                      <a:lnTo>
                        <a:pt x="384" y="67"/>
                      </a:lnTo>
                      <a:lnTo>
                        <a:pt x="362" y="66"/>
                      </a:lnTo>
                      <a:lnTo>
                        <a:pt x="340" y="67"/>
                      </a:lnTo>
                      <a:lnTo>
                        <a:pt x="317" y="72"/>
                      </a:lnTo>
                      <a:lnTo>
                        <a:pt x="295" y="77"/>
                      </a:lnTo>
                      <a:lnTo>
                        <a:pt x="275" y="84"/>
                      </a:lnTo>
                      <a:lnTo>
                        <a:pt x="254" y="93"/>
                      </a:lnTo>
                      <a:lnTo>
                        <a:pt x="234" y="105"/>
                      </a:lnTo>
                      <a:lnTo>
                        <a:pt x="216" y="119"/>
                      </a:lnTo>
                      <a:lnTo>
                        <a:pt x="198" y="135"/>
                      </a:lnTo>
                      <a:lnTo>
                        <a:pt x="57" y="275"/>
                      </a:lnTo>
                      <a:lnTo>
                        <a:pt x="57" y="275"/>
                      </a:lnTo>
                      <a:lnTo>
                        <a:pt x="52" y="279"/>
                      </a:lnTo>
                      <a:lnTo>
                        <a:pt x="46" y="283"/>
                      </a:lnTo>
                      <a:lnTo>
                        <a:pt x="40" y="285"/>
                      </a:lnTo>
                      <a:lnTo>
                        <a:pt x="34" y="285"/>
                      </a:lnTo>
                      <a:lnTo>
                        <a:pt x="34"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grpSp>
        <p:nvGrpSpPr>
          <p:cNvPr id="463" name="Group 462">
            <a:extLst>
              <a:ext uri="{FF2B5EF4-FFF2-40B4-BE49-F238E27FC236}">
                <a16:creationId xmlns:a16="http://schemas.microsoft.com/office/drawing/2014/main" id="{3B73496D-6E71-4BD3-AD2A-7B0BE6E0A96C}"/>
              </a:ext>
            </a:extLst>
          </p:cNvPr>
          <p:cNvGrpSpPr/>
          <p:nvPr/>
        </p:nvGrpSpPr>
        <p:grpSpPr>
          <a:xfrm>
            <a:off x="481038" y="4213111"/>
            <a:ext cx="3527260" cy="338554"/>
            <a:chOff x="481038" y="4213111"/>
            <a:chExt cx="3527260" cy="338554"/>
          </a:xfrm>
        </p:grpSpPr>
        <p:sp>
          <p:nvSpPr>
            <p:cNvPr id="464" name="TextBox 463">
              <a:extLst>
                <a:ext uri="{FF2B5EF4-FFF2-40B4-BE49-F238E27FC236}">
                  <a16:creationId xmlns:a16="http://schemas.microsoft.com/office/drawing/2014/main" id="{5C0752B3-9AF1-4389-8132-A1A4915FC862}"/>
                </a:ext>
              </a:extLst>
            </p:cNvPr>
            <p:cNvSpPr txBox="1"/>
            <p:nvPr/>
          </p:nvSpPr>
          <p:spPr>
            <a:xfrm>
              <a:off x="922189" y="4213111"/>
              <a:ext cx="3086109" cy="33855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
                  <a:srgbClr val="000000"/>
                </a:buClr>
                <a:buSzPts val="1500"/>
                <a:buFont typeface="Arial"/>
                <a:buNone/>
                <a:tabLst/>
                <a:defRPr/>
              </a:pPr>
              <a:r>
                <a:rPr kumimoji="0" lang="en-US" sz="1100" b="1"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No difference </a:t>
              </a:r>
              <a:r>
                <a:rPr kumimoji="0" lang="en-US"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in outcomes when isolating pts on corticosteroids for cancer unrelated indications</a:t>
              </a:r>
            </a:p>
          </p:txBody>
        </p:sp>
        <p:grpSp>
          <p:nvGrpSpPr>
            <p:cNvPr id="467" name="Group 466">
              <a:extLst>
                <a:ext uri="{FF2B5EF4-FFF2-40B4-BE49-F238E27FC236}">
                  <a16:creationId xmlns:a16="http://schemas.microsoft.com/office/drawing/2014/main" id="{A56E9878-80CB-45C4-A450-0FC0A0CBF916}"/>
                </a:ext>
              </a:extLst>
            </p:cNvPr>
            <p:cNvGrpSpPr/>
            <p:nvPr/>
          </p:nvGrpSpPr>
          <p:grpSpPr>
            <a:xfrm>
              <a:off x="481038" y="4271926"/>
              <a:ext cx="193674" cy="220924"/>
              <a:chOff x="4870450" y="3278188"/>
              <a:chExt cx="315913" cy="360363"/>
            </a:xfrm>
            <a:solidFill>
              <a:schemeClr val="bg1"/>
            </a:solidFill>
          </p:grpSpPr>
          <p:sp>
            <p:nvSpPr>
              <p:cNvPr id="468" name="Freeform 75">
                <a:extLst>
                  <a:ext uri="{FF2B5EF4-FFF2-40B4-BE49-F238E27FC236}">
                    <a16:creationId xmlns:a16="http://schemas.microsoft.com/office/drawing/2014/main" id="{5141BCDA-AC50-477B-8A31-4FDB45D264C5}"/>
                  </a:ext>
                </a:extLst>
              </p:cNvPr>
              <p:cNvSpPr>
                <a:spLocks noEditPoints="1"/>
              </p:cNvSpPr>
              <p:nvPr/>
            </p:nvSpPr>
            <p:spPr bwMode="auto">
              <a:xfrm>
                <a:off x="5110163" y="3398838"/>
                <a:ext cx="76200" cy="74613"/>
              </a:xfrm>
              <a:custGeom>
                <a:avLst/>
                <a:gdLst>
                  <a:gd name="T0" fmla="*/ 149 w 331"/>
                  <a:gd name="T1" fmla="*/ 330 h 331"/>
                  <a:gd name="T2" fmla="*/ 101 w 331"/>
                  <a:gd name="T3" fmla="*/ 318 h 331"/>
                  <a:gd name="T4" fmla="*/ 61 w 331"/>
                  <a:gd name="T5" fmla="*/ 293 h 331"/>
                  <a:gd name="T6" fmla="*/ 29 w 331"/>
                  <a:gd name="T7" fmla="*/ 258 h 331"/>
                  <a:gd name="T8" fmla="*/ 8 w 331"/>
                  <a:gd name="T9" fmla="*/ 214 h 331"/>
                  <a:gd name="T10" fmla="*/ 0 w 331"/>
                  <a:gd name="T11" fmla="*/ 166 h 331"/>
                  <a:gd name="T12" fmla="*/ 4 w 331"/>
                  <a:gd name="T13" fmla="*/ 131 h 331"/>
                  <a:gd name="T14" fmla="*/ 20 w 331"/>
                  <a:gd name="T15" fmla="*/ 86 h 331"/>
                  <a:gd name="T16" fmla="*/ 48 w 331"/>
                  <a:gd name="T17" fmla="*/ 48 h 331"/>
                  <a:gd name="T18" fmla="*/ 87 w 331"/>
                  <a:gd name="T19" fmla="*/ 20 h 331"/>
                  <a:gd name="T20" fmla="*/ 132 w 331"/>
                  <a:gd name="T21" fmla="*/ 3 h 331"/>
                  <a:gd name="T22" fmla="*/ 165 w 331"/>
                  <a:gd name="T23" fmla="*/ 0 h 331"/>
                  <a:gd name="T24" fmla="*/ 215 w 331"/>
                  <a:gd name="T25" fmla="*/ 7 h 331"/>
                  <a:gd name="T26" fmla="*/ 258 w 331"/>
                  <a:gd name="T27" fmla="*/ 28 h 331"/>
                  <a:gd name="T28" fmla="*/ 293 w 331"/>
                  <a:gd name="T29" fmla="*/ 60 h 331"/>
                  <a:gd name="T30" fmla="*/ 318 w 331"/>
                  <a:gd name="T31" fmla="*/ 100 h 331"/>
                  <a:gd name="T32" fmla="*/ 331 w 331"/>
                  <a:gd name="T33" fmla="*/ 148 h 331"/>
                  <a:gd name="T34" fmla="*/ 331 w 331"/>
                  <a:gd name="T35" fmla="*/ 182 h 331"/>
                  <a:gd name="T36" fmla="*/ 318 w 331"/>
                  <a:gd name="T37" fmla="*/ 230 h 331"/>
                  <a:gd name="T38" fmla="*/ 293 w 331"/>
                  <a:gd name="T39" fmla="*/ 270 h 331"/>
                  <a:gd name="T40" fmla="*/ 258 w 331"/>
                  <a:gd name="T41" fmla="*/ 302 h 331"/>
                  <a:gd name="T42" fmla="*/ 215 w 331"/>
                  <a:gd name="T43" fmla="*/ 323 h 331"/>
                  <a:gd name="T44" fmla="*/ 165 w 331"/>
                  <a:gd name="T45" fmla="*/ 331 h 331"/>
                  <a:gd name="T46" fmla="*/ 165 w 331"/>
                  <a:gd name="T47" fmla="*/ 66 h 331"/>
                  <a:gd name="T48" fmla="*/ 136 w 331"/>
                  <a:gd name="T49" fmla="*/ 70 h 331"/>
                  <a:gd name="T50" fmla="*/ 110 w 331"/>
                  <a:gd name="T51" fmla="*/ 83 h 331"/>
                  <a:gd name="T52" fmla="*/ 89 w 331"/>
                  <a:gd name="T53" fmla="*/ 103 h 331"/>
                  <a:gd name="T54" fmla="*/ 74 w 331"/>
                  <a:gd name="T55" fmla="*/ 126 h 331"/>
                  <a:gd name="T56" fmla="*/ 67 w 331"/>
                  <a:gd name="T57" fmla="*/ 155 h 331"/>
                  <a:gd name="T58" fmla="*/ 67 w 331"/>
                  <a:gd name="T59" fmla="*/ 175 h 331"/>
                  <a:gd name="T60" fmla="*/ 74 w 331"/>
                  <a:gd name="T61" fmla="*/ 204 h 331"/>
                  <a:gd name="T62" fmla="*/ 89 w 331"/>
                  <a:gd name="T63" fmla="*/ 229 h 331"/>
                  <a:gd name="T64" fmla="*/ 110 w 331"/>
                  <a:gd name="T65" fmla="*/ 247 h 331"/>
                  <a:gd name="T66" fmla="*/ 136 w 331"/>
                  <a:gd name="T67" fmla="*/ 260 h 331"/>
                  <a:gd name="T68" fmla="*/ 165 w 331"/>
                  <a:gd name="T69" fmla="*/ 265 h 331"/>
                  <a:gd name="T70" fmla="*/ 186 w 331"/>
                  <a:gd name="T71" fmla="*/ 263 h 331"/>
                  <a:gd name="T72" fmla="*/ 213 w 331"/>
                  <a:gd name="T73" fmla="*/ 253 h 331"/>
                  <a:gd name="T74" fmla="*/ 236 w 331"/>
                  <a:gd name="T75" fmla="*/ 235 h 331"/>
                  <a:gd name="T76" fmla="*/ 253 w 331"/>
                  <a:gd name="T77" fmla="*/ 212 h 331"/>
                  <a:gd name="T78" fmla="*/ 262 w 331"/>
                  <a:gd name="T79" fmla="*/ 185 h 331"/>
                  <a:gd name="T80" fmla="*/ 265 w 331"/>
                  <a:gd name="T81" fmla="*/ 166 h 331"/>
                  <a:gd name="T82" fmla="*/ 260 w 331"/>
                  <a:gd name="T83" fmla="*/ 136 h 331"/>
                  <a:gd name="T84" fmla="*/ 248 w 331"/>
                  <a:gd name="T85" fmla="*/ 110 h 331"/>
                  <a:gd name="T86" fmla="*/ 228 w 331"/>
                  <a:gd name="T87" fmla="*/ 88 h 331"/>
                  <a:gd name="T88" fmla="*/ 205 w 331"/>
                  <a:gd name="T89" fmla="*/ 74 h 331"/>
                  <a:gd name="T90" fmla="*/ 176 w 331"/>
                  <a:gd name="T91" fmla="*/ 6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1" h="331">
                    <a:moveTo>
                      <a:pt x="165" y="331"/>
                    </a:moveTo>
                    <a:lnTo>
                      <a:pt x="165" y="331"/>
                    </a:lnTo>
                    <a:lnTo>
                      <a:pt x="149" y="330"/>
                    </a:lnTo>
                    <a:lnTo>
                      <a:pt x="132" y="327"/>
                    </a:lnTo>
                    <a:lnTo>
                      <a:pt x="117" y="323"/>
                    </a:lnTo>
                    <a:lnTo>
                      <a:pt x="101" y="318"/>
                    </a:lnTo>
                    <a:lnTo>
                      <a:pt x="87" y="310"/>
                    </a:lnTo>
                    <a:lnTo>
                      <a:pt x="73" y="302"/>
                    </a:lnTo>
                    <a:lnTo>
                      <a:pt x="61" y="293"/>
                    </a:lnTo>
                    <a:lnTo>
                      <a:pt x="48" y="283"/>
                    </a:lnTo>
                    <a:lnTo>
                      <a:pt x="38" y="270"/>
                    </a:lnTo>
                    <a:lnTo>
                      <a:pt x="29" y="258"/>
                    </a:lnTo>
                    <a:lnTo>
                      <a:pt x="20" y="244"/>
                    </a:lnTo>
                    <a:lnTo>
                      <a:pt x="13" y="230"/>
                    </a:lnTo>
                    <a:lnTo>
                      <a:pt x="8" y="214"/>
                    </a:lnTo>
                    <a:lnTo>
                      <a:pt x="4" y="199"/>
                    </a:lnTo>
                    <a:lnTo>
                      <a:pt x="1" y="182"/>
                    </a:lnTo>
                    <a:lnTo>
                      <a:pt x="0" y="166"/>
                    </a:lnTo>
                    <a:lnTo>
                      <a:pt x="0" y="166"/>
                    </a:lnTo>
                    <a:lnTo>
                      <a:pt x="1" y="148"/>
                    </a:lnTo>
                    <a:lnTo>
                      <a:pt x="4" y="131"/>
                    </a:lnTo>
                    <a:lnTo>
                      <a:pt x="8" y="116"/>
                    </a:lnTo>
                    <a:lnTo>
                      <a:pt x="13" y="100"/>
                    </a:lnTo>
                    <a:lnTo>
                      <a:pt x="20" y="86"/>
                    </a:lnTo>
                    <a:lnTo>
                      <a:pt x="29" y="73"/>
                    </a:lnTo>
                    <a:lnTo>
                      <a:pt x="38" y="60"/>
                    </a:lnTo>
                    <a:lnTo>
                      <a:pt x="48" y="48"/>
                    </a:lnTo>
                    <a:lnTo>
                      <a:pt x="61" y="37"/>
                    </a:lnTo>
                    <a:lnTo>
                      <a:pt x="73" y="28"/>
                    </a:lnTo>
                    <a:lnTo>
                      <a:pt x="87" y="20"/>
                    </a:lnTo>
                    <a:lnTo>
                      <a:pt x="101" y="13"/>
                    </a:lnTo>
                    <a:lnTo>
                      <a:pt x="117" y="7"/>
                    </a:lnTo>
                    <a:lnTo>
                      <a:pt x="132" y="3"/>
                    </a:lnTo>
                    <a:lnTo>
                      <a:pt x="149" y="0"/>
                    </a:lnTo>
                    <a:lnTo>
                      <a:pt x="165" y="0"/>
                    </a:lnTo>
                    <a:lnTo>
                      <a:pt x="165" y="0"/>
                    </a:lnTo>
                    <a:lnTo>
                      <a:pt x="183" y="0"/>
                    </a:lnTo>
                    <a:lnTo>
                      <a:pt x="199" y="3"/>
                    </a:lnTo>
                    <a:lnTo>
                      <a:pt x="215" y="7"/>
                    </a:lnTo>
                    <a:lnTo>
                      <a:pt x="230" y="13"/>
                    </a:lnTo>
                    <a:lnTo>
                      <a:pt x="245" y="20"/>
                    </a:lnTo>
                    <a:lnTo>
                      <a:pt x="258" y="28"/>
                    </a:lnTo>
                    <a:lnTo>
                      <a:pt x="271" y="37"/>
                    </a:lnTo>
                    <a:lnTo>
                      <a:pt x="283" y="48"/>
                    </a:lnTo>
                    <a:lnTo>
                      <a:pt x="293" y="60"/>
                    </a:lnTo>
                    <a:lnTo>
                      <a:pt x="303" y="73"/>
                    </a:lnTo>
                    <a:lnTo>
                      <a:pt x="311" y="86"/>
                    </a:lnTo>
                    <a:lnTo>
                      <a:pt x="318" y="100"/>
                    </a:lnTo>
                    <a:lnTo>
                      <a:pt x="324" y="116"/>
                    </a:lnTo>
                    <a:lnTo>
                      <a:pt x="328" y="131"/>
                    </a:lnTo>
                    <a:lnTo>
                      <a:pt x="331" y="148"/>
                    </a:lnTo>
                    <a:lnTo>
                      <a:pt x="331" y="166"/>
                    </a:lnTo>
                    <a:lnTo>
                      <a:pt x="331" y="166"/>
                    </a:lnTo>
                    <a:lnTo>
                      <a:pt x="331" y="182"/>
                    </a:lnTo>
                    <a:lnTo>
                      <a:pt x="328" y="199"/>
                    </a:lnTo>
                    <a:lnTo>
                      <a:pt x="324" y="214"/>
                    </a:lnTo>
                    <a:lnTo>
                      <a:pt x="318" y="230"/>
                    </a:lnTo>
                    <a:lnTo>
                      <a:pt x="311" y="244"/>
                    </a:lnTo>
                    <a:lnTo>
                      <a:pt x="303" y="258"/>
                    </a:lnTo>
                    <a:lnTo>
                      <a:pt x="293" y="270"/>
                    </a:lnTo>
                    <a:lnTo>
                      <a:pt x="283" y="283"/>
                    </a:lnTo>
                    <a:lnTo>
                      <a:pt x="271" y="293"/>
                    </a:lnTo>
                    <a:lnTo>
                      <a:pt x="258" y="302"/>
                    </a:lnTo>
                    <a:lnTo>
                      <a:pt x="245" y="310"/>
                    </a:lnTo>
                    <a:lnTo>
                      <a:pt x="230" y="318"/>
                    </a:lnTo>
                    <a:lnTo>
                      <a:pt x="215" y="323"/>
                    </a:lnTo>
                    <a:lnTo>
                      <a:pt x="199" y="327"/>
                    </a:lnTo>
                    <a:lnTo>
                      <a:pt x="183" y="330"/>
                    </a:lnTo>
                    <a:lnTo>
                      <a:pt x="165" y="331"/>
                    </a:lnTo>
                    <a:lnTo>
                      <a:pt x="165" y="331"/>
                    </a:lnTo>
                    <a:close/>
                    <a:moveTo>
                      <a:pt x="165" y="66"/>
                    </a:moveTo>
                    <a:lnTo>
                      <a:pt x="165" y="66"/>
                    </a:lnTo>
                    <a:lnTo>
                      <a:pt x="156" y="66"/>
                    </a:lnTo>
                    <a:lnTo>
                      <a:pt x="146" y="67"/>
                    </a:lnTo>
                    <a:lnTo>
                      <a:pt x="136" y="70"/>
                    </a:lnTo>
                    <a:lnTo>
                      <a:pt x="127" y="74"/>
                    </a:lnTo>
                    <a:lnTo>
                      <a:pt x="119" y="78"/>
                    </a:lnTo>
                    <a:lnTo>
                      <a:pt x="110" y="83"/>
                    </a:lnTo>
                    <a:lnTo>
                      <a:pt x="102" y="88"/>
                    </a:lnTo>
                    <a:lnTo>
                      <a:pt x="96" y="95"/>
                    </a:lnTo>
                    <a:lnTo>
                      <a:pt x="89" y="103"/>
                    </a:lnTo>
                    <a:lnTo>
                      <a:pt x="83" y="110"/>
                    </a:lnTo>
                    <a:lnTo>
                      <a:pt x="78" y="118"/>
                    </a:lnTo>
                    <a:lnTo>
                      <a:pt x="74" y="126"/>
                    </a:lnTo>
                    <a:lnTo>
                      <a:pt x="71" y="136"/>
                    </a:lnTo>
                    <a:lnTo>
                      <a:pt x="68" y="145"/>
                    </a:lnTo>
                    <a:lnTo>
                      <a:pt x="67" y="155"/>
                    </a:lnTo>
                    <a:lnTo>
                      <a:pt x="66" y="166"/>
                    </a:lnTo>
                    <a:lnTo>
                      <a:pt x="66" y="166"/>
                    </a:lnTo>
                    <a:lnTo>
                      <a:pt x="67" y="175"/>
                    </a:lnTo>
                    <a:lnTo>
                      <a:pt x="68" y="185"/>
                    </a:lnTo>
                    <a:lnTo>
                      <a:pt x="71" y="195"/>
                    </a:lnTo>
                    <a:lnTo>
                      <a:pt x="74" y="204"/>
                    </a:lnTo>
                    <a:lnTo>
                      <a:pt x="78" y="212"/>
                    </a:lnTo>
                    <a:lnTo>
                      <a:pt x="83" y="220"/>
                    </a:lnTo>
                    <a:lnTo>
                      <a:pt x="89" y="229"/>
                    </a:lnTo>
                    <a:lnTo>
                      <a:pt x="96" y="235"/>
                    </a:lnTo>
                    <a:lnTo>
                      <a:pt x="102" y="242"/>
                    </a:lnTo>
                    <a:lnTo>
                      <a:pt x="110" y="247"/>
                    </a:lnTo>
                    <a:lnTo>
                      <a:pt x="119" y="253"/>
                    </a:lnTo>
                    <a:lnTo>
                      <a:pt x="127" y="257"/>
                    </a:lnTo>
                    <a:lnTo>
                      <a:pt x="136" y="260"/>
                    </a:lnTo>
                    <a:lnTo>
                      <a:pt x="146" y="263"/>
                    </a:lnTo>
                    <a:lnTo>
                      <a:pt x="156" y="264"/>
                    </a:lnTo>
                    <a:lnTo>
                      <a:pt x="165" y="265"/>
                    </a:lnTo>
                    <a:lnTo>
                      <a:pt x="165" y="265"/>
                    </a:lnTo>
                    <a:lnTo>
                      <a:pt x="176" y="264"/>
                    </a:lnTo>
                    <a:lnTo>
                      <a:pt x="186" y="263"/>
                    </a:lnTo>
                    <a:lnTo>
                      <a:pt x="195" y="260"/>
                    </a:lnTo>
                    <a:lnTo>
                      <a:pt x="205" y="257"/>
                    </a:lnTo>
                    <a:lnTo>
                      <a:pt x="213" y="253"/>
                    </a:lnTo>
                    <a:lnTo>
                      <a:pt x="221" y="247"/>
                    </a:lnTo>
                    <a:lnTo>
                      <a:pt x="228" y="242"/>
                    </a:lnTo>
                    <a:lnTo>
                      <a:pt x="236" y="235"/>
                    </a:lnTo>
                    <a:lnTo>
                      <a:pt x="242" y="229"/>
                    </a:lnTo>
                    <a:lnTo>
                      <a:pt x="248" y="220"/>
                    </a:lnTo>
                    <a:lnTo>
                      <a:pt x="253" y="212"/>
                    </a:lnTo>
                    <a:lnTo>
                      <a:pt x="257" y="204"/>
                    </a:lnTo>
                    <a:lnTo>
                      <a:pt x="260" y="195"/>
                    </a:lnTo>
                    <a:lnTo>
                      <a:pt x="262" y="185"/>
                    </a:lnTo>
                    <a:lnTo>
                      <a:pt x="265" y="175"/>
                    </a:lnTo>
                    <a:lnTo>
                      <a:pt x="265" y="166"/>
                    </a:lnTo>
                    <a:lnTo>
                      <a:pt x="265" y="166"/>
                    </a:lnTo>
                    <a:lnTo>
                      <a:pt x="265" y="155"/>
                    </a:lnTo>
                    <a:lnTo>
                      <a:pt x="262" y="145"/>
                    </a:lnTo>
                    <a:lnTo>
                      <a:pt x="260" y="136"/>
                    </a:lnTo>
                    <a:lnTo>
                      <a:pt x="257" y="126"/>
                    </a:lnTo>
                    <a:lnTo>
                      <a:pt x="253" y="118"/>
                    </a:lnTo>
                    <a:lnTo>
                      <a:pt x="248" y="110"/>
                    </a:lnTo>
                    <a:lnTo>
                      <a:pt x="242" y="103"/>
                    </a:lnTo>
                    <a:lnTo>
                      <a:pt x="236" y="95"/>
                    </a:lnTo>
                    <a:lnTo>
                      <a:pt x="228" y="88"/>
                    </a:lnTo>
                    <a:lnTo>
                      <a:pt x="221" y="83"/>
                    </a:lnTo>
                    <a:lnTo>
                      <a:pt x="213" y="78"/>
                    </a:lnTo>
                    <a:lnTo>
                      <a:pt x="205" y="74"/>
                    </a:lnTo>
                    <a:lnTo>
                      <a:pt x="195" y="70"/>
                    </a:lnTo>
                    <a:lnTo>
                      <a:pt x="186" y="67"/>
                    </a:lnTo>
                    <a:lnTo>
                      <a:pt x="176" y="66"/>
                    </a:lnTo>
                    <a:lnTo>
                      <a:pt x="165" y="66"/>
                    </a:lnTo>
                    <a:lnTo>
                      <a:pt x="165"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469" name="Freeform 76">
                <a:extLst>
                  <a:ext uri="{FF2B5EF4-FFF2-40B4-BE49-F238E27FC236}">
                    <a16:creationId xmlns:a16="http://schemas.microsoft.com/office/drawing/2014/main" id="{1ED1E351-BA25-485E-979D-B3BF0D896379}"/>
                  </a:ext>
                </a:extLst>
              </p:cNvPr>
              <p:cNvSpPr>
                <a:spLocks/>
              </p:cNvSpPr>
              <p:nvPr/>
            </p:nvSpPr>
            <p:spPr bwMode="auto">
              <a:xfrm>
                <a:off x="4870450" y="3302001"/>
                <a:ext cx="165100" cy="195263"/>
              </a:xfrm>
              <a:custGeom>
                <a:avLst/>
                <a:gdLst>
                  <a:gd name="T0" fmla="*/ 327 w 728"/>
                  <a:gd name="T1" fmla="*/ 859 h 861"/>
                  <a:gd name="T2" fmla="*/ 257 w 728"/>
                  <a:gd name="T3" fmla="*/ 845 h 861"/>
                  <a:gd name="T4" fmla="*/ 190 w 728"/>
                  <a:gd name="T5" fmla="*/ 817 h 861"/>
                  <a:gd name="T6" fmla="*/ 132 w 728"/>
                  <a:gd name="T7" fmla="*/ 778 h 861"/>
                  <a:gd name="T8" fmla="*/ 84 w 728"/>
                  <a:gd name="T9" fmla="*/ 728 h 861"/>
                  <a:gd name="T10" fmla="*/ 44 w 728"/>
                  <a:gd name="T11" fmla="*/ 670 h 861"/>
                  <a:gd name="T12" fmla="*/ 16 w 728"/>
                  <a:gd name="T13" fmla="*/ 605 h 861"/>
                  <a:gd name="T14" fmla="*/ 2 w 728"/>
                  <a:gd name="T15" fmla="*/ 534 h 861"/>
                  <a:gd name="T16" fmla="*/ 0 w 728"/>
                  <a:gd name="T17" fmla="*/ 165 h 861"/>
                  <a:gd name="T18" fmla="*/ 13 w 728"/>
                  <a:gd name="T19" fmla="*/ 101 h 861"/>
                  <a:gd name="T20" fmla="*/ 49 w 728"/>
                  <a:gd name="T21" fmla="*/ 48 h 861"/>
                  <a:gd name="T22" fmla="*/ 101 w 728"/>
                  <a:gd name="T23" fmla="*/ 13 h 861"/>
                  <a:gd name="T24" fmla="*/ 165 w 728"/>
                  <a:gd name="T25" fmla="*/ 0 h 861"/>
                  <a:gd name="T26" fmla="*/ 184 w 728"/>
                  <a:gd name="T27" fmla="*/ 6 h 861"/>
                  <a:gd name="T28" fmla="*/ 198 w 728"/>
                  <a:gd name="T29" fmla="*/ 27 h 861"/>
                  <a:gd name="T30" fmla="*/ 197 w 728"/>
                  <a:gd name="T31" fmla="*/ 46 h 861"/>
                  <a:gd name="T32" fmla="*/ 179 w 728"/>
                  <a:gd name="T33" fmla="*/ 64 h 861"/>
                  <a:gd name="T34" fmla="*/ 155 w 728"/>
                  <a:gd name="T35" fmla="*/ 67 h 861"/>
                  <a:gd name="T36" fmla="*/ 118 w 728"/>
                  <a:gd name="T37" fmla="*/ 78 h 861"/>
                  <a:gd name="T38" fmla="*/ 89 w 728"/>
                  <a:gd name="T39" fmla="*/ 102 h 861"/>
                  <a:gd name="T40" fmla="*/ 70 w 728"/>
                  <a:gd name="T41" fmla="*/ 136 h 861"/>
                  <a:gd name="T42" fmla="*/ 66 w 728"/>
                  <a:gd name="T43" fmla="*/ 497 h 861"/>
                  <a:gd name="T44" fmla="*/ 69 w 728"/>
                  <a:gd name="T45" fmla="*/ 542 h 861"/>
                  <a:gd name="T46" fmla="*/ 85 w 728"/>
                  <a:gd name="T47" fmla="*/ 599 h 861"/>
                  <a:gd name="T48" fmla="*/ 110 w 728"/>
                  <a:gd name="T49" fmla="*/ 651 h 861"/>
                  <a:gd name="T50" fmla="*/ 144 w 728"/>
                  <a:gd name="T51" fmla="*/ 697 h 861"/>
                  <a:gd name="T52" fmla="*/ 186 w 728"/>
                  <a:gd name="T53" fmla="*/ 735 h 861"/>
                  <a:gd name="T54" fmla="*/ 235 w 728"/>
                  <a:gd name="T55" fmla="*/ 765 h 861"/>
                  <a:gd name="T56" fmla="*/ 290 w 728"/>
                  <a:gd name="T57" fmla="*/ 786 h 861"/>
                  <a:gd name="T58" fmla="*/ 349 w 728"/>
                  <a:gd name="T59" fmla="*/ 794 h 861"/>
                  <a:gd name="T60" fmla="*/ 395 w 728"/>
                  <a:gd name="T61" fmla="*/ 793 h 861"/>
                  <a:gd name="T62" fmla="*/ 453 w 728"/>
                  <a:gd name="T63" fmla="*/ 782 h 861"/>
                  <a:gd name="T64" fmla="*/ 506 w 728"/>
                  <a:gd name="T65" fmla="*/ 759 h 861"/>
                  <a:gd name="T66" fmla="*/ 554 w 728"/>
                  <a:gd name="T67" fmla="*/ 727 h 861"/>
                  <a:gd name="T68" fmla="*/ 594 w 728"/>
                  <a:gd name="T69" fmla="*/ 687 h 861"/>
                  <a:gd name="T70" fmla="*/ 626 w 728"/>
                  <a:gd name="T71" fmla="*/ 639 h 861"/>
                  <a:gd name="T72" fmla="*/ 649 w 728"/>
                  <a:gd name="T73" fmla="*/ 585 h 861"/>
                  <a:gd name="T74" fmla="*/ 661 w 728"/>
                  <a:gd name="T75" fmla="*/ 527 h 861"/>
                  <a:gd name="T76" fmla="*/ 662 w 728"/>
                  <a:gd name="T77" fmla="*/ 165 h 861"/>
                  <a:gd name="T78" fmla="*/ 655 w 728"/>
                  <a:gd name="T79" fmla="*/ 127 h 861"/>
                  <a:gd name="T80" fmla="*/ 633 w 728"/>
                  <a:gd name="T81" fmla="*/ 96 h 861"/>
                  <a:gd name="T82" fmla="*/ 602 w 728"/>
                  <a:gd name="T83" fmla="*/ 74 h 861"/>
                  <a:gd name="T84" fmla="*/ 563 w 728"/>
                  <a:gd name="T85" fmla="*/ 66 h 861"/>
                  <a:gd name="T86" fmla="*/ 544 w 728"/>
                  <a:gd name="T87" fmla="*/ 61 h 861"/>
                  <a:gd name="T88" fmla="*/ 531 w 728"/>
                  <a:gd name="T89" fmla="*/ 40 h 861"/>
                  <a:gd name="T90" fmla="*/ 533 w 728"/>
                  <a:gd name="T91" fmla="*/ 20 h 861"/>
                  <a:gd name="T92" fmla="*/ 550 w 728"/>
                  <a:gd name="T93" fmla="*/ 3 h 861"/>
                  <a:gd name="T94" fmla="*/ 580 w 728"/>
                  <a:gd name="T95" fmla="*/ 1 h 861"/>
                  <a:gd name="T96" fmla="*/ 642 w 728"/>
                  <a:gd name="T97" fmla="*/ 20 h 861"/>
                  <a:gd name="T98" fmla="*/ 691 w 728"/>
                  <a:gd name="T99" fmla="*/ 61 h 861"/>
                  <a:gd name="T100" fmla="*/ 721 w 728"/>
                  <a:gd name="T101" fmla="*/ 117 h 861"/>
                  <a:gd name="T102" fmla="*/ 728 w 728"/>
                  <a:gd name="T103" fmla="*/ 497 h 861"/>
                  <a:gd name="T104" fmla="*/ 724 w 728"/>
                  <a:gd name="T105" fmla="*/ 552 h 861"/>
                  <a:gd name="T106" fmla="*/ 707 w 728"/>
                  <a:gd name="T107" fmla="*/ 621 h 861"/>
                  <a:gd name="T108" fmla="*/ 676 w 728"/>
                  <a:gd name="T109" fmla="*/ 686 h 861"/>
                  <a:gd name="T110" fmla="*/ 634 w 728"/>
                  <a:gd name="T111" fmla="*/ 741 h 861"/>
                  <a:gd name="T112" fmla="*/ 583 w 728"/>
                  <a:gd name="T113" fmla="*/ 789 h 861"/>
                  <a:gd name="T114" fmla="*/ 523 w 728"/>
                  <a:gd name="T115" fmla="*/ 825 h 861"/>
                  <a:gd name="T116" fmla="*/ 455 w 728"/>
                  <a:gd name="T117" fmla="*/ 850 h 861"/>
                  <a:gd name="T118" fmla="*/ 383 w 728"/>
                  <a:gd name="T119" fmla="*/ 86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28" h="861">
                    <a:moveTo>
                      <a:pt x="364" y="861"/>
                    </a:moveTo>
                    <a:lnTo>
                      <a:pt x="364" y="861"/>
                    </a:lnTo>
                    <a:lnTo>
                      <a:pt x="346" y="860"/>
                    </a:lnTo>
                    <a:lnTo>
                      <a:pt x="327" y="859"/>
                    </a:lnTo>
                    <a:lnTo>
                      <a:pt x="309" y="857"/>
                    </a:lnTo>
                    <a:lnTo>
                      <a:pt x="291" y="853"/>
                    </a:lnTo>
                    <a:lnTo>
                      <a:pt x="273" y="850"/>
                    </a:lnTo>
                    <a:lnTo>
                      <a:pt x="257" y="845"/>
                    </a:lnTo>
                    <a:lnTo>
                      <a:pt x="239" y="839"/>
                    </a:lnTo>
                    <a:lnTo>
                      <a:pt x="222" y="833"/>
                    </a:lnTo>
                    <a:lnTo>
                      <a:pt x="207" y="825"/>
                    </a:lnTo>
                    <a:lnTo>
                      <a:pt x="190" y="817"/>
                    </a:lnTo>
                    <a:lnTo>
                      <a:pt x="176" y="809"/>
                    </a:lnTo>
                    <a:lnTo>
                      <a:pt x="160" y="798"/>
                    </a:lnTo>
                    <a:lnTo>
                      <a:pt x="147" y="789"/>
                    </a:lnTo>
                    <a:lnTo>
                      <a:pt x="132" y="778"/>
                    </a:lnTo>
                    <a:lnTo>
                      <a:pt x="120" y="766"/>
                    </a:lnTo>
                    <a:lnTo>
                      <a:pt x="106" y="754"/>
                    </a:lnTo>
                    <a:lnTo>
                      <a:pt x="95" y="741"/>
                    </a:lnTo>
                    <a:lnTo>
                      <a:pt x="84" y="728"/>
                    </a:lnTo>
                    <a:lnTo>
                      <a:pt x="72" y="715"/>
                    </a:lnTo>
                    <a:lnTo>
                      <a:pt x="62" y="700"/>
                    </a:lnTo>
                    <a:lnTo>
                      <a:pt x="53" y="686"/>
                    </a:lnTo>
                    <a:lnTo>
                      <a:pt x="44" y="670"/>
                    </a:lnTo>
                    <a:lnTo>
                      <a:pt x="36" y="655"/>
                    </a:lnTo>
                    <a:lnTo>
                      <a:pt x="29" y="638"/>
                    </a:lnTo>
                    <a:lnTo>
                      <a:pt x="22" y="621"/>
                    </a:lnTo>
                    <a:lnTo>
                      <a:pt x="16" y="605"/>
                    </a:lnTo>
                    <a:lnTo>
                      <a:pt x="11" y="587"/>
                    </a:lnTo>
                    <a:lnTo>
                      <a:pt x="7" y="570"/>
                    </a:lnTo>
                    <a:lnTo>
                      <a:pt x="4" y="552"/>
                    </a:lnTo>
                    <a:lnTo>
                      <a:pt x="2" y="534"/>
                    </a:lnTo>
                    <a:lnTo>
                      <a:pt x="0" y="516"/>
                    </a:lnTo>
                    <a:lnTo>
                      <a:pt x="0" y="497"/>
                    </a:lnTo>
                    <a:lnTo>
                      <a:pt x="0" y="165"/>
                    </a:lnTo>
                    <a:lnTo>
                      <a:pt x="0" y="165"/>
                    </a:lnTo>
                    <a:lnTo>
                      <a:pt x="1" y="149"/>
                    </a:lnTo>
                    <a:lnTo>
                      <a:pt x="3" y="132"/>
                    </a:lnTo>
                    <a:lnTo>
                      <a:pt x="7" y="117"/>
                    </a:lnTo>
                    <a:lnTo>
                      <a:pt x="13" y="101"/>
                    </a:lnTo>
                    <a:lnTo>
                      <a:pt x="20" y="87"/>
                    </a:lnTo>
                    <a:lnTo>
                      <a:pt x="28" y="73"/>
                    </a:lnTo>
                    <a:lnTo>
                      <a:pt x="38" y="61"/>
                    </a:lnTo>
                    <a:lnTo>
                      <a:pt x="49" y="48"/>
                    </a:lnTo>
                    <a:lnTo>
                      <a:pt x="60" y="38"/>
                    </a:lnTo>
                    <a:lnTo>
                      <a:pt x="73" y="29"/>
                    </a:lnTo>
                    <a:lnTo>
                      <a:pt x="87" y="20"/>
                    </a:lnTo>
                    <a:lnTo>
                      <a:pt x="101" y="13"/>
                    </a:lnTo>
                    <a:lnTo>
                      <a:pt x="117" y="8"/>
                    </a:lnTo>
                    <a:lnTo>
                      <a:pt x="132" y="4"/>
                    </a:lnTo>
                    <a:lnTo>
                      <a:pt x="149" y="1"/>
                    </a:lnTo>
                    <a:lnTo>
                      <a:pt x="165" y="0"/>
                    </a:lnTo>
                    <a:lnTo>
                      <a:pt x="165" y="0"/>
                    </a:lnTo>
                    <a:lnTo>
                      <a:pt x="173" y="1"/>
                    </a:lnTo>
                    <a:lnTo>
                      <a:pt x="179" y="3"/>
                    </a:lnTo>
                    <a:lnTo>
                      <a:pt x="184" y="6"/>
                    </a:lnTo>
                    <a:lnTo>
                      <a:pt x="189" y="10"/>
                    </a:lnTo>
                    <a:lnTo>
                      <a:pt x="193" y="14"/>
                    </a:lnTo>
                    <a:lnTo>
                      <a:pt x="197" y="20"/>
                    </a:lnTo>
                    <a:lnTo>
                      <a:pt x="198" y="27"/>
                    </a:lnTo>
                    <a:lnTo>
                      <a:pt x="199" y="33"/>
                    </a:lnTo>
                    <a:lnTo>
                      <a:pt x="199" y="33"/>
                    </a:lnTo>
                    <a:lnTo>
                      <a:pt x="198" y="40"/>
                    </a:lnTo>
                    <a:lnTo>
                      <a:pt x="197" y="46"/>
                    </a:lnTo>
                    <a:lnTo>
                      <a:pt x="193" y="51"/>
                    </a:lnTo>
                    <a:lnTo>
                      <a:pt x="189" y="57"/>
                    </a:lnTo>
                    <a:lnTo>
                      <a:pt x="184" y="61"/>
                    </a:lnTo>
                    <a:lnTo>
                      <a:pt x="179" y="64"/>
                    </a:lnTo>
                    <a:lnTo>
                      <a:pt x="173" y="66"/>
                    </a:lnTo>
                    <a:lnTo>
                      <a:pt x="165" y="66"/>
                    </a:lnTo>
                    <a:lnTo>
                      <a:pt x="165" y="66"/>
                    </a:lnTo>
                    <a:lnTo>
                      <a:pt x="155" y="67"/>
                    </a:lnTo>
                    <a:lnTo>
                      <a:pt x="146" y="68"/>
                    </a:lnTo>
                    <a:lnTo>
                      <a:pt x="136" y="71"/>
                    </a:lnTo>
                    <a:lnTo>
                      <a:pt x="127" y="74"/>
                    </a:lnTo>
                    <a:lnTo>
                      <a:pt x="118" y="78"/>
                    </a:lnTo>
                    <a:lnTo>
                      <a:pt x="110" y="83"/>
                    </a:lnTo>
                    <a:lnTo>
                      <a:pt x="102" y="89"/>
                    </a:lnTo>
                    <a:lnTo>
                      <a:pt x="95" y="96"/>
                    </a:lnTo>
                    <a:lnTo>
                      <a:pt x="89" y="102"/>
                    </a:lnTo>
                    <a:lnTo>
                      <a:pt x="83" y="110"/>
                    </a:lnTo>
                    <a:lnTo>
                      <a:pt x="79" y="119"/>
                    </a:lnTo>
                    <a:lnTo>
                      <a:pt x="74" y="127"/>
                    </a:lnTo>
                    <a:lnTo>
                      <a:pt x="70" y="136"/>
                    </a:lnTo>
                    <a:lnTo>
                      <a:pt x="68" y="146"/>
                    </a:lnTo>
                    <a:lnTo>
                      <a:pt x="67" y="156"/>
                    </a:lnTo>
                    <a:lnTo>
                      <a:pt x="66" y="165"/>
                    </a:lnTo>
                    <a:lnTo>
                      <a:pt x="66" y="497"/>
                    </a:lnTo>
                    <a:lnTo>
                      <a:pt x="66" y="497"/>
                    </a:lnTo>
                    <a:lnTo>
                      <a:pt x="66" y="512"/>
                    </a:lnTo>
                    <a:lnTo>
                      <a:pt x="68" y="527"/>
                    </a:lnTo>
                    <a:lnTo>
                      <a:pt x="69" y="542"/>
                    </a:lnTo>
                    <a:lnTo>
                      <a:pt x="72" y="557"/>
                    </a:lnTo>
                    <a:lnTo>
                      <a:pt x="75" y="571"/>
                    </a:lnTo>
                    <a:lnTo>
                      <a:pt x="80" y="585"/>
                    </a:lnTo>
                    <a:lnTo>
                      <a:pt x="85" y="599"/>
                    </a:lnTo>
                    <a:lnTo>
                      <a:pt x="90" y="613"/>
                    </a:lnTo>
                    <a:lnTo>
                      <a:pt x="96" y="626"/>
                    </a:lnTo>
                    <a:lnTo>
                      <a:pt x="102" y="639"/>
                    </a:lnTo>
                    <a:lnTo>
                      <a:pt x="110" y="651"/>
                    </a:lnTo>
                    <a:lnTo>
                      <a:pt x="117" y="663"/>
                    </a:lnTo>
                    <a:lnTo>
                      <a:pt x="125" y="675"/>
                    </a:lnTo>
                    <a:lnTo>
                      <a:pt x="134" y="687"/>
                    </a:lnTo>
                    <a:lnTo>
                      <a:pt x="144" y="697"/>
                    </a:lnTo>
                    <a:lnTo>
                      <a:pt x="154" y="707"/>
                    </a:lnTo>
                    <a:lnTo>
                      <a:pt x="164" y="718"/>
                    </a:lnTo>
                    <a:lnTo>
                      <a:pt x="175" y="727"/>
                    </a:lnTo>
                    <a:lnTo>
                      <a:pt x="186" y="735"/>
                    </a:lnTo>
                    <a:lnTo>
                      <a:pt x="198" y="744"/>
                    </a:lnTo>
                    <a:lnTo>
                      <a:pt x="210" y="752"/>
                    </a:lnTo>
                    <a:lnTo>
                      <a:pt x="222" y="759"/>
                    </a:lnTo>
                    <a:lnTo>
                      <a:pt x="235" y="765"/>
                    </a:lnTo>
                    <a:lnTo>
                      <a:pt x="248" y="771"/>
                    </a:lnTo>
                    <a:lnTo>
                      <a:pt x="262" y="777"/>
                    </a:lnTo>
                    <a:lnTo>
                      <a:pt x="276" y="782"/>
                    </a:lnTo>
                    <a:lnTo>
                      <a:pt x="290" y="786"/>
                    </a:lnTo>
                    <a:lnTo>
                      <a:pt x="304" y="789"/>
                    </a:lnTo>
                    <a:lnTo>
                      <a:pt x="319" y="791"/>
                    </a:lnTo>
                    <a:lnTo>
                      <a:pt x="334" y="793"/>
                    </a:lnTo>
                    <a:lnTo>
                      <a:pt x="349" y="794"/>
                    </a:lnTo>
                    <a:lnTo>
                      <a:pt x="364" y="795"/>
                    </a:lnTo>
                    <a:lnTo>
                      <a:pt x="364" y="795"/>
                    </a:lnTo>
                    <a:lnTo>
                      <a:pt x="380" y="794"/>
                    </a:lnTo>
                    <a:lnTo>
                      <a:pt x="395" y="793"/>
                    </a:lnTo>
                    <a:lnTo>
                      <a:pt x="410" y="791"/>
                    </a:lnTo>
                    <a:lnTo>
                      <a:pt x="424" y="789"/>
                    </a:lnTo>
                    <a:lnTo>
                      <a:pt x="439" y="786"/>
                    </a:lnTo>
                    <a:lnTo>
                      <a:pt x="453" y="782"/>
                    </a:lnTo>
                    <a:lnTo>
                      <a:pt x="467" y="777"/>
                    </a:lnTo>
                    <a:lnTo>
                      <a:pt x="480" y="771"/>
                    </a:lnTo>
                    <a:lnTo>
                      <a:pt x="494" y="765"/>
                    </a:lnTo>
                    <a:lnTo>
                      <a:pt x="506" y="759"/>
                    </a:lnTo>
                    <a:lnTo>
                      <a:pt x="518" y="752"/>
                    </a:lnTo>
                    <a:lnTo>
                      <a:pt x="531" y="744"/>
                    </a:lnTo>
                    <a:lnTo>
                      <a:pt x="542" y="735"/>
                    </a:lnTo>
                    <a:lnTo>
                      <a:pt x="554" y="727"/>
                    </a:lnTo>
                    <a:lnTo>
                      <a:pt x="565" y="718"/>
                    </a:lnTo>
                    <a:lnTo>
                      <a:pt x="575" y="707"/>
                    </a:lnTo>
                    <a:lnTo>
                      <a:pt x="585" y="697"/>
                    </a:lnTo>
                    <a:lnTo>
                      <a:pt x="594" y="687"/>
                    </a:lnTo>
                    <a:lnTo>
                      <a:pt x="603" y="675"/>
                    </a:lnTo>
                    <a:lnTo>
                      <a:pt x="611" y="663"/>
                    </a:lnTo>
                    <a:lnTo>
                      <a:pt x="619" y="651"/>
                    </a:lnTo>
                    <a:lnTo>
                      <a:pt x="626" y="639"/>
                    </a:lnTo>
                    <a:lnTo>
                      <a:pt x="633" y="626"/>
                    </a:lnTo>
                    <a:lnTo>
                      <a:pt x="639" y="613"/>
                    </a:lnTo>
                    <a:lnTo>
                      <a:pt x="645" y="599"/>
                    </a:lnTo>
                    <a:lnTo>
                      <a:pt x="649" y="585"/>
                    </a:lnTo>
                    <a:lnTo>
                      <a:pt x="653" y="571"/>
                    </a:lnTo>
                    <a:lnTo>
                      <a:pt x="656" y="557"/>
                    </a:lnTo>
                    <a:lnTo>
                      <a:pt x="659" y="542"/>
                    </a:lnTo>
                    <a:lnTo>
                      <a:pt x="661" y="527"/>
                    </a:lnTo>
                    <a:lnTo>
                      <a:pt x="662" y="512"/>
                    </a:lnTo>
                    <a:lnTo>
                      <a:pt x="662" y="497"/>
                    </a:lnTo>
                    <a:lnTo>
                      <a:pt x="662" y="165"/>
                    </a:lnTo>
                    <a:lnTo>
                      <a:pt x="662" y="165"/>
                    </a:lnTo>
                    <a:lnTo>
                      <a:pt x="662" y="156"/>
                    </a:lnTo>
                    <a:lnTo>
                      <a:pt x="660" y="146"/>
                    </a:lnTo>
                    <a:lnTo>
                      <a:pt x="658" y="136"/>
                    </a:lnTo>
                    <a:lnTo>
                      <a:pt x="655" y="127"/>
                    </a:lnTo>
                    <a:lnTo>
                      <a:pt x="651" y="119"/>
                    </a:lnTo>
                    <a:lnTo>
                      <a:pt x="646" y="110"/>
                    </a:lnTo>
                    <a:lnTo>
                      <a:pt x="639" y="102"/>
                    </a:lnTo>
                    <a:lnTo>
                      <a:pt x="633" y="96"/>
                    </a:lnTo>
                    <a:lnTo>
                      <a:pt x="626" y="89"/>
                    </a:lnTo>
                    <a:lnTo>
                      <a:pt x="619" y="83"/>
                    </a:lnTo>
                    <a:lnTo>
                      <a:pt x="610" y="78"/>
                    </a:lnTo>
                    <a:lnTo>
                      <a:pt x="602" y="74"/>
                    </a:lnTo>
                    <a:lnTo>
                      <a:pt x="593" y="71"/>
                    </a:lnTo>
                    <a:lnTo>
                      <a:pt x="584" y="68"/>
                    </a:lnTo>
                    <a:lnTo>
                      <a:pt x="573" y="67"/>
                    </a:lnTo>
                    <a:lnTo>
                      <a:pt x="563" y="66"/>
                    </a:lnTo>
                    <a:lnTo>
                      <a:pt x="563" y="66"/>
                    </a:lnTo>
                    <a:lnTo>
                      <a:pt x="557" y="66"/>
                    </a:lnTo>
                    <a:lnTo>
                      <a:pt x="550" y="64"/>
                    </a:lnTo>
                    <a:lnTo>
                      <a:pt x="544" y="61"/>
                    </a:lnTo>
                    <a:lnTo>
                      <a:pt x="540" y="57"/>
                    </a:lnTo>
                    <a:lnTo>
                      <a:pt x="536" y="51"/>
                    </a:lnTo>
                    <a:lnTo>
                      <a:pt x="533" y="46"/>
                    </a:lnTo>
                    <a:lnTo>
                      <a:pt x="531" y="40"/>
                    </a:lnTo>
                    <a:lnTo>
                      <a:pt x="530" y="33"/>
                    </a:lnTo>
                    <a:lnTo>
                      <a:pt x="530" y="33"/>
                    </a:lnTo>
                    <a:lnTo>
                      <a:pt x="531" y="27"/>
                    </a:lnTo>
                    <a:lnTo>
                      <a:pt x="533" y="20"/>
                    </a:lnTo>
                    <a:lnTo>
                      <a:pt x="536" y="14"/>
                    </a:lnTo>
                    <a:lnTo>
                      <a:pt x="540" y="10"/>
                    </a:lnTo>
                    <a:lnTo>
                      <a:pt x="544" y="6"/>
                    </a:lnTo>
                    <a:lnTo>
                      <a:pt x="550" y="3"/>
                    </a:lnTo>
                    <a:lnTo>
                      <a:pt x="557" y="1"/>
                    </a:lnTo>
                    <a:lnTo>
                      <a:pt x="563" y="0"/>
                    </a:lnTo>
                    <a:lnTo>
                      <a:pt x="563" y="0"/>
                    </a:lnTo>
                    <a:lnTo>
                      <a:pt x="580" y="1"/>
                    </a:lnTo>
                    <a:lnTo>
                      <a:pt x="596" y="4"/>
                    </a:lnTo>
                    <a:lnTo>
                      <a:pt x="613" y="8"/>
                    </a:lnTo>
                    <a:lnTo>
                      <a:pt x="627" y="13"/>
                    </a:lnTo>
                    <a:lnTo>
                      <a:pt x="642" y="20"/>
                    </a:lnTo>
                    <a:lnTo>
                      <a:pt x="656" y="29"/>
                    </a:lnTo>
                    <a:lnTo>
                      <a:pt x="668" y="38"/>
                    </a:lnTo>
                    <a:lnTo>
                      <a:pt x="680" y="48"/>
                    </a:lnTo>
                    <a:lnTo>
                      <a:pt x="691" y="61"/>
                    </a:lnTo>
                    <a:lnTo>
                      <a:pt x="700" y="73"/>
                    </a:lnTo>
                    <a:lnTo>
                      <a:pt x="709" y="87"/>
                    </a:lnTo>
                    <a:lnTo>
                      <a:pt x="716" y="101"/>
                    </a:lnTo>
                    <a:lnTo>
                      <a:pt x="721" y="117"/>
                    </a:lnTo>
                    <a:lnTo>
                      <a:pt x="725" y="132"/>
                    </a:lnTo>
                    <a:lnTo>
                      <a:pt x="727" y="149"/>
                    </a:lnTo>
                    <a:lnTo>
                      <a:pt x="728" y="165"/>
                    </a:lnTo>
                    <a:lnTo>
                      <a:pt x="728" y="497"/>
                    </a:lnTo>
                    <a:lnTo>
                      <a:pt x="728" y="497"/>
                    </a:lnTo>
                    <a:lnTo>
                      <a:pt x="728" y="516"/>
                    </a:lnTo>
                    <a:lnTo>
                      <a:pt x="726" y="534"/>
                    </a:lnTo>
                    <a:lnTo>
                      <a:pt x="724" y="552"/>
                    </a:lnTo>
                    <a:lnTo>
                      <a:pt x="721" y="570"/>
                    </a:lnTo>
                    <a:lnTo>
                      <a:pt x="717" y="587"/>
                    </a:lnTo>
                    <a:lnTo>
                      <a:pt x="712" y="605"/>
                    </a:lnTo>
                    <a:lnTo>
                      <a:pt x="707" y="621"/>
                    </a:lnTo>
                    <a:lnTo>
                      <a:pt x="700" y="638"/>
                    </a:lnTo>
                    <a:lnTo>
                      <a:pt x="692" y="655"/>
                    </a:lnTo>
                    <a:lnTo>
                      <a:pt x="685" y="670"/>
                    </a:lnTo>
                    <a:lnTo>
                      <a:pt x="676" y="686"/>
                    </a:lnTo>
                    <a:lnTo>
                      <a:pt x="666" y="700"/>
                    </a:lnTo>
                    <a:lnTo>
                      <a:pt x="656" y="715"/>
                    </a:lnTo>
                    <a:lnTo>
                      <a:pt x="646" y="728"/>
                    </a:lnTo>
                    <a:lnTo>
                      <a:pt x="634" y="741"/>
                    </a:lnTo>
                    <a:lnTo>
                      <a:pt x="622" y="754"/>
                    </a:lnTo>
                    <a:lnTo>
                      <a:pt x="609" y="766"/>
                    </a:lnTo>
                    <a:lnTo>
                      <a:pt x="596" y="778"/>
                    </a:lnTo>
                    <a:lnTo>
                      <a:pt x="583" y="789"/>
                    </a:lnTo>
                    <a:lnTo>
                      <a:pt x="568" y="798"/>
                    </a:lnTo>
                    <a:lnTo>
                      <a:pt x="554" y="809"/>
                    </a:lnTo>
                    <a:lnTo>
                      <a:pt x="538" y="817"/>
                    </a:lnTo>
                    <a:lnTo>
                      <a:pt x="523" y="825"/>
                    </a:lnTo>
                    <a:lnTo>
                      <a:pt x="506" y="833"/>
                    </a:lnTo>
                    <a:lnTo>
                      <a:pt x="489" y="839"/>
                    </a:lnTo>
                    <a:lnTo>
                      <a:pt x="473" y="845"/>
                    </a:lnTo>
                    <a:lnTo>
                      <a:pt x="455" y="850"/>
                    </a:lnTo>
                    <a:lnTo>
                      <a:pt x="438" y="853"/>
                    </a:lnTo>
                    <a:lnTo>
                      <a:pt x="420" y="857"/>
                    </a:lnTo>
                    <a:lnTo>
                      <a:pt x="401" y="859"/>
                    </a:lnTo>
                    <a:lnTo>
                      <a:pt x="383" y="860"/>
                    </a:lnTo>
                    <a:lnTo>
                      <a:pt x="364" y="861"/>
                    </a:lnTo>
                    <a:lnTo>
                      <a:pt x="364" y="8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470" name="Freeform 77">
                <a:extLst>
                  <a:ext uri="{FF2B5EF4-FFF2-40B4-BE49-F238E27FC236}">
                    <a16:creationId xmlns:a16="http://schemas.microsoft.com/office/drawing/2014/main" id="{3689C069-FE10-4C1B-B58F-C6112C7C2865}"/>
                  </a:ext>
                </a:extLst>
              </p:cNvPr>
              <p:cNvSpPr>
                <a:spLocks/>
              </p:cNvSpPr>
              <p:nvPr/>
            </p:nvSpPr>
            <p:spPr bwMode="auto">
              <a:xfrm>
                <a:off x="4945063" y="3459163"/>
                <a:ext cx="211138" cy="179388"/>
              </a:xfrm>
              <a:custGeom>
                <a:avLst/>
                <a:gdLst>
                  <a:gd name="T0" fmla="*/ 133 w 927"/>
                  <a:gd name="T1" fmla="*/ 791 h 794"/>
                  <a:gd name="T2" fmla="*/ 74 w 927"/>
                  <a:gd name="T3" fmla="*/ 766 h 794"/>
                  <a:gd name="T4" fmla="*/ 29 w 927"/>
                  <a:gd name="T5" fmla="*/ 721 h 794"/>
                  <a:gd name="T6" fmla="*/ 3 w 927"/>
                  <a:gd name="T7" fmla="*/ 662 h 794"/>
                  <a:gd name="T8" fmla="*/ 0 w 927"/>
                  <a:gd name="T9" fmla="*/ 132 h 794"/>
                  <a:gd name="T10" fmla="*/ 10 w 927"/>
                  <a:gd name="T11" fmla="*/ 109 h 794"/>
                  <a:gd name="T12" fmla="*/ 33 w 927"/>
                  <a:gd name="T13" fmla="*/ 99 h 794"/>
                  <a:gd name="T14" fmla="*/ 52 w 927"/>
                  <a:gd name="T15" fmla="*/ 104 h 794"/>
                  <a:gd name="T16" fmla="*/ 66 w 927"/>
                  <a:gd name="T17" fmla="*/ 125 h 794"/>
                  <a:gd name="T18" fmla="*/ 67 w 927"/>
                  <a:gd name="T19" fmla="*/ 639 h 794"/>
                  <a:gd name="T20" fmla="*/ 79 w 927"/>
                  <a:gd name="T21" fmla="*/ 677 h 794"/>
                  <a:gd name="T22" fmla="*/ 103 w 927"/>
                  <a:gd name="T23" fmla="*/ 706 h 794"/>
                  <a:gd name="T24" fmla="*/ 137 w 927"/>
                  <a:gd name="T25" fmla="*/ 723 h 794"/>
                  <a:gd name="T26" fmla="*/ 166 w 927"/>
                  <a:gd name="T27" fmla="*/ 728 h 794"/>
                  <a:gd name="T28" fmla="*/ 205 w 927"/>
                  <a:gd name="T29" fmla="*/ 720 h 794"/>
                  <a:gd name="T30" fmla="*/ 236 w 927"/>
                  <a:gd name="T31" fmla="*/ 699 h 794"/>
                  <a:gd name="T32" fmla="*/ 258 w 927"/>
                  <a:gd name="T33" fmla="*/ 667 h 794"/>
                  <a:gd name="T34" fmla="*/ 265 w 927"/>
                  <a:gd name="T35" fmla="*/ 629 h 794"/>
                  <a:gd name="T36" fmla="*/ 269 w 927"/>
                  <a:gd name="T37" fmla="*/ 258 h 794"/>
                  <a:gd name="T38" fmla="*/ 299 w 927"/>
                  <a:gd name="T39" fmla="*/ 186 h 794"/>
                  <a:gd name="T40" fmla="*/ 353 w 927"/>
                  <a:gd name="T41" fmla="*/ 132 h 794"/>
                  <a:gd name="T42" fmla="*/ 424 w 927"/>
                  <a:gd name="T43" fmla="*/ 103 h 794"/>
                  <a:gd name="T44" fmla="*/ 484 w 927"/>
                  <a:gd name="T45" fmla="*/ 100 h 794"/>
                  <a:gd name="T46" fmla="*/ 559 w 927"/>
                  <a:gd name="T47" fmla="*/ 123 h 794"/>
                  <a:gd name="T48" fmla="*/ 617 w 927"/>
                  <a:gd name="T49" fmla="*/ 172 h 794"/>
                  <a:gd name="T50" fmla="*/ 654 w 927"/>
                  <a:gd name="T51" fmla="*/ 239 h 794"/>
                  <a:gd name="T52" fmla="*/ 662 w 927"/>
                  <a:gd name="T53" fmla="*/ 497 h 794"/>
                  <a:gd name="T54" fmla="*/ 668 w 927"/>
                  <a:gd name="T55" fmla="*/ 525 h 794"/>
                  <a:gd name="T56" fmla="*/ 685 w 927"/>
                  <a:gd name="T57" fmla="*/ 560 h 794"/>
                  <a:gd name="T58" fmla="*/ 715 w 927"/>
                  <a:gd name="T59" fmla="*/ 583 h 794"/>
                  <a:gd name="T60" fmla="*/ 752 w 927"/>
                  <a:gd name="T61" fmla="*/ 595 h 794"/>
                  <a:gd name="T62" fmla="*/ 782 w 927"/>
                  <a:gd name="T63" fmla="*/ 594 h 794"/>
                  <a:gd name="T64" fmla="*/ 818 w 927"/>
                  <a:gd name="T65" fmla="*/ 578 h 794"/>
                  <a:gd name="T66" fmla="*/ 845 w 927"/>
                  <a:gd name="T67" fmla="*/ 551 h 794"/>
                  <a:gd name="T68" fmla="*/ 859 w 927"/>
                  <a:gd name="T69" fmla="*/ 516 h 794"/>
                  <a:gd name="T70" fmla="*/ 861 w 927"/>
                  <a:gd name="T71" fmla="*/ 33 h 794"/>
                  <a:gd name="T72" fmla="*/ 871 w 927"/>
                  <a:gd name="T73" fmla="*/ 9 h 794"/>
                  <a:gd name="T74" fmla="*/ 894 w 927"/>
                  <a:gd name="T75" fmla="*/ 0 h 794"/>
                  <a:gd name="T76" fmla="*/ 913 w 927"/>
                  <a:gd name="T77" fmla="*/ 5 h 794"/>
                  <a:gd name="T78" fmla="*/ 927 w 927"/>
                  <a:gd name="T79" fmla="*/ 26 h 794"/>
                  <a:gd name="T80" fmla="*/ 927 w 927"/>
                  <a:gd name="T81" fmla="*/ 513 h 794"/>
                  <a:gd name="T82" fmla="*/ 908 w 927"/>
                  <a:gd name="T83" fmla="*/ 575 h 794"/>
                  <a:gd name="T84" fmla="*/ 867 w 927"/>
                  <a:gd name="T85" fmla="*/ 624 h 794"/>
                  <a:gd name="T86" fmla="*/ 811 w 927"/>
                  <a:gd name="T87" fmla="*/ 655 h 794"/>
                  <a:gd name="T88" fmla="*/ 762 w 927"/>
                  <a:gd name="T89" fmla="*/ 662 h 794"/>
                  <a:gd name="T90" fmla="*/ 698 w 927"/>
                  <a:gd name="T91" fmla="*/ 649 h 794"/>
                  <a:gd name="T92" fmla="*/ 645 w 927"/>
                  <a:gd name="T93" fmla="*/ 613 h 794"/>
                  <a:gd name="T94" fmla="*/ 610 w 927"/>
                  <a:gd name="T95" fmla="*/ 561 h 794"/>
                  <a:gd name="T96" fmla="*/ 596 w 927"/>
                  <a:gd name="T97" fmla="*/ 497 h 794"/>
                  <a:gd name="T98" fmla="*/ 594 w 927"/>
                  <a:gd name="T99" fmla="*/ 271 h 794"/>
                  <a:gd name="T100" fmla="*/ 573 w 927"/>
                  <a:gd name="T101" fmla="*/ 223 h 794"/>
                  <a:gd name="T102" fmla="*/ 538 w 927"/>
                  <a:gd name="T103" fmla="*/ 188 h 794"/>
                  <a:gd name="T104" fmla="*/ 491 w 927"/>
                  <a:gd name="T105" fmla="*/ 168 h 794"/>
                  <a:gd name="T106" fmla="*/ 450 w 927"/>
                  <a:gd name="T107" fmla="*/ 165 h 794"/>
                  <a:gd name="T108" fmla="*/ 401 w 927"/>
                  <a:gd name="T109" fmla="*/ 181 h 794"/>
                  <a:gd name="T110" fmla="*/ 361 w 927"/>
                  <a:gd name="T111" fmla="*/ 213 h 794"/>
                  <a:gd name="T112" fmla="*/ 337 w 927"/>
                  <a:gd name="T113" fmla="*/ 259 h 794"/>
                  <a:gd name="T114" fmla="*/ 331 w 927"/>
                  <a:gd name="T115" fmla="*/ 629 h 794"/>
                  <a:gd name="T116" fmla="*/ 324 w 927"/>
                  <a:gd name="T117" fmla="*/ 678 h 794"/>
                  <a:gd name="T118" fmla="*/ 294 w 927"/>
                  <a:gd name="T119" fmla="*/ 734 h 794"/>
                  <a:gd name="T120" fmla="*/ 244 w 927"/>
                  <a:gd name="T121" fmla="*/ 774 h 794"/>
                  <a:gd name="T122" fmla="*/ 183 w 927"/>
                  <a:gd name="T123" fmla="*/ 793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7" h="794">
                    <a:moveTo>
                      <a:pt x="166" y="794"/>
                    </a:moveTo>
                    <a:lnTo>
                      <a:pt x="166" y="794"/>
                    </a:lnTo>
                    <a:lnTo>
                      <a:pt x="149" y="793"/>
                    </a:lnTo>
                    <a:lnTo>
                      <a:pt x="133" y="791"/>
                    </a:lnTo>
                    <a:lnTo>
                      <a:pt x="117" y="787"/>
                    </a:lnTo>
                    <a:lnTo>
                      <a:pt x="101" y="781"/>
                    </a:lnTo>
                    <a:lnTo>
                      <a:pt x="87" y="774"/>
                    </a:lnTo>
                    <a:lnTo>
                      <a:pt x="74" y="766"/>
                    </a:lnTo>
                    <a:lnTo>
                      <a:pt x="60" y="756"/>
                    </a:lnTo>
                    <a:lnTo>
                      <a:pt x="49" y="746"/>
                    </a:lnTo>
                    <a:lnTo>
                      <a:pt x="38" y="734"/>
                    </a:lnTo>
                    <a:lnTo>
                      <a:pt x="29" y="721"/>
                    </a:lnTo>
                    <a:lnTo>
                      <a:pt x="20" y="708"/>
                    </a:lnTo>
                    <a:lnTo>
                      <a:pt x="14" y="693"/>
                    </a:lnTo>
                    <a:lnTo>
                      <a:pt x="7" y="678"/>
                    </a:lnTo>
                    <a:lnTo>
                      <a:pt x="3" y="662"/>
                    </a:lnTo>
                    <a:lnTo>
                      <a:pt x="1" y="646"/>
                    </a:lnTo>
                    <a:lnTo>
                      <a:pt x="0" y="629"/>
                    </a:lnTo>
                    <a:lnTo>
                      <a:pt x="0" y="132"/>
                    </a:lnTo>
                    <a:lnTo>
                      <a:pt x="0" y="132"/>
                    </a:lnTo>
                    <a:lnTo>
                      <a:pt x="1" y="125"/>
                    </a:lnTo>
                    <a:lnTo>
                      <a:pt x="3" y="119"/>
                    </a:lnTo>
                    <a:lnTo>
                      <a:pt x="6" y="114"/>
                    </a:lnTo>
                    <a:lnTo>
                      <a:pt x="10" y="109"/>
                    </a:lnTo>
                    <a:lnTo>
                      <a:pt x="15" y="104"/>
                    </a:lnTo>
                    <a:lnTo>
                      <a:pt x="21" y="101"/>
                    </a:lnTo>
                    <a:lnTo>
                      <a:pt x="27" y="99"/>
                    </a:lnTo>
                    <a:lnTo>
                      <a:pt x="33" y="99"/>
                    </a:lnTo>
                    <a:lnTo>
                      <a:pt x="33" y="99"/>
                    </a:lnTo>
                    <a:lnTo>
                      <a:pt x="40" y="99"/>
                    </a:lnTo>
                    <a:lnTo>
                      <a:pt x="47" y="101"/>
                    </a:lnTo>
                    <a:lnTo>
                      <a:pt x="52" y="104"/>
                    </a:lnTo>
                    <a:lnTo>
                      <a:pt x="57" y="109"/>
                    </a:lnTo>
                    <a:lnTo>
                      <a:pt x="61" y="114"/>
                    </a:lnTo>
                    <a:lnTo>
                      <a:pt x="64" y="119"/>
                    </a:lnTo>
                    <a:lnTo>
                      <a:pt x="66" y="125"/>
                    </a:lnTo>
                    <a:lnTo>
                      <a:pt x="66" y="132"/>
                    </a:lnTo>
                    <a:lnTo>
                      <a:pt x="66" y="629"/>
                    </a:lnTo>
                    <a:lnTo>
                      <a:pt x="66" y="629"/>
                    </a:lnTo>
                    <a:lnTo>
                      <a:pt x="67" y="639"/>
                    </a:lnTo>
                    <a:lnTo>
                      <a:pt x="68" y="649"/>
                    </a:lnTo>
                    <a:lnTo>
                      <a:pt x="70" y="658"/>
                    </a:lnTo>
                    <a:lnTo>
                      <a:pt x="75" y="667"/>
                    </a:lnTo>
                    <a:lnTo>
                      <a:pt x="79" y="677"/>
                    </a:lnTo>
                    <a:lnTo>
                      <a:pt x="84" y="684"/>
                    </a:lnTo>
                    <a:lnTo>
                      <a:pt x="89" y="692"/>
                    </a:lnTo>
                    <a:lnTo>
                      <a:pt x="95" y="699"/>
                    </a:lnTo>
                    <a:lnTo>
                      <a:pt x="103" y="706"/>
                    </a:lnTo>
                    <a:lnTo>
                      <a:pt x="111" y="711"/>
                    </a:lnTo>
                    <a:lnTo>
                      <a:pt x="118" y="716"/>
                    </a:lnTo>
                    <a:lnTo>
                      <a:pt x="127" y="720"/>
                    </a:lnTo>
                    <a:lnTo>
                      <a:pt x="137" y="723"/>
                    </a:lnTo>
                    <a:lnTo>
                      <a:pt x="146" y="726"/>
                    </a:lnTo>
                    <a:lnTo>
                      <a:pt x="155" y="727"/>
                    </a:lnTo>
                    <a:lnTo>
                      <a:pt x="166" y="728"/>
                    </a:lnTo>
                    <a:lnTo>
                      <a:pt x="166" y="728"/>
                    </a:lnTo>
                    <a:lnTo>
                      <a:pt x="176" y="727"/>
                    </a:lnTo>
                    <a:lnTo>
                      <a:pt x="186" y="726"/>
                    </a:lnTo>
                    <a:lnTo>
                      <a:pt x="196" y="723"/>
                    </a:lnTo>
                    <a:lnTo>
                      <a:pt x="205" y="720"/>
                    </a:lnTo>
                    <a:lnTo>
                      <a:pt x="213" y="716"/>
                    </a:lnTo>
                    <a:lnTo>
                      <a:pt x="222" y="711"/>
                    </a:lnTo>
                    <a:lnTo>
                      <a:pt x="229" y="706"/>
                    </a:lnTo>
                    <a:lnTo>
                      <a:pt x="236" y="699"/>
                    </a:lnTo>
                    <a:lnTo>
                      <a:pt x="242" y="692"/>
                    </a:lnTo>
                    <a:lnTo>
                      <a:pt x="248" y="684"/>
                    </a:lnTo>
                    <a:lnTo>
                      <a:pt x="254" y="677"/>
                    </a:lnTo>
                    <a:lnTo>
                      <a:pt x="258" y="667"/>
                    </a:lnTo>
                    <a:lnTo>
                      <a:pt x="261" y="658"/>
                    </a:lnTo>
                    <a:lnTo>
                      <a:pt x="263" y="649"/>
                    </a:lnTo>
                    <a:lnTo>
                      <a:pt x="265" y="639"/>
                    </a:lnTo>
                    <a:lnTo>
                      <a:pt x="265" y="629"/>
                    </a:lnTo>
                    <a:lnTo>
                      <a:pt x="265" y="298"/>
                    </a:lnTo>
                    <a:lnTo>
                      <a:pt x="265" y="298"/>
                    </a:lnTo>
                    <a:lnTo>
                      <a:pt x="266" y="277"/>
                    </a:lnTo>
                    <a:lnTo>
                      <a:pt x="269" y="258"/>
                    </a:lnTo>
                    <a:lnTo>
                      <a:pt x="274" y="239"/>
                    </a:lnTo>
                    <a:lnTo>
                      <a:pt x="280" y="220"/>
                    </a:lnTo>
                    <a:lnTo>
                      <a:pt x="289" y="203"/>
                    </a:lnTo>
                    <a:lnTo>
                      <a:pt x="299" y="186"/>
                    </a:lnTo>
                    <a:lnTo>
                      <a:pt x="311" y="172"/>
                    </a:lnTo>
                    <a:lnTo>
                      <a:pt x="324" y="157"/>
                    </a:lnTo>
                    <a:lnTo>
                      <a:pt x="337" y="145"/>
                    </a:lnTo>
                    <a:lnTo>
                      <a:pt x="353" y="132"/>
                    </a:lnTo>
                    <a:lnTo>
                      <a:pt x="369" y="123"/>
                    </a:lnTo>
                    <a:lnTo>
                      <a:pt x="387" y="115"/>
                    </a:lnTo>
                    <a:lnTo>
                      <a:pt x="405" y="108"/>
                    </a:lnTo>
                    <a:lnTo>
                      <a:pt x="424" y="103"/>
                    </a:lnTo>
                    <a:lnTo>
                      <a:pt x="444" y="100"/>
                    </a:lnTo>
                    <a:lnTo>
                      <a:pt x="464" y="99"/>
                    </a:lnTo>
                    <a:lnTo>
                      <a:pt x="464" y="99"/>
                    </a:lnTo>
                    <a:lnTo>
                      <a:pt x="484" y="100"/>
                    </a:lnTo>
                    <a:lnTo>
                      <a:pt x="504" y="103"/>
                    </a:lnTo>
                    <a:lnTo>
                      <a:pt x="523" y="108"/>
                    </a:lnTo>
                    <a:lnTo>
                      <a:pt x="541" y="115"/>
                    </a:lnTo>
                    <a:lnTo>
                      <a:pt x="559" y="123"/>
                    </a:lnTo>
                    <a:lnTo>
                      <a:pt x="575" y="132"/>
                    </a:lnTo>
                    <a:lnTo>
                      <a:pt x="590" y="145"/>
                    </a:lnTo>
                    <a:lnTo>
                      <a:pt x="604" y="157"/>
                    </a:lnTo>
                    <a:lnTo>
                      <a:pt x="617" y="172"/>
                    </a:lnTo>
                    <a:lnTo>
                      <a:pt x="628" y="186"/>
                    </a:lnTo>
                    <a:lnTo>
                      <a:pt x="639" y="203"/>
                    </a:lnTo>
                    <a:lnTo>
                      <a:pt x="647" y="220"/>
                    </a:lnTo>
                    <a:lnTo>
                      <a:pt x="654" y="239"/>
                    </a:lnTo>
                    <a:lnTo>
                      <a:pt x="658" y="258"/>
                    </a:lnTo>
                    <a:lnTo>
                      <a:pt x="661" y="277"/>
                    </a:lnTo>
                    <a:lnTo>
                      <a:pt x="662" y="298"/>
                    </a:lnTo>
                    <a:lnTo>
                      <a:pt x="662" y="497"/>
                    </a:lnTo>
                    <a:lnTo>
                      <a:pt x="662" y="497"/>
                    </a:lnTo>
                    <a:lnTo>
                      <a:pt x="663" y="507"/>
                    </a:lnTo>
                    <a:lnTo>
                      <a:pt x="664" y="516"/>
                    </a:lnTo>
                    <a:lnTo>
                      <a:pt x="668" y="525"/>
                    </a:lnTo>
                    <a:lnTo>
                      <a:pt x="671" y="535"/>
                    </a:lnTo>
                    <a:lnTo>
                      <a:pt x="675" y="543"/>
                    </a:lnTo>
                    <a:lnTo>
                      <a:pt x="680" y="551"/>
                    </a:lnTo>
                    <a:lnTo>
                      <a:pt x="685" y="560"/>
                    </a:lnTo>
                    <a:lnTo>
                      <a:pt x="691" y="567"/>
                    </a:lnTo>
                    <a:lnTo>
                      <a:pt x="699" y="573"/>
                    </a:lnTo>
                    <a:lnTo>
                      <a:pt x="707" y="578"/>
                    </a:lnTo>
                    <a:lnTo>
                      <a:pt x="715" y="583"/>
                    </a:lnTo>
                    <a:lnTo>
                      <a:pt x="723" y="588"/>
                    </a:lnTo>
                    <a:lnTo>
                      <a:pt x="733" y="591"/>
                    </a:lnTo>
                    <a:lnTo>
                      <a:pt x="742" y="594"/>
                    </a:lnTo>
                    <a:lnTo>
                      <a:pt x="752" y="595"/>
                    </a:lnTo>
                    <a:lnTo>
                      <a:pt x="762" y="596"/>
                    </a:lnTo>
                    <a:lnTo>
                      <a:pt x="762" y="596"/>
                    </a:lnTo>
                    <a:lnTo>
                      <a:pt x="772" y="595"/>
                    </a:lnTo>
                    <a:lnTo>
                      <a:pt x="782" y="594"/>
                    </a:lnTo>
                    <a:lnTo>
                      <a:pt x="792" y="591"/>
                    </a:lnTo>
                    <a:lnTo>
                      <a:pt x="801" y="588"/>
                    </a:lnTo>
                    <a:lnTo>
                      <a:pt x="809" y="583"/>
                    </a:lnTo>
                    <a:lnTo>
                      <a:pt x="818" y="578"/>
                    </a:lnTo>
                    <a:lnTo>
                      <a:pt x="825" y="573"/>
                    </a:lnTo>
                    <a:lnTo>
                      <a:pt x="832" y="567"/>
                    </a:lnTo>
                    <a:lnTo>
                      <a:pt x="838" y="560"/>
                    </a:lnTo>
                    <a:lnTo>
                      <a:pt x="845" y="551"/>
                    </a:lnTo>
                    <a:lnTo>
                      <a:pt x="850" y="543"/>
                    </a:lnTo>
                    <a:lnTo>
                      <a:pt x="854" y="535"/>
                    </a:lnTo>
                    <a:lnTo>
                      <a:pt x="857" y="525"/>
                    </a:lnTo>
                    <a:lnTo>
                      <a:pt x="859" y="516"/>
                    </a:lnTo>
                    <a:lnTo>
                      <a:pt x="861" y="507"/>
                    </a:lnTo>
                    <a:lnTo>
                      <a:pt x="861" y="497"/>
                    </a:lnTo>
                    <a:lnTo>
                      <a:pt x="861" y="33"/>
                    </a:lnTo>
                    <a:lnTo>
                      <a:pt x="861" y="33"/>
                    </a:lnTo>
                    <a:lnTo>
                      <a:pt x="862" y="26"/>
                    </a:lnTo>
                    <a:lnTo>
                      <a:pt x="864" y="20"/>
                    </a:lnTo>
                    <a:lnTo>
                      <a:pt x="867" y="14"/>
                    </a:lnTo>
                    <a:lnTo>
                      <a:pt x="871" y="9"/>
                    </a:lnTo>
                    <a:lnTo>
                      <a:pt x="876" y="5"/>
                    </a:lnTo>
                    <a:lnTo>
                      <a:pt x="882" y="2"/>
                    </a:lnTo>
                    <a:lnTo>
                      <a:pt x="888" y="0"/>
                    </a:lnTo>
                    <a:lnTo>
                      <a:pt x="894" y="0"/>
                    </a:lnTo>
                    <a:lnTo>
                      <a:pt x="894" y="0"/>
                    </a:lnTo>
                    <a:lnTo>
                      <a:pt x="901" y="0"/>
                    </a:lnTo>
                    <a:lnTo>
                      <a:pt x="908" y="2"/>
                    </a:lnTo>
                    <a:lnTo>
                      <a:pt x="913" y="5"/>
                    </a:lnTo>
                    <a:lnTo>
                      <a:pt x="918" y="9"/>
                    </a:lnTo>
                    <a:lnTo>
                      <a:pt x="922" y="14"/>
                    </a:lnTo>
                    <a:lnTo>
                      <a:pt x="925" y="20"/>
                    </a:lnTo>
                    <a:lnTo>
                      <a:pt x="927" y="26"/>
                    </a:lnTo>
                    <a:lnTo>
                      <a:pt x="927" y="33"/>
                    </a:lnTo>
                    <a:lnTo>
                      <a:pt x="927" y="497"/>
                    </a:lnTo>
                    <a:lnTo>
                      <a:pt x="927" y="497"/>
                    </a:lnTo>
                    <a:lnTo>
                      <a:pt x="927" y="513"/>
                    </a:lnTo>
                    <a:lnTo>
                      <a:pt x="924" y="530"/>
                    </a:lnTo>
                    <a:lnTo>
                      <a:pt x="920" y="545"/>
                    </a:lnTo>
                    <a:lnTo>
                      <a:pt x="915" y="561"/>
                    </a:lnTo>
                    <a:lnTo>
                      <a:pt x="908" y="575"/>
                    </a:lnTo>
                    <a:lnTo>
                      <a:pt x="899" y="589"/>
                    </a:lnTo>
                    <a:lnTo>
                      <a:pt x="890" y="601"/>
                    </a:lnTo>
                    <a:lnTo>
                      <a:pt x="879" y="613"/>
                    </a:lnTo>
                    <a:lnTo>
                      <a:pt x="867" y="624"/>
                    </a:lnTo>
                    <a:lnTo>
                      <a:pt x="855" y="633"/>
                    </a:lnTo>
                    <a:lnTo>
                      <a:pt x="841" y="641"/>
                    </a:lnTo>
                    <a:lnTo>
                      <a:pt x="827" y="649"/>
                    </a:lnTo>
                    <a:lnTo>
                      <a:pt x="811" y="655"/>
                    </a:lnTo>
                    <a:lnTo>
                      <a:pt x="796" y="659"/>
                    </a:lnTo>
                    <a:lnTo>
                      <a:pt x="779" y="661"/>
                    </a:lnTo>
                    <a:lnTo>
                      <a:pt x="762" y="662"/>
                    </a:lnTo>
                    <a:lnTo>
                      <a:pt x="762" y="662"/>
                    </a:lnTo>
                    <a:lnTo>
                      <a:pt x="745" y="661"/>
                    </a:lnTo>
                    <a:lnTo>
                      <a:pt x="729" y="659"/>
                    </a:lnTo>
                    <a:lnTo>
                      <a:pt x="713" y="655"/>
                    </a:lnTo>
                    <a:lnTo>
                      <a:pt x="698" y="649"/>
                    </a:lnTo>
                    <a:lnTo>
                      <a:pt x="683" y="641"/>
                    </a:lnTo>
                    <a:lnTo>
                      <a:pt x="670" y="633"/>
                    </a:lnTo>
                    <a:lnTo>
                      <a:pt x="657" y="624"/>
                    </a:lnTo>
                    <a:lnTo>
                      <a:pt x="645" y="613"/>
                    </a:lnTo>
                    <a:lnTo>
                      <a:pt x="634" y="601"/>
                    </a:lnTo>
                    <a:lnTo>
                      <a:pt x="625" y="589"/>
                    </a:lnTo>
                    <a:lnTo>
                      <a:pt x="617" y="575"/>
                    </a:lnTo>
                    <a:lnTo>
                      <a:pt x="610" y="561"/>
                    </a:lnTo>
                    <a:lnTo>
                      <a:pt x="604" y="545"/>
                    </a:lnTo>
                    <a:lnTo>
                      <a:pt x="600" y="530"/>
                    </a:lnTo>
                    <a:lnTo>
                      <a:pt x="597" y="513"/>
                    </a:lnTo>
                    <a:lnTo>
                      <a:pt x="596" y="497"/>
                    </a:lnTo>
                    <a:lnTo>
                      <a:pt x="596" y="298"/>
                    </a:lnTo>
                    <a:lnTo>
                      <a:pt x="596" y="298"/>
                    </a:lnTo>
                    <a:lnTo>
                      <a:pt x="596" y="284"/>
                    </a:lnTo>
                    <a:lnTo>
                      <a:pt x="594" y="271"/>
                    </a:lnTo>
                    <a:lnTo>
                      <a:pt x="591" y="259"/>
                    </a:lnTo>
                    <a:lnTo>
                      <a:pt x="586" y="246"/>
                    </a:lnTo>
                    <a:lnTo>
                      <a:pt x="581" y="235"/>
                    </a:lnTo>
                    <a:lnTo>
                      <a:pt x="573" y="223"/>
                    </a:lnTo>
                    <a:lnTo>
                      <a:pt x="566" y="213"/>
                    </a:lnTo>
                    <a:lnTo>
                      <a:pt x="558" y="204"/>
                    </a:lnTo>
                    <a:lnTo>
                      <a:pt x="549" y="195"/>
                    </a:lnTo>
                    <a:lnTo>
                      <a:pt x="538" y="188"/>
                    </a:lnTo>
                    <a:lnTo>
                      <a:pt x="527" y="181"/>
                    </a:lnTo>
                    <a:lnTo>
                      <a:pt x="515" y="176"/>
                    </a:lnTo>
                    <a:lnTo>
                      <a:pt x="503" y="171"/>
                    </a:lnTo>
                    <a:lnTo>
                      <a:pt x="491" y="168"/>
                    </a:lnTo>
                    <a:lnTo>
                      <a:pt x="477" y="165"/>
                    </a:lnTo>
                    <a:lnTo>
                      <a:pt x="464" y="165"/>
                    </a:lnTo>
                    <a:lnTo>
                      <a:pt x="464" y="165"/>
                    </a:lnTo>
                    <a:lnTo>
                      <a:pt x="450" y="165"/>
                    </a:lnTo>
                    <a:lnTo>
                      <a:pt x="437" y="168"/>
                    </a:lnTo>
                    <a:lnTo>
                      <a:pt x="424" y="171"/>
                    </a:lnTo>
                    <a:lnTo>
                      <a:pt x="412" y="176"/>
                    </a:lnTo>
                    <a:lnTo>
                      <a:pt x="401" y="181"/>
                    </a:lnTo>
                    <a:lnTo>
                      <a:pt x="390" y="188"/>
                    </a:lnTo>
                    <a:lnTo>
                      <a:pt x="380" y="195"/>
                    </a:lnTo>
                    <a:lnTo>
                      <a:pt x="371" y="204"/>
                    </a:lnTo>
                    <a:lnTo>
                      <a:pt x="361" y="213"/>
                    </a:lnTo>
                    <a:lnTo>
                      <a:pt x="354" y="223"/>
                    </a:lnTo>
                    <a:lnTo>
                      <a:pt x="348" y="235"/>
                    </a:lnTo>
                    <a:lnTo>
                      <a:pt x="342" y="246"/>
                    </a:lnTo>
                    <a:lnTo>
                      <a:pt x="337" y="259"/>
                    </a:lnTo>
                    <a:lnTo>
                      <a:pt x="334" y="271"/>
                    </a:lnTo>
                    <a:lnTo>
                      <a:pt x="332" y="284"/>
                    </a:lnTo>
                    <a:lnTo>
                      <a:pt x="331" y="298"/>
                    </a:lnTo>
                    <a:lnTo>
                      <a:pt x="331" y="629"/>
                    </a:lnTo>
                    <a:lnTo>
                      <a:pt x="331" y="629"/>
                    </a:lnTo>
                    <a:lnTo>
                      <a:pt x="330" y="646"/>
                    </a:lnTo>
                    <a:lnTo>
                      <a:pt x="328" y="662"/>
                    </a:lnTo>
                    <a:lnTo>
                      <a:pt x="324" y="678"/>
                    </a:lnTo>
                    <a:lnTo>
                      <a:pt x="319" y="693"/>
                    </a:lnTo>
                    <a:lnTo>
                      <a:pt x="312" y="708"/>
                    </a:lnTo>
                    <a:lnTo>
                      <a:pt x="303" y="721"/>
                    </a:lnTo>
                    <a:lnTo>
                      <a:pt x="294" y="734"/>
                    </a:lnTo>
                    <a:lnTo>
                      <a:pt x="283" y="746"/>
                    </a:lnTo>
                    <a:lnTo>
                      <a:pt x="271" y="756"/>
                    </a:lnTo>
                    <a:lnTo>
                      <a:pt x="259" y="766"/>
                    </a:lnTo>
                    <a:lnTo>
                      <a:pt x="244" y="774"/>
                    </a:lnTo>
                    <a:lnTo>
                      <a:pt x="230" y="781"/>
                    </a:lnTo>
                    <a:lnTo>
                      <a:pt x="215" y="787"/>
                    </a:lnTo>
                    <a:lnTo>
                      <a:pt x="199" y="791"/>
                    </a:lnTo>
                    <a:lnTo>
                      <a:pt x="183" y="793"/>
                    </a:lnTo>
                    <a:lnTo>
                      <a:pt x="166" y="794"/>
                    </a:lnTo>
                    <a:lnTo>
                      <a:pt x="166" y="7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471" name="Freeform 78">
                <a:extLst>
                  <a:ext uri="{FF2B5EF4-FFF2-40B4-BE49-F238E27FC236}">
                    <a16:creationId xmlns:a16="http://schemas.microsoft.com/office/drawing/2014/main" id="{95E096CC-897D-4153-8911-697246D083BC}"/>
                  </a:ext>
                </a:extLst>
              </p:cNvPr>
              <p:cNvSpPr>
                <a:spLocks noEditPoints="1"/>
              </p:cNvSpPr>
              <p:nvPr/>
            </p:nvSpPr>
            <p:spPr bwMode="auto">
              <a:xfrm>
                <a:off x="4900613" y="3278188"/>
                <a:ext cx="36513" cy="60325"/>
              </a:xfrm>
              <a:custGeom>
                <a:avLst/>
                <a:gdLst>
                  <a:gd name="T0" fmla="*/ 33 w 166"/>
                  <a:gd name="T1" fmla="*/ 265 h 265"/>
                  <a:gd name="T2" fmla="*/ 21 w 166"/>
                  <a:gd name="T3" fmla="*/ 263 h 265"/>
                  <a:gd name="T4" fmla="*/ 10 w 166"/>
                  <a:gd name="T5" fmla="*/ 256 h 265"/>
                  <a:gd name="T6" fmla="*/ 3 w 166"/>
                  <a:gd name="T7" fmla="*/ 246 h 265"/>
                  <a:gd name="T8" fmla="*/ 0 w 166"/>
                  <a:gd name="T9" fmla="*/ 232 h 265"/>
                  <a:gd name="T10" fmla="*/ 0 w 166"/>
                  <a:gd name="T11" fmla="*/ 33 h 265"/>
                  <a:gd name="T12" fmla="*/ 3 w 166"/>
                  <a:gd name="T13" fmla="*/ 21 h 265"/>
                  <a:gd name="T14" fmla="*/ 10 w 166"/>
                  <a:gd name="T15" fmla="*/ 11 h 265"/>
                  <a:gd name="T16" fmla="*/ 21 w 166"/>
                  <a:gd name="T17" fmla="*/ 3 h 265"/>
                  <a:gd name="T18" fmla="*/ 33 w 166"/>
                  <a:gd name="T19" fmla="*/ 0 h 265"/>
                  <a:gd name="T20" fmla="*/ 44 w 166"/>
                  <a:gd name="T21" fmla="*/ 1 h 265"/>
                  <a:gd name="T22" fmla="*/ 66 w 166"/>
                  <a:gd name="T23" fmla="*/ 5 h 265"/>
                  <a:gd name="T24" fmla="*/ 88 w 166"/>
                  <a:gd name="T25" fmla="*/ 12 h 265"/>
                  <a:gd name="T26" fmla="*/ 110 w 166"/>
                  <a:gd name="T27" fmla="*/ 23 h 265"/>
                  <a:gd name="T28" fmla="*/ 130 w 166"/>
                  <a:gd name="T29" fmla="*/ 39 h 265"/>
                  <a:gd name="T30" fmla="*/ 146 w 166"/>
                  <a:gd name="T31" fmla="*/ 59 h 265"/>
                  <a:gd name="T32" fmla="*/ 159 w 166"/>
                  <a:gd name="T33" fmla="*/ 85 h 265"/>
                  <a:gd name="T34" fmla="*/ 165 w 166"/>
                  <a:gd name="T35" fmla="*/ 115 h 265"/>
                  <a:gd name="T36" fmla="*/ 166 w 166"/>
                  <a:gd name="T37" fmla="*/ 133 h 265"/>
                  <a:gd name="T38" fmla="*/ 163 w 166"/>
                  <a:gd name="T39" fmla="*/ 167 h 265"/>
                  <a:gd name="T40" fmla="*/ 152 w 166"/>
                  <a:gd name="T41" fmla="*/ 195 h 265"/>
                  <a:gd name="T42" fmla="*/ 138 w 166"/>
                  <a:gd name="T43" fmla="*/ 218 h 265"/>
                  <a:gd name="T44" fmla="*/ 119 w 166"/>
                  <a:gd name="T45" fmla="*/ 236 h 265"/>
                  <a:gd name="T46" fmla="*/ 99 w 166"/>
                  <a:gd name="T47" fmla="*/ 250 h 265"/>
                  <a:gd name="T48" fmla="*/ 77 w 166"/>
                  <a:gd name="T49" fmla="*/ 259 h 265"/>
                  <a:gd name="T50" fmla="*/ 54 w 166"/>
                  <a:gd name="T51" fmla="*/ 264 h 265"/>
                  <a:gd name="T52" fmla="*/ 33 w 166"/>
                  <a:gd name="T53" fmla="*/ 265 h 265"/>
                  <a:gd name="T54" fmla="*/ 67 w 166"/>
                  <a:gd name="T55" fmla="*/ 74 h 265"/>
                  <a:gd name="T56" fmla="*/ 67 w 166"/>
                  <a:gd name="T57" fmla="*/ 192 h 265"/>
                  <a:gd name="T58" fmla="*/ 79 w 166"/>
                  <a:gd name="T59" fmla="*/ 185 h 265"/>
                  <a:gd name="T60" fmla="*/ 89 w 166"/>
                  <a:gd name="T61" fmla="*/ 172 h 265"/>
                  <a:gd name="T62" fmla="*/ 97 w 166"/>
                  <a:gd name="T63" fmla="*/ 156 h 265"/>
                  <a:gd name="T64" fmla="*/ 100 w 166"/>
                  <a:gd name="T65" fmla="*/ 133 h 265"/>
                  <a:gd name="T66" fmla="*/ 99 w 166"/>
                  <a:gd name="T67" fmla="*/ 121 h 265"/>
                  <a:gd name="T68" fmla="*/ 93 w 166"/>
                  <a:gd name="T69" fmla="*/ 102 h 265"/>
                  <a:gd name="T70" fmla="*/ 84 w 166"/>
                  <a:gd name="T71" fmla="*/ 87 h 265"/>
                  <a:gd name="T72" fmla="*/ 73 w 166"/>
                  <a:gd name="T73" fmla="*/ 78 h 265"/>
                  <a:gd name="T74" fmla="*/ 67 w 166"/>
                  <a:gd name="T75"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 h="265">
                    <a:moveTo>
                      <a:pt x="33" y="265"/>
                    </a:moveTo>
                    <a:lnTo>
                      <a:pt x="33" y="265"/>
                    </a:lnTo>
                    <a:lnTo>
                      <a:pt x="27" y="265"/>
                    </a:lnTo>
                    <a:lnTo>
                      <a:pt x="21" y="263"/>
                    </a:lnTo>
                    <a:lnTo>
                      <a:pt x="15" y="260"/>
                    </a:lnTo>
                    <a:lnTo>
                      <a:pt x="10" y="256"/>
                    </a:lnTo>
                    <a:lnTo>
                      <a:pt x="7" y="251"/>
                    </a:lnTo>
                    <a:lnTo>
                      <a:pt x="3" y="246"/>
                    </a:lnTo>
                    <a:lnTo>
                      <a:pt x="1" y="239"/>
                    </a:lnTo>
                    <a:lnTo>
                      <a:pt x="0" y="232"/>
                    </a:lnTo>
                    <a:lnTo>
                      <a:pt x="0" y="33"/>
                    </a:lnTo>
                    <a:lnTo>
                      <a:pt x="0" y="33"/>
                    </a:lnTo>
                    <a:lnTo>
                      <a:pt x="1" y="27"/>
                    </a:lnTo>
                    <a:lnTo>
                      <a:pt x="3" y="21"/>
                    </a:lnTo>
                    <a:lnTo>
                      <a:pt x="7" y="15"/>
                    </a:lnTo>
                    <a:lnTo>
                      <a:pt x="10" y="11"/>
                    </a:lnTo>
                    <a:lnTo>
                      <a:pt x="15" y="7"/>
                    </a:lnTo>
                    <a:lnTo>
                      <a:pt x="21" y="3"/>
                    </a:lnTo>
                    <a:lnTo>
                      <a:pt x="27" y="1"/>
                    </a:lnTo>
                    <a:lnTo>
                      <a:pt x="33" y="0"/>
                    </a:lnTo>
                    <a:lnTo>
                      <a:pt x="33" y="0"/>
                    </a:lnTo>
                    <a:lnTo>
                      <a:pt x="44" y="1"/>
                    </a:lnTo>
                    <a:lnTo>
                      <a:pt x="54" y="2"/>
                    </a:lnTo>
                    <a:lnTo>
                      <a:pt x="66" y="5"/>
                    </a:lnTo>
                    <a:lnTo>
                      <a:pt x="77" y="8"/>
                    </a:lnTo>
                    <a:lnTo>
                      <a:pt x="88" y="12"/>
                    </a:lnTo>
                    <a:lnTo>
                      <a:pt x="99" y="17"/>
                    </a:lnTo>
                    <a:lnTo>
                      <a:pt x="110" y="23"/>
                    </a:lnTo>
                    <a:lnTo>
                      <a:pt x="119" y="30"/>
                    </a:lnTo>
                    <a:lnTo>
                      <a:pt x="130" y="39"/>
                    </a:lnTo>
                    <a:lnTo>
                      <a:pt x="138" y="49"/>
                    </a:lnTo>
                    <a:lnTo>
                      <a:pt x="146" y="59"/>
                    </a:lnTo>
                    <a:lnTo>
                      <a:pt x="152" y="72"/>
                    </a:lnTo>
                    <a:lnTo>
                      <a:pt x="159" y="85"/>
                    </a:lnTo>
                    <a:lnTo>
                      <a:pt x="163" y="100"/>
                    </a:lnTo>
                    <a:lnTo>
                      <a:pt x="165" y="115"/>
                    </a:lnTo>
                    <a:lnTo>
                      <a:pt x="166" y="133"/>
                    </a:lnTo>
                    <a:lnTo>
                      <a:pt x="166" y="133"/>
                    </a:lnTo>
                    <a:lnTo>
                      <a:pt x="165" y="150"/>
                    </a:lnTo>
                    <a:lnTo>
                      <a:pt x="163" y="167"/>
                    </a:lnTo>
                    <a:lnTo>
                      <a:pt x="159" y="181"/>
                    </a:lnTo>
                    <a:lnTo>
                      <a:pt x="152" y="195"/>
                    </a:lnTo>
                    <a:lnTo>
                      <a:pt x="146" y="207"/>
                    </a:lnTo>
                    <a:lnTo>
                      <a:pt x="138" y="218"/>
                    </a:lnTo>
                    <a:lnTo>
                      <a:pt x="130" y="227"/>
                    </a:lnTo>
                    <a:lnTo>
                      <a:pt x="119" y="236"/>
                    </a:lnTo>
                    <a:lnTo>
                      <a:pt x="110" y="243"/>
                    </a:lnTo>
                    <a:lnTo>
                      <a:pt x="99" y="250"/>
                    </a:lnTo>
                    <a:lnTo>
                      <a:pt x="88" y="255"/>
                    </a:lnTo>
                    <a:lnTo>
                      <a:pt x="77" y="259"/>
                    </a:lnTo>
                    <a:lnTo>
                      <a:pt x="66" y="262"/>
                    </a:lnTo>
                    <a:lnTo>
                      <a:pt x="54" y="264"/>
                    </a:lnTo>
                    <a:lnTo>
                      <a:pt x="44" y="265"/>
                    </a:lnTo>
                    <a:lnTo>
                      <a:pt x="33" y="265"/>
                    </a:lnTo>
                    <a:lnTo>
                      <a:pt x="33" y="265"/>
                    </a:lnTo>
                    <a:close/>
                    <a:moveTo>
                      <a:pt x="67" y="74"/>
                    </a:moveTo>
                    <a:lnTo>
                      <a:pt x="67" y="192"/>
                    </a:lnTo>
                    <a:lnTo>
                      <a:pt x="67" y="192"/>
                    </a:lnTo>
                    <a:lnTo>
                      <a:pt x="73" y="189"/>
                    </a:lnTo>
                    <a:lnTo>
                      <a:pt x="79" y="185"/>
                    </a:lnTo>
                    <a:lnTo>
                      <a:pt x="84" y="179"/>
                    </a:lnTo>
                    <a:lnTo>
                      <a:pt x="89" y="172"/>
                    </a:lnTo>
                    <a:lnTo>
                      <a:pt x="93" y="165"/>
                    </a:lnTo>
                    <a:lnTo>
                      <a:pt x="97" y="156"/>
                    </a:lnTo>
                    <a:lnTo>
                      <a:pt x="99" y="145"/>
                    </a:lnTo>
                    <a:lnTo>
                      <a:pt x="100" y="133"/>
                    </a:lnTo>
                    <a:lnTo>
                      <a:pt x="100" y="133"/>
                    </a:lnTo>
                    <a:lnTo>
                      <a:pt x="99" y="121"/>
                    </a:lnTo>
                    <a:lnTo>
                      <a:pt x="97" y="111"/>
                    </a:lnTo>
                    <a:lnTo>
                      <a:pt x="93" y="102"/>
                    </a:lnTo>
                    <a:lnTo>
                      <a:pt x="89" y="93"/>
                    </a:lnTo>
                    <a:lnTo>
                      <a:pt x="84" y="87"/>
                    </a:lnTo>
                    <a:lnTo>
                      <a:pt x="79" y="82"/>
                    </a:lnTo>
                    <a:lnTo>
                      <a:pt x="73" y="78"/>
                    </a:lnTo>
                    <a:lnTo>
                      <a:pt x="67" y="74"/>
                    </a:lnTo>
                    <a:lnTo>
                      <a:pt x="67"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472" name="Freeform 79">
                <a:extLst>
                  <a:ext uri="{FF2B5EF4-FFF2-40B4-BE49-F238E27FC236}">
                    <a16:creationId xmlns:a16="http://schemas.microsoft.com/office/drawing/2014/main" id="{9CD4DA4C-396E-4E88-AC39-2816045E918D}"/>
                  </a:ext>
                </a:extLst>
              </p:cNvPr>
              <p:cNvSpPr>
                <a:spLocks noEditPoints="1"/>
              </p:cNvSpPr>
              <p:nvPr/>
            </p:nvSpPr>
            <p:spPr bwMode="auto">
              <a:xfrm>
                <a:off x="4967288" y="3278188"/>
                <a:ext cx="38100" cy="60325"/>
              </a:xfrm>
              <a:custGeom>
                <a:avLst/>
                <a:gdLst>
                  <a:gd name="T0" fmla="*/ 133 w 166"/>
                  <a:gd name="T1" fmla="*/ 265 h 265"/>
                  <a:gd name="T2" fmla="*/ 112 w 166"/>
                  <a:gd name="T3" fmla="*/ 264 h 265"/>
                  <a:gd name="T4" fmla="*/ 89 w 166"/>
                  <a:gd name="T5" fmla="*/ 259 h 265"/>
                  <a:gd name="T6" fmla="*/ 68 w 166"/>
                  <a:gd name="T7" fmla="*/ 250 h 265"/>
                  <a:gd name="T8" fmla="*/ 47 w 166"/>
                  <a:gd name="T9" fmla="*/ 236 h 265"/>
                  <a:gd name="T10" fmla="*/ 28 w 166"/>
                  <a:gd name="T11" fmla="*/ 218 h 265"/>
                  <a:gd name="T12" fmla="*/ 14 w 166"/>
                  <a:gd name="T13" fmla="*/ 195 h 265"/>
                  <a:gd name="T14" fmla="*/ 5 w 166"/>
                  <a:gd name="T15" fmla="*/ 167 h 265"/>
                  <a:gd name="T16" fmla="*/ 0 w 166"/>
                  <a:gd name="T17" fmla="*/ 133 h 265"/>
                  <a:gd name="T18" fmla="*/ 1 w 166"/>
                  <a:gd name="T19" fmla="*/ 115 h 265"/>
                  <a:gd name="T20" fmla="*/ 9 w 166"/>
                  <a:gd name="T21" fmla="*/ 85 h 265"/>
                  <a:gd name="T22" fmla="*/ 20 w 166"/>
                  <a:gd name="T23" fmla="*/ 59 h 265"/>
                  <a:gd name="T24" fmla="*/ 38 w 166"/>
                  <a:gd name="T25" fmla="*/ 39 h 265"/>
                  <a:gd name="T26" fmla="*/ 57 w 166"/>
                  <a:gd name="T27" fmla="*/ 23 h 265"/>
                  <a:gd name="T28" fmla="*/ 79 w 166"/>
                  <a:gd name="T29" fmla="*/ 12 h 265"/>
                  <a:gd name="T30" fmla="*/ 101 w 166"/>
                  <a:gd name="T31" fmla="*/ 5 h 265"/>
                  <a:gd name="T32" fmla="*/ 123 w 166"/>
                  <a:gd name="T33" fmla="*/ 1 h 265"/>
                  <a:gd name="T34" fmla="*/ 133 w 166"/>
                  <a:gd name="T35" fmla="*/ 0 h 265"/>
                  <a:gd name="T36" fmla="*/ 146 w 166"/>
                  <a:gd name="T37" fmla="*/ 3 h 265"/>
                  <a:gd name="T38" fmla="*/ 157 w 166"/>
                  <a:gd name="T39" fmla="*/ 11 h 265"/>
                  <a:gd name="T40" fmla="*/ 164 w 166"/>
                  <a:gd name="T41" fmla="*/ 21 h 265"/>
                  <a:gd name="T42" fmla="*/ 166 w 166"/>
                  <a:gd name="T43" fmla="*/ 33 h 265"/>
                  <a:gd name="T44" fmla="*/ 166 w 166"/>
                  <a:gd name="T45" fmla="*/ 232 h 265"/>
                  <a:gd name="T46" fmla="*/ 164 w 166"/>
                  <a:gd name="T47" fmla="*/ 246 h 265"/>
                  <a:gd name="T48" fmla="*/ 157 w 166"/>
                  <a:gd name="T49" fmla="*/ 256 h 265"/>
                  <a:gd name="T50" fmla="*/ 146 w 166"/>
                  <a:gd name="T51" fmla="*/ 263 h 265"/>
                  <a:gd name="T52" fmla="*/ 133 w 166"/>
                  <a:gd name="T53" fmla="*/ 265 h 265"/>
                  <a:gd name="T54" fmla="*/ 100 w 166"/>
                  <a:gd name="T55" fmla="*/ 75 h 265"/>
                  <a:gd name="T56" fmla="*/ 94 w 166"/>
                  <a:gd name="T57" fmla="*/ 78 h 265"/>
                  <a:gd name="T58" fmla="*/ 82 w 166"/>
                  <a:gd name="T59" fmla="*/ 87 h 265"/>
                  <a:gd name="T60" fmla="*/ 73 w 166"/>
                  <a:gd name="T61" fmla="*/ 102 h 265"/>
                  <a:gd name="T62" fmla="*/ 68 w 166"/>
                  <a:gd name="T63" fmla="*/ 121 h 265"/>
                  <a:gd name="T64" fmla="*/ 67 w 166"/>
                  <a:gd name="T65" fmla="*/ 133 h 265"/>
                  <a:gd name="T66" fmla="*/ 70 w 166"/>
                  <a:gd name="T67" fmla="*/ 156 h 265"/>
                  <a:gd name="T68" fmla="*/ 77 w 166"/>
                  <a:gd name="T69" fmla="*/ 172 h 265"/>
                  <a:gd name="T70" fmla="*/ 87 w 166"/>
                  <a:gd name="T71" fmla="*/ 185 h 265"/>
                  <a:gd name="T72" fmla="*/ 100 w 166"/>
                  <a:gd name="T73" fmla="*/ 19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6" h="265">
                    <a:moveTo>
                      <a:pt x="133" y="265"/>
                    </a:moveTo>
                    <a:lnTo>
                      <a:pt x="133" y="265"/>
                    </a:lnTo>
                    <a:lnTo>
                      <a:pt x="123" y="265"/>
                    </a:lnTo>
                    <a:lnTo>
                      <a:pt x="112" y="264"/>
                    </a:lnTo>
                    <a:lnTo>
                      <a:pt x="101" y="262"/>
                    </a:lnTo>
                    <a:lnTo>
                      <a:pt x="89" y="259"/>
                    </a:lnTo>
                    <a:lnTo>
                      <a:pt x="79" y="255"/>
                    </a:lnTo>
                    <a:lnTo>
                      <a:pt x="68" y="250"/>
                    </a:lnTo>
                    <a:lnTo>
                      <a:pt x="57" y="243"/>
                    </a:lnTo>
                    <a:lnTo>
                      <a:pt x="47" y="236"/>
                    </a:lnTo>
                    <a:lnTo>
                      <a:pt x="38" y="227"/>
                    </a:lnTo>
                    <a:lnTo>
                      <a:pt x="28" y="218"/>
                    </a:lnTo>
                    <a:lnTo>
                      <a:pt x="20" y="207"/>
                    </a:lnTo>
                    <a:lnTo>
                      <a:pt x="14" y="195"/>
                    </a:lnTo>
                    <a:lnTo>
                      <a:pt x="9" y="181"/>
                    </a:lnTo>
                    <a:lnTo>
                      <a:pt x="5" y="167"/>
                    </a:lnTo>
                    <a:lnTo>
                      <a:pt x="1" y="150"/>
                    </a:lnTo>
                    <a:lnTo>
                      <a:pt x="0" y="133"/>
                    </a:lnTo>
                    <a:lnTo>
                      <a:pt x="0" y="133"/>
                    </a:lnTo>
                    <a:lnTo>
                      <a:pt x="1" y="115"/>
                    </a:lnTo>
                    <a:lnTo>
                      <a:pt x="5" y="100"/>
                    </a:lnTo>
                    <a:lnTo>
                      <a:pt x="9" y="85"/>
                    </a:lnTo>
                    <a:lnTo>
                      <a:pt x="14" y="72"/>
                    </a:lnTo>
                    <a:lnTo>
                      <a:pt x="20" y="59"/>
                    </a:lnTo>
                    <a:lnTo>
                      <a:pt x="28" y="49"/>
                    </a:lnTo>
                    <a:lnTo>
                      <a:pt x="38" y="39"/>
                    </a:lnTo>
                    <a:lnTo>
                      <a:pt x="47" y="30"/>
                    </a:lnTo>
                    <a:lnTo>
                      <a:pt x="57" y="23"/>
                    </a:lnTo>
                    <a:lnTo>
                      <a:pt x="68" y="17"/>
                    </a:lnTo>
                    <a:lnTo>
                      <a:pt x="79" y="12"/>
                    </a:lnTo>
                    <a:lnTo>
                      <a:pt x="89" y="8"/>
                    </a:lnTo>
                    <a:lnTo>
                      <a:pt x="101" y="5"/>
                    </a:lnTo>
                    <a:lnTo>
                      <a:pt x="112" y="2"/>
                    </a:lnTo>
                    <a:lnTo>
                      <a:pt x="123" y="1"/>
                    </a:lnTo>
                    <a:lnTo>
                      <a:pt x="133" y="0"/>
                    </a:lnTo>
                    <a:lnTo>
                      <a:pt x="133" y="0"/>
                    </a:lnTo>
                    <a:lnTo>
                      <a:pt x="140" y="1"/>
                    </a:lnTo>
                    <a:lnTo>
                      <a:pt x="146" y="3"/>
                    </a:lnTo>
                    <a:lnTo>
                      <a:pt x="151" y="7"/>
                    </a:lnTo>
                    <a:lnTo>
                      <a:pt x="157" y="11"/>
                    </a:lnTo>
                    <a:lnTo>
                      <a:pt x="161" y="15"/>
                    </a:lnTo>
                    <a:lnTo>
                      <a:pt x="164" y="21"/>
                    </a:lnTo>
                    <a:lnTo>
                      <a:pt x="166" y="27"/>
                    </a:lnTo>
                    <a:lnTo>
                      <a:pt x="166" y="33"/>
                    </a:lnTo>
                    <a:lnTo>
                      <a:pt x="166" y="232"/>
                    </a:lnTo>
                    <a:lnTo>
                      <a:pt x="166" y="232"/>
                    </a:lnTo>
                    <a:lnTo>
                      <a:pt x="166" y="239"/>
                    </a:lnTo>
                    <a:lnTo>
                      <a:pt x="164" y="246"/>
                    </a:lnTo>
                    <a:lnTo>
                      <a:pt x="161" y="251"/>
                    </a:lnTo>
                    <a:lnTo>
                      <a:pt x="157" y="256"/>
                    </a:lnTo>
                    <a:lnTo>
                      <a:pt x="151" y="260"/>
                    </a:lnTo>
                    <a:lnTo>
                      <a:pt x="146" y="263"/>
                    </a:lnTo>
                    <a:lnTo>
                      <a:pt x="140" y="265"/>
                    </a:lnTo>
                    <a:lnTo>
                      <a:pt x="133" y="265"/>
                    </a:lnTo>
                    <a:lnTo>
                      <a:pt x="133" y="265"/>
                    </a:lnTo>
                    <a:close/>
                    <a:moveTo>
                      <a:pt x="100" y="75"/>
                    </a:moveTo>
                    <a:lnTo>
                      <a:pt x="100" y="75"/>
                    </a:lnTo>
                    <a:lnTo>
                      <a:pt x="94" y="78"/>
                    </a:lnTo>
                    <a:lnTo>
                      <a:pt x="87" y="82"/>
                    </a:lnTo>
                    <a:lnTo>
                      <a:pt x="82" y="87"/>
                    </a:lnTo>
                    <a:lnTo>
                      <a:pt x="77" y="95"/>
                    </a:lnTo>
                    <a:lnTo>
                      <a:pt x="73" y="102"/>
                    </a:lnTo>
                    <a:lnTo>
                      <a:pt x="70" y="111"/>
                    </a:lnTo>
                    <a:lnTo>
                      <a:pt x="68" y="121"/>
                    </a:lnTo>
                    <a:lnTo>
                      <a:pt x="67" y="133"/>
                    </a:lnTo>
                    <a:lnTo>
                      <a:pt x="67" y="133"/>
                    </a:lnTo>
                    <a:lnTo>
                      <a:pt x="68" y="145"/>
                    </a:lnTo>
                    <a:lnTo>
                      <a:pt x="70" y="156"/>
                    </a:lnTo>
                    <a:lnTo>
                      <a:pt x="73" y="165"/>
                    </a:lnTo>
                    <a:lnTo>
                      <a:pt x="77" y="172"/>
                    </a:lnTo>
                    <a:lnTo>
                      <a:pt x="82" y="179"/>
                    </a:lnTo>
                    <a:lnTo>
                      <a:pt x="87" y="185"/>
                    </a:lnTo>
                    <a:lnTo>
                      <a:pt x="94" y="189"/>
                    </a:lnTo>
                    <a:lnTo>
                      <a:pt x="100" y="192"/>
                    </a:lnTo>
                    <a:lnTo>
                      <a:pt x="10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sp>
        <p:nvSpPr>
          <p:cNvPr id="474" name="TextBox 473">
            <a:extLst>
              <a:ext uri="{FF2B5EF4-FFF2-40B4-BE49-F238E27FC236}">
                <a16:creationId xmlns:a16="http://schemas.microsoft.com/office/drawing/2014/main" id="{51C5FC63-53CC-43C7-B42F-D98B8FEAD01C}"/>
              </a:ext>
            </a:extLst>
          </p:cNvPr>
          <p:cNvSpPr txBox="1"/>
          <p:nvPr/>
        </p:nvSpPr>
        <p:spPr>
          <a:xfrm>
            <a:off x="922189" y="2228064"/>
            <a:ext cx="3086109" cy="884858"/>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300"/>
              </a:spcAft>
              <a:buClr>
                <a:srgbClr val="000000"/>
              </a:buClr>
              <a:buSzPts val="15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Malignancy-related steroid use (10.2%, N = 66)</a:t>
            </a:r>
          </a:p>
          <a:p>
            <a:pPr marL="171450" marR="0" lvl="0" indent="-171450" algn="l" defTabSz="914400" rtl="0" eaLnBrk="1" fontAlgn="auto" latinLnBrk="0" hangingPunct="1">
              <a:lnSpc>
                <a:spcPct val="100000"/>
              </a:lnSpc>
              <a:spcBef>
                <a:spcPts val="0"/>
              </a:spcBef>
              <a:spcAft>
                <a:spcPts val="0"/>
              </a:spcAft>
              <a:buClr>
                <a:srgbClr val="545859"/>
              </a:buClr>
              <a:buSzPct val="100000"/>
              <a:buFont typeface="Arial" panose="020B0604020202020204" pitchFamily="34" charset="0"/>
              <a:buChar char="•"/>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CNS </a:t>
            </a:r>
            <a:r>
              <a:rPr kumimoji="0" lang="en-US" sz="11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mets</a:t>
            </a:r>
            <a:r>
              <a:rPr kumimoji="0" lang="en-US"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 57.6%</a:t>
            </a:r>
          </a:p>
          <a:p>
            <a:pPr marL="171450" marR="0" lvl="0" indent="-171450" algn="l" defTabSz="914400" rtl="0" eaLnBrk="1" fontAlgn="auto" latinLnBrk="0" hangingPunct="1">
              <a:lnSpc>
                <a:spcPct val="100000"/>
              </a:lnSpc>
              <a:spcBef>
                <a:spcPts val="0"/>
              </a:spcBef>
              <a:spcAft>
                <a:spcPts val="0"/>
              </a:spcAft>
              <a:buClr>
                <a:srgbClr val="545859"/>
              </a:buClr>
              <a:buSzPct val="100000"/>
              <a:buFont typeface="Arial" panose="020B0604020202020204" pitchFamily="34" charset="0"/>
              <a:buChar char="•"/>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Cancer related dyspnea – 18.2%</a:t>
            </a:r>
          </a:p>
          <a:p>
            <a:pPr marL="171450" marR="0" lvl="0" indent="-171450" algn="l" defTabSz="914400" rtl="0" eaLnBrk="1" fontAlgn="auto" latinLnBrk="0" hangingPunct="1">
              <a:lnSpc>
                <a:spcPct val="100000"/>
              </a:lnSpc>
              <a:spcBef>
                <a:spcPts val="0"/>
              </a:spcBef>
              <a:spcAft>
                <a:spcPts val="0"/>
              </a:spcAft>
              <a:buClr>
                <a:srgbClr val="545859"/>
              </a:buClr>
              <a:buSzPct val="100000"/>
              <a:buFont typeface="Arial" panose="020B0604020202020204" pitchFamily="34" charset="0"/>
              <a:buChar char="•"/>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Pain from bone </a:t>
            </a:r>
            <a:r>
              <a:rPr kumimoji="0" lang="en-US" sz="11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mets</a:t>
            </a:r>
            <a:r>
              <a:rPr kumimoji="0" lang="en-US"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 16.7%</a:t>
            </a:r>
          </a:p>
          <a:p>
            <a:pPr marL="171450" marR="0" lvl="0" indent="-171450" algn="l" defTabSz="914400" rtl="0" eaLnBrk="1" fontAlgn="auto" latinLnBrk="0" hangingPunct="1">
              <a:lnSpc>
                <a:spcPct val="100000"/>
              </a:lnSpc>
              <a:spcBef>
                <a:spcPts val="0"/>
              </a:spcBef>
              <a:spcAft>
                <a:spcPts val="0"/>
              </a:spcAft>
              <a:buClr>
                <a:srgbClr val="545859"/>
              </a:buClr>
              <a:buSzPct val="100000"/>
              <a:buFont typeface="Arial" panose="020B0604020202020204" pitchFamily="34" charset="0"/>
              <a:buChar char="•"/>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Anorexia – 7.6%</a:t>
            </a:r>
          </a:p>
        </p:txBody>
      </p:sp>
      <p:sp>
        <p:nvSpPr>
          <p:cNvPr id="487" name="TextBox 486">
            <a:extLst>
              <a:ext uri="{FF2B5EF4-FFF2-40B4-BE49-F238E27FC236}">
                <a16:creationId xmlns:a16="http://schemas.microsoft.com/office/drawing/2014/main" id="{4B30EA91-C395-4178-9A8A-0BF0978B3A70}"/>
              </a:ext>
            </a:extLst>
          </p:cNvPr>
          <p:cNvSpPr txBox="1"/>
          <p:nvPr/>
        </p:nvSpPr>
        <p:spPr>
          <a:xfrm>
            <a:off x="922189" y="3214884"/>
            <a:ext cx="3086109" cy="884858"/>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300"/>
              </a:spcAft>
              <a:buClr>
                <a:srgbClr val="000000"/>
              </a:buClr>
              <a:buSzPts val="15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Malignancy unrelated steroid use (4.2%, N = 27)</a:t>
            </a:r>
          </a:p>
          <a:p>
            <a:pPr marL="171450" marR="0" lvl="0" indent="-171450" algn="l" defTabSz="914400" rtl="0" eaLnBrk="1" fontAlgn="auto" latinLnBrk="0" hangingPunct="1">
              <a:lnSpc>
                <a:spcPct val="100000"/>
              </a:lnSpc>
              <a:spcBef>
                <a:spcPts val="0"/>
              </a:spcBef>
              <a:spcAft>
                <a:spcPts val="0"/>
              </a:spcAft>
              <a:buClr>
                <a:srgbClr val="545859"/>
              </a:buClr>
              <a:buSzPct val="100000"/>
              <a:buFont typeface="Arial" panose="020B0604020202020204" pitchFamily="34" charset="0"/>
              <a:buChar char="•"/>
              <a:tabLst/>
              <a:defRPr/>
            </a:pPr>
            <a:r>
              <a:rPr kumimoji="0" lang="fr-FR" sz="11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Pneumonitis</a:t>
            </a:r>
            <a:r>
              <a:rPr kumimoji="0" lang="fr-FR"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a:t>
            </a:r>
            <a:r>
              <a:rPr kumimoji="0" lang="fr-FR" sz="11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from</a:t>
            </a:r>
            <a:r>
              <a:rPr kumimoji="0" lang="fr-FR"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a:t>
            </a:r>
            <a:r>
              <a:rPr kumimoji="0" lang="fr-FR" sz="11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prior</a:t>
            </a:r>
            <a:r>
              <a:rPr kumimoji="0" lang="fr-FR"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chemo/CRT – 25.9%</a:t>
            </a:r>
          </a:p>
          <a:p>
            <a:pPr marL="171450" marR="0" lvl="0" indent="-171450" algn="l" defTabSz="914400" rtl="0" eaLnBrk="1" fontAlgn="auto" latinLnBrk="0" hangingPunct="1">
              <a:lnSpc>
                <a:spcPct val="100000"/>
              </a:lnSpc>
              <a:spcBef>
                <a:spcPts val="0"/>
              </a:spcBef>
              <a:spcAft>
                <a:spcPts val="0"/>
              </a:spcAft>
              <a:buClr>
                <a:srgbClr val="545859"/>
              </a:buClr>
              <a:buSzPct val="100000"/>
              <a:buFont typeface="Arial" panose="020B0604020202020204" pitchFamily="34" charset="0"/>
              <a:buChar char="•"/>
              <a:tabLst/>
              <a:defRPr/>
            </a:pPr>
            <a:r>
              <a:rPr kumimoji="0" lang="fr-FR"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COPD – 22.2%</a:t>
            </a:r>
          </a:p>
          <a:p>
            <a:pPr marL="171450" marR="0" lvl="0" indent="-171450" algn="l" defTabSz="914400" rtl="0" eaLnBrk="1" fontAlgn="auto" latinLnBrk="0" hangingPunct="1">
              <a:lnSpc>
                <a:spcPct val="100000"/>
              </a:lnSpc>
              <a:spcBef>
                <a:spcPts val="0"/>
              </a:spcBef>
              <a:spcAft>
                <a:spcPts val="0"/>
              </a:spcAft>
              <a:buClr>
                <a:srgbClr val="545859"/>
              </a:buClr>
              <a:buSzPct val="100000"/>
              <a:buFont typeface="Arial" panose="020B0604020202020204" pitchFamily="34" charset="0"/>
              <a:buChar char="•"/>
              <a:tabLst/>
              <a:defRPr/>
            </a:pPr>
            <a:r>
              <a:rPr kumimoji="0" lang="fr-FR" sz="11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Autoimmune</a:t>
            </a:r>
            <a:r>
              <a:rPr kumimoji="0" lang="fr-FR"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a:t>
            </a:r>
            <a:r>
              <a:rPr kumimoji="0" lang="fr-FR" sz="11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disease</a:t>
            </a:r>
            <a:r>
              <a:rPr kumimoji="0" lang="fr-FR"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 18.5%</a:t>
            </a:r>
          </a:p>
          <a:p>
            <a:pPr marL="171450" marR="0" lvl="0" indent="-171450" algn="l" defTabSz="914400" rtl="0" eaLnBrk="1" fontAlgn="auto" latinLnBrk="0" hangingPunct="1">
              <a:lnSpc>
                <a:spcPct val="100000"/>
              </a:lnSpc>
              <a:spcBef>
                <a:spcPts val="0"/>
              </a:spcBef>
              <a:spcAft>
                <a:spcPts val="0"/>
              </a:spcAft>
              <a:buClr>
                <a:srgbClr val="545859"/>
              </a:buClr>
              <a:buSzPct val="100000"/>
              <a:buFont typeface="Arial" panose="020B0604020202020204" pitchFamily="34" charset="0"/>
              <a:buChar char="•"/>
              <a:tabLst/>
              <a:defRPr/>
            </a:pPr>
            <a:r>
              <a:rPr kumimoji="0" lang="fr-FR" sz="11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Iodinated</a:t>
            </a:r>
            <a:r>
              <a:rPr kumimoji="0" lang="fr-FR"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a:t>
            </a:r>
            <a:r>
              <a:rPr kumimoji="0" lang="fr-FR" sz="11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contrast</a:t>
            </a:r>
            <a:r>
              <a:rPr kumimoji="0" lang="fr-FR"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a:t>
            </a:r>
            <a:r>
              <a:rPr kumimoji="0" lang="fr-FR" sz="11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prophylaxis</a:t>
            </a:r>
            <a:r>
              <a:rPr kumimoji="0" lang="fr-FR"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 14.8%</a:t>
            </a:r>
          </a:p>
        </p:txBody>
      </p:sp>
      <p:graphicFrame>
        <p:nvGraphicFramePr>
          <p:cNvPr id="499" name="Google Shape;3227;p23">
            <a:extLst>
              <a:ext uri="{FF2B5EF4-FFF2-40B4-BE49-F238E27FC236}">
                <a16:creationId xmlns:a16="http://schemas.microsoft.com/office/drawing/2014/main" id="{3BA7EC73-2D6C-4785-9969-1C92495177FB}"/>
              </a:ext>
            </a:extLst>
          </p:cNvPr>
          <p:cNvGraphicFramePr/>
          <p:nvPr>
            <p:extLst>
              <p:ext uri="{D42A27DB-BD31-4B8C-83A1-F6EECF244321}">
                <p14:modId xmlns:p14="http://schemas.microsoft.com/office/powerpoint/2010/main" val="1015919155"/>
              </p:ext>
            </p:extLst>
          </p:nvPr>
        </p:nvGraphicFramePr>
        <p:xfrm>
          <a:off x="4572000" y="1614948"/>
          <a:ext cx="4191000" cy="3014202"/>
        </p:xfrm>
        <a:graphic>
          <a:graphicData uri="http://schemas.openxmlformats.org/drawingml/2006/chart">
            <c:chart xmlns:c="http://schemas.openxmlformats.org/drawingml/2006/chart" xmlns:r="http://schemas.openxmlformats.org/officeDocument/2006/relationships" r:id="rId3"/>
          </a:graphicData>
        </a:graphic>
      </p:graphicFrame>
      <p:sp>
        <p:nvSpPr>
          <p:cNvPr id="500" name="Google Shape;3228;p23">
            <a:extLst>
              <a:ext uri="{FF2B5EF4-FFF2-40B4-BE49-F238E27FC236}">
                <a16:creationId xmlns:a16="http://schemas.microsoft.com/office/drawing/2014/main" id="{861B05AC-B124-4592-AB50-1E72BF83B9F0}"/>
              </a:ext>
            </a:extLst>
          </p:cNvPr>
          <p:cNvSpPr txBox="1"/>
          <p:nvPr/>
        </p:nvSpPr>
        <p:spPr>
          <a:xfrm>
            <a:off x="6667500" y="1612384"/>
            <a:ext cx="542167" cy="24618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1"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P </a:t>
            </a:r>
            <a:r>
              <a:rPr kumimoji="0" lang="en-US" sz="10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01</a:t>
            </a:r>
            <a:endParaRPr kumimoji="0" sz="1000" b="0" i="0" u="none" strike="noStrike" kern="0" cap="none" spc="0" normalizeH="0" baseline="0" noProof="0" dirty="0">
              <a:ln>
                <a:noFill/>
              </a:ln>
              <a:solidFill>
                <a:srgbClr val="000000"/>
              </a:solidFill>
              <a:effectLst/>
              <a:uLnTx/>
              <a:uFillTx/>
              <a:latin typeface="Gene Sans Light" panose="00000400000000000000" pitchFamily="2" charset="0"/>
              <a:cs typeface="Arial"/>
              <a:sym typeface="Arial"/>
            </a:endParaRPr>
          </a:p>
        </p:txBody>
      </p:sp>
      <p:sp>
        <p:nvSpPr>
          <p:cNvPr id="67" name="Google Shape;122;p3">
            <a:extLst>
              <a:ext uri="{FF2B5EF4-FFF2-40B4-BE49-F238E27FC236}">
                <a16:creationId xmlns:a16="http://schemas.microsoft.com/office/drawing/2014/main" id="{61DABF8A-3E30-47D3-9B73-C13B84A32CA7}"/>
              </a:ext>
            </a:extLst>
          </p:cNvPr>
          <p:cNvSpPr txBox="1">
            <a:spLocks/>
          </p:cNvSpPr>
          <p:nvPr/>
        </p:nvSpPr>
        <p:spPr>
          <a:xfrm>
            <a:off x="381000" y="94545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grpSp>
        <p:nvGrpSpPr>
          <p:cNvPr id="68" name="Group 67">
            <a:extLst>
              <a:ext uri="{FF2B5EF4-FFF2-40B4-BE49-F238E27FC236}">
                <a16:creationId xmlns:a16="http://schemas.microsoft.com/office/drawing/2014/main" id="{2ED8142C-A684-46FD-988F-C16370C5E87D}"/>
              </a:ext>
            </a:extLst>
          </p:cNvPr>
          <p:cNvGrpSpPr>
            <a:grpSpLocks noChangeAspect="1"/>
          </p:cNvGrpSpPr>
          <p:nvPr/>
        </p:nvGrpSpPr>
        <p:grpSpPr>
          <a:xfrm>
            <a:off x="436377" y="2254783"/>
            <a:ext cx="282997" cy="307937"/>
            <a:chOff x="-612775" y="1568450"/>
            <a:chExt cx="414337" cy="450850"/>
          </a:xfrm>
          <a:solidFill>
            <a:schemeClr val="bg1"/>
          </a:solidFill>
        </p:grpSpPr>
        <p:sp>
          <p:nvSpPr>
            <p:cNvPr id="69" name="Freeform 5">
              <a:extLst>
                <a:ext uri="{FF2B5EF4-FFF2-40B4-BE49-F238E27FC236}">
                  <a16:creationId xmlns:a16="http://schemas.microsoft.com/office/drawing/2014/main" id="{8D413396-77CA-4830-8ACB-7A7DF56CA710}"/>
                </a:ext>
              </a:extLst>
            </p:cNvPr>
            <p:cNvSpPr>
              <a:spLocks noEditPoints="1"/>
            </p:cNvSpPr>
            <p:nvPr/>
          </p:nvSpPr>
          <p:spPr bwMode="auto">
            <a:xfrm>
              <a:off x="-527050" y="1568450"/>
              <a:ext cx="241300" cy="425450"/>
            </a:xfrm>
            <a:custGeom>
              <a:avLst/>
              <a:gdLst>
                <a:gd name="T0" fmla="*/ 675 w 1100"/>
                <a:gd name="T1" fmla="*/ 43 h 1931"/>
                <a:gd name="T2" fmla="*/ 695 w 1100"/>
                <a:gd name="T3" fmla="*/ 193 h 1931"/>
                <a:gd name="T4" fmla="*/ 800 w 1100"/>
                <a:gd name="T5" fmla="*/ 390 h 1931"/>
                <a:gd name="T6" fmla="*/ 943 w 1100"/>
                <a:gd name="T7" fmla="*/ 476 h 1931"/>
                <a:gd name="T8" fmla="*/ 858 w 1100"/>
                <a:gd name="T9" fmla="*/ 931 h 1931"/>
                <a:gd name="T10" fmla="*/ 784 w 1100"/>
                <a:gd name="T11" fmla="*/ 1088 h 1931"/>
                <a:gd name="T12" fmla="*/ 715 w 1100"/>
                <a:gd name="T13" fmla="*/ 1189 h 1931"/>
                <a:gd name="T14" fmla="*/ 1093 w 1100"/>
                <a:gd name="T15" fmla="*/ 1415 h 1931"/>
                <a:gd name="T16" fmla="*/ 1099 w 1100"/>
                <a:gd name="T17" fmla="*/ 1735 h 1931"/>
                <a:gd name="T18" fmla="*/ 1074 w 1100"/>
                <a:gd name="T19" fmla="*/ 1765 h 1931"/>
                <a:gd name="T20" fmla="*/ 1055 w 1100"/>
                <a:gd name="T21" fmla="*/ 1725 h 1931"/>
                <a:gd name="T22" fmla="*/ 814 w 1100"/>
                <a:gd name="T23" fmla="*/ 1232 h 1931"/>
                <a:gd name="T24" fmla="*/ 713 w 1100"/>
                <a:gd name="T25" fmla="*/ 1267 h 1931"/>
                <a:gd name="T26" fmla="*/ 573 w 1100"/>
                <a:gd name="T27" fmla="*/ 1473 h 1931"/>
                <a:gd name="T28" fmla="*/ 573 w 1100"/>
                <a:gd name="T29" fmla="*/ 1889 h 1931"/>
                <a:gd name="T30" fmla="*/ 529 w 1100"/>
                <a:gd name="T31" fmla="*/ 1888 h 1931"/>
                <a:gd name="T32" fmla="*/ 529 w 1100"/>
                <a:gd name="T33" fmla="*/ 1470 h 1931"/>
                <a:gd name="T34" fmla="*/ 390 w 1100"/>
                <a:gd name="T35" fmla="*/ 1232 h 1931"/>
                <a:gd name="T36" fmla="*/ 45 w 1100"/>
                <a:gd name="T37" fmla="*/ 1477 h 1931"/>
                <a:gd name="T38" fmla="*/ 43 w 1100"/>
                <a:gd name="T39" fmla="*/ 1917 h 1931"/>
                <a:gd name="T40" fmla="*/ 3 w 1100"/>
                <a:gd name="T41" fmla="*/ 1916 h 1931"/>
                <a:gd name="T42" fmla="*/ 1 w 1100"/>
                <a:gd name="T43" fmla="*/ 1481 h 1931"/>
                <a:gd name="T44" fmla="*/ 389 w 1100"/>
                <a:gd name="T45" fmla="*/ 1189 h 1931"/>
                <a:gd name="T46" fmla="*/ 378 w 1100"/>
                <a:gd name="T47" fmla="*/ 1125 h 1931"/>
                <a:gd name="T48" fmla="*/ 244 w 1100"/>
                <a:gd name="T49" fmla="*/ 955 h 1931"/>
                <a:gd name="T50" fmla="*/ 290 w 1100"/>
                <a:gd name="T51" fmla="*/ 333 h 1931"/>
                <a:gd name="T52" fmla="*/ 410 w 1100"/>
                <a:gd name="T53" fmla="*/ 179 h 1931"/>
                <a:gd name="T54" fmla="*/ 519 w 1100"/>
                <a:gd name="T55" fmla="*/ 0 h 1931"/>
                <a:gd name="T56" fmla="*/ 287 w 1100"/>
                <a:gd name="T57" fmla="*/ 600 h 1931"/>
                <a:gd name="T58" fmla="*/ 347 w 1100"/>
                <a:gd name="T59" fmla="*/ 1054 h 1931"/>
                <a:gd name="T60" fmla="*/ 613 w 1100"/>
                <a:gd name="T61" fmla="*/ 1140 h 1931"/>
                <a:gd name="T62" fmla="*/ 815 w 1100"/>
                <a:gd name="T63" fmla="*/ 947 h 1931"/>
                <a:gd name="T64" fmla="*/ 814 w 1100"/>
                <a:gd name="T65" fmla="*/ 567 h 1931"/>
                <a:gd name="T66" fmla="*/ 488 w 1100"/>
                <a:gd name="T67" fmla="*/ 648 h 1931"/>
                <a:gd name="T68" fmla="*/ 287 w 1100"/>
                <a:gd name="T69" fmla="*/ 600 h 1931"/>
                <a:gd name="T70" fmla="*/ 476 w 1100"/>
                <a:gd name="T71" fmla="*/ 327 h 1931"/>
                <a:gd name="T72" fmla="*/ 412 w 1100"/>
                <a:gd name="T73" fmla="*/ 321 h 1931"/>
                <a:gd name="T74" fmla="*/ 222 w 1100"/>
                <a:gd name="T75" fmla="*/ 815 h 1931"/>
                <a:gd name="T76" fmla="*/ 244 w 1100"/>
                <a:gd name="T77" fmla="*/ 814 h 1931"/>
                <a:gd name="T78" fmla="*/ 260 w 1100"/>
                <a:gd name="T79" fmla="*/ 518 h 1931"/>
                <a:gd name="T80" fmla="*/ 485 w 1100"/>
                <a:gd name="T81" fmla="*/ 605 h 1931"/>
                <a:gd name="T82" fmla="*/ 858 w 1100"/>
                <a:gd name="T83" fmla="*/ 551 h 1931"/>
                <a:gd name="T84" fmla="*/ 859 w 1100"/>
                <a:gd name="T85" fmla="*/ 836 h 1931"/>
                <a:gd name="T86" fmla="*/ 871 w 1100"/>
                <a:gd name="T87" fmla="*/ 827 h 1931"/>
                <a:gd name="T88" fmla="*/ 779 w 1100"/>
                <a:gd name="T89" fmla="*/ 439 h 1931"/>
                <a:gd name="T90" fmla="*/ 752 w 1100"/>
                <a:gd name="T91" fmla="*/ 404 h 1931"/>
                <a:gd name="T92" fmla="*/ 688 w 1100"/>
                <a:gd name="T93" fmla="*/ 318 h 1931"/>
                <a:gd name="T94" fmla="*/ 536 w 1100"/>
                <a:gd name="T95" fmla="*/ 553 h 1931"/>
                <a:gd name="T96" fmla="*/ 494 w 1100"/>
                <a:gd name="T97" fmla="*/ 535 h 1931"/>
                <a:gd name="T98" fmla="*/ 532 w 1100"/>
                <a:gd name="T99" fmla="*/ 328 h 1931"/>
                <a:gd name="T100" fmla="*/ 433 w 1100"/>
                <a:gd name="T101" fmla="*/ 1257 h 1931"/>
                <a:gd name="T102" fmla="*/ 558 w 1100"/>
                <a:gd name="T103" fmla="*/ 1406 h 1931"/>
                <a:gd name="T104" fmla="*/ 669 w 1100"/>
                <a:gd name="T105" fmla="*/ 1184 h 1931"/>
                <a:gd name="T106" fmla="*/ 433 w 1100"/>
                <a:gd name="T107" fmla="*/ 1156 h 1931"/>
                <a:gd name="T108" fmla="*/ 551 w 1100"/>
                <a:gd name="T109" fmla="*/ 44 h 1931"/>
                <a:gd name="T110" fmla="*/ 436 w 1100"/>
                <a:gd name="T111" fmla="*/ 220 h 1931"/>
                <a:gd name="T112" fmla="*/ 543 w 1100"/>
                <a:gd name="T113" fmla="*/ 284 h 1931"/>
                <a:gd name="T114" fmla="*/ 557 w 1100"/>
                <a:gd name="T115" fmla="*/ 432 h 1931"/>
                <a:gd name="T116" fmla="*/ 667 w 1100"/>
                <a:gd name="T117" fmla="*/ 268 h 1931"/>
                <a:gd name="T118" fmla="*/ 581 w 1100"/>
                <a:gd name="T119" fmla="*/ 208 h 1931"/>
                <a:gd name="T120" fmla="*/ 624 w 1100"/>
                <a:gd name="T121" fmla="*/ 44 h 1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00" h="1931">
                  <a:moveTo>
                    <a:pt x="671" y="0"/>
                  </a:moveTo>
                  <a:cubicBezTo>
                    <a:pt x="684" y="13"/>
                    <a:pt x="685" y="26"/>
                    <a:pt x="675" y="43"/>
                  </a:cubicBezTo>
                  <a:cubicBezTo>
                    <a:pt x="652" y="81"/>
                    <a:pt x="631" y="121"/>
                    <a:pt x="607" y="165"/>
                  </a:cubicBezTo>
                  <a:cubicBezTo>
                    <a:pt x="643" y="162"/>
                    <a:pt x="673" y="167"/>
                    <a:pt x="695" y="193"/>
                  </a:cubicBezTo>
                  <a:cubicBezTo>
                    <a:pt x="717" y="218"/>
                    <a:pt x="722" y="247"/>
                    <a:pt x="711" y="280"/>
                  </a:cubicBezTo>
                  <a:cubicBezTo>
                    <a:pt x="760" y="301"/>
                    <a:pt x="803" y="326"/>
                    <a:pt x="800" y="390"/>
                  </a:cubicBezTo>
                  <a:cubicBezTo>
                    <a:pt x="812" y="392"/>
                    <a:pt x="824" y="393"/>
                    <a:pt x="835" y="395"/>
                  </a:cubicBezTo>
                  <a:cubicBezTo>
                    <a:pt x="884" y="405"/>
                    <a:pt x="920" y="432"/>
                    <a:pt x="943" y="476"/>
                  </a:cubicBezTo>
                  <a:cubicBezTo>
                    <a:pt x="1013" y="609"/>
                    <a:pt x="986" y="775"/>
                    <a:pt x="875" y="887"/>
                  </a:cubicBezTo>
                  <a:cubicBezTo>
                    <a:pt x="862" y="900"/>
                    <a:pt x="858" y="913"/>
                    <a:pt x="858" y="931"/>
                  </a:cubicBezTo>
                  <a:cubicBezTo>
                    <a:pt x="857" y="958"/>
                    <a:pt x="855" y="985"/>
                    <a:pt x="847" y="1011"/>
                  </a:cubicBezTo>
                  <a:cubicBezTo>
                    <a:pt x="838" y="1045"/>
                    <a:pt x="814" y="1070"/>
                    <a:pt x="784" y="1088"/>
                  </a:cubicBezTo>
                  <a:cubicBezTo>
                    <a:pt x="772" y="1096"/>
                    <a:pt x="759" y="1103"/>
                    <a:pt x="746" y="1111"/>
                  </a:cubicBezTo>
                  <a:cubicBezTo>
                    <a:pt x="709" y="1134"/>
                    <a:pt x="706" y="1140"/>
                    <a:pt x="715" y="1189"/>
                  </a:cubicBezTo>
                  <a:cubicBezTo>
                    <a:pt x="748" y="1189"/>
                    <a:pt x="780" y="1188"/>
                    <a:pt x="813" y="1189"/>
                  </a:cubicBezTo>
                  <a:cubicBezTo>
                    <a:pt x="949" y="1190"/>
                    <a:pt x="1063" y="1282"/>
                    <a:pt x="1093" y="1415"/>
                  </a:cubicBezTo>
                  <a:cubicBezTo>
                    <a:pt x="1097" y="1433"/>
                    <a:pt x="1099" y="1451"/>
                    <a:pt x="1099" y="1469"/>
                  </a:cubicBezTo>
                  <a:cubicBezTo>
                    <a:pt x="1099" y="1557"/>
                    <a:pt x="1099" y="1646"/>
                    <a:pt x="1099" y="1735"/>
                  </a:cubicBezTo>
                  <a:cubicBezTo>
                    <a:pt x="1099" y="1739"/>
                    <a:pt x="1100" y="1746"/>
                    <a:pt x="1097" y="1748"/>
                  </a:cubicBezTo>
                  <a:cubicBezTo>
                    <a:pt x="1091" y="1755"/>
                    <a:pt x="1082" y="1765"/>
                    <a:pt x="1074" y="1765"/>
                  </a:cubicBezTo>
                  <a:cubicBezTo>
                    <a:pt x="1068" y="1765"/>
                    <a:pt x="1060" y="1754"/>
                    <a:pt x="1056" y="1746"/>
                  </a:cubicBezTo>
                  <a:cubicBezTo>
                    <a:pt x="1052" y="1741"/>
                    <a:pt x="1055" y="1732"/>
                    <a:pt x="1055" y="1725"/>
                  </a:cubicBezTo>
                  <a:cubicBezTo>
                    <a:pt x="1055" y="1642"/>
                    <a:pt x="1055" y="1559"/>
                    <a:pt x="1055" y="1477"/>
                  </a:cubicBezTo>
                  <a:cubicBezTo>
                    <a:pt x="1055" y="1341"/>
                    <a:pt x="949" y="1234"/>
                    <a:pt x="814" y="1232"/>
                  </a:cubicBezTo>
                  <a:cubicBezTo>
                    <a:pt x="781" y="1232"/>
                    <a:pt x="748" y="1232"/>
                    <a:pt x="713" y="1232"/>
                  </a:cubicBezTo>
                  <a:cubicBezTo>
                    <a:pt x="713" y="1245"/>
                    <a:pt x="712" y="1256"/>
                    <a:pt x="713" y="1267"/>
                  </a:cubicBezTo>
                  <a:cubicBezTo>
                    <a:pt x="719" y="1358"/>
                    <a:pt x="668" y="1429"/>
                    <a:pt x="573" y="1450"/>
                  </a:cubicBezTo>
                  <a:cubicBezTo>
                    <a:pt x="573" y="1457"/>
                    <a:pt x="573" y="1465"/>
                    <a:pt x="573" y="1473"/>
                  </a:cubicBezTo>
                  <a:cubicBezTo>
                    <a:pt x="573" y="1606"/>
                    <a:pt x="573" y="1738"/>
                    <a:pt x="573" y="1871"/>
                  </a:cubicBezTo>
                  <a:cubicBezTo>
                    <a:pt x="573" y="1877"/>
                    <a:pt x="573" y="1883"/>
                    <a:pt x="573" y="1889"/>
                  </a:cubicBezTo>
                  <a:cubicBezTo>
                    <a:pt x="573" y="1903"/>
                    <a:pt x="567" y="1915"/>
                    <a:pt x="552" y="1915"/>
                  </a:cubicBezTo>
                  <a:cubicBezTo>
                    <a:pt x="535" y="1915"/>
                    <a:pt x="529" y="1903"/>
                    <a:pt x="529" y="1888"/>
                  </a:cubicBezTo>
                  <a:cubicBezTo>
                    <a:pt x="529" y="1855"/>
                    <a:pt x="529" y="1823"/>
                    <a:pt x="529" y="1790"/>
                  </a:cubicBezTo>
                  <a:cubicBezTo>
                    <a:pt x="529" y="1683"/>
                    <a:pt x="529" y="1577"/>
                    <a:pt x="529" y="1470"/>
                  </a:cubicBezTo>
                  <a:cubicBezTo>
                    <a:pt x="529" y="1463"/>
                    <a:pt x="529" y="1457"/>
                    <a:pt x="529" y="1450"/>
                  </a:cubicBezTo>
                  <a:cubicBezTo>
                    <a:pt x="413" y="1422"/>
                    <a:pt x="380" y="1342"/>
                    <a:pt x="390" y="1232"/>
                  </a:cubicBezTo>
                  <a:cubicBezTo>
                    <a:pt x="331" y="1234"/>
                    <a:pt x="274" y="1226"/>
                    <a:pt x="218" y="1242"/>
                  </a:cubicBezTo>
                  <a:cubicBezTo>
                    <a:pt x="113" y="1274"/>
                    <a:pt x="46" y="1365"/>
                    <a:pt x="45" y="1477"/>
                  </a:cubicBezTo>
                  <a:cubicBezTo>
                    <a:pt x="44" y="1616"/>
                    <a:pt x="45" y="1755"/>
                    <a:pt x="45" y="1893"/>
                  </a:cubicBezTo>
                  <a:cubicBezTo>
                    <a:pt x="45" y="1901"/>
                    <a:pt x="46" y="1911"/>
                    <a:pt x="43" y="1917"/>
                  </a:cubicBezTo>
                  <a:cubicBezTo>
                    <a:pt x="39" y="1923"/>
                    <a:pt x="30" y="1931"/>
                    <a:pt x="23" y="1931"/>
                  </a:cubicBezTo>
                  <a:cubicBezTo>
                    <a:pt x="16" y="1931"/>
                    <a:pt x="8" y="1923"/>
                    <a:pt x="3" y="1916"/>
                  </a:cubicBezTo>
                  <a:cubicBezTo>
                    <a:pt x="0" y="1911"/>
                    <a:pt x="1" y="1903"/>
                    <a:pt x="1" y="1897"/>
                  </a:cubicBezTo>
                  <a:cubicBezTo>
                    <a:pt x="1" y="1758"/>
                    <a:pt x="1" y="1619"/>
                    <a:pt x="1" y="1481"/>
                  </a:cubicBezTo>
                  <a:cubicBezTo>
                    <a:pt x="2" y="1312"/>
                    <a:pt x="125" y="1189"/>
                    <a:pt x="293" y="1189"/>
                  </a:cubicBezTo>
                  <a:cubicBezTo>
                    <a:pt x="324" y="1188"/>
                    <a:pt x="356" y="1189"/>
                    <a:pt x="389" y="1189"/>
                  </a:cubicBezTo>
                  <a:cubicBezTo>
                    <a:pt x="389" y="1170"/>
                    <a:pt x="390" y="1154"/>
                    <a:pt x="389" y="1137"/>
                  </a:cubicBezTo>
                  <a:cubicBezTo>
                    <a:pt x="388" y="1133"/>
                    <a:pt x="383" y="1127"/>
                    <a:pt x="378" y="1125"/>
                  </a:cubicBezTo>
                  <a:cubicBezTo>
                    <a:pt x="358" y="1112"/>
                    <a:pt x="338" y="1100"/>
                    <a:pt x="318" y="1088"/>
                  </a:cubicBezTo>
                  <a:cubicBezTo>
                    <a:pt x="269" y="1058"/>
                    <a:pt x="243" y="1013"/>
                    <a:pt x="244" y="955"/>
                  </a:cubicBezTo>
                  <a:cubicBezTo>
                    <a:pt x="245" y="921"/>
                    <a:pt x="236" y="897"/>
                    <a:pt x="212" y="871"/>
                  </a:cubicBezTo>
                  <a:cubicBezTo>
                    <a:pt x="62" y="704"/>
                    <a:pt x="98" y="459"/>
                    <a:pt x="290" y="333"/>
                  </a:cubicBezTo>
                  <a:cubicBezTo>
                    <a:pt x="321" y="312"/>
                    <a:pt x="356" y="296"/>
                    <a:pt x="391" y="277"/>
                  </a:cubicBezTo>
                  <a:cubicBezTo>
                    <a:pt x="375" y="242"/>
                    <a:pt x="390" y="210"/>
                    <a:pt x="410" y="179"/>
                  </a:cubicBezTo>
                  <a:cubicBezTo>
                    <a:pt x="441" y="128"/>
                    <a:pt x="470" y="77"/>
                    <a:pt x="501" y="26"/>
                  </a:cubicBezTo>
                  <a:cubicBezTo>
                    <a:pt x="506" y="17"/>
                    <a:pt x="513" y="9"/>
                    <a:pt x="519" y="0"/>
                  </a:cubicBezTo>
                  <a:cubicBezTo>
                    <a:pt x="570" y="0"/>
                    <a:pt x="620" y="0"/>
                    <a:pt x="671" y="0"/>
                  </a:cubicBezTo>
                  <a:close/>
                  <a:moveTo>
                    <a:pt x="287" y="600"/>
                  </a:moveTo>
                  <a:cubicBezTo>
                    <a:pt x="287" y="720"/>
                    <a:pt x="288" y="834"/>
                    <a:pt x="287" y="949"/>
                  </a:cubicBezTo>
                  <a:cubicBezTo>
                    <a:pt x="287" y="996"/>
                    <a:pt x="306" y="1031"/>
                    <a:pt x="347" y="1054"/>
                  </a:cubicBezTo>
                  <a:cubicBezTo>
                    <a:pt x="394" y="1082"/>
                    <a:pt x="442" y="1111"/>
                    <a:pt x="489" y="1140"/>
                  </a:cubicBezTo>
                  <a:cubicBezTo>
                    <a:pt x="530" y="1166"/>
                    <a:pt x="571" y="1166"/>
                    <a:pt x="613" y="1140"/>
                  </a:cubicBezTo>
                  <a:cubicBezTo>
                    <a:pt x="660" y="1112"/>
                    <a:pt x="707" y="1083"/>
                    <a:pt x="755" y="1055"/>
                  </a:cubicBezTo>
                  <a:cubicBezTo>
                    <a:pt x="796" y="1030"/>
                    <a:pt x="815" y="995"/>
                    <a:pt x="815" y="947"/>
                  </a:cubicBezTo>
                  <a:cubicBezTo>
                    <a:pt x="814" y="827"/>
                    <a:pt x="815" y="707"/>
                    <a:pt x="815" y="587"/>
                  </a:cubicBezTo>
                  <a:cubicBezTo>
                    <a:pt x="815" y="581"/>
                    <a:pt x="814" y="575"/>
                    <a:pt x="814" y="567"/>
                  </a:cubicBezTo>
                  <a:cubicBezTo>
                    <a:pt x="807" y="569"/>
                    <a:pt x="802" y="569"/>
                    <a:pt x="798" y="570"/>
                  </a:cubicBezTo>
                  <a:cubicBezTo>
                    <a:pt x="695" y="597"/>
                    <a:pt x="592" y="624"/>
                    <a:pt x="488" y="648"/>
                  </a:cubicBezTo>
                  <a:cubicBezTo>
                    <a:pt x="459" y="655"/>
                    <a:pt x="426" y="654"/>
                    <a:pt x="396" y="652"/>
                  </a:cubicBezTo>
                  <a:cubicBezTo>
                    <a:pt x="356" y="648"/>
                    <a:pt x="322" y="628"/>
                    <a:pt x="287" y="600"/>
                  </a:cubicBezTo>
                  <a:close/>
                  <a:moveTo>
                    <a:pt x="532" y="328"/>
                  </a:moveTo>
                  <a:cubicBezTo>
                    <a:pt x="512" y="328"/>
                    <a:pt x="494" y="328"/>
                    <a:pt x="476" y="327"/>
                  </a:cubicBezTo>
                  <a:cubicBezTo>
                    <a:pt x="463" y="326"/>
                    <a:pt x="450" y="323"/>
                    <a:pt x="437" y="321"/>
                  </a:cubicBezTo>
                  <a:cubicBezTo>
                    <a:pt x="429" y="320"/>
                    <a:pt x="420" y="318"/>
                    <a:pt x="412" y="321"/>
                  </a:cubicBezTo>
                  <a:cubicBezTo>
                    <a:pt x="364" y="336"/>
                    <a:pt x="320" y="361"/>
                    <a:pt x="281" y="394"/>
                  </a:cubicBezTo>
                  <a:cubicBezTo>
                    <a:pt x="150" y="502"/>
                    <a:pt x="126" y="678"/>
                    <a:pt x="222" y="815"/>
                  </a:cubicBezTo>
                  <a:cubicBezTo>
                    <a:pt x="228" y="823"/>
                    <a:pt x="234" y="830"/>
                    <a:pt x="244" y="842"/>
                  </a:cubicBezTo>
                  <a:cubicBezTo>
                    <a:pt x="244" y="828"/>
                    <a:pt x="244" y="821"/>
                    <a:pt x="244" y="814"/>
                  </a:cubicBezTo>
                  <a:cubicBezTo>
                    <a:pt x="244" y="724"/>
                    <a:pt x="244" y="635"/>
                    <a:pt x="243" y="546"/>
                  </a:cubicBezTo>
                  <a:cubicBezTo>
                    <a:pt x="243" y="532"/>
                    <a:pt x="246" y="519"/>
                    <a:pt x="260" y="518"/>
                  </a:cubicBezTo>
                  <a:cubicBezTo>
                    <a:pt x="269" y="518"/>
                    <a:pt x="282" y="525"/>
                    <a:pt x="287" y="532"/>
                  </a:cubicBezTo>
                  <a:cubicBezTo>
                    <a:pt x="336" y="600"/>
                    <a:pt x="404" y="626"/>
                    <a:pt x="485" y="605"/>
                  </a:cubicBezTo>
                  <a:cubicBezTo>
                    <a:pt x="596" y="577"/>
                    <a:pt x="708" y="548"/>
                    <a:pt x="820" y="520"/>
                  </a:cubicBezTo>
                  <a:cubicBezTo>
                    <a:pt x="849" y="512"/>
                    <a:pt x="858" y="520"/>
                    <a:pt x="858" y="551"/>
                  </a:cubicBezTo>
                  <a:cubicBezTo>
                    <a:pt x="859" y="640"/>
                    <a:pt x="858" y="728"/>
                    <a:pt x="859" y="817"/>
                  </a:cubicBezTo>
                  <a:cubicBezTo>
                    <a:pt x="859" y="823"/>
                    <a:pt x="859" y="829"/>
                    <a:pt x="859" y="836"/>
                  </a:cubicBezTo>
                  <a:cubicBezTo>
                    <a:pt x="862" y="835"/>
                    <a:pt x="863" y="835"/>
                    <a:pt x="864" y="835"/>
                  </a:cubicBezTo>
                  <a:cubicBezTo>
                    <a:pt x="867" y="832"/>
                    <a:pt x="869" y="830"/>
                    <a:pt x="871" y="827"/>
                  </a:cubicBezTo>
                  <a:cubicBezTo>
                    <a:pt x="944" y="726"/>
                    <a:pt x="960" y="618"/>
                    <a:pt x="907" y="503"/>
                  </a:cubicBezTo>
                  <a:cubicBezTo>
                    <a:pt x="883" y="450"/>
                    <a:pt x="837" y="429"/>
                    <a:pt x="779" y="439"/>
                  </a:cubicBezTo>
                  <a:cubicBezTo>
                    <a:pt x="771" y="440"/>
                    <a:pt x="757" y="438"/>
                    <a:pt x="753" y="432"/>
                  </a:cubicBezTo>
                  <a:cubicBezTo>
                    <a:pt x="748" y="426"/>
                    <a:pt x="749" y="412"/>
                    <a:pt x="752" y="404"/>
                  </a:cubicBezTo>
                  <a:cubicBezTo>
                    <a:pt x="761" y="378"/>
                    <a:pt x="758" y="360"/>
                    <a:pt x="736" y="344"/>
                  </a:cubicBezTo>
                  <a:cubicBezTo>
                    <a:pt x="722" y="334"/>
                    <a:pt x="705" y="327"/>
                    <a:pt x="688" y="318"/>
                  </a:cubicBezTo>
                  <a:cubicBezTo>
                    <a:pt x="683" y="326"/>
                    <a:pt x="679" y="332"/>
                    <a:pt x="675" y="338"/>
                  </a:cubicBezTo>
                  <a:cubicBezTo>
                    <a:pt x="629" y="410"/>
                    <a:pt x="582" y="481"/>
                    <a:pt x="536" y="553"/>
                  </a:cubicBezTo>
                  <a:cubicBezTo>
                    <a:pt x="529" y="564"/>
                    <a:pt x="520" y="572"/>
                    <a:pt x="507" y="567"/>
                  </a:cubicBezTo>
                  <a:cubicBezTo>
                    <a:pt x="492" y="561"/>
                    <a:pt x="490" y="550"/>
                    <a:pt x="494" y="535"/>
                  </a:cubicBezTo>
                  <a:cubicBezTo>
                    <a:pt x="498" y="515"/>
                    <a:pt x="501" y="493"/>
                    <a:pt x="505" y="472"/>
                  </a:cubicBezTo>
                  <a:cubicBezTo>
                    <a:pt x="514" y="425"/>
                    <a:pt x="523" y="377"/>
                    <a:pt x="532" y="328"/>
                  </a:cubicBezTo>
                  <a:close/>
                  <a:moveTo>
                    <a:pt x="433" y="1156"/>
                  </a:moveTo>
                  <a:cubicBezTo>
                    <a:pt x="433" y="1193"/>
                    <a:pt x="432" y="1225"/>
                    <a:pt x="433" y="1257"/>
                  </a:cubicBezTo>
                  <a:cubicBezTo>
                    <a:pt x="433" y="1277"/>
                    <a:pt x="433" y="1298"/>
                    <a:pt x="437" y="1318"/>
                  </a:cubicBezTo>
                  <a:cubicBezTo>
                    <a:pt x="450" y="1373"/>
                    <a:pt x="503" y="1410"/>
                    <a:pt x="558" y="1406"/>
                  </a:cubicBezTo>
                  <a:cubicBezTo>
                    <a:pt x="617" y="1402"/>
                    <a:pt x="664" y="1358"/>
                    <a:pt x="668" y="1299"/>
                  </a:cubicBezTo>
                  <a:cubicBezTo>
                    <a:pt x="670" y="1261"/>
                    <a:pt x="669" y="1222"/>
                    <a:pt x="669" y="1184"/>
                  </a:cubicBezTo>
                  <a:cubicBezTo>
                    <a:pt x="669" y="1176"/>
                    <a:pt x="669" y="1169"/>
                    <a:pt x="669" y="1156"/>
                  </a:cubicBezTo>
                  <a:cubicBezTo>
                    <a:pt x="589" y="1218"/>
                    <a:pt x="512" y="1218"/>
                    <a:pt x="433" y="1156"/>
                  </a:cubicBezTo>
                  <a:close/>
                  <a:moveTo>
                    <a:pt x="624" y="44"/>
                  </a:moveTo>
                  <a:cubicBezTo>
                    <a:pt x="597" y="44"/>
                    <a:pt x="574" y="43"/>
                    <a:pt x="551" y="44"/>
                  </a:cubicBezTo>
                  <a:cubicBezTo>
                    <a:pt x="545" y="45"/>
                    <a:pt x="538" y="50"/>
                    <a:pt x="535" y="55"/>
                  </a:cubicBezTo>
                  <a:cubicBezTo>
                    <a:pt x="501" y="110"/>
                    <a:pt x="469" y="165"/>
                    <a:pt x="436" y="220"/>
                  </a:cubicBezTo>
                  <a:cubicBezTo>
                    <a:pt x="418" y="252"/>
                    <a:pt x="436" y="283"/>
                    <a:pt x="473" y="284"/>
                  </a:cubicBezTo>
                  <a:cubicBezTo>
                    <a:pt x="496" y="284"/>
                    <a:pt x="520" y="284"/>
                    <a:pt x="543" y="284"/>
                  </a:cubicBezTo>
                  <a:cubicBezTo>
                    <a:pt x="577" y="284"/>
                    <a:pt x="583" y="291"/>
                    <a:pt x="577" y="324"/>
                  </a:cubicBezTo>
                  <a:cubicBezTo>
                    <a:pt x="570" y="359"/>
                    <a:pt x="564" y="395"/>
                    <a:pt x="557" y="432"/>
                  </a:cubicBezTo>
                  <a:cubicBezTo>
                    <a:pt x="562" y="430"/>
                    <a:pt x="564" y="429"/>
                    <a:pt x="565" y="427"/>
                  </a:cubicBezTo>
                  <a:cubicBezTo>
                    <a:pt x="599" y="374"/>
                    <a:pt x="634" y="322"/>
                    <a:pt x="667" y="268"/>
                  </a:cubicBezTo>
                  <a:cubicBezTo>
                    <a:pt x="683" y="242"/>
                    <a:pt x="665" y="210"/>
                    <a:pt x="635" y="209"/>
                  </a:cubicBezTo>
                  <a:cubicBezTo>
                    <a:pt x="617" y="207"/>
                    <a:pt x="599" y="208"/>
                    <a:pt x="581" y="208"/>
                  </a:cubicBezTo>
                  <a:cubicBezTo>
                    <a:pt x="549" y="208"/>
                    <a:pt x="541" y="194"/>
                    <a:pt x="556" y="166"/>
                  </a:cubicBezTo>
                  <a:cubicBezTo>
                    <a:pt x="578" y="127"/>
                    <a:pt x="600" y="87"/>
                    <a:pt x="624" y="4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70" name="Freeform 6">
              <a:extLst>
                <a:ext uri="{FF2B5EF4-FFF2-40B4-BE49-F238E27FC236}">
                  <a16:creationId xmlns:a16="http://schemas.microsoft.com/office/drawing/2014/main" id="{5BC6B310-8C56-4DC0-8BB3-FA07F6927ACB}"/>
                </a:ext>
              </a:extLst>
            </p:cNvPr>
            <p:cNvSpPr>
              <a:spLocks/>
            </p:cNvSpPr>
            <p:nvPr/>
          </p:nvSpPr>
          <p:spPr bwMode="auto">
            <a:xfrm>
              <a:off x="-603250" y="2009775"/>
              <a:ext cx="395287" cy="9525"/>
            </a:xfrm>
            <a:custGeom>
              <a:avLst/>
              <a:gdLst>
                <a:gd name="T0" fmla="*/ 19 w 1798"/>
                <a:gd name="T1" fmla="*/ 44 h 44"/>
                <a:gd name="T2" fmla="*/ 9 w 1798"/>
                <a:gd name="T3" fmla="*/ 13 h 44"/>
                <a:gd name="T4" fmla="*/ 38 w 1798"/>
                <a:gd name="T5" fmla="*/ 1 h 44"/>
                <a:gd name="T6" fmla="*/ 1760 w 1798"/>
                <a:gd name="T7" fmla="*/ 1 h 44"/>
                <a:gd name="T8" fmla="*/ 1789 w 1798"/>
                <a:gd name="T9" fmla="*/ 13 h 44"/>
                <a:gd name="T10" fmla="*/ 1779 w 1798"/>
                <a:gd name="T11" fmla="*/ 44 h 44"/>
                <a:gd name="T12" fmla="*/ 19 w 1798"/>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1798" h="44">
                  <a:moveTo>
                    <a:pt x="19" y="44"/>
                  </a:moveTo>
                  <a:cubicBezTo>
                    <a:pt x="11" y="35"/>
                    <a:pt x="0" y="25"/>
                    <a:pt x="9" y="13"/>
                  </a:cubicBezTo>
                  <a:cubicBezTo>
                    <a:pt x="15" y="6"/>
                    <a:pt x="28" y="1"/>
                    <a:pt x="38" y="1"/>
                  </a:cubicBezTo>
                  <a:cubicBezTo>
                    <a:pt x="612" y="0"/>
                    <a:pt x="1186" y="0"/>
                    <a:pt x="1760" y="1"/>
                  </a:cubicBezTo>
                  <a:cubicBezTo>
                    <a:pt x="1770" y="1"/>
                    <a:pt x="1783" y="6"/>
                    <a:pt x="1789" y="13"/>
                  </a:cubicBezTo>
                  <a:cubicBezTo>
                    <a:pt x="1798" y="25"/>
                    <a:pt x="1787" y="35"/>
                    <a:pt x="1779" y="44"/>
                  </a:cubicBezTo>
                  <a:cubicBezTo>
                    <a:pt x="1192" y="44"/>
                    <a:pt x="606" y="44"/>
                    <a:pt x="19" y="4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71" name="Freeform 7">
              <a:extLst>
                <a:ext uri="{FF2B5EF4-FFF2-40B4-BE49-F238E27FC236}">
                  <a16:creationId xmlns:a16="http://schemas.microsoft.com/office/drawing/2014/main" id="{1AEF7213-67EC-4D0C-BEC2-D89D4F4D8623}"/>
                </a:ext>
              </a:extLst>
            </p:cNvPr>
            <p:cNvSpPr>
              <a:spLocks/>
            </p:cNvSpPr>
            <p:nvPr/>
          </p:nvSpPr>
          <p:spPr bwMode="auto">
            <a:xfrm>
              <a:off x="-263525" y="1684338"/>
              <a:ext cx="38100" cy="66675"/>
            </a:xfrm>
            <a:custGeom>
              <a:avLst/>
              <a:gdLst>
                <a:gd name="T0" fmla="*/ 66 w 173"/>
                <a:gd name="T1" fmla="*/ 123 h 302"/>
                <a:gd name="T2" fmla="*/ 142 w 173"/>
                <a:gd name="T3" fmla="*/ 144 h 302"/>
                <a:gd name="T4" fmla="*/ 155 w 173"/>
                <a:gd name="T5" fmla="*/ 188 h 302"/>
                <a:gd name="T6" fmla="*/ 68 w 173"/>
                <a:gd name="T7" fmla="*/ 284 h 302"/>
                <a:gd name="T8" fmla="*/ 34 w 173"/>
                <a:gd name="T9" fmla="*/ 291 h 302"/>
                <a:gd name="T10" fmla="*/ 36 w 173"/>
                <a:gd name="T11" fmla="*/ 255 h 302"/>
                <a:gd name="T12" fmla="*/ 104 w 173"/>
                <a:gd name="T13" fmla="*/ 179 h 302"/>
                <a:gd name="T14" fmla="*/ 24 w 173"/>
                <a:gd name="T15" fmla="*/ 157 h 302"/>
                <a:gd name="T16" fmla="*/ 2 w 173"/>
                <a:gd name="T17" fmla="*/ 139 h 302"/>
                <a:gd name="T18" fmla="*/ 14 w 173"/>
                <a:gd name="T19" fmla="*/ 112 h 302"/>
                <a:gd name="T20" fmla="*/ 116 w 173"/>
                <a:gd name="T21" fmla="*/ 17 h 302"/>
                <a:gd name="T22" fmla="*/ 152 w 173"/>
                <a:gd name="T23" fmla="*/ 12 h 302"/>
                <a:gd name="T24" fmla="*/ 145 w 173"/>
                <a:gd name="T25" fmla="*/ 49 h 302"/>
                <a:gd name="T26" fmla="*/ 66 w 173"/>
                <a:gd name="T27" fmla="*/ 123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302">
                  <a:moveTo>
                    <a:pt x="66" y="123"/>
                  </a:moveTo>
                  <a:cubicBezTo>
                    <a:pt x="93" y="131"/>
                    <a:pt x="118" y="137"/>
                    <a:pt x="142" y="144"/>
                  </a:cubicBezTo>
                  <a:cubicBezTo>
                    <a:pt x="168" y="151"/>
                    <a:pt x="173" y="167"/>
                    <a:pt x="155" y="188"/>
                  </a:cubicBezTo>
                  <a:cubicBezTo>
                    <a:pt x="126" y="220"/>
                    <a:pt x="97" y="252"/>
                    <a:pt x="68" y="284"/>
                  </a:cubicBezTo>
                  <a:cubicBezTo>
                    <a:pt x="58" y="295"/>
                    <a:pt x="47" y="302"/>
                    <a:pt x="34" y="291"/>
                  </a:cubicBezTo>
                  <a:cubicBezTo>
                    <a:pt x="20" y="279"/>
                    <a:pt x="25" y="267"/>
                    <a:pt x="36" y="255"/>
                  </a:cubicBezTo>
                  <a:cubicBezTo>
                    <a:pt x="58" y="230"/>
                    <a:pt x="80" y="206"/>
                    <a:pt x="104" y="179"/>
                  </a:cubicBezTo>
                  <a:cubicBezTo>
                    <a:pt x="75" y="171"/>
                    <a:pt x="49" y="166"/>
                    <a:pt x="24" y="157"/>
                  </a:cubicBezTo>
                  <a:cubicBezTo>
                    <a:pt x="15" y="154"/>
                    <a:pt x="4" y="147"/>
                    <a:pt x="2" y="139"/>
                  </a:cubicBezTo>
                  <a:cubicBezTo>
                    <a:pt x="0" y="131"/>
                    <a:pt x="7" y="119"/>
                    <a:pt x="14" y="112"/>
                  </a:cubicBezTo>
                  <a:cubicBezTo>
                    <a:pt x="47" y="80"/>
                    <a:pt x="82" y="49"/>
                    <a:pt x="116" y="17"/>
                  </a:cubicBezTo>
                  <a:cubicBezTo>
                    <a:pt x="127" y="6"/>
                    <a:pt x="139" y="0"/>
                    <a:pt x="152" y="12"/>
                  </a:cubicBezTo>
                  <a:cubicBezTo>
                    <a:pt x="163" y="22"/>
                    <a:pt x="161" y="35"/>
                    <a:pt x="145" y="49"/>
                  </a:cubicBezTo>
                  <a:cubicBezTo>
                    <a:pt x="120" y="73"/>
                    <a:pt x="94" y="97"/>
                    <a:pt x="66" y="123"/>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72" name="Freeform 8">
              <a:extLst>
                <a:ext uri="{FF2B5EF4-FFF2-40B4-BE49-F238E27FC236}">
                  <a16:creationId xmlns:a16="http://schemas.microsoft.com/office/drawing/2014/main" id="{6A54368C-2773-4403-BF04-A22BF2C15F14}"/>
                </a:ext>
              </a:extLst>
            </p:cNvPr>
            <p:cNvSpPr>
              <a:spLocks/>
            </p:cNvSpPr>
            <p:nvPr/>
          </p:nvSpPr>
          <p:spPr bwMode="auto">
            <a:xfrm>
              <a:off x="-303213" y="1598613"/>
              <a:ext cx="39687" cy="66675"/>
            </a:xfrm>
            <a:custGeom>
              <a:avLst/>
              <a:gdLst>
                <a:gd name="T0" fmla="*/ 112 w 181"/>
                <a:gd name="T1" fmla="*/ 179 h 303"/>
                <a:gd name="T2" fmla="*/ 30 w 181"/>
                <a:gd name="T3" fmla="*/ 157 h 303"/>
                <a:gd name="T4" fmla="*/ 20 w 181"/>
                <a:gd name="T5" fmla="*/ 113 h 303"/>
                <a:gd name="T6" fmla="*/ 125 w 181"/>
                <a:gd name="T7" fmla="*/ 16 h 303"/>
                <a:gd name="T8" fmla="*/ 160 w 181"/>
                <a:gd name="T9" fmla="*/ 12 h 303"/>
                <a:gd name="T10" fmla="*/ 154 w 181"/>
                <a:gd name="T11" fmla="*/ 48 h 303"/>
                <a:gd name="T12" fmla="*/ 74 w 181"/>
                <a:gd name="T13" fmla="*/ 123 h 303"/>
                <a:gd name="T14" fmla="*/ 149 w 181"/>
                <a:gd name="T15" fmla="*/ 144 h 303"/>
                <a:gd name="T16" fmla="*/ 162 w 181"/>
                <a:gd name="T17" fmla="*/ 189 h 303"/>
                <a:gd name="T18" fmla="*/ 77 w 181"/>
                <a:gd name="T19" fmla="*/ 284 h 303"/>
                <a:gd name="T20" fmla="*/ 41 w 181"/>
                <a:gd name="T21" fmla="*/ 290 h 303"/>
                <a:gd name="T22" fmla="*/ 44 w 181"/>
                <a:gd name="T23" fmla="*/ 254 h 303"/>
                <a:gd name="T24" fmla="*/ 112 w 181"/>
                <a:gd name="T25" fmla="*/ 17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1" h="303">
                  <a:moveTo>
                    <a:pt x="112" y="179"/>
                  </a:moveTo>
                  <a:cubicBezTo>
                    <a:pt x="82" y="171"/>
                    <a:pt x="56" y="164"/>
                    <a:pt x="30" y="157"/>
                  </a:cubicBezTo>
                  <a:cubicBezTo>
                    <a:pt x="4" y="149"/>
                    <a:pt x="0" y="132"/>
                    <a:pt x="20" y="113"/>
                  </a:cubicBezTo>
                  <a:cubicBezTo>
                    <a:pt x="55" y="81"/>
                    <a:pt x="90" y="48"/>
                    <a:pt x="125" y="16"/>
                  </a:cubicBezTo>
                  <a:cubicBezTo>
                    <a:pt x="136" y="5"/>
                    <a:pt x="148" y="0"/>
                    <a:pt x="160" y="12"/>
                  </a:cubicBezTo>
                  <a:cubicBezTo>
                    <a:pt x="173" y="25"/>
                    <a:pt x="166" y="37"/>
                    <a:pt x="154" y="48"/>
                  </a:cubicBezTo>
                  <a:cubicBezTo>
                    <a:pt x="128" y="72"/>
                    <a:pt x="102" y="97"/>
                    <a:pt x="74" y="123"/>
                  </a:cubicBezTo>
                  <a:cubicBezTo>
                    <a:pt x="101" y="131"/>
                    <a:pt x="125" y="137"/>
                    <a:pt x="149" y="144"/>
                  </a:cubicBezTo>
                  <a:cubicBezTo>
                    <a:pt x="177" y="152"/>
                    <a:pt x="181" y="167"/>
                    <a:pt x="162" y="189"/>
                  </a:cubicBezTo>
                  <a:cubicBezTo>
                    <a:pt x="134" y="220"/>
                    <a:pt x="105" y="252"/>
                    <a:pt x="77" y="284"/>
                  </a:cubicBezTo>
                  <a:cubicBezTo>
                    <a:pt x="66" y="295"/>
                    <a:pt x="54" y="303"/>
                    <a:pt x="41" y="290"/>
                  </a:cubicBezTo>
                  <a:cubicBezTo>
                    <a:pt x="28" y="278"/>
                    <a:pt x="34" y="265"/>
                    <a:pt x="44" y="254"/>
                  </a:cubicBezTo>
                  <a:cubicBezTo>
                    <a:pt x="66" y="230"/>
                    <a:pt x="88" y="206"/>
                    <a:pt x="112" y="17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73" name="Freeform 9">
              <a:extLst>
                <a:ext uri="{FF2B5EF4-FFF2-40B4-BE49-F238E27FC236}">
                  <a16:creationId xmlns:a16="http://schemas.microsoft.com/office/drawing/2014/main" id="{E7C4FFC7-C952-4DCE-88C3-7C364B75C27D}"/>
                </a:ext>
              </a:extLst>
            </p:cNvPr>
            <p:cNvSpPr>
              <a:spLocks/>
            </p:cNvSpPr>
            <p:nvPr/>
          </p:nvSpPr>
          <p:spPr bwMode="auto">
            <a:xfrm>
              <a:off x="-585788" y="1682750"/>
              <a:ext cx="38100" cy="68263"/>
            </a:xfrm>
            <a:custGeom>
              <a:avLst/>
              <a:gdLst>
                <a:gd name="T0" fmla="*/ 60 w 175"/>
                <a:gd name="T1" fmla="*/ 145 h 310"/>
                <a:gd name="T2" fmla="*/ 135 w 175"/>
                <a:gd name="T3" fmla="*/ 124 h 310"/>
                <a:gd name="T4" fmla="*/ 169 w 175"/>
                <a:gd name="T5" fmla="*/ 157 h 310"/>
                <a:gd name="T6" fmla="*/ 143 w 175"/>
                <a:gd name="T7" fmla="*/ 282 h 310"/>
                <a:gd name="T8" fmla="*/ 115 w 175"/>
                <a:gd name="T9" fmla="*/ 306 h 310"/>
                <a:gd name="T10" fmla="*/ 100 w 175"/>
                <a:gd name="T11" fmla="*/ 273 h 310"/>
                <a:gd name="T12" fmla="*/ 121 w 175"/>
                <a:gd name="T13" fmla="*/ 174 h 310"/>
                <a:gd name="T14" fmla="*/ 42 w 175"/>
                <a:gd name="T15" fmla="*/ 195 h 310"/>
                <a:gd name="T16" fmla="*/ 9 w 175"/>
                <a:gd name="T17" fmla="*/ 161 h 310"/>
                <a:gd name="T18" fmla="*/ 50 w 175"/>
                <a:gd name="T19" fmla="*/ 26 h 310"/>
                <a:gd name="T20" fmla="*/ 78 w 175"/>
                <a:gd name="T21" fmla="*/ 5 h 310"/>
                <a:gd name="T22" fmla="*/ 92 w 175"/>
                <a:gd name="T23" fmla="*/ 38 h 310"/>
                <a:gd name="T24" fmla="*/ 60 w 175"/>
                <a:gd name="T25" fmla="*/ 14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 h="310">
                  <a:moveTo>
                    <a:pt x="60" y="145"/>
                  </a:moveTo>
                  <a:cubicBezTo>
                    <a:pt x="88" y="137"/>
                    <a:pt x="111" y="130"/>
                    <a:pt x="135" y="124"/>
                  </a:cubicBezTo>
                  <a:cubicBezTo>
                    <a:pt x="163" y="117"/>
                    <a:pt x="175" y="129"/>
                    <a:pt x="169" y="157"/>
                  </a:cubicBezTo>
                  <a:cubicBezTo>
                    <a:pt x="160" y="198"/>
                    <a:pt x="151" y="240"/>
                    <a:pt x="143" y="282"/>
                  </a:cubicBezTo>
                  <a:cubicBezTo>
                    <a:pt x="140" y="297"/>
                    <a:pt x="133" y="310"/>
                    <a:pt x="115" y="306"/>
                  </a:cubicBezTo>
                  <a:cubicBezTo>
                    <a:pt x="97" y="302"/>
                    <a:pt x="96" y="288"/>
                    <a:pt x="100" y="273"/>
                  </a:cubicBezTo>
                  <a:cubicBezTo>
                    <a:pt x="106" y="241"/>
                    <a:pt x="113" y="209"/>
                    <a:pt x="121" y="174"/>
                  </a:cubicBezTo>
                  <a:cubicBezTo>
                    <a:pt x="92" y="181"/>
                    <a:pt x="67" y="188"/>
                    <a:pt x="42" y="195"/>
                  </a:cubicBezTo>
                  <a:cubicBezTo>
                    <a:pt x="13" y="202"/>
                    <a:pt x="0" y="189"/>
                    <a:pt x="9" y="161"/>
                  </a:cubicBezTo>
                  <a:cubicBezTo>
                    <a:pt x="22" y="116"/>
                    <a:pt x="37" y="71"/>
                    <a:pt x="50" y="26"/>
                  </a:cubicBezTo>
                  <a:cubicBezTo>
                    <a:pt x="55" y="12"/>
                    <a:pt x="62" y="0"/>
                    <a:pt x="78" y="5"/>
                  </a:cubicBezTo>
                  <a:cubicBezTo>
                    <a:pt x="95" y="9"/>
                    <a:pt x="97" y="22"/>
                    <a:pt x="92" y="38"/>
                  </a:cubicBezTo>
                  <a:cubicBezTo>
                    <a:pt x="81" y="72"/>
                    <a:pt x="71" y="106"/>
                    <a:pt x="60" y="145"/>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74" name="Freeform 10">
              <a:extLst>
                <a:ext uri="{FF2B5EF4-FFF2-40B4-BE49-F238E27FC236}">
                  <a16:creationId xmlns:a16="http://schemas.microsoft.com/office/drawing/2014/main" id="{1D0150F7-E152-4EF6-8437-00EA995A35EB}"/>
                </a:ext>
              </a:extLst>
            </p:cNvPr>
            <p:cNvSpPr>
              <a:spLocks/>
            </p:cNvSpPr>
            <p:nvPr/>
          </p:nvSpPr>
          <p:spPr bwMode="auto">
            <a:xfrm>
              <a:off x="-546100" y="1597025"/>
              <a:ext cx="38100" cy="66675"/>
            </a:xfrm>
            <a:custGeom>
              <a:avLst/>
              <a:gdLst>
                <a:gd name="T0" fmla="*/ 53 w 168"/>
                <a:gd name="T1" fmla="*/ 145 h 309"/>
                <a:gd name="T2" fmla="*/ 130 w 168"/>
                <a:gd name="T3" fmla="*/ 124 h 309"/>
                <a:gd name="T4" fmla="*/ 163 w 168"/>
                <a:gd name="T5" fmla="*/ 154 h 309"/>
                <a:gd name="T6" fmla="*/ 136 w 168"/>
                <a:gd name="T7" fmla="*/ 281 h 309"/>
                <a:gd name="T8" fmla="*/ 109 w 168"/>
                <a:gd name="T9" fmla="*/ 306 h 309"/>
                <a:gd name="T10" fmla="*/ 93 w 168"/>
                <a:gd name="T11" fmla="*/ 273 h 309"/>
                <a:gd name="T12" fmla="*/ 114 w 168"/>
                <a:gd name="T13" fmla="*/ 174 h 309"/>
                <a:gd name="T14" fmla="*/ 37 w 168"/>
                <a:gd name="T15" fmla="*/ 194 h 309"/>
                <a:gd name="T16" fmla="*/ 6 w 168"/>
                <a:gd name="T17" fmla="*/ 190 h 309"/>
                <a:gd name="T18" fmla="*/ 3 w 168"/>
                <a:gd name="T19" fmla="*/ 160 h 309"/>
                <a:gd name="T20" fmla="*/ 43 w 168"/>
                <a:gd name="T21" fmla="*/ 28 h 309"/>
                <a:gd name="T22" fmla="*/ 74 w 168"/>
                <a:gd name="T23" fmla="*/ 6 h 309"/>
                <a:gd name="T24" fmla="*/ 85 w 168"/>
                <a:gd name="T25" fmla="*/ 41 h 309"/>
                <a:gd name="T26" fmla="*/ 53 w 168"/>
                <a:gd name="T27" fmla="*/ 145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309">
                  <a:moveTo>
                    <a:pt x="53" y="145"/>
                  </a:moveTo>
                  <a:cubicBezTo>
                    <a:pt x="81" y="137"/>
                    <a:pt x="106" y="131"/>
                    <a:pt x="130" y="124"/>
                  </a:cubicBezTo>
                  <a:cubicBezTo>
                    <a:pt x="155" y="118"/>
                    <a:pt x="168" y="129"/>
                    <a:pt x="163" y="154"/>
                  </a:cubicBezTo>
                  <a:cubicBezTo>
                    <a:pt x="154" y="197"/>
                    <a:pt x="145" y="239"/>
                    <a:pt x="136" y="281"/>
                  </a:cubicBezTo>
                  <a:cubicBezTo>
                    <a:pt x="133" y="296"/>
                    <a:pt x="127" y="309"/>
                    <a:pt x="109" y="306"/>
                  </a:cubicBezTo>
                  <a:cubicBezTo>
                    <a:pt x="90" y="302"/>
                    <a:pt x="90" y="288"/>
                    <a:pt x="93" y="273"/>
                  </a:cubicBezTo>
                  <a:cubicBezTo>
                    <a:pt x="100" y="241"/>
                    <a:pt x="106" y="209"/>
                    <a:pt x="114" y="174"/>
                  </a:cubicBezTo>
                  <a:cubicBezTo>
                    <a:pt x="86" y="181"/>
                    <a:pt x="62" y="189"/>
                    <a:pt x="37" y="194"/>
                  </a:cubicBezTo>
                  <a:cubicBezTo>
                    <a:pt x="27" y="196"/>
                    <a:pt x="12" y="196"/>
                    <a:pt x="6" y="190"/>
                  </a:cubicBezTo>
                  <a:cubicBezTo>
                    <a:pt x="0" y="184"/>
                    <a:pt x="0" y="169"/>
                    <a:pt x="3" y="160"/>
                  </a:cubicBezTo>
                  <a:cubicBezTo>
                    <a:pt x="15" y="115"/>
                    <a:pt x="29" y="72"/>
                    <a:pt x="43" y="28"/>
                  </a:cubicBezTo>
                  <a:cubicBezTo>
                    <a:pt x="49" y="8"/>
                    <a:pt x="60" y="0"/>
                    <a:pt x="74" y="6"/>
                  </a:cubicBezTo>
                  <a:cubicBezTo>
                    <a:pt x="90" y="12"/>
                    <a:pt x="90" y="26"/>
                    <a:pt x="85" y="41"/>
                  </a:cubicBezTo>
                  <a:cubicBezTo>
                    <a:pt x="74" y="74"/>
                    <a:pt x="64" y="108"/>
                    <a:pt x="53" y="145"/>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75" name="Freeform 11">
              <a:extLst>
                <a:ext uri="{FF2B5EF4-FFF2-40B4-BE49-F238E27FC236}">
                  <a16:creationId xmlns:a16="http://schemas.microsoft.com/office/drawing/2014/main" id="{27E02B01-8C8F-4523-9F78-C11719335709}"/>
                </a:ext>
              </a:extLst>
            </p:cNvPr>
            <p:cNvSpPr>
              <a:spLocks/>
            </p:cNvSpPr>
            <p:nvPr/>
          </p:nvSpPr>
          <p:spPr bwMode="auto">
            <a:xfrm>
              <a:off x="-481013" y="1943100"/>
              <a:ext cx="9525" cy="47625"/>
            </a:xfrm>
            <a:custGeom>
              <a:avLst/>
              <a:gdLst>
                <a:gd name="T0" fmla="*/ 0 w 44"/>
                <a:gd name="T1" fmla="*/ 106 h 213"/>
                <a:gd name="T2" fmla="*/ 0 w 44"/>
                <a:gd name="T3" fmla="*/ 26 h 213"/>
                <a:gd name="T4" fmla="*/ 21 w 44"/>
                <a:gd name="T5" fmla="*/ 0 h 213"/>
                <a:gd name="T6" fmla="*/ 44 w 44"/>
                <a:gd name="T7" fmla="*/ 26 h 213"/>
                <a:gd name="T8" fmla="*/ 44 w 44"/>
                <a:gd name="T9" fmla="*/ 186 h 213"/>
                <a:gd name="T10" fmla="*/ 21 w 44"/>
                <a:gd name="T11" fmla="*/ 212 h 213"/>
                <a:gd name="T12" fmla="*/ 0 w 44"/>
                <a:gd name="T13" fmla="*/ 186 h 213"/>
                <a:gd name="T14" fmla="*/ 0 w 44"/>
                <a:gd name="T15" fmla="*/ 106 h 2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213">
                  <a:moveTo>
                    <a:pt x="0" y="106"/>
                  </a:moveTo>
                  <a:cubicBezTo>
                    <a:pt x="0" y="79"/>
                    <a:pt x="1" y="53"/>
                    <a:pt x="0" y="26"/>
                  </a:cubicBezTo>
                  <a:cubicBezTo>
                    <a:pt x="0" y="12"/>
                    <a:pt x="5" y="1"/>
                    <a:pt x="21" y="0"/>
                  </a:cubicBezTo>
                  <a:cubicBezTo>
                    <a:pt x="38" y="0"/>
                    <a:pt x="44" y="11"/>
                    <a:pt x="44" y="26"/>
                  </a:cubicBezTo>
                  <a:cubicBezTo>
                    <a:pt x="44" y="80"/>
                    <a:pt x="44" y="133"/>
                    <a:pt x="44" y="186"/>
                  </a:cubicBezTo>
                  <a:cubicBezTo>
                    <a:pt x="44" y="201"/>
                    <a:pt x="38" y="213"/>
                    <a:pt x="21" y="212"/>
                  </a:cubicBezTo>
                  <a:cubicBezTo>
                    <a:pt x="5" y="211"/>
                    <a:pt x="0" y="200"/>
                    <a:pt x="0" y="186"/>
                  </a:cubicBezTo>
                  <a:cubicBezTo>
                    <a:pt x="1" y="159"/>
                    <a:pt x="0" y="132"/>
                    <a:pt x="0" y="106"/>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76" name="Freeform 12">
              <a:extLst>
                <a:ext uri="{FF2B5EF4-FFF2-40B4-BE49-F238E27FC236}">
                  <a16:creationId xmlns:a16="http://schemas.microsoft.com/office/drawing/2014/main" id="{68B3AFED-9B81-4892-89C7-8DCF0FF08D90}"/>
                </a:ext>
              </a:extLst>
            </p:cNvPr>
            <p:cNvSpPr>
              <a:spLocks/>
            </p:cNvSpPr>
            <p:nvPr/>
          </p:nvSpPr>
          <p:spPr bwMode="auto">
            <a:xfrm>
              <a:off x="-339725" y="1943100"/>
              <a:ext cx="9525" cy="47625"/>
            </a:xfrm>
            <a:custGeom>
              <a:avLst/>
              <a:gdLst>
                <a:gd name="T0" fmla="*/ 44 w 44"/>
                <a:gd name="T1" fmla="*/ 107 h 213"/>
                <a:gd name="T2" fmla="*/ 44 w 44"/>
                <a:gd name="T3" fmla="*/ 187 h 213"/>
                <a:gd name="T4" fmla="*/ 23 w 44"/>
                <a:gd name="T5" fmla="*/ 213 h 213"/>
                <a:gd name="T6" fmla="*/ 0 w 44"/>
                <a:gd name="T7" fmla="*/ 187 h 213"/>
                <a:gd name="T8" fmla="*/ 0 w 44"/>
                <a:gd name="T9" fmla="*/ 27 h 213"/>
                <a:gd name="T10" fmla="*/ 23 w 44"/>
                <a:gd name="T11" fmla="*/ 1 h 213"/>
                <a:gd name="T12" fmla="*/ 44 w 44"/>
                <a:gd name="T13" fmla="*/ 27 h 213"/>
                <a:gd name="T14" fmla="*/ 44 w 44"/>
                <a:gd name="T15" fmla="*/ 107 h 2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213">
                  <a:moveTo>
                    <a:pt x="44" y="107"/>
                  </a:moveTo>
                  <a:cubicBezTo>
                    <a:pt x="44" y="134"/>
                    <a:pt x="43" y="160"/>
                    <a:pt x="44" y="187"/>
                  </a:cubicBezTo>
                  <a:cubicBezTo>
                    <a:pt x="44" y="201"/>
                    <a:pt x="39" y="212"/>
                    <a:pt x="23" y="213"/>
                  </a:cubicBezTo>
                  <a:cubicBezTo>
                    <a:pt x="6" y="213"/>
                    <a:pt x="0" y="202"/>
                    <a:pt x="0" y="187"/>
                  </a:cubicBezTo>
                  <a:cubicBezTo>
                    <a:pt x="0" y="134"/>
                    <a:pt x="0" y="80"/>
                    <a:pt x="0" y="27"/>
                  </a:cubicBezTo>
                  <a:cubicBezTo>
                    <a:pt x="0" y="12"/>
                    <a:pt x="6" y="0"/>
                    <a:pt x="23" y="1"/>
                  </a:cubicBezTo>
                  <a:cubicBezTo>
                    <a:pt x="39" y="2"/>
                    <a:pt x="44" y="13"/>
                    <a:pt x="44" y="27"/>
                  </a:cubicBezTo>
                  <a:cubicBezTo>
                    <a:pt x="43" y="54"/>
                    <a:pt x="44" y="81"/>
                    <a:pt x="44" y="107"/>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77" name="Freeform 13">
              <a:extLst>
                <a:ext uri="{FF2B5EF4-FFF2-40B4-BE49-F238E27FC236}">
                  <a16:creationId xmlns:a16="http://schemas.microsoft.com/office/drawing/2014/main" id="{4F0E6409-63F7-4CBB-BD35-2D8758F7E2C4}"/>
                </a:ext>
              </a:extLst>
            </p:cNvPr>
            <p:cNvSpPr>
              <a:spLocks/>
            </p:cNvSpPr>
            <p:nvPr/>
          </p:nvSpPr>
          <p:spPr bwMode="auto">
            <a:xfrm>
              <a:off x="-246063" y="1836738"/>
              <a:ext cx="15875" cy="9525"/>
            </a:xfrm>
            <a:custGeom>
              <a:avLst/>
              <a:gdLst>
                <a:gd name="T0" fmla="*/ 35 w 74"/>
                <a:gd name="T1" fmla="*/ 46 h 48"/>
                <a:gd name="T2" fmla="*/ 19 w 74"/>
                <a:gd name="T3" fmla="*/ 46 h 48"/>
                <a:gd name="T4" fmla="*/ 1 w 74"/>
                <a:gd name="T5" fmla="*/ 26 h 48"/>
                <a:gd name="T6" fmla="*/ 18 w 74"/>
                <a:gd name="T7" fmla="*/ 4 h 48"/>
                <a:gd name="T8" fmla="*/ 53 w 74"/>
                <a:gd name="T9" fmla="*/ 4 h 48"/>
                <a:gd name="T10" fmla="*/ 71 w 74"/>
                <a:gd name="T11" fmla="*/ 25 h 48"/>
                <a:gd name="T12" fmla="*/ 51 w 74"/>
                <a:gd name="T13" fmla="*/ 46 h 48"/>
                <a:gd name="T14" fmla="*/ 35 w 74"/>
                <a:gd name="T15" fmla="*/ 46 h 48"/>
                <a:gd name="T16" fmla="*/ 35 w 74"/>
                <a:gd name="T17" fmla="*/ 4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48">
                  <a:moveTo>
                    <a:pt x="35" y="46"/>
                  </a:moveTo>
                  <a:cubicBezTo>
                    <a:pt x="30" y="46"/>
                    <a:pt x="23" y="48"/>
                    <a:pt x="19" y="46"/>
                  </a:cubicBezTo>
                  <a:cubicBezTo>
                    <a:pt x="12" y="40"/>
                    <a:pt x="1" y="33"/>
                    <a:pt x="1" y="26"/>
                  </a:cubicBezTo>
                  <a:cubicBezTo>
                    <a:pt x="0" y="18"/>
                    <a:pt x="10" y="7"/>
                    <a:pt x="18" y="4"/>
                  </a:cubicBezTo>
                  <a:cubicBezTo>
                    <a:pt x="28" y="0"/>
                    <a:pt x="42" y="0"/>
                    <a:pt x="53" y="4"/>
                  </a:cubicBezTo>
                  <a:cubicBezTo>
                    <a:pt x="61" y="7"/>
                    <a:pt x="70" y="17"/>
                    <a:pt x="71" y="25"/>
                  </a:cubicBezTo>
                  <a:cubicBezTo>
                    <a:pt x="74" y="38"/>
                    <a:pt x="64" y="45"/>
                    <a:pt x="51" y="46"/>
                  </a:cubicBezTo>
                  <a:cubicBezTo>
                    <a:pt x="46" y="47"/>
                    <a:pt x="40" y="46"/>
                    <a:pt x="35" y="46"/>
                  </a:cubicBezTo>
                  <a:cubicBezTo>
                    <a:pt x="35" y="46"/>
                    <a:pt x="35" y="46"/>
                    <a:pt x="35" y="46"/>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78" name="Freeform 14">
              <a:extLst>
                <a:ext uri="{FF2B5EF4-FFF2-40B4-BE49-F238E27FC236}">
                  <a16:creationId xmlns:a16="http://schemas.microsoft.com/office/drawing/2014/main" id="{BA9B4492-E031-432C-A0D1-9BB05706C5E8}"/>
                </a:ext>
              </a:extLst>
            </p:cNvPr>
            <p:cNvSpPr>
              <a:spLocks/>
            </p:cNvSpPr>
            <p:nvPr/>
          </p:nvSpPr>
          <p:spPr bwMode="auto">
            <a:xfrm>
              <a:off x="-593725" y="1817688"/>
              <a:ext cx="9525" cy="15875"/>
            </a:xfrm>
            <a:custGeom>
              <a:avLst/>
              <a:gdLst>
                <a:gd name="T0" fmla="*/ 2 w 47"/>
                <a:gd name="T1" fmla="*/ 29 h 73"/>
                <a:gd name="T2" fmla="*/ 3 w 47"/>
                <a:gd name="T3" fmla="*/ 17 h 73"/>
                <a:gd name="T4" fmla="*/ 23 w 47"/>
                <a:gd name="T5" fmla="*/ 0 h 73"/>
                <a:gd name="T6" fmla="*/ 43 w 47"/>
                <a:gd name="T7" fmla="*/ 16 h 73"/>
                <a:gd name="T8" fmla="*/ 45 w 47"/>
                <a:gd name="T9" fmla="*/ 50 h 73"/>
                <a:gd name="T10" fmla="*/ 22 w 47"/>
                <a:gd name="T11" fmla="*/ 72 h 73"/>
                <a:gd name="T12" fmla="*/ 2 w 47"/>
                <a:gd name="T13" fmla="*/ 48 h 73"/>
                <a:gd name="T14" fmla="*/ 2 w 47"/>
                <a:gd name="T15" fmla="*/ 29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73">
                  <a:moveTo>
                    <a:pt x="2" y="29"/>
                  </a:moveTo>
                  <a:cubicBezTo>
                    <a:pt x="2" y="29"/>
                    <a:pt x="0" y="21"/>
                    <a:pt x="3" y="17"/>
                  </a:cubicBezTo>
                  <a:cubicBezTo>
                    <a:pt x="8" y="10"/>
                    <a:pt x="16" y="0"/>
                    <a:pt x="23" y="0"/>
                  </a:cubicBezTo>
                  <a:cubicBezTo>
                    <a:pt x="30" y="0"/>
                    <a:pt x="41" y="9"/>
                    <a:pt x="43" y="16"/>
                  </a:cubicBezTo>
                  <a:cubicBezTo>
                    <a:pt x="47" y="26"/>
                    <a:pt x="45" y="39"/>
                    <a:pt x="45" y="50"/>
                  </a:cubicBezTo>
                  <a:cubicBezTo>
                    <a:pt x="44" y="64"/>
                    <a:pt x="37" y="73"/>
                    <a:pt x="22" y="72"/>
                  </a:cubicBezTo>
                  <a:cubicBezTo>
                    <a:pt x="8" y="72"/>
                    <a:pt x="2" y="62"/>
                    <a:pt x="2" y="48"/>
                  </a:cubicBezTo>
                  <a:cubicBezTo>
                    <a:pt x="2" y="44"/>
                    <a:pt x="2" y="39"/>
                    <a:pt x="2" y="29"/>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79" name="Freeform 15">
              <a:extLst>
                <a:ext uri="{FF2B5EF4-FFF2-40B4-BE49-F238E27FC236}">
                  <a16:creationId xmlns:a16="http://schemas.microsoft.com/office/drawing/2014/main" id="{5FA36AA9-62EF-448C-B89A-10E1FBFF2A42}"/>
                </a:ext>
              </a:extLst>
            </p:cNvPr>
            <p:cNvSpPr>
              <a:spLocks/>
            </p:cNvSpPr>
            <p:nvPr/>
          </p:nvSpPr>
          <p:spPr bwMode="auto">
            <a:xfrm>
              <a:off x="-612775" y="1836738"/>
              <a:ext cx="15875" cy="9525"/>
            </a:xfrm>
            <a:custGeom>
              <a:avLst/>
              <a:gdLst>
                <a:gd name="T0" fmla="*/ 34 w 75"/>
                <a:gd name="T1" fmla="*/ 46 h 48"/>
                <a:gd name="T2" fmla="*/ 19 w 75"/>
                <a:gd name="T3" fmla="*/ 46 h 48"/>
                <a:gd name="T4" fmla="*/ 0 w 75"/>
                <a:gd name="T5" fmla="*/ 26 h 48"/>
                <a:gd name="T6" fmla="*/ 17 w 75"/>
                <a:gd name="T7" fmla="*/ 4 h 48"/>
                <a:gd name="T8" fmla="*/ 53 w 75"/>
                <a:gd name="T9" fmla="*/ 3 h 48"/>
                <a:gd name="T10" fmla="*/ 71 w 75"/>
                <a:gd name="T11" fmla="*/ 27 h 48"/>
                <a:gd name="T12" fmla="*/ 50 w 75"/>
                <a:gd name="T13" fmla="*/ 46 h 48"/>
                <a:gd name="T14" fmla="*/ 34 w 75"/>
                <a:gd name="T15" fmla="*/ 46 h 48"/>
                <a:gd name="T16" fmla="*/ 34 w 75"/>
                <a:gd name="T17" fmla="*/ 4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48">
                  <a:moveTo>
                    <a:pt x="34" y="46"/>
                  </a:moveTo>
                  <a:cubicBezTo>
                    <a:pt x="29" y="46"/>
                    <a:pt x="22" y="48"/>
                    <a:pt x="19" y="46"/>
                  </a:cubicBezTo>
                  <a:cubicBezTo>
                    <a:pt x="11" y="40"/>
                    <a:pt x="0" y="33"/>
                    <a:pt x="0" y="26"/>
                  </a:cubicBezTo>
                  <a:cubicBezTo>
                    <a:pt x="0" y="18"/>
                    <a:pt x="9" y="7"/>
                    <a:pt x="17" y="4"/>
                  </a:cubicBezTo>
                  <a:cubicBezTo>
                    <a:pt x="28" y="0"/>
                    <a:pt x="41" y="2"/>
                    <a:pt x="53" y="3"/>
                  </a:cubicBezTo>
                  <a:cubicBezTo>
                    <a:pt x="65" y="5"/>
                    <a:pt x="75" y="14"/>
                    <a:pt x="71" y="27"/>
                  </a:cubicBezTo>
                  <a:cubicBezTo>
                    <a:pt x="68" y="35"/>
                    <a:pt x="58" y="41"/>
                    <a:pt x="50" y="46"/>
                  </a:cubicBezTo>
                  <a:cubicBezTo>
                    <a:pt x="46" y="48"/>
                    <a:pt x="40" y="46"/>
                    <a:pt x="34" y="46"/>
                  </a:cubicBezTo>
                  <a:cubicBezTo>
                    <a:pt x="34" y="46"/>
                    <a:pt x="34" y="46"/>
                    <a:pt x="34" y="46"/>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80" name="Freeform 16">
              <a:extLst>
                <a:ext uri="{FF2B5EF4-FFF2-40B4-BE49-F238E27FC236}">
                  <a16:creationId xmlns:a16="http://schemas.microsoft.com/office/drawing/2014/main" id="{1B9E2436-F2AD-4075-98ED-57615B9710F1}"/>
                </a:ext>
              </a:extLst>
            </p:cNvPr>
            <p:cNvSpPr>
              <a:spLocks/>
            </p:cNvSpPr>
            <p:nvPr/>
          </p:nvSpPr>
          <p:spPr bwMode="auto">
            <a:xfrm>
              <a:off x="-581025" y="1836738"/>
              <a:ext cx="15875" cy="9525"/>
            </a:xfrm>
            <a:custGeom>
              <a:avLst/>
              <a:gdLst>
                <a:gd name="T0" fmla="*/ 34 w 72"/>
                <a:gd name="T1" fmla="*/ 45 h 47"/>
                <a:gd name="T2" fmla="*/ 19 w 72"/>
                <a:gd name="T3" fmla="*/ 45 h 47"/>
                <a:gd name="T4" fmla="*/ 1 w 72"/>
                <a:gd name="T5" fmla="*/ 25 h 47"/>
                <a:gd name="T6" fmla="*/ 16 w 72"/>
                <a:gd name="T7" fmla="*/ 4 h 47"/>
                <a:gd name="T8" fmla="*/ 57 w 72"/>
                <a:gd name="T9" fmla="*/ 4 h 47"/>
                <a:gd name="T10" fmla="*/ 72 w 72"/>
                <a:gd name="T11" fmla="*/ 25 h 47"/>
                <a:gd name="T12" fmla="*/ 54 w 72"/>
                <a:gd name="T13" fmla="*/ 45 h 47"/>
                <a:gd name="T14" fmla="*/ 34 w 72"/>
                <a:gd name="T15" fmla="*/ 45 h 47"/>
                <a:gd name="T16" fmla="*/ 34 w 72"/>
                <a:gd name="T17" fmla="*/ 4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47">
                  <a:moveTo>
                    <a:pt x="34" y="45"/>
                  </a:moveTo>
                  <a:cubicBezTo>
                    <a:pt x="29" y="45"/>
                    <a:pt x="22" y="47"/>
                    <a:pt x="19" y="45"/>
                  </a:cubicBezTo>
                  <a:cubicBezTo>
                    <a:pt x="12" y="40"/>
                    <a:pt x="1" y="32"/>
                    <a:pt x="1" y="25"/>
                  </a:cubicBezTo>
                  <a:cubicBezTo>
                    <a:pt x="0" y="18"/>
                    <a:pt x="9" y="6"/>
                    <a:pt x="16" y="4"/>
                  </a:cubicBezTo>
                  <a:cubicBezTo>
                    <a:pt x="28" y="0"/>
                    <a:pt x="44" y="0"/>
                    <a:pt x="57" y="4"/>
                  </a:cubicBezTo>
                  <a:cubicBezTo>
                    <a:pt x="63" y="6"/>
                    <a:pt x="72" y="18"/>
                    <a:pt x="72" y="25"/>
                  </a:cubicBezTo>
                  <a:cubicBezTo>
                    <a:pt x="71" y="32"/>
                    <a:pt x="61" y="40"/>
                    <a:pt x="54" y="45"/>
                  </a:cubicBezTo>
                  <a:cubicBezTo>
                    <a:pt x="49" y="47"/>
                    <a:pt x="41" y="45"/>
                    <a:pt x="34" y="45"/>
                  </a:cubicBezTo>
                  <a:cubicBezTo>
                    <a:pt x="34" y="45"/>
                    <a:pt x="34" y="45"/>
                    <a:pt x="34" y="45"/>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81" name="Freeform 17">
              <a:extLst>
                <a:ext uri="{FF2B5EF4-FFF2-40B4-BE49-F238E27FC236}">
                  <a16:creationId xmlns:a16="http://schemas.microsoft.com/office/drawing/2014/main" id="{7E1A8C6D-E505-4CAA-B175-C30210FF812A}"/>
                </a:ext>
              </a:extLst>
            </p:cNvPr>
            <p:cNvSpPr>
              <a:spLocks/>
            </p:cNvSpPr>
            <p:nvPr/>
          </p:nvSpPr>
          <p:spPr bwMode="auto">
            <a:xfrm>
              <a:off x="-214313" y="1836738"/>
              <a:ext cx="15875" cy="9525"/>
            </a:xfrm>
            <a:custGeom>
              <a:avLst/>
              <a:gdLst>
                <a:gd name="T0" fmla="*/ 39 w 76"/>
                <a:gd name="T1" fmla="*/ 44 h 46"/>
                <a:gd name="T2" fmla="*/ 23 w 76"/>
                <a:gd name="T3" fmla="*/ 44 h 46"/>
                <a:gd name="T4" fmla="*/ 3 w 76"/>
                <a:gd name="T5" fmla="*/ 24 h 46"/>
                <a:gd name="T6" fmla="*/ 22 w 76"/>
                <a:gd name="T7" fmla="*/ 1 h 46"/>
                <a:gd name="T8" fmla="*/ 52 w 76"/>
                <a:gd name="T9" fmla="*/ 1 h 46"/>
                <a:gd name="T10" fmla="*/ 75 w 76"/>
                <a:gd name="T11" fmla="*/ 24 h 46"/>
                <a:gd name="T12" fmla="*/ 51 w 76"/>
                <a:gd name="T13" fmla="*/ 44 h 46"/>
                <a:gd name="T14" fmla="*/ 39 w 76"/>
                <a:gd name="T15" fmla="*/ 44 h 46"/>
                <a:gd name="T16" fmla="*/ 39 w 76"/>
                <a:gd name="T17" fmla="*/ 4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46">
                  <a:moveTo>
                    <a:pt x="39" y="44"/>
                  </a:moveTo>
                  <a:cubicBezTo>
                    <a:pt x="34" y="44"/>
                    <a:pt x="27" y="46"/>
                    <a:pt x="23" y="44"/>
                  </a:cubicBezTo>
                  <a:cubicBezTo>
                    <a:pt x="16" y="39"/>
                    <a:pt x="6" y="32"/>
                    <a:pt x="3" y="24"/>
                  </a:cubicBezTo>
                  <a:cubicBezTo>
                    <a:pt x="0" y="11"/>
                    <a:pt x="9" y="3"/>
                    <a:pt x="22" y="1"/>
                  </a:cubicBezTo>
                  <a:cubicBezTo>
                    <a:pt x="32" y="0"/>
                    <a:pt x="42" y="0"/>
                    <a:pt x="52" y="1"/>
                  </a:cubicBezTo>
                  <a:cubicBezTo>
                    <a:pt x="66" y="2"/>
                    <a:pt x="76" y="8"/>
                    <a:pt x="75" y="24"/>
                  </a:cubicBezTo>
                  <a:cubicBezTo>
                    <a:pt x="75" y="39"/>
                    <a:pt x="65" y="44"/>
                    <a:pt x="51" y="44"/>
                  </a:cubicBezTo>
                  <a:cubicBezTo>
                    <a:pt x="47" y="44"/>
                    <a:pt x="43" y="44"/>
                    <a:pt x="39" y="44"/>
                  </a:cubicBezTo>
                  <a:cubicBezTo>
                    <a:pt x="39" y="44"/>
                    <a:pt x="39" y="44"/>
                    <a:pt x="39" y="44"/>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82" name="Freeform 18">
              <a:extLst>
                <a:ext uri="{FF2B5EF4-FFF2-40B4-BE49-F238E27FC236}">
                  <a16:creationId xmlns:a16="http://schemas.microsoft.com/office/drawing/2014/main" id="{E53D8C21-F69D-43F0-B697-8AB08EDF5150}"/>
                </a:ext>
              </a:extLst>
            </p:cNvPr>
            <p:cNvSpPr>
              <a:spLocks/>
            </p:cNvSpPr>
            <p:nvPr/>
          </p:nvSpPr>
          <p:spPr bwMode="auto">
            <a:xfrm>
              <a:off x="-593725" y="1849438"/>
              <a:ext cx="9525" cy="15875"/>
            </a:xfrm>
            <a:custGeom>
              <a:avLst/>
              <a:gdLst>
                <a:gd name="T0" fmla="*/ 44 w 44"/>
                <a:gd name="T1" fmla="*/ 36 h 74"/>
                <a:gd name="T2" fmla="*/ 22 w 44"/>
                <a:gd name="T3" fmla="*/ 74 h 74"/>
                <a:gd name="T4" fmla="*/ 1 w 44"/>
                <a:gd name="T5" fmla="*/ 36 h 74"/>
                <a:gd name="T6" fmla="*/ 1 w 44"/>
                <a:gd name="T7" fmla="*/ 25 h 74"/>
                <a:gd name="T8" fmla="*/ 21 w 44"/>
                <a:gd name="T9" fmla="*/ 0 h 74"/>
                <a:gd name="T10" fmla="*/ 44 w 44"/>
                <a:gd name="T11" fmla="*/ 25 h 74"/>
                <a:gd name="T12" fmla="*/ 44 w 44"/>
                <a:gd name="T13" fmla="*/ 36 h 74"/>
              </a:gdLst>
              <a:ahLst/>
              <a:cxnLst>
                <a:cxn ang="0">
                  <a:pos x="T0" y="T1"/>
                </a:cxn>
                <a:cxn ang="0">
                  <a:pos x="T2" y="T3"/>
                </a:cxn>
                <a:cxn ang="0">
                  <a:pos x="T4" y="T5"/>
                </a:cxn>
                <a:cxn ang="0">
                  <a:pos x="T6" y="T7"/>
                </a:cxn>
                <a:cxn ang="0">
                  <a:pos x="T8" y="T9"/>
                </a:cxn>
                <a:cxn ang="0">
                  <a:pos x="T10" y="T11"/>
                </a:cxn>
                <a:cxn ang="0">
                  <a:pos x="T12" y="T13"/>
                </a:cxn>
              </a:cxnLst>
              <a:rect l="0" t="0" r="r" b="b"/>
              <a:pathLst>
                <a:path w="44" h="74">
                  <a:moveTo>
                    <a:pt x="44" y="36"/>
                  </a:moveTo>
                  <a:cubicBezTo>
                    <a:pt x="44" y="63"/>
                    <a:pt x="38" y="74"/>
                    <a:pt x="22" y="74"/>
                  </a:cubicBezTo>
                  <a:cubicBezTo>
                    <a:pt x="6" y="74"/>
                    <a:pt x="0" y="64"/>
                    <a:pt x="1" y="36"/>
                  </a:cubicBezTo>
                  <a:cubicBezTo>
                    <a:pt x="1" y="33"/>
                    <a:pt x="1" y="29"/>
                    <a:pt x="1" y="25"/>
                  </a:cubicBezTo>
                  <a:cubicBezTo>
                    <a:pt x="1" y="11"/>
                    <a:pt x="7" y="1"/>
                    <a:pt x="21" y="0"/>
                  </a:cubicBezTo>
                  <a:cubicBezTo>
                    <a:pt x="37" y="0"/>
                    <a:pt x="43" y="10"/>
                    <a:pt x="44" y="25"/>
                  </a:cubicBezTo>
                  <a:cubicBezTo>
                    <a:pt x="44" y="29"/>
                    <a:pt x="44" y="33"/>
                    <a:pt x="44" y="36"/>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83" name="Freeform 19">
              <a:extLst>
                <a:ext uri="{FF2B5EF4-FFF2-40B4-BE49-F238E27FC236}">
                  <a16:creationId xmlns:a16="http://schemas.microsoft.com/office/drawing/2014/main" id="{D06E53D2-18B2-4CDD-982D-80F1A2D42FA0}"/>
                </a:ext>
              </a:extLst>
            </p:cNvPr>
            <p:cNvSpPr>
              <a:spLocks/>
            </p:cNvSpPr>
            <p:nvPr/>
          </p:nvSpPr>
          <p:spPr bwMode="auto">
            <a:xfrm>
              <a:off x="-227013" y="1849438"/>
              <a:ext cx="9525" cy="15875"/>
            </a:xfrm>
            <a:custGeom>
              <a:avLst/>
              <a:gdLst>
                <a:gd name="T0" fmla="*/ 46 w 47"/>
                <a:gd name="T1" fmla="*/ 38 h 73"/>
                <a:gd name="T2" fmla="*/ 44 w 47"/>
                <a:gd name="T3" fmla="*/ 56 h 73"/>
                <a:gd name="T4" fmla="*/ 24 w 47"/>
                <a:gd name="T5" fmla="*/ 73 h 73"/>
                <a:gd name="T6" fmla="*/ 4 w 47"/>
                <a:gd name="T7" fmla="*/ 56 h 73"/>
                <a:gd name="T8" fmla="*/ 2 w 47"/>
                <a:gd name="T9" fmla="*/ 23 h 73"/>
                <a:gd name="T10" fmla="*/ 24 w 47"/>
                <a:gd name="T11" fmla="*/ 0 h 73"/>
                <a:gd name="T12" fmla="*/ 45 w 47"/>
                <a:gd name="T13" fmla="*/ 24 h 73"/>
                <a:gd name="T14" fmla="*/ 45 w 47"/>
                <a:gd name="T15" fmla="*/ 38 h 73"/>
                <a:gd name="T16" fmla="*/ 46 w 47"/>
                <a:gd name="T17" fmla="*/ 3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73">
                  <a:moveTo>
                    <a:pt x="46" y="38"/>
                  </a:moveTo>
                  <a:cubicBezTo>
                    <a:pt x="45" y="44"/>
                    <a:pt x="47" y="52"/>
                    <a:pt x="44" y="56"/>
                  </a:cubicBezTo>
                  <a:cubicBezTo>
                    <a:pt x="39" y="63"/>
                    <a:pt x="31" y="73"/>
                    <a:pt x="24" y="73"/>
                  </a:cubicBezTo>
                  <a:cubicBezTo>
                    <a:pt x="17" y="73"/>
                    <a:pt x="7" y="64"/>
                    <a:pt x="4" y="56"/>
                  </a:cubicBezTo>
                  <a:cubicBezTo>
                    <a:pt x="0" y="46"/>
                    <a:pt x="2" y="34"/>
                    <a:pt x="2" y="23"/>
                  </a:cubicBezTo>
                  <a:cubicBezTo>
                    <a:pt x="3" y="9"/>
                    <a:pt x="10" y="0"/>
                    <a:pt x="24" y="0"/>
                  </a:cubicBezTo>
                  <a:cubicBezTo>
                    <a:pt x="39" y="1"/>
                    <a:pt x="45" y="10"/>
                    <a:pt x="45" y="24"/>
                  </a:cubicBezTo>
                  <a:cubicBezTo>
                    <a:pt x="45" y="29"/>
                    <a:pt x="45" y="33"/>
                    <a:pt x="45" y="38"/>
                  </a:cubicBezTo>
                  <a:cubicBezTo>
                    <a:pt x="46" y="38"/>
                    <a:pt x="46" y="38"/>
                    <a:pt x="46" y="38"/>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84" name="Freeform 20">
              <a:extLst>
                <a:ext uri="{FF2B5EF4-FFF2-40B4-BE49-F238E27FC236}">
                  <a16:creationId xmlns:a16="http://schemas.microsoft.com/office/drawing/2014/main" id="{2F8115F9-6E0B-46C7-B0C4-8B99CDFB9D6F}"/>
                </a:ext>
              </a:extLst>
            </p:cNvPr>
            <p:cNvSpPr>
              <a:spLocks/>
            </p:cNvSpPr>
            <p:nvPr/>
          </p:nvSpPr>
          <p:spPr bwMode="auto">
            <a:xfrm>
              <a:off x="-227013" y="1817688"/>
              <a:ext cx="9525" cy="15875"/>
            </a:xfrm>
            <a:custGeom>
              <a:avLst/>
              <a:gdLst>
                <a:gd name="T0" fmla="*/ 46 w 47"/>
                <a:gd name="T1" fmla="*/ 38 h 73"/>
                <a:gd name="T2" fmla="*/ 44 w 47"/>
                <a:gd name="T3" fmla="*/ 55 h 73"/>
                <a:gd name="T4" fmla="*/ 24 w 47"/>
                <a:gd name="T5" fmla="*/ 72 h 73"/>
                <a:gd name="T6" fmla="*/ 4 w 47"/>
                <a:gd name="T7" fmla="*/ 56 h 73"/>
                <a:gd name="T8" fmla="*/ 2 w 47"/>
                <a:gd name="T9" fmla="*/ 23 h 73"/>
                <a:gd name="T10" fmla="*/ 24 w 47"/>
                <a:gd name="T11" fmla="*/ 0 h 73"/>
                <a:gd name="T12" fmla="*/ 45 w 47"/>
                <a:gd name="T13" fmla="*/ 24 h 73"/>
                <a:gd name="T14" fmla="*/ 45 w 47"/>
                <a:gd name="T15" fmla="*/ 38 h 73"/>
                <a:gd name="T16" fmla="*/ 46 w 47"/>
                <a:gd name="T17" fmla="*/ 3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73">
                  <a:moveTo>
                    <a:pt x="46" y="38"/>
                  </a:moveTo>
                  <a:cubicBezTo>
                    <a:pt x="45" y="44"/>
                    <a:pt x="47" y="51"/>
                    <a:pt x="44" y="55"/>
                  </a:cubicBezTo>
                  <a:cubicBezTo>
                    <a:pt x="39" y="62"/>
                    <a:pt x="31" y="72"/>
                    <a:pt x="24" y="72"/>
                  </a:cubicBezTo>
                  <a:cubicBezTo>
                    <a:pt x="17" y="73"/>
                    <a:pt x="7" y="64"/>
                    <a:pt x="4" y="56"/>
                  </a:cubicBezTo>
                  <a:cubicBezTo>
                    <a:pt x="0" y="46"/>
                    <a:pt x="2" y="34"/>
                    <a:pt x="2" y="23"/>
                  </a:cubicBezTo>
                  <a:cubicBezTo>
                    <a:pt x="3" y="9"/>
                    <a:pt x="10" y="0"/>
                    <a:pt x="24" y="0"/>
                  </a:cubicBezTo>
                  <a:cubicBezTo>
                    <a:pt x="39" y="0"/>
                    <a:pt x="45" y="10"/>
                    <a:pt x="45" y="24"/>
                  </a:cubicBezTo>
                  <a:cubicBezTo>
                    <a:pt x="45" y="28"/>
                    <a:pt x="45" y="33"/>
                    <a:pt x="45" y="38"/>
                  </a:cubicBezTo>
                  <a:cubicBezTo>
                    <a:pt x="46" y="38"/>
                    <a:pt x="46" y="38"/>
                    <a:pt x="46" y="38"/>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85" name="Freeform 21">
              <a:extLst>
                <a:ext uri="{FF2B5EF4-FFF2-40B4-BE49-F238E27FC236}">
                  <a16:creationId xmlns:a16="http://schemas.microsoft.com/office/drawing/2014/main" id="{88A9E72A-D3E0-40DA-99CD-0E5D366B60F3}"/>
                </a:ext>
              </a:extLst>
            </p:cNvPr>
            <p:cNvSpPr>
              <a:spLocks/>
            </p:cNvSpPr>
            <p:nvPr/>
          </p:nvSpPr>
          <p:spPr bwMode="auto">
            <a:xfrm>
              <a:off x="-296863" y="1974850"/>
              <a:ext cx="12700" cy="12700"/>
            </a:xfrm>
            <a:custGeom>
              <a:avLst/>
              <a:gdLst>
                <a:gd name="T0" fmla="*/ 30 w 59"/>
                <a:gd name="T1" fmla="*/ 58 h 59"/>
                <a:gd name="T2" fmla="*/ 0 w 59"/>
                <a:gd name="T3" fmla="*/ 29 h 59"/>
                <a:gd name="T4" fmla="*/ 28 w 59"/>
                <a:gd name="T5" fmla="*/ 1 h 59"/>
                <a:gd name="T6" fmla="*/ 58 w 59"/>
                <a:gd name="T7" fmla="*/ 29 h 59"/>
                <a:gd name="T8" fmla="*/ 30 w 59"/>
                <a:gd name="T9" fmla="*/ 58 h 59"/>
              </a:gdLst>
              <a:ahLst/>
              <a:cxnLst>
                <a:cxn ang="0">
                  <a:pos x="T0" y="T1"/>
                </a:cxn>
                <a:cxn ang="0">
                  <a:pos x="T2" y="T3"/>
                </a:cxn>
                <a:cxn ang="0">
                  <a:pos x="T4" y="T5"/>
                </a:cxn>
                <a:cxn ang="0">
                  <a:pos x="T6" y="T7"/>
                </a:cxn>
                <a:cxn ang="0">
                  <a:pos x="T8" y="T9"/>
                </a:cxn>
              </a:cxnLst>
              <a:rect l="0" t="0" r="r" b="b"/>
              <a:pathLst>
                <a:path w="59" h="59">
                  <a:moveTo>
                    <a:pt x="30" y="58"/>
                  </a:moveTo>
                  <a:cubicBezTo>
                    <a:pt x="13" y="59"/>
                    <a:pt x="0" y="45"/>
                    <a:pt x="0" y="29"/>
                  </a:cubicBezTo>
                  <a:cubicBezTo>
                    <a:pt x="1" y="14"/>
                    <a:pt x="13" y="2"/>
                    <a:pt x="28" y="1"/>
                  </a:cubicBezTo>
                  <a:cubicBezTo>
                    <a:pt x="44" y="0"/>
                    <a:pt x="58" y="13"/>
                    <a:pt x="58" y="29"/>
                  </a:cubicBezTo>
                  <a:cubicBezTo>
                    <a:pt x="59" y="45"/>
                    <a:pt x="46" y="58"/>
                    <a:pt x="30" y="58"/>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86" name="Freeform 22">
              <a:extLst>
                <a:ext uri="{FF2B5EF4-FFF2-40B4-BE49-F238E27FC236}">
                  <a16:creationId xmlns:a16="http://schemas.microsoft.com/office/drawing/2014/main" id="{836EE945-0E90-4A59-A6B2-FEE663CF3BE9}"/>
                </a:ext>
              </a:extLst>
            </p:cNvPr>
            <p:cNvSpPr>
              <a:spLocks/>
            </p:cNvSpPr>
            <p:nvPr/>
          </p:nvSpPr>
          <p:spPr bwMode="auto">
            <a:xfrm>
              <a:off x="-446088" y="1736725"/>
              <a:ext cx="28575" cy="33338"/>
            </a:xfrm>
            <a:custGeom>
              <a:avLst/>
              <a:gdLst>
                <a:gd name="T0" fmla="*/ 65 w 133"/>
                <a:gd name="T1" fmla="*/ 76 h 152"/>
                <a:gd name="T2" fmla="*/ 18 w 133"/>
                <a:gd name="T3" fmla="*/ 45 h 152"/>
                <a:gd name="T4" fmla="*/ 8 w 133"/>
                <a:gd name="T5" fmla="*/ 13 h 152"/>
                <a:gd name="T6" fmla="*/ 41 w 133"/>
                <a:gd name="T7" fmla="*/ 9 h 152"/>
                <a:gd name="T8" fmla="*/ 114 w 133"/>
                <a:gd name="T9" fmla="*/ 55 h 152"/>
                <a:gd name="T10" fmla="*/ 113 w 133"/>
                <a:gd name="T11" fmla="*/ 97 h 152"/>
                <a:gd name="T12" fmla="*/ 42 w 133"/>
                <a:gd name="T13" fmla="*/ 142 h 152"/>
                <a:gd name="T14" fmla="*/ 9 w 133"/>
                <a:gd name="T15" fmla="*/ 138 h 152"/>
                <a:gd name="T16" fmla="*/ 19 w 133"/>
                <a:gd name="T17" fmla="*/ 105 h 152"/>
                <a:gd name="T18" fmla="*/ 65 w 133"/>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152">
                  <a:moveTo>
                    <a:pt x="65" y="76"/>
                  </a:moveTo>
                  <a:cubicBezTo>
                    <a:pt x="48" y="65"/>
                    <a:pt x="33" y="55"/>
                    <a:pt x="18" y="45"/>
                  </a:cubicBezTo>
                  <a:cubicBezTo>
                    <a:pt x="5" y="38"/>
                    <a:pt x="0" y="26"/>
                    <a:pt x="8" y="13"/>
                  </a:cubicBezTo>
                  <a:cubicBezTo>
                    <a:pt x="16" y="0"/>
                    <a:pt x="29" y="1"/>
                    <a:pt x="41" y="9"/>
                  </a:cubicBezTo>
                  <a:cubicBezTo>
                    <a:pt x="65" y="24"/>
                    <a:pt x="90" y="39"/>
                    <a:pt x="114" y="55"/>
                  </a:cubicBezTo>
                  <a:cubicBezTo>
                    <a:pt x="133" y="67"/>
                    <a:pt x="132" y="84"/>
                    <a:pt x="113" y="97"/>
                  </a:cubicBezTo>
                  <a:cubicBezTo>
                    <a:pt x="89" y="113"/>
                    <a:pt x="65" y="127"/>
                    <a:pt x="42" y="142"/>
                  </a:cubicBezTo>
                  <a:cubicBezTo>
                    <a:pt x="30" y="150"/>
                    <a:pt x="18" y="152"/>
                    <a:pt x="9" y="138"/>
                  </a:cubicBezTo>
                  <a:cubicBezTo>
                    <a:pt x="1" y="124"/>
                    <a:pt x="6" y="113"/>
                    <a:pt x="19" y="105"/>
                  </a:cubicBezTo>
                  <a:cubicBezTo>
                    <a:pt x="34" y="96"/>
                    <a:pt x="48" y="86"/>
                    <a:pt x="65" y="76"/>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87" name="Freeform 23">
              <a:extLst>
                <a:ext uri="{FF2B5EF4-FFF2-40B4-BE49-F238E27FC236}">
                  <a16:creationId xmlns:a16="http://schemas.microsoft.com/office/drawing/2014/main" id="{6B6C5499-2938-4E18-9564-774E4C20AA2B}"/>
                </a:ext>
              </a:extLst>
            </p:cNvPr>
            <p:cNvSpPr>
              <a:spLocks/>
            </p:cNvSpPr>
            <p:nvPr/>
          </p:nvSpPr>
          <p:spPr bwMode="auto">
            <a:xfrm>
              <a:off x="-393700" y="1736725"/>
              <a:ext cx="28575" cy="33338"/>
            </a:xfrm>
            <a:custGeom>
              <a:avLst/>
              <a:gdLst>
                <a:gd name="T0" fmla="*/ 68 w 133"/>
                <a:gd name="T1" fmla="*/ 76 h 152"/>
                <a:gd name="T2" fmla="*/ 114 w 133"/>
                <a:gd name="T3" fmla="*/ 105 h 152"/>
                <a:gd name="T4" fmla="*/ 124 w 133"/>
                <a:gd name="T5" fmla="*/ 138 h 152"/>
                <a:gd name="T6" fmla="*/ 91 w 133"/>
                <a:gd name="T7" fmla="*/ 142 h 152"/>
                <a:gd name="T8" fmla="*/ 20 w 133"/>
                <a:gd name="T9" fmla="*/ 97 h 152"/>
                <a:gd name="T10" fmla="*/ 20 w 133"/>
                <a:gd name="T11" fmla="*/ 55 h 152"/>
                <a:gd name="T12" fmla="*/ 92 w 133"/>
                <a:gd name="T13" fmla="*/ 9 h 152"/>
                <a:gd name="T14" fmla="*/ 125 w 133"/>
                <a:gd name="T15" fmla="*/ 14 h 152"/>
                <a:gd name="T16" fmla="*/ 115 w 133"/>
                <a:gd name="T17" fmla="*/ 46 h 152"/>
                <a:gd name="T18" fmla="*/ 68 w 133"/>
                <a:gd name="T19" fmla="*/ 7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152">
                  <a:moveTo>
                    <a:pt x="68" y="76"/>
                  </a:moveTo>
                  <a:cubicBezTo>
                    <a:pt x="85" y="86"/>
                    <a:pt x="99" y="96"/>
                    <a:pt x="114" y="105"/>
                  </a:cubicBezTo>
                  <a:cubicBezTo>
                    <a:pt x="128" y="113"/>
                    <a:pt x="132" y="124"/>
                    <a:pt x="124" y="138"/>
                  </a:cubicBezTo>
                  <a:cubicBezTo>
                    <a:pt x="115" y="152"/>
                    <a:pt x="103" y="150"/>
                    <a:pt x="91" y="142"/>
                  </a:cubicBezTo>
                  <a:cubicBezTo>
                    <a:pt x="67" y="127"/>
                    <a:pt x="44" y="112"/>
                    <a:pt x="20" y="97"/>
                  </a:cubicBezTo>
                  <a:cubicBezTo>
                    <a:pt x="1" y="84"/>
                    <a:pt x="0" y="67"/>
                    <a:pt x="20" y="55"/>
                  </a:cubicBezTo>
                  <a:cubicBezTo>
                    <a:pt x="43" y="39"/>
                    <a:pt x="68" y="24"/>
                    <a:pt x="92" y="9"/>
                  </a:cubicBezTo>
                  <a:cubicBezTo>
                    <a:pt x="104" y="1"/>
                    <a:pt x="117" y="0"/>
                    <a:pt x="125" y="14"/>
                  </a:cubicBezTo>
                  <a:cubicBezTo>
                    <a:pt x="133" y="26"/>
                    <a:pt x="128" y="38"/>
                    <a:pt x="115" y="46"/>
                  </a:cubicBezTo>
                  <a:cubicBezTo>
                    <a:pt x="101" y="55"/>
                    <a:pt x="86" y="64"/>
                    <a:pt x="68" y="76"/>
                  </a:cubicBezTo>
                  <a:close/>
                </a:path>
              </a:pathLst>
            </a:custGeom>
            <a:grpFill/>
            <a:ln w="317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88" name="TextBox 87">
            <a:extLst>
              <a:ext uri="{FF2B5EF4-FFF2-40B4-BE49-F238E27FC236}">
                <a16:creationId xmlns:a16="http://schemas.microsoft.com/office/drawing/2014/main" id="{43914060-7F54-4AD2-9263-7B23AC2C90E2}"/>
              </a:ext>
            </a:extLst>
          </p:cNvPr>
          <p:cNvSpPr txBox="1"/>
          <p:nvPr/>
        </p:nvSpPr>
        <p:spPr>
          <a:xfrm>
            <a:off x="4705410" y="1179892"/>
            <a:ext cx="4114800" cy="276999"/>
          </a:xfrm>
          <a:prstGeom prst="rect">
            <a:avLst/>
          </a:prstGeom>
          <a:solidFill>
            <a:schemeClr val="tx2"/>
          </a:solid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Gene Sans" panose="00000500000000000000" pitchFamily="50" charset="0"/>
                <a:cs typeface="Arial"/>
                <a:sym typeface="Arial"/>
              </a:rPr>
              <a:t>ORR</a:t>
            </a:r>
            <a:endParaRPr kumimoji="0" lang="en-US" sz="1200" b="1" i="0" u="none" strike="noStrike" kern="0" cap="none" spc="0" normalizeH="0" baseline="30000" noProof="0" dirty="0">
              <a:ln>
                <a:noFill/>
              </a:ln>
              <a:solidFill>
                <a:srgbClr val="FFFFFF"/>
              </a:solidFill>
              <a:effectLst/>
              <a:uLnTx/>
              <a:uFillTx/>
              <a:latin typeface="Gene Sans" panose="00000500000000000000" pitchFamily="50" charset="0"/>
              <a:cs typeface="Arial"/>
              <a:sym typeface="Arial"/>
            </a:endParaRPr>
          </a:p>
        </p:txBody>
      </p:sp>
      <p:sp>
        <p:nvSpPr>
          <p:cNvPr id="89" name="Rectangle 88">
            <a:extLst>
              <a:ext uri="{FF2B5EF4-FFF2-40B4-BE49-F238E27FC236}">
                <a16:creationId xmlns:a16="http://schemas.microsoft.com/office/drawing/2014/main" id="{4F0693C1-5B5F-423E-8054-A644543F0B80}"/>
              </a:ext>
            </a:extLst>
          </p:cNvPr>
          <p:cNvSpPr/>
          <p:nvPr/>
        </p:nvSpPr>
        <p:spPr>
          <a:xfrm>
            <a:off x="353242" y="4140048"/>
            <a:ext cx="399846" cy="3998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a:ln>
                <a:noFill/>
              </a:ln>
              <a:solidFill>
                <a:srgbClr val="FFFFFF"/>
              </a:solidFill>
              <a:effectLst/>
              <a:uLnTx/>
              <a:uFillTx/>
              <a:latin typeface="Gene Sans Light" panose="00000400000000000000" pitchFamily="2" charset="0"/>
              <a:ea typeface="+mn-ea"/>
              <a:cs typeface="+mn-cs"/>
              <a:sym typeface="Arial"/>
            </a:endParaRPr>
          </a:p>
        </p:txBody>
      </p:sp>
      <p:grpSp>
        <p:nvGrpSpPr>
          <p:cNvPr id="90" name="Group 89">
            <a:extLst>
              <a:ext uri="{FF2B5EF4-FFF2-40B4-BE49-F238E27FC236}">
                <a16:creationId xmlns:a16="http://schemas.microsoft.com/office/drawing/2014/main" id="{A327FBDB-5194-4832-9337-A1CD025E6023}"/>
              </a:ext>
            </a:extLst>
          </p:cNvPr>
          <p:cNvGrpSpPr>
            <a:grpSpLocks noChangeAspect="1"/>
          </p:cNvGrpSpPr>
          <p:nvPr/>
        </p:nvGrpSpPr>
        <p:grpSpPr>
          <a:xfrm>
            <a:off x="446791" y="4201280"/>
            <a:ext cx="212748" cy="277382"/>
            <a:chOff x="-838200" y="2716213"/>
            <a:chExt cx="501650" cy="654049"/>
          </a:xfrm>
          <a:solidFill>
            <a:schemeClr val="bg1"/>
          </a:solidFill>
        </p:grpSpPr>
        <p:sp>
          <p:nvSpPr>
            <p:cNvPr id="91" name="Freeform 27">
              <a:extLst>
                <a:ext uri="{FF2B5EF4-FFF2-40B4-BE49-F238E27FC236}">
                  <a16:creationId xmlns:a16="http://schemas.microsoft.com/office/drawing/2014/main" id="{CFD0E992-0DAC-44BA-808B-7808AFA836A6}"/>
                </a:ext>
              </a:extLst>
            </p:cNvPr>
            <p:cNvSpPr>
              <a:spLocks noEditPoints="1"/>
            </p:cNvSpPr>
            <p:nvPr/>
          </p:nvSpPr>
          <p:spPr bwMode="auto">
            <a:xfrm>
              <a:off x="-838200" y="2716213"/>
              <a:ext cx="501650" cy="654049"/>
            </a:xfrm>
            <a:custGeom>
              <a:avLst/>
              <a:gdLst>
                <a:gd name="T0" fmla="*/ 223 w 554"/>
                <a:gd name="T1" fmla="*/ 57 h 721"/>
                <a:gd name="T2" fmla="*/ 275 w 554"/>
                <a:gd name="T3" fmla="*/ 1 h 721"/>
                <a:gd name="T4" fmla="*/ 331 w 554"/>
                <a:gd name="T5" fmla="*/ 57 h 721"/>
                <a:gd name="T6" fmla="*/ 361 w 554"/>
                <a:gd name="T7" fmla="*/ 57 h 721"/>
                <a:gd name="T8" fmla="*/ 412 w 554"/>
                <a:gd name="T9" fmla="*/ 88 h 721"/>
                <a:gd name="T10" fmla="*/ 434 w 554"/>
                <a:gd name="T11" fmla="*/ 100 h 721"/>
                <a:gd name="T12" fmla="*/ 470 w 554"/>
                <a:gd name="T13" fmla="*/ 100 h 721"/>
                <a:gd name="T14" fmla="*/ 554 w 554"/>
                <a:gd name="T15" fmla="*/ 183 h 721"/>
                <a:gd name="T16" fmla="*/ 554 w 554"/>
                <a:gd name="T17" fmla="*/ 487 h 721"/>
                <a:gd name="T18" fmla="*/ 554 w 554"/>
                <a:gd name="T19" fmla="*/ 639 h 721"/>
                <a:gd name="T20" fmla="*/ 472 w 554"/>
                <a:gd name="T21" fmla="*/ 721 h 721"/>
                <a:gd name="T22" fmla="*/ 81 w 554"/>
                <a:gd name="T23" fmla="*/ 721 h 721"/>
                <a:gd name="T24" fmla="*/ 0 w 554"/>
                <a:gd name="T25" fmla="*/ 640 h 721"/>
                <a:gd name="T26" fmla="*/ 0 w 554"/>
                <a:gd name="T27" fmla="*/ 180 h 721"/>
                <a:gd name="T28" fmla="*/ 81 w 554"/>
                <a:gd name="T29" fmla="*/ 100 h 721"/>
                <a:gd name="T30" fmla="*/ 99 w 554"/>
                <a:gd name="T31" fmla="*/ 100 h 721"/>
                <a:gd name="T32" fmla="*/ 150 w 554"/>
                <a:gd name="T33" fmla="*/ 77 h 721"/>
                <a:gd name="T34" fmla="*/ 188 w 554"/>
                <a:gd name="T35" fmla="*/ 57 h 721"/>
                <a:gd name="T36" fmla="*/ 223 w 554"/>
                <a:gd name="T37" fmla="*/ 57 h 721"/>
                <a:gd name="T38" fmla="*/ 136 w 554"/>
                <a:gd name="T39" fmla="*/ 125 h 721"/>
                <a:gd name="T40" fmla="*/ 81 w 554"/>
                <a:gd name="T41" fmla="*/ 125 h 721"/>
                <a:gd name="T42" fmla="*/ 25 w 554"/>
                <a:gd name="T43" fmla="*/ 182 h 721"/>
                <a:gd name="T44" fmla="*/ 25 w 554"/>
                <a:gd name="T45" fmla="*/ 638 h 721"/>
                <a:gd name="T46" fmla="*/ 82 w 554"/>
                <a:gd name="T47" fmla="*/ 696 h 721"/>
                <a:gd name="T48" fmla="*/ 472 w 554"/>
                <a:gd name="T49" fmla="*/ 696 h 721"/>
                <a:gd name="T50" fmla="*/ 529 w 554"/>
                <a:gd name="T51" fmla="*/ 639 h 721"/>
                <a:gd name="T52" fmla="*/ 529 w 554"/>
                <a:gd name="T53" fmla="*/ 475 h 721"/>
                <a:gd name="T54" fmla="*/ 529 w 554"/>
                <a:gd name="T55" fmla="*/ 187 h 721"/>
                <a:gd name="T56" fmla="*/ 468 w 554"/>
                <a:gd name="T57" fmla="*/ 125 h 721"/>
                <a:gd name="T58" fmla="*/ 428 w 554"/>
                <a:gd name="T59" fmla="*/ 125 h 721"/>
                <a:gd name="T60" fmla="*/ 414 w 554"/>
                <a:gd name="T61" fmla="*/ 133 h 721"/>
                <a:gd name="T62" fmla="*/ 352 w 554"/>
                <a:gd name="T63" fmla="*/ 168 h 721"/>
                <a:gd name="T64" fmla="*/ 209 w 554"/>
                <a:gd name="T65" fmla="*/ 168 h 721"/>
                <a:gd name="T66" fmla="*/ 136 w 554"/>
                <a:gd name="T67" fmla="*/ 125 h 721"/>
                <a:gd name="T68" fmla="*/ 275 w 554"/>
                <a:gd name="T69" fmla="*/ 142 h 721"/>
                <a:gd name="T70" fmla="*/ 361 w 554"/>
                <a:gd name="T71" fmla="*/ 142 h 721"/>
                <a:gd name="T72" fmla="*/ 393 w 554"/>
                <a:gd name="T73" fmla="*/ 113 h 721"/>
                <a:gd name="T74" fmla="*/ 361 w 554"/>
                <a:gd name="T75" fmla="*/ 82 h 721"/>
                <a:gd name="T76" fmla="*/ 323 w 554"/>
                <a:gd name="T77" fmla="*/ 82 h 721"/>
                <a:gd name="T78" fmla="*/ 301 w 554"/>
                <a:gd name="T79" fmla="*/ 59 h 721"/>
                <a:gd name="T80" fmla="*/ 294 w 554"/>
                <a:gd name="T81" fmla="*/ 34 h 721"/>
                <a:gd name="T82" fmla="*/ 267 w 554"/>
                <a:gd name="T83" fmla="*/ 30 h 721"/>
                <a:gd name="T84" fmla="*/ 253 w 554"/>
                <a:gd name="T85" fmla="*/ 57 h 721"/>
                <a:gd name="T86" fmla="*/ 229 w 554"/>
                <a:gd name="T87" fmla="*/ 82 h 721"/>
                <a:gd name="T88" fmla="*/ 195 w 554"/>
                <a:gd name="T89" fmla="*/ 82 h 721"/>
                <a:gd name="T90" fmla="*/ 161 w 554"/>
                <a:gd name="T91" fmla="*/ 113 h 721"/>
                <a:gd name="T92" fmla="*/ 195 w 554"/>
                <a:gd name="T93" fmla="*/ 142 h 721"/>
                <a:gd name="T94" fmla="*/ 275 w 554"/>
                <a:gd name="T95" fmla="*/ 142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54" h="721">
                  <a:moveTo>
                    <a:pt x="223" y="57"/>
                  </a:moveTo>
                  <a:cubicBezTo>
                    <a:pt x="232" y="19"/>
                    <a:pt x="248" y="2"/>
                    <a:pt x="275" y="1"/>
                  </a:cubicBezTo>
                  <a:cubicBezTo>
                    <a:pt x="303" y="0"/>
                    <a:pt x="320" y="17"/>
                    <a:pt x="331" y="57"/>
                  </a:cubicBezTo>
                  <a:cubicBezTo>
                    <a:pt x="341" y="57"/>
                    <a:pt x="351" y="57"/>
                    <a:pt x="361" y="57"/>
                  </a:cubicBezTo>
                  <a:cubicBezTo>
                    <a:pt x="384" y="56"/>
                    <a:pt x="402" y="66"/>
                    <a:pt x="412" y="88"/>
                  </a:cubicBezTo>
                  <a:cubicBezTo>
                    <a:pt x="417" y="98"/>
                    <a:pt x="424" y="100"/>
                    <a:pt x="434" y="100"/>
                  </a:cubicBezTo>
                  <a:cubicBezTo>
                    <a:pt x="446" y="99"/>
                    <a:pt x="458" y="100"/>
                    <a:pt x="470" y="100"/>
                  </a:cubicBezTo>
                  <a:cubicBezTo>
                    <a:pt x="525" y="100"/>
                    <a:pt x="554" y="128"/>
                    <a:pt x="554" y="183"/>
                  </a:cubicBezTo>
                  <a:cubicBezTo>
                    <a:pt x="554" y="284"/>
                    <a:pt x="554" y="386"/>
                    <a:pt x="554" y="487"/>
                  </a:cubicBezTo>
                  <a:cubicBezTo>
                    <a:pt x="554" y="538"/>
                    <a:pt x="554" y="588"/>
                    <a:pt x="554" y="639"/>
                  </a:cubicBezTo>
                  <a:cubicBezTo>
                    <a:pt x="554" y="691"/>
                    <a:pt x="524" y="721"/>
                    <a:pt x="472" y="721"/>
                  </a:cubicBezTo>
                  <a:cubicBezTo>
                    <a:pt x="342" y="721"/>
                    <a:pt x="211" y="721"/>
                    <a:pt x="81" y="721"/>
                  </a:cubicBezTo>
                  <a:cubicBezTo>
                    <a:pt x="30" y="721"/>
                    <a:pt x="0" y="691"/>
                    <a:pt x="0" y="640"/>
                  </a:cubicBezTo>
                  <a:cubicBezTo>
                    <a:pt x="0" y="487"/>
                    <a:pt x="0" y="333"/>
                    <a:pt x="0" y="180"/>
                  </a:cubicBezTo>
                  <a:cubicBezTo>
                    <a:pt x="0" y="129"/>
                    <a:pt x="29" y="100"/>
                    <a:pt x="81" y="100"/>
                  </a:cubicBezTo>
                  <a:cubicBezTo>
                    <a:pt x="87" y="100"/>
                    <a:pt x="93" y="99"/>
                    <a:pt x="99" y="100"/>
                  </a:cubicBezTo>
                  <a:cubicBezTo>
                    <a:pt x="119" y="100"/>
                    <a:pt x="138" y="102"/>
                    <a:pt x="150" y="77"/>
                  </a:cubicBezTo>
                  <a:cubicBezTo>
                    <a:pt x="155" y="67"/>
                    <a:pt x="174" y="62"/>
                    <a:pt x="188" y="57"/>
                  </a:cubicBezTo>
                  <a:cubicBezTo>
                    <a:pt x="199" y="54"/>
                    <a:pt x="211" y="57"/>
                    <a:pt x="223" y="57"/>
                  </a:cubicBezTo>
                  <a:close/>
                  <a:moveTo>
                    <a:pt x="136" y="125"/>
                  </a:moveTo>
                  <a:cubicBezTo>
                    <a:pt x="117" y="125"/>
                    <a:pt x="99" y="125"/>
                    <a:pt x="81" y="125"/>
                  </a:cubicBezTo>
                  <a:cubicBezTo>
                    <a:pt x="44" y="125"/>
                    <a:pt x="25" y="144"/>
                    <a:pt x="25" y="182"/>
                  </a:cubicBezTo>
                  <a:cubicBezTo>
                    <a:pt x="25" y="334"/>
                    <a:pt x="25" y="486"/>
                    <a:pt x="25" y="638"/>
                  </a:cubicBezTo>
                  <a:cubicBezTo>
                    <a:pt x="25" y="676"/>
                    <a:pt x="44" y="696"/>
                    <a:pt x="82" y="696"/>
                  </a:cubicBezTo>
                  <a:cubicBezTo>
                    <a:pt x="212" y="696"/>
                    <a:pt x="342" y="696"/>
                    <a:pt x="472" y="696"/>
                  </a:cubicBezTo>
                  <a:cubicBezTo>
                    <a:pt x="510" y="696"/>
                    <a:pt x="529" y="676"/>
                    <a:pt x="529" y="639"/>
                  </a:cubicBezTo>
                  <a:cubicBezTo>
                    <a:pt x="529" y="584"/>
                    <a:pt x="529" y="529"/>
                    <a:pt x="529" y="475"/>
                  </a:cubicBezTo>
                  <a:cubicBezTo>
                    <a:pt x="529" y="379"/>
                    <a:pt x="529" y="283"/>
                    <a:pt x="529" y="187"/>
                  </a:cubicBezTo>
                  <a:cubicBezTo>
                    <a:pt x="529" y="142"/>
                    <a:pt x="512" y="125"/>
                    <a:pt x="468" y="125"/>
                  </a:cubicBezTo>
                  <a:cubicBezTo>
                    <a:pt x="454" y="125"/>
                    <a:pt x="441" y="124"/>
                    <a:pt x="428" y="125"/>
                  </a:cubicBezTo>
                  <a:cubicBezTo>
                    <a:pt x="423" y="126"/>
                    <a:pt x="416" y="129"/>
                    <a:pt x="414" y="133"/>
                  </a:cubicBezTo>
                  <a:cubicBezTo>
                    <a:pt x="402" y="160"/>
                    <a:pt x="380" y="169"/>
                    <a:pt x="352" y="168"/>
                  </a:cubicBezTo>
                  <a:cubicBezTo>
                    <a:pt x="304" y="168"/>
                    <a:pt x="256" y="167"/>
                    <a:pt x="209" y="168"/>
                  </a:cubicBezTo>
                  <a:cubicBezTo>
                    <a:pt x="174" y="169"/>
                    <a:pt x="148" y="160"/>
                    <a:pt x="136" y="125"/>
                  </a:cubicBezTo>
                  <a:close/>
                  <a:moveTo>
                    <a:pt x="275" y="142"/>
                  </a:moveTo>
                  <a:cubicBezTo>
                    <a:pt x="304" y="142"/>
                    <a:pt x="332" y="142"/>
                    <a:pt x="361" y="142"/>
                  </a:cubicBezTo>
                  <a:cubicBezTo>
                    <a:pt x="380" y="141"/>
                    <a:pt x="392" y="130"/>
                    <a:pt x="393" y="113"/>
                  </a:cubicBezTo>
                  <a:cubicBezTo>
                    <a:pt x="394" y="96"/>
                    <a:pt x="381" y="83"/>
                    <a:pt x="361" y="82"/>
                  </a:cubicBezTo>
                  <a:cubicBezTo>
                    <a:pt x="349" y="81"/>
                    <a:pt x="336" y="81"/>
                    <a:pt x="323" y="82"/>
                  </a:cubicBezTo>
                  <a:cubicBezTo>
                    <a:pt x="307" y="82"/>
                    <a:pt x="300" y="76"/>
                    <a:pt x="301" y="59"/>
                  </a:cubicBezTo>
                  <a:cubicBezTo>
                    <a:pt x="302" y="51"/>
                    <a:pt x="299" y="39"/>
                    <a:pt x="294" y="34"/>
                  </a:cubicBezTo>
                  <a:cubicBezTo>
                    <a:pt x="287" y="29"/>
                    <a:pt x="273" y="26"/>
                    <a:pt x="267" y="30"/>
                  </a:cubicBezTo>
                  <a:cubicBezTo>
                    <a:pt x="259" y="35"/>
                    <a:pt x="252" y="48"/>
                    <a:pt x="253" y="57"/>
                  </a:cubicBezTo>
                  <a:cubicBezTo>
                    <a:pt x="253" y="76"/>
                    <a:pt x="247" y="83"/>
                    <a:pt x="229" y="82"/>
                  </a:cubicBezTo>
                  <a:cubicBezTo>
                    <a:pt x="217" y="81"/>
                    <a:pt x="206" y="81"/>
                    <a:pt x="195" y="82"/>
                  </a:cubicBezTo>
                  <a:cubicBezTo>
                    <a:pt x="173" y="82"/>
                    <a:pt x="160" y="95"/>
                    <a:pt x="161" y="113"/>
                  </a:cubicBezTo>
                  <a:cubicBezTo>
                    <a:pt x="162" y="131"/>
                    <a:pt x="174" y="142"/>
                    <a:pt x="195" y="142"/>
                  </a:cubicBezTo>
                  <a:cubicBezTo>
                    <a:pt x="222" y="142"/>
                    <a:pt x="248" y="142"/>
                    <a:pt x="275"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2" name="Freeform 28">
              <a:extLst>
                <a:ext uri="{FF2B5EF4-FFF2-40B4-BE49-F238E27FC236}">
                  <a16:creationId xmlns:a16="http://schemas.microsoft.com/office/drawing/2014/main" id="{64C5DE04-1DCC-4923-A27A-A6BF7EC0F42E}"/>
                </a:ext>
              </a:extLst>
            </p:cNvPr>
            <p:cNvSpPr>
              <a:spLocks/>
            </p:cNvSpPr>
            <p:nvPr/>
          </p:nvSpPr>
          <p:spPr bwMode="auto">
            <a:xfrm>
              <a:off x="-633413" y="2973388"/>
              <a:ext cx="214312" cy="22225"/>
            </a:xfrm>
            <a:custGeom>
              <a:avLst/>
              <a:gdLst>
                <a:gd name="T0" fmla="*/ 119 w 236"/>
                <a:gd name="T1" fmla="*/ 0 h 26"/>
                <a:gd name="T2" fmla="*/ 215 w 236"/>
                <a:gd name="T3" fmla="*/ 0 h 26"/>
                <a:gd name="T4" fmla="*/ 234 w 236"/>
                <a:gd name="T5" fmla="*/ 13 h 26"/>
                <a:gd name="T6" fmla="*/ 214 w 236"/>
                <a:gd name="T7" fmla="*/ 25 h 26"/>
                <a:gd name="T8" fmla="*/ 21 w 236"/>
                <a:gd name="T9" fmla="*/ 25 h 26"/>
                <a:gd name="T10" fmla="*/ 2 w 236"/>
                <a:gd name="T11" fmla="*/ 14 h 26"/>
                <a:gd name="T12" fmla="*/ 21 w 236"/>
                <a:gd name="T13" fmla="*/ 0 h 26"/>
                <a:gd name="T14" fmla="*/ 119 w 236"/>
                <a:gd name="T15" fmla="*/ 0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6">
                  <a:moveTo>
                    <a:pt x="119" y="0"/>
                  </a:moveTo>
                  <a:cubicBezTo>
                    <a:pt x="151" y="0"/>
                    <a:pt x="183" y="0"/>
                    <a:pt x="215" y="0"/>
                  </a:cubicBezTo>
                  <a:cubicBezTo>
                    <a:pt x="224" y="1"/>
                    <a:pt x="236" y="0"/>
                    <a:pt x="234" y="13"/>
                  </a:cubicBezTo>
                  <a:cubicBezTo>
                    <a:pt x="233" y="18"/>
                    <a:pt x="221" y="25"/>
                    <a:pt x="214" y="25"/>
                  </a:cubicBezTo>
                  <a:cubicBezTo>
                    <a:pt x="150" y="26"/>
                    <a:pt x="85" y="26"/>
                    <a:pt x="21" y="25"/>
                  </a:cubicBezTo>
                  <a:cubicBezTo>
                    <a:pt x="14" y="25"/>
                    <a:pt x="3" y="19"/>
                    <a:pt x="2" y="14"/>
                  </a:cubicBezTo>
                  <a:cubicBezTo>
                    <a:pt x="0" y="1"/>
                    <a:pt x="12" y="0"/>
                    <a:pt x="21" y="0"/>
                  </a:cubicBezTo>
                  <a:cubicBezTo>
                    <a:pt x="54" y="0"/>
                    <a:pt x="86" y="0"/>
                    <a:pt x="1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3" name="Freeform 29">
              <a:extLst>
                <a:ext uri="{FF2B5EF4-FFF2-40B4-BE49-F238E27FC236}">
                  <a16:creationId xmlns:a16="http://schemas.microsoft.com/office/drawing/2014/main" id="{D791CB35-8151-4070-8378-4824B4AB52B0}"/>
                </a:ext>
              </a:extLst>
            </p:cNvPr>
            <p:cNvSpPr>
              <a:spLocks/>
            </p:cNvSpPr>
            <p:nvPr/>
          </p:nvSpPr>
          <p:spPr bwMode="auto">
            <a:xfrm>
              <a:off x="-631825" y="3081338"/>
              <a:ext cx="212725" cy="25400"/>
            </a:xfrm>
            <a:custGeom>
              <a:avLst/>
              <a:gdLst>
                <a:gd name="T0" fmla="*/ 117 w 235"/>
                <a:gd name="T1" fmla="*/ 26 h 27"/>
                <a:gd name="T2" fmla="*/ 21 w 235"/>
                <a:gd name="T3" fmla="*/ 25 h 27"/>
                <a:gd name="T4" fmla="*/ 0 w 235"/>
                <a:gd name="T5" fmla="*/ 13 h 27"/>
                <a:gd name="T6" fmla="*/ 21 w 235"/>
                <a:gd name="T7" fmla="*/ 1 h 27"/>
                <a:gd name="T8" fmla="*/ 213 w 235"/>
                <a:gd name="T9" fmla="*/ 1 h 27"/>
                <a:gd name="T10" fmla="*/ 233 w 235"/>
                <a:gd name="T11" fmla="*/ 12 h 27"/>
                <a:gd name="T12" fmla="*/ 212 w 235"/>
                <a:gd name="T13" fmla="*/ 26 h 27"/>
                <a:gd name="T14" fmla="*/ 117 w 235"/>
                <a:gd name="T15" fmla="*/ 26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5" h="27">
                  <a:moveTo>
                    <a:pt x="117" y="26"/>
                  </a:moveTo>
                  <a:cubicBezTo>
                    <a:pt x="85" y="26"/>
                    <a:pt x="53" y="26"/>
                    <a:pt x="21" y="25"/>
                  </a:cubicBezTo>
                  <a:cubicBezTo>
                    <a:pt x="14" y="25"/>
                    <a:pt x="7" y="17"/>
                    <a:pt x="0" y="13"/>
                  </a:cubicBezTo>
                  <a:cubicBezTo>
                    <a:pt x="7" y="9"/>
                    <a:pt x="14" y="1"/>
                    <a:pt x="21" y="1"/>
                  </a:cubicBezTo>
                  <a:cubicBezTo>
                    <a:pt x="85" y="0"/>
                    <a:pt x="149" y="0"/>
                    <a:pt x="213" y="1"/>
                  </a:cubicBezTo>
                  <a:cubicBezTo>
                    <a:pt x="220" y="1"/>
                    <a:pt x="232" y="7"/>
                    <a:pt x="233" y="12"/>
                  </a:cubicBezTo>
                  <a:cubicBezTo>
                    <a:pt x="235" y="27"/>
                    <a:pt x="222" y="26"/>
                    <a:pt x="212" y="26"/>
                  </a:cubicBezTo>
                  <a:cubicBezTo>
                    <a:pt x="180" y="26"/>
                    <a:pt x="148" y="26"/>
                    <a:pt x="117"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4" name="Freeform 30">
              <a:extLst>
                <a:ext uri="{FF2B5EF4-FFF2-40B4-BE49-F238E27FC236}">
                  <a16:creationId xmlns:a16="http://schemas.microsoft.com/office/drawing/2014/main" id="{C7297DAC-3FBC-49EC-9AF7-AE7E78337281}"/>
                </a:ext>
              </a:extLst>
            </p:cNvPr>
            <p:cNvSpPr>
              <a:spLocks/>
            </p:cNvSpPr>
            <p:nvPr/>
          </p:nvSpPr>
          <p:spPr bwMode="auto">
            <a:xfrm>
              <a:off x="-631825" y="3195638"/>
              <a:ext cx="211137" cy="23812"/>
            </a:xfrm>
            <a:custGeom>
              <a:avLst/>
              <a:gdLst>
                <a:gd name="T0" fmla="*/ 117 w 234"/>
                <a:gd name="T1" fmla="*/ 25 h 26"/>
                <a:gd name="T2" fmla="*/ 22 w 234"/>
                <a:gd name="T3" fmla="*/ 25 h 26"/>
                <a:gd name="T4" fmla="*/ 0 w 234"/>
                <a:gd name="T5" fmla="*/ 13 h 26"/>
                <a:gd name="T6" fmla="*/ 21 w 234"/>
                <a:gd name="T7" fmla="*/ 1 h 26"/>
                <a:gd name="T8" fmla="*/ 214 w 234"/>
                <a:gd name="T9" fmla="*/ 1 h 26"/>
                <a:gd name="T10" fmla="*/ 234 w 234"/>
                <a:gd name="T11" fmla="*/ 13 h 26"/>
                <a:gd name="T12" fmla="*/ 213 w 234"/>
                <a:gd name="T13" fmla="*/ 25 h 26"/>
                <a:gd name="T14" fmla="*/ 117 w 234"/>
                <a:gd name="T15" fmla="*/ 25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26">
                  <a:moveTo>
                    <a:pt x="117" y="25"/>
                  </a:moveTo>
                  <a:cubicBezTo>
                    <a:pt x="85" y="25"/>
                    <a:pt x="53" y="26"/>
                    <a:pt x="22" y="25"/>
                  </a:cubicBezTo>
                  <a:cubicBezTo>
                    <a:pt x="14" y="24"/>
                    <a:pt x="7" y="17"/>
                    <a:pt x="0" y="13"/>
                  </a:cubicBezTo>
                  <a:cubicBezTo>
                    <a:pt x="7" y="9"/>
                    <a:pt x="14" y="1"/>
                    <a:pt x="21" y="1"/>
                  </a:cubicBezTo>
                  <a:cubicBezTo>
                    <a:pt x="85" y="0"/>
                    <a:pt x="149" y="0"/>
                    <a:pt x="214" y="1"/>
                  </a:cubicBezTo>
                  <a:cubicBezTo>
                    <a:pt x="221" y="1"/>
                    <a:pt x="227" y="9"/>
                    <a:pt x="234" y="13"/>
                  </a:cubicBezTo>
                  <a:cubicBezTo>
                    <a:pt x="227" y="17"/>
                    <a:pt x="220" y="24"/>
                    <a:pt x="213" y="25"/>
                  </a:cubicBezTo>
                  <a:cubicBezTo>
                    <a:pt x="181" y="26"/>
                    <a:pt x="149" y="25"/>
                    <a:pt x="117"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5" name="Freeform 31">
              <a:extLst>
                <a:ext uri="{FF2B5EF4-FFF2-40B4-BE49-F238E27FC236}">
                  <a16:creationId xmlns:a16="http://schemas.microsoft.com/office/drawing/2014/main" id="{54DEF33D-D3C6-450A-AA66-78E3C6CEC493}"/>
                </a:ext>
              </a:extLst>
            </p:cNvPr>
            <p:cNvSpPr>
              <a:spLocks/>
            </p:cNvSpPr>
            <p:nvPr/>
          </p:nvSpPr>
          <p:spPr bwMode="auto">
            <a:xfrm>
              <a:off x="-752475" y="3146425"/>
              <a:ext cx="88900" cy="77787"/>
            </a:xfrm>
            <a:custGeom>
              <a:avLst/>
              <a:gdLst>
                <a:gd name="T0" fmla="*/ 36 w 98"/>
                <a:gd name="T1" fmla="*/ 53 h 86"/>
                <a:gd name="T2" fmla="*/ 72 w 98"/>
                <a:gd name="T3" fmla="*/ 15 h 86"/>
                <a:gd name="T4" fmla="*/ 95 w 98"/>
                <a:gd name="T5" fmla="*/ 10 h 86"/>
                <a:gd name="T6" fmla="*/ 90 w 98"/>
                <a:gd name="T7" fmla="*/ 33 h 86"/>
                <a:gd name="T8" fmla="*/ 53 w 98"/>
                <a:gd name="T9" fmla="*/ 72 h 86"/>
                <a:gd name="T10" fmla="*/ 15 w 98"/>
                <a:gd name="T11" fmla="*/ 69 h 86"/>
                <a:gd name="T12" fmla="*/ 2 w 98"/>
                <a:gd name="T13" fmla="*/ 49 h 86"/>
                <a:gd name="T14" fmla="*/ 4 w 98"/>
                <a:gd name="T15" fmla="*/ 30 h 86"/>
                <a:gd name="T16" fmla="*/ 23 w 98"/>
                <a:gd name="T17" fmla="*/ 37 h 86"/>
                <a:gd name="T18" fmla="*/ 36 w 98"/>
                <a:gd name="T19" fmla="*/ 5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86">
                  <a:moveTo>
                    <a:pt x="36" y="53"/>
                  </a:moveTo>
                  <a:cubicBezTo>
                    <a:pt x="48" y="40"/>
                    <a:pt x="60" y="27"/>
                    <a:pt x="72" y="15"/>
                  </a:cubicBezTo>
                  <a:cubicBezTo>
                    <a:pt x="79" y="8"/>
                    <a:pt x="87" y="0"/>
                    <a:pt x="95" y="10"/>
                  </a:cubicBezTo>
                  <a:cubicBezTo>
                    <a:pt x="98" y="14"/>
                    <a:pt x="94" y="27"/>
                    <a:pt x="90" y="33"/>
                  </a:cubicBezTo>
                  <a:cubicBezTo>
                    <a:pt x="79" y="47"/>
                    <a:pt x="66" y="60"/>
                    <a:pt x="53" y="72"/>
                  </a:cubicBezTo>
                  <a:cubicBezTo>
                    <a:pt x="39" y="86"/>
                    <a:pt x="27" y="85"/>
                    <a:pt x="15" y="69"/>
                  </a:cubicBezTo>
                  <a:cubicBezTo>
                    <a:pt x="10" y="63"/>
                    <a:pt x="4" y="57"/>
                    <a:pt x="2" y="49"/>
                  </a:cubicBezTo>
                  <a:cubicBezTo>
                    <a:pt x="0" y="44"/>
                    <a:pt x="3" y="37"/>
                    <a:pt x="4" y="30"/>
                  </a:cubicBezTo>
                  <a:cubicBezTo>
                    <a:pt x="10" y="32"/>
                    <a:pt x="18" y="33"/>
                    <a:pt x="23" y="37"/>
                  </a:cubicBezTo>
                  <a:cubicBezTo>
                    <a:pt x="28" y="40"/>
                    <a:pt x="31" y="47"/>
                    <a:pt x="36"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6" name="Freeform 32">
              <a:extLst>
                <a:ext uri="{FF2B5EF4-FFF2-40B4-BE49-F238E27FC236}">
                  <a16:creationId xmlns:a16="http://schemas.microsoft.com/office/drawing/2014/main" id="{25447FD8-66AC-4A42-9DAE-B9CA6C2C3668}"/>
                </a:ext>
              </a:extLst>
            </p:cNvPr>
            <p:cNvSpPr>
              <a:spLocks/>
            </p:cNvSpPr>
            <p:nvPr/>
          </p:nvSpPr>
          <p:spPr bwMode="auto">
            <a:xfrm>
              <a:off x="-750888" y="2932113"/>
              <a:ext cx="85725" cy="69850"/>
            </a:xfrm>
            <a:custGeom>
              <a:avLst/>
              <a:gdLst>
                <a:gd name="T0" fmla="*/ 33 w 94"/>
                <a:gd name="T1" fmla="*/ 44 h 76"/>
                <a:gd name="T2" fmla="*/ 72 w 94"/>
                <a:gd name="T3" fmla="*/ 4 h 76"/>
                <a:gd name="T4" fmla="*/ 94 w 94"/>
                <a:gd name="T5" fmla="*/ 0 h 76"/>
                <a:gd name="T6" fmla="*/ 90 w 94"/>
                <a:gd name="T7" fmla="*/ 20 h 76"/>
                <a:gd name="T8" fmla="*/ 49 w 94"/>
                <a:gd name="T9" fmla="*/ 64 h 76"/>
                <a:gd name="T10" fmla="*/ 14 w 94"/>
                <a:gd name="T11" fmla="*/ 61 h 76"/>
                <a:gd name="T12" fmla="*/ 2 w 94"/>
                <a:gd name="T13" fmla="*/ 43 h 76"/>
                <a:gd name="T14" fmla="*/ 2 w 94"/>
                <a:gd name="T15" fmla="*/ 20 h 76"/>
                <a:gd name="T16" fmla="*/ 22 w 94"/>
                <a:gd name="T17" fmla="*/ 28 h 76"/>
                <a:gd name="T18" fmla="*/ 33 w 94"/>
                <a:gd name="T19"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76">
                  <a:moveTo>
                    <a:pt x="33" y="44"/>
                  </a:moveTo>
                  <a:cubicBezTo>
                    <a:pt x="47" y="30"/>
                    <a:pt x="58" y="16"/>
                    <a:pt x="72" y="4"/>
                  </a:cubicBezTo>
                  <a:cubicBezTo>
                    <a:pt x="77" y="0"/>
                    <a:pt x="86" y="1"/>
                    <a:pt x="94" y="0"/>
                  </a:cubicBezTo>
                  <a:cubicBezTo>
                    <a:pt x="93" y="7"/>
                    <a:pt x="94" y="16"/>
                    <a:pt x="90" y="20"/>
                  </a:cubicBezTo>
                  <a:cubicBezTo>
                    <a:pt x="78" y="36"/>
                    <a:pt x="64" y="50"/>
                    <a:pt x="49" y="64"/>
                  </a:cubicBezTo>
                  <a:cubicBezTo>
                    <a:pt x="37" y="76"/>
                    <a:pt x="24" y="74"/>
                    <a:pt x="14" y="61"/>
                  </a:cubicBezTo>
                  <a:cubicBezTo>
                    <a:pt x="9" y="55"/>
                    <a:pt x="4" y="49"/>
                    <a:pt x="2" y="43"/>
                  </a:cubicBezTo>
                  <a:cubicBezTo>
                    <a:pt x="0" y="36"/>
                    <a:pt x="2" y="28"/>
                    <a:pt x="2" y="20"/>
                  </a:cubicBezTo>
                  <a:cubicBezTo>
                    <a:pt x="9" y="23"/>
                    <a:pt x="16" y="24"/>
                    <a:pt x="22" y="28"/>
                  </a:cubicBezTo>
                  <a:cubicBezTo>
                    <a:pt x="26" y="31"/>
                    <a:pt x="28" y="37"/>
                    <a:pt x="33"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97" name="Freeform 33">
              <a:extLst>
                <a:ext uri="{FF2B5EF4-FFF2-40B4-BE49-F238E27FC236}">
                  <a16:creationId xmlns:a16="http://schemas.microsoft.com/office/drawing/2014/main" id="{0621F5A7-5D09-45FE-92EF-8D6449E014A3}"/>
                </a:ext>
              </a:extLst>
            </p:cNvPr>
            <p:cNvSpPr>
              <a:spLocks/>
            </p:cNvSpPr>
            <p:nvPr/>
          </p:nvSpPr>
          <p:spPr bwMode="auto">
            <a:xfrm>
              <a:off x="-752475" y="3040063"/>
              <a:ext cx="87312" cy="69850"/>
            </a:xfrm>
            <a:custGeom>
              <a:avLst/>
              <a:gdLst>
                <a:gd name="T0" fmla="*/ 32 w 95"/>
                <a:gd name="T1" fmla="*/ 42 h 77"/>
                <a:gd name="T2" fmla="*/ 73 w 95"/>
                <a:gd name="T3" fmla="*/ 5 h 77"/>
                <a:gd name="T4" fmla="*/ 94 w 95"/>
                <a:gd name="T5" fmla="*/ 0 h 77"/>
                <a:gd name="T6" fmla="*/ 91 w 95"/>
                <a:gd name="T7" fmla="*/ 22 h 77"/>
                <a:gd name="T8" fmla="*/ 51 w 95"/>
                <a:gd name="T9" fmla="*/ 64 h 77"/>
                <a:gd name="T10" fmla="*/ 14 w 95"/>
                <a:gd name="T11" fmla="*/ 61 h 77"/>
                <a:gd name="T12" fmla="*/ 2 w 95"/>
                <a:gd name="T13" fmla="*/ 43 h 77"/>
                <a:gd name="T14" fmla="*/ 3 w 95"/>
                <a:gd name="T15" fmla="*/ 22 h 77"/>
                <a:gd name="T16" fmla="*/ 23 w 95"/>
                <a:gd name="T17" fmla="*/ 30 h 77"/>
                <a:gd name="T18" fmla="*/ 32 w 95"/>
                <a:gd name="T19" fmla="*/ 4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 h="77">
                  <a:moveTo>
                    <a:pt x="32" y="42"/>
                  </a:moveTo>
                  <a:cubicBezTo>
                    <a:pt x="47" y="29"/>
                    <a:pt x="59" y="16"/>
                    <a:pt x="73" y="5"/>
                  </a:cubicBezTo>
                  <a:cubicBezTo>
                    <a:pt x="78" y="1"/>
                    <a:pt x="87" y="1"/>
                    <a:pt x="94" y="0"/>
                  </a:cubicBezTo>
                  <a:cubicBezTo>
                    <a:pt x="93" y="7"/>
                    <a:pt x="95" y="17"/>
                    <a:pt x="91" y="22"/>
                  </a:cubicBezTo>
                  <a:cubicBezTo>
                    <a:pt x="79" y="37"/>
                    <a:pt x="65" y="50"/>
                    <a:pt x="51" y="64"/>
                  </a:cubicBezTo>
                  <a:cubicBezTo>
                    <a:pt x="38" y="77"/>
                    <a:pt x="25" y="76"/>
                    <a:pt x="14" y="61"/>
                  </a:cubicBezTo>
                  <a:cubicBezTo>
                    <a:pt x="10" y="55"/>
                    <a:pt x="4" y="49"/>
                    <a:pt x="2" y="43"/>
                  </a:cubicBezTo>
                  <a:cubicBezTo>
                    <a:pt x="0" y="36"/>
                    <a:pt x="2" y="29"/>
                    <a:pt x="3" y="22"/>
                  </a:cubicBezTo>
                  <a:cubicBezTo>
                    <a:pt x="10" y="24"/>
                    <a:pt x="17" y="26"/>
                    <a:pt x="23" y="30"/>
                  </a:cubicBezTo>
                  <a:cubicBezTo>
                    <a:pt x="27" y="32"/>
                    <a:pt x="30" y="38"/>
                    <a:pt x="3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98" name="Group 97">
            <a:extLst>
              <a:ext uri="{FF2B5EF4-FFF2-40B4-BE49-F238E27FC236}">
                <a16:creationId xmlns:a16="http://schemas.microsoft.com/office/drawing/2014/main" id="{087BDB14-741E-4668-BF30-BBADFFC84E63}"/>
              </a:ext>
            </a:extLst>
          </p:cNvPr>
          <p:cNvGrpSpPr/>
          <p:nvPr/>
        </p:nvGrpSpPr>
        <p:grpSpPr>
          <a:xfrm>
            <a:off x="373259" y="2344513"/>
            <a:ext cx="399846" cy="399846"/>
            <a:chOff x="377952" y="3186030"/>
            <a:chExt cx="399846" cy="399846"/>
          </a:xfrm>
        </p:grpSpPr>
        <p:sp>
          <p:nvSpPr>
            <p:cNvPr id="99" name="Rectangle 98">
              <a:extLst>
                <a:ext uri="{FF2B5EF4-FFF2-40B4-BE49-F238E27FC236}">
                  <a16:creationId xmlns:a16="http://schemas.microsoft.com/office/drawing/2014/main" id="{4F0693C1-5B5F-423E-8054-A644543F0B80}"/>
                </a:ext>
              </a:extLst>
            </p:cNvPr>
            <p:cNvSpPr/>
            <p:nvPr/>
          </p:nvSpPr>
          <p:spPr>
            <a:xfrm>
              <a:off x="377952" y="3186030"/>
              <a:ext cx="399846" cy="3998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a:ln>
                  <a:noFill/>
                </a:ln>
                <a:solidFill>
                  <a:srgbClr val="FFFFFF"/>
                </a:solidFill>
                <a:effectLst/>
                <a:uLnTx/>
                <a:uFillTx/>
                <a:latin typeface="Gene Sans Light" panose="00000400000000000000" pitchFamily="2" charset="0"/>
                <a:ea typeface="+mn-ea"/>
                <a:cs typeface="+mn-cs"/>
                <a:sym typeface="Arial"/>
              </a:endParaRPr>
            </a:p>
          </p:txBody>
        </p:sp>
        <p:grpSp>
          <p:nvGrpSpPr>
            <p:cNvPr id="100" name="Group 99">
              <a:extLst>
                <a:ext uri="{FF2B5EF4-FFF2-40B4-BE49-F238E27FC236}">
                  <a16:creationId xmlns:a16="http://schemas.microsoft.com/office/drawing/2014/main" id="{48667314-6C75-4BBD-B3D4-BED47D17A57E}"/>
                </a:ext>
              </a:extLst>
            </p:cNvPr>
            <p:cNvGrpSpPr/>
            <p:nvPr/>
          </p:nvGrpSpPr>
          <p:grpSpPr>
            <a:xfrm>
              <a:off x="481038" y="3275491"/>
              <a:ext cx="193674" cy="220924"/>
              <a:chOff x="4870450" y="3278188"/>
              <a:chExt cx="315913" cy="360363"/>
            </a:xfrm>
            <a:solidFill>
              <a:schemeClr val="bg1"/>
            </a:solidFill>
          </p:grpSpPr>
          <p:sp>
            <p:nvSpPr>
              <p:cNvPr id="101" name="Freeform 75">
                <a:extLst>
                  <a:ext uri="{FF2B5EF4-FFF2-40B4-BE49-F238E27FC236}">
                    <a16:creationId xmlns:a16="http://schemas.microsoft.com/office/drawing/2014/main" id="{01443E8F-BB65-40AD-A099-3C7014187060}"/>
                  </a:ext>
                </a:extLst>
              </p:cNvPr>
              <p:cNvSpPr>
                <a:spLocks noEditPoints="1"/>
              </p:cNvSpPr>
              <p:nvPr/>
            </p:nvSpPr>
            <p:spPr bwMode="auto">
              <a:xfrm>
                <a:off x="5110163" y="3398838"/>
                <a:ext cx="76200" cy="74613"/>
              </a:xfrm>
              <a:custGeom>
                <a:avLst/>
                <a:gdLst>
                  <a:gd name="T0" fmla="*/ 149 w 331"/>
                  <a:gd name="T1" fmla="*/ 330 h 331"/>
                  <a:gd name="T2" fmla="*/ 101 w 331"/>
                  <a:gd name="T3" fmla="*/ 318 h 331"/>
                  <a:gd name="T4" fmla="*/ 61 w 331"/>
                  <a:gd name="T5" fmla="*/ 293 h 331"/>
                  <a:gd name="T6" fmla="*/ 29 w 331"/>
                  <a:gd name="T7" fmla="*/ 258 h 331"/>
                  <a:gd name="T8" fmla="*/ 8 w 331"/>
                  <a:gd name="T9" fmla="*/ 214 h 331"/>
                  <a:gd name="T10" fmla="*/ 0 w 331"/>
                  <a:gd name="T11" fmla="*/ 166 h 331"/>
                  <a:gd name="T12" fmla="*/ 4 w 331"/>
                  <a:gd name="T13" fmla="*/ 131 h 331"/>
                  <a:gd name="T14" fmla="*/ 20 w 331"/>
                  <a:gd name="T15" fmla="*/ 86 h 331"/>
                  <a:gd name="T16" fmla="*/ 48 w 331"/>
                  <a:gd name="T17" fmla="*/ 48 h 331"/>
                  <a:gd name="T18" fmla="*/ 87 w 331"/>
                  <a:gd name="T19" fmla="*/ 20 h 331"/>
                  <a:gd name="T20" fmla="*/ 132 w 331"/>
                  <a:gd name="T21" fmla="*/ 3 h 331"/>
                  <a:gd name="T22" fmla="*/ 165 w 331"/>
                  <a:gd name="T23" fmla="*/ 0 h 331"/>
                  <a:gd name="T24" fmla="*/ 215 w 331"/>
                  <a:gd name="T25" fmla="*/ 7 h 331"/>
                  <a:gd name="T26" fmla="*/ 258 w 331"/>
                  <a:gd name="T27" fmla="*/ 28 h 331"/>
                  <a:gd name="T28" fmla="*/ 293 w 331"/>
                  <a:gd name="T29" fmla="*/ 60 h 331"/>
                  <a:gd name="T30" fmla="*/ 318 w 331"/>
                  <a:gd name="T31" fmla="*/ 100 h 331"/>
                  <a:gd name="T32" fmla="*/ 331 w 331"/>
                  <a:gd name="T33" fmla="*/ 148 h 331"/>
                  <a:gd name="T34" fmla="*/ 331 w 331"/>
                  <a:gd name="T35" fmla="*/ 182 h 331"/>
                  <a:gd name="T36" fmla="*/ 318 w 331"/>
                  <a:gd name="T37" fmla="*/ 230 h 331"/>
                  <a:gd name="T38" fmla="*/ 293 w 331"/>
                  <a:gd name="T39" fmla="*/ 270 h 331"/>
                  <a:gd name="T40" fmla="*/ 258 w 331"/>
                  <a:gd name="T41" fmla="*/ 302 h 331"/>
                  <a:gd name="T42" fmla="*/ 215 w 331"/>
                  <a:gd name="T43" fmla="*/ 323 h 331"/>
                  <a:gd name="T44" fmla="*/ 165 w 331"/>
                  <a:gd name="T45" fmla="*/ 331 h 331"/>
                  <a:gd name="T46" fmla="*/ 165 w 331"/>
                  <a:gd name="T47" fmla="*/ 66 h 331"/>
                  <a:gd name="T48" fmla="*/ 136 w 331"/>
                  <a:gd name="T49" fmla="*/ 70 h 331"/>
                  <a:gd name="T50" fmla="*/ 110 w 331"/>
                  <a:gd name="T51" fmla="*/ 83 h 331"/>
                  <a:gd name="T52" fmla="*/ 89 w 331"/>
                  <a:gd name="T53" fmla="*/ 103 h 331"/>
                  <a:gd name="T54" fmla="*/ 74 w 331"/>
                  <a:gd name="T55" fmla="*/ 126 h 331"/>
                  <a:gd name="T56" fmla="*/ 67 w 331"/>
                  <a:gd name="T57" fmla="*/ 155 h 331"/>
                  <a:gd name="T58" fmla="*/ 67 w 331"/>
                  <a:gd name="T59" fmla="*/ 175 h 331"/>
                  <a:gd name="T60" fmla="*/ 74 w 331"/>
                  <a:gd name="T61" fmla="*/ 204 h 331"/>
                  <a:gd name="T62" fmla="*/ 89 w 331"/>
                  <a:gd name="T63" fmla="*/ 229 h 331"/>
                  <a:gd name="T64" fmla="*/ 110 w 331"/>
                  <a:gd name="T65" fmla="*/ 247 h 331"/>
                  <a:gd name="T66" fmla="*/ 136 w 331"/>
                  <a:gd name="T67" fmla="*/ 260 h 331"/>
                  <a:gd name="T68" fmla="*/ 165 w 331"/>
                  <a:gd name="T69" fmla="*/ 265 h 331"/>
                  <a:gd name="T70" fmla="*/ 186 w 331"/>
                  <a:gd name="T71" fmla="*/ 263 h 331"/>
                  <a:gd name="T72" fmla="*/ 213 w 331"/>
                  <a:gd name="T73" fmla="*/ 253 h 331"/>
                  <a:gd name="T74" fmla="*/ 236 w 331"/>
                  <a:gd name="T75" fmla="*/ 235 h 331"/>
                  <a:gd name="T76" fmla="*/ 253 w 331"/>
                  <a:gd name="T77" fmla="*/ 212 h 331"/>
                  <a:gd name="T78" fmla="*/ 262 w 331"/>
                  <a:gd name="T79" fmla="*/ 185 h 331"/>
                  <a:gd name="T80" fmla="*/ 265 w 331"/>
                  <a:gd name="T81" fmla="*/ 166 h 331"/>
                  <a:gd name="T82" fmla="*/ 260 w 331"/>
                  <a:gd name="T83" fmla="*/ 136 h 331"/>
                  <a:gd name="T84" fmla="*/ 248 w 331"/>
                  <a:gd name="T85" fmla="*/ 110 h 331"/>
                  <a:gd name="T86" fmla="*/ 228 w 331"/>
                  <a:gd name="T87" fmla="*/ 88 h 331"/>
                  <a:gd name="T88" fmla="*/ 205 w 331"/>
                  <a:gd name="T89" fmla="*/ 74 h 331"/>
                  <a:gd name="T90" fmla="*/ 176 w 331"/>
                  <a:gd name="T91" fmla="*/ 6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1" h="331">
                    <a:moveTo>
                      <a:pt x="165" y="331"/>
                    </a:moveTo>
                    <a:lnTo>
                      <a:pt x="165" y="331"/>
                    </a:lnTo>
                    <a:lnTo>
                      <a:pt x="149" y="330"/>
                    </a:lnTo>
                    <a:lnTo>
                      <a:pt x="132" y="327"/>
                    </a:lnTo>
                    <a:lnTo>
                      <a:pt x="117" y="323"/>
                    </a:lnTo>
                    <a:lnTo>
                      <a:pt x="101" y="318"/>
                    </a:lnTo>
                    <a:lnTo>
                      <a:pt x="87" y="310"/>
                    </a:lnTo>
                    <a:lnTo>
                      <a:pt x="73" y="302"/>
                    </a:lnTo>
                    <a:lnTo>
                      <a:pt x="61" y="293"/>
                    </a:lnTo>
                    <a:lnTo>
                      <a:pt x="48" y="283"/>
                    </a:lnTo>
                    <a:lnTo>
                      <a:pt x="38" y="270"/>
                    </a:lnTo>
                    <a:lnTo>
                      <a:pt x="29" y="258"/>
                    </a:lnTo>
                    <a:lnTo>
                      <a:pt x="20" y="244"/>
                    </a:lnTo>
                    <a:lnTo>
                      <a:pt x="13" y="230"/>
                    </a:lnTo>
                    <a:lnTo>
                      <a:pt x="8" y="214"/>
                    </a:lnTo>
                    <a:lnTo>
                      <a:pt x="4" y="199"/>
                    </a:lnTo>
                    <a:lnTo>
                      <a:pt x="1" y="182"/>
                    </a:lnTo>
                    <a:lnTo>
                      <a:pt x="0" y="166"/>
                    </a:lnTo>
                    <a:lnTo>
                      <a:pt x="0" y="166"/>
                    </a:lnTo>
                    <a:lnTo>
                      <a:pt x="1" y="148"/>
                    </a:lnTo>
                    <a:lnTo>
                      <a:pt x="4" y="131"/>
                    </a:lnTo>
                    <a:lnTo>
                      <a:pt x="8" y="116"/>
                    </a:lnTo>
                    <a:lnTo>
                      <a:pt x="13" y="100"/>
                    </a:lnTo>
                    <a:lnTo>
                      <a:pt x="20" y="86"/>
                    </a:lnTo>
                    <a:lnTo>
                      <a:pt x="29" y="73"/>
                    </a:lnTo>
                    <a:lnTo>
                      <a:pt x="38" y="60"/>
                    </a:lnTo>
                    <a:lnTo>
                      <a:pt x="48" y="48"/>
                    </a:lnTo>
                    <a:lnTo>
                      <a:pt x="61" y="37"/>
                    </a:lnTo>
                    <a:lnTo>
                      <a:pt x="73" y="28"/>
                    </a:lnTo>
                    <a:lnTo>
                      <a:pt x="87" y="20"/>
                    </a:lnTo>
                    <a:lnTo>
                      <a:pt x="101" y="13"/>
                    </a:lnTo>
                    <a:lnTo>
                      <a:pt x="117" y="7"/>
                    </a:lnTo>
                    <a:lnTo>
                      <a:pt x="132" y="3"/>
                    </a:lnTo>
                    <a:lnTo>
                      <a:pt x="149" y="0"/>
                    </a:lnTo>
                    <a:lnTo>
                      <a:pt x="165" y="0"/>
                    </a:lnTo>
                    <a:lnTo>
                      <a:pt x="165" y="0"/>
                    </a:lnTo>
                    <a:lnTo>
                      <a:pt x="183" y="0"/>
                    </a:lnTo>
                    <a:lnTo>
                      <a:pt x="199" y="3"/>
                    </a:lnTo>
                    <a:lnTo>
                      <a:pt x="215" y="7"/>
                    </a:lnTo>
                    <a:lnTo>
                      <a:pt x="230" y="13"/>
                    </a:lnTo>
                    <a:lnTo>
                      <a:pt x="245" y="20"/>
                    </a:lnTo>
                    <a:lnTo>
                      <a:pt x="258" y="28"/>
                    </a:lnTo>
                    <a:lnTo>
                      <a:pt x="271" y="37"/>
                    </a:lnTo>
                    <a:lnTo>
                      <a:pt x="283" y="48"/>
                    </a:lnTo>
                    <a:lnTo>
                      <a:pt x="293" y="60"/>
                    </a:lnTo>
                    <a:lnTo>
                      <a:pt x="303" y="73"/>
                    </a:lnTo>
                    <a:lnTo>
                      <a:pt x="311" y="86"/>
                    </a:lnTo>
                    <a:lnTo>
                      <a:pt x="318" y="100"/>
                    </a:lnTo>
                    <a:lnTo>
                      <a:pt x="324" y="116"/>
                    </a:lnTo>
                    <a:lnTo>
                      <a:pt x="328" y="131"/>
                    </a:lnTo>
                    <a:lnTo>
                      <a:pt x="331" y="148"/>
                    </a:lnTo>
                    <a:lnTo>
                      <a:pt x="331" y="166"/>
                    </a:lnTo>
                    <a:lnTo>
                      <a:pt x="331" y="166"/>
                    </a:lnTo>
                    <a:lnTo>
                      <a:pt x="331" y="182"/>
                    </a:lnTo>
                    <a:lnTo>
                      <a:pt x="328" y="199"/>
                    </a:lnTo>
                    <a:lnTo>
                      <a:pt x="324" y="214"/>
                    </a:lnTo>
                    <a:lnTo>
                      <a:pt x="318" y="230"/>
                    </a:lnTo>
                    <a:lnTo>
                      <a:pt x="311" y="244"/>
                    </a:lnTo>
                    <a:lnTo>
                      <a:pt x="303" y="258"/>
                    </a:lnTo>
                    <a:lnTo>
                      <a:pt x="293" y="270"/>
                    </a:lnTo>
                    <a:lnTo>
                      <a:pt x="283" y="283"/>
                    </a:lnTo>
                    <a:lnTo>
                      <a:pt x="271" y="293"/>
                    </a:lnTo>
                    <a:lnTo>
                      <a:pt x="258" y="302"/>
                    </a:lnTo>
                    <a:lnTo>
                      <a:pt x="245" y="310"/>
                    </a:lnTo>
                    <a:lnTo>
                      <a:pt x="230" y="318"/>
                    </a:lnTo>
                    <a:lnTo>
                      <a:pt x="215" y="323"/>
                    </a:lnTo>
                    <a:lnTo>
                      <a:pt x="199" y="327"/>
                    </a:lnTo>
                    <a:lnTo>
                      <a:pt x="183" y="330"/>
                    </a:lnTo>
                    <a:lnTo>
                      <a:pt x="165" y="331"/>
                    </a:lnTo>
                    <a:lnTo>
                      <a:pt x="165" y="331"/>
                    </a:lnTo>
                    <a:close/>
                    <a:moveTo>
                      <a:pt x="165" y="66"/>
                    </a:moveTo>
                    <a:lnTo>
                      <a:pt x="165" y="66"/>
                    </a:lnTo>
                    <a:lnTo>
                      <a:pt x="156" y="66"/>
                    </a:lnTo>
                    <a:lnTo>
                      <a:pt x="146" y="67"/>
                    </a:lnTo>
                    <a:lnTo>
                      <a:pt x="136" y="70"/>
                    </a:lnTo>
                    <a:lnTo>
                      <a:pt x="127" y="74"/>
                    </a:lnTo>
                    <a:lnTo>
                      <a:pt x="119" y="78"/>
                    </a:lnTo>
                    <a:lnTo>
                      <a:pt x="110" y="83"/>
                    </a:lnTo>
                    <a:lnTo>
                      <a:pt x="102" y="88"/>
                    </a:lnTo>
                    <a:lnTo>
                      <a:pt x="96" y="95"/>
                    </a:lnTo>
                    <a:lnTo>
                      <a:pt x="89" y="103"/>
                    </a:lnTo>
                    <a:lnTo>
                      <a:pt x="83" y="110"/>
                    </a:lnTo>
                    <a:lnTo>
                      <a:pt x="78" y="118"/>
                    </a:lnTo>
                    <a:lnTo>
                      <a:pt x="74" y="126"/>
                    </a:lnTo>
                    <a:lnTo>
                      <a:pt x="71" y="136"/>
                    </a:lnTo>
                    <a:lnTo>
                      <a:pt x="68" y="145"/>
                    </a:lnTo>
                    <a:lnTo>
                      <a:pt x="67" y="155"/>
                    </a:lnTo>
                    <a:lnTo>
                      <a:pt x="66" y="166"/>
                    </a:lnTo>
                    <a:lnTo>
                      <a:pt x="66" y="166"/>
                    </a:lnTo>
                    <a:lnTo>
                      <a:pt x="67" y="175"/>
                    </a:lnTo>
                    <a:lnTo>
                      <a:pt x="68" y="185"/>
                    </a:lnTo>
                    <a:lnTo>
                      <a:pt x="71" y="195"/>
                    </a:lnTo>
                    <a:lnTo>
                      <a:pt x="74" y="204"/>
                    </a:lnTo>
                    <a:lnTo>
                      <a:pt x="78" y="212"/>
                    </a:lnTo>
                    <a:lnTo>
                      <a:pt x="83" y="220"/>
                    </a:lnTo>
                    <a:lnTo>
                      <a:pt x="89" y="229"/>
                    </a:lnTo>
                    <a:lnTo>
                      <a:pt x="96" y="235"/>
                    </a:lnTo>
                    <a:lnTo>
                      <a:pt x="102" y="242"/>
                    </a:lnTo>
                    <a:lnTo>
                      <a:pt x="110" y="247"/>
                    </a:lnTo>
                    <a:lnTo>
                      <a:pt x="119" y="253"/>
                    </a:lnTo>
                    <a:lnTo>
                      <a:pt x="127" y="257"/>
                    </a:lnTo>
                    <a:lnTo>
                      <a:pt x="136" y="260"/>
                    </a:lnTo>
                    <a:lnTo>
                      <a:pt x="146" y="263"/>
                    </a:lnTo>
                    <a:lnTo>
                      <a:pt x="156" y="264"/>
                    </a:lnTo>
                    <a:lnTo>
                      <a:pt x="165" y="265"/>
                    </a:lnTo>
                    <a:lnTo>
                      <a:pt x="165" y="265"/>
                    </a:lnTo>
                    <a:lnTo>
                      <a:pt x="176" y="264"/>
                    </a:lnTo>
                    <a:lnTo>
                      <a:pt x="186" y="263"/>
                    </a:lnTo>
                    <a:lnTo>
                      <a:pt x="195" y="260"/>
                    </a:lnTo>
                    <a:lnTo>
                      <a:pt x="205" y="257"/>
                    </a:lnTo>
                    <a:lnTo>
                      <a:pt x="213" y="253"/>
                    </a:lnTo>
                    <a:lnTo>
                      <a:pt x="221" y="247"/>
                    </a:lnTo>
                    <a:lnTo>
                      <a:pt x="228" y="242"/>
                    </a:lnTo>
                    <a:lnTo>
                      <a:pt x="236" y="235"/>
                    </a:lnTo>
                    <a:lnTo>
                      <a:pt x="242" y="229"/>
                    </a:lnTo>
                    <a:lnTo>
                      <a:pt x="248" y="220"/>
                    </a:lnTo>
                    <a:lnTo>
                      <a:pt x="253" y="212"/>
                    </a:lnTo>
                    <a:lnTo>
                      <a:pt x="257" y="204"/>
                    </a:lnTo>
                    <a:lnTo>
                      <a:pt x="260" y="195"/>
                    </a:lnTo>
                    <a:lnTo>
                      <a:pt x="262" y="185"/>
                    </a:lnTo>
                    <a:lnTo>
                      <a:pt x="265" y="175"/>
                    </a:lnTo>
                    <a:lnTo>
                      <a:pt x="265" y="166"/>
                    </a:lnTo>
                    <a:lnTo>
                      <a:pt x="265" y="166"/>
                    </a:lnTo>
                    <a:lnTo>
                      <a:pt x="265" y="155"/>
                    </a:lnTo>
                    <a:lnTo>
                      <a:pt x="262" y="145"/>
                    </a:lnTo>
                    <a:lnTo>
                      <a:pt x="260" y="136"/>
                    </a:lnTo>
                    <a:lnTo>
                      <a:pt x="257" y="126"/>
                    </a:lnTo>
                    <a:lnTo>
                      <a:pt x="253" y="118"/>
                    </a:lnTo>
                    <a:lnTo>
                      <a:pt x="248" y="110"/>
                    </a:lnTo>
                    <a:lnTo>
                      <a:pt x="242" y="103"/>
                    </a:lnTo>
                    <a:lnTo>
                      <a:pt x="236" y="95"/>
                    </a:lnTo>
                    <a:lnTo>
                      <a:pt x="228" y="88"/>
                    </a:lnTo>
                    <a:lnTo>
                      <a:pt x="221" y="83"/>
                    </a:lnTo>
                    <a:lnTo>
                      <a:pt x="213" y="78"/>
                    </a:lnTo>
                    <a:lnTo>
                      <a:pt x="205" y="74"/>
                    </a:lnTo>
                    <a:lnTo>
                      <a:pt x="195" y="70"/>
                    </a:lnTo>
                    <a:lnTo>
                      <a:pt x="186" y="67"/>
                    </a:lnTo>
                    <a:lnTo>
                      <a:pt x="176" y="66"/>
                    </a:lnTo>
                    <a:lnTo>
                      <a:pt x="165" y="66"/>
                    </a:lnTo>
                    <a:lnTo>
                      <a:pt x="165"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02" name="Freeform 76">
                <a:extLst>
                  <a:ext uri="{FF2B5EF4-FFF2-40B4-BE49-F238E27FC236}">
                    <a16:creationId xmlns:a16="http://schemas.microsoft.com/office/drawing/2014/main" id="{B8DB9114-85DD-42FE-920D-F37DDA58C591}"/>
                  </a:ext>
                </a:extLst>
              </p:cNvPr>
              <p:cNvSpPr>
                <a:spLocks/>
              </p:cNvSpPr>
              <p:nvPr/>
            </p:nvSpPr>
            <p:spPr bwMode="auto">
              <a:xfrm>
                <a:off x="4870450" y="3302001"/>
                <a:ext cx="165100" cy="195263"/>
              </a:xfrm>
              <a:custGeom>
                <a:avLst/>
                <a:gdLst>
                  <a:gd name="T0" fmla="*/ 327 w 728"/>
                  <a:gd name="T1" fmla="*/ 859 h 861"/>
                  <a:gd name="T2" fmla="*/ 257 w 728"/>
                  <a:gd name="T3" fmla="*/ 845 h 861"/>
                  <a:gd name="T4" fmla="*/ 190 w 728"/>
                  <a:gd name="T5" fmla="*/ 817 h 861"/>
                  <a:gd name="T6" fmla="*/ 132 w 728"/>
                  <a:gd name="T7" fmla="*/ 778 h 861"/>
                  <a:gd name="T8" fmla="*/ 84 w 728"/>
                  <a:gd name="T9" fmla="*/ 728 h 861"/>
                  <a:gd name="T10" fmla="*/ 44 w 728"/>
                  <a:gd name="T11" fmla="*/ 670 h 861"/>
                  <a:gd name="T12" fmla="*/ 16 w 728"/>
                  <a:gd name="T13" fmla="*/ 605 h 861"/>
                  <a:gd name="T14" fmla="*/ 2 w 728"/>
                  <a:gd name="T15" fmla="*/ 534 h 861"/>
                  <a:gd name="T16" fmla="*/ 0 w 728"/>
                  <a:gd name="T17" fmla="*/ 165 h 861"/>
                  <a:gd name="T18" fmla="*/ 13 w 728"/>
                  <a:gd name="T19" fmla="*/ 101 h 861"/>
                  <a:gd name="T20" fmla="*/ 49 w 728"/>
                  <a:gd name="T21" fmla="*/ 48 h 861"/>
                  <a:gd name="T22" fmla="*/ 101 w 728"/>
                  <a:gd name="T23" fmla="*/ 13 h 861"/>
                  <a:gd name="T24" fmla="*/ 165 w 728"/>
                  <a:gd name="T25" fmla="*/ 0 h 861"/>
                  <a:gd name="T26" fmla="*/ 184 w 728"/>
                  <a:gd name="T27" fmla="*/ 6 h 861"/>
                  <a:gd name="T28" fmla="*/ 198 w 728"/>
                  <a:gd name="T29" fmla="*/ 27 h 861"/>
                  <a:gd name="T30" fmla="*/ 197 w 728"/>
                  <a:gd name="T31" fmla="*/ 46 h 861"/>
                  <a:gd name="T32" fmla="*/ 179 w 728"/>
                  <a:gd name="T33" fmla="*/ 64 h 861"/>
                  <a:gd name="T34" fmla="*/ 155 w 728"/>
                  <a:gd name="T35" fmla="*/ 67 h 861"/>
                  <a:gd name="T36" fmla="*/ 118 w 728"/>
                  <a:gd name="T37" fmla="*/ 78 h 861"/>
                  <a:gd name="T38" fmla="*/ 89 w 728"/>
                  <a:gd name="T39" fmla="*/ 102 h 861"/>
                  <a:gd name="T40" fmla="*/ 70 w 728"/>
                  <a:gd name="T41" fmla="*/ 136 h 861"/>
                  <a:gd name="T42" fmla="*/ 66 w 728"/>
                  <a:gd name="T43" fmla="*/ 497 h 861"/>
                  <a:gd name="T44" fmla="*/ 69 w 728"/>
                  <a:gd name="T45" fmla="*/ 542 h 861"/>
                  <a:gd name="T46" fmla="*/ 85 w 728"/>
                  <a:gd name="T47" fmla="*/ 599 h 861"/>
                  <a:gd name="T48" fmla="*/ 110 w 728"/>
                  <a:gd name="T49" fmla="*/ 651 h 861"/>
                  <a:gd name="T50" fmla="*/ 144 w 728"/>
                  <a:gd name="T51" fmla="*/ 697 h 861"/>
                  <a:gd name="T52" fmla="*/ 186 w 728"/>
                  <a:gd name="T53" fmla="*/ 735 h 861"/>
                  <a:gd name="T54" fmla="*/ 235 w 728"/>
                  <a:gd name="T55" fmla="*/ 765 h 861"/>
                  <a:gd name="T56" fmla="*/ 290 w 728"/>
                  <a:gd name="T57" fmla="*/ 786 h 861"/>
                  <a:gd name="T58" fmla="*/ 349 w 728"/>
                  <a:gd name="T59" fmla="*/ 794 h 861"/>
                  <a:gd name="T60" fmla="*/ 395 w 728"/>
                  <a:gd name="T61" fmla="*/ 793 h 861"/>
                  <a:gd name="T62" fmla="*/ 453 w 728"/>
                  <a:gd name="T63" fmla="*/ 782 h 861"/>
                  <a:gd name="T64" fmla="*/ 506 w 728"/>
                  <a:gd name="T65" fmla="*/ 759 h 861"/>
                  <a:gd name="T66" fmla="*/ 554 w 728"/>
                  <a:gd name="T67" fmla="*/ 727 h 861"/>
                  <a:gd name="T68" fmla="*/ 594 w 728"/>
                  <a:gd name="T69" fmla="*/ 687 h 861"/>
                  <a:gd name="T70" fmla="*/ 626 w 728"/>
                  <a:gd name="T71" fmla="*/ 639 h 861"/>
                  <a:gd name="T72" fmla="*/ 649 w 728"/>
                  <a:gd name="T73" fmla="*/ 585 h 861"/>
                  <a:gd name="T74" fmla="*/ 661 w 728"/>
                  <a:gd name="T75" fmla="*/ 527 h 861"/>
                  <a:gd name="T76" fmla="*/ 662 w 728"/>
                  <a:gd name="T77" fmla="*/ 165 h 861"/>
                  <a:gd name="T78" fmla="*/ 655 w 728"/>
                  <a:gd name="T79" fmla="*/ 127 h 861"/>
                  <a:gd name="T80" fmla="*/ 633 w 728"/>
                  <a:gd name="T81" fmla="*/ 96 h 861"/>
                  <a:gd name="T82" fmla="*/ 602 w 728"/>
                  <a:gd name="T83" fmla="*/ 74 h 861"/>
                  <a:gd name="T84" fmla="*/ 563 w 728"/>
                  <a:gd name="T85" fmla="*/ 66 h 861"/>
                  <a:gd name="T86" fmla="*/ 544 w 728"/>
                  <a:gd name="T87" fmla="*/ 61 h 861"/>
                  <a:gd name="T88" fmla="*/ 531 w 728"/>
                  <a:gd name="T89" fmla="*/ 40 h 861"/>
                  <a:gd name="T90" fmla="*/ 533 w 728"/>
                  <a:gd name="T91" fmla="*/ 20 h 861"/>
                  <a:gd name="T92" fmla="*/ 550 w 728"/>
                  <a:gd name="T93" fmla="*/ 3 h 861"/>
                  <a:gd name="T94" fmla="*/ 580 w 728"/>
                  <a:gd name="T95" fmla="*/ 1 h 861"/>
                  <a:gd name="T96" fmla="*/ 642 w 728"/>
                  <a:gd name="T97" fmla="*/ 20 h 861"/>
                  <a:gd name="T98" fmla="*/ 691 w 728"/>
                  <a:gd name="T99" fmla="*/ 61 h 861"/>
                  <a:gd name="T100" fmla="*/ 721 w 728"/>
                  <a:gd name="T101" fmla="*/ 117 h 861"/>
                  <a:gd name="T102" fmla="*/ 728 w 728"/>
                  <a:gd name="T103" fmla="*/ 497 h 861"/>
                  <a:gd name="T104" fmla="*/ 724 w 728"/>
                  <a:gd name="T105" fmla="*/ 552 h 861"/>
                  <a:gd name="T106" fmla="*/ 707 w 728"/>
                  <a:gd name="T107" fmla="*/ 621 h 861"/>
                  <a:gd name="T108" fmla="*/ 676 w 728"/>
                  <a:gd name="T109" fmla="*/ 686 h 861"/>
                  <a:gd name="T110" fmla="*/ 634 w 728"/>
                  <a:gd name="T111" fmla="*/ 741 h 861"/>
                  <a:gd name="T112" fmla="*/ 583 w 728"/>
                  <a:gd name="T113" fmla="*/ 789 h 861"/>
                  <a:gd name="T114" fmla="*/ 523 w 728"/>
                  <a:gd name="T115" fmla="*/ 825 h 861"/>
                  <a:gd name="T116" fmla="*/ 455 w 728"/>
                  <a:gd name="T117" fmla="*/ 850 h 861"/>
                  <a:gd name="T118" fmla="*/ 383 w 728"/>
                  <a:gd name="T119" fmla="*/ 86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28" h="861">
                    <a:moveTo>
                      <a:pt x="364" y="861"/>
                    </a:moveTo>
                    <a:lnTo>
                      <a:pt x="364" y="861"/>
                    </a:lnTo>
                    <a:lnTo>
                      <a:pt x="346" y="860"/>
                    </a:lnTo>
                    <a:lnTo>
                      <a:pt x="327" y="859"/>
                    </a:lnTo>
                    <a:lnTo>
                      <a:pt x="309" y="857"/>
                    </a:lnTo>
                    <a:lnTo>
                      <a:pt x="291" y="853"/>
                    </a:lnTo>
                    <a:lnTo>
                      <a:pt x="273" y="850"/>
                    </a:lnTo>
                    <a:lnTo>
                      <a:pt x="257" y="845"/>
                    </a:lnTo>
                    <a:lnTo>
                      <a:pt x="239" y="839"/>
                    </a:lnTo>
                    <a:lnTo>
                      <a:pt x="222" y="833"/>
                    </a:lnTo>
                    <a:lnTo>
                      <a:pt x="207" y="825"/>
                    </a:lnTo>
                    <a:lnTo>
                      <a:pt x="190" y="817"/>
                    </a:lnTo>
                    <a:lnTo>
                      <a:pt x="176" y="809"/>
                    </a:lnTo>
                    <a:lnTo>
                      <a:pt x="160" y="798"/>
                    </a:lnTo>
                    <a:lnTo>
                      <a:pt x="147" y="789"/>
                    </a:lnTo>
                    <a:lnTo>
                      <a:pt x="132" y="778"/>
                    </a:lnTo>
                    <a:lnTo>
                      <a:pt x="120" y="766"/>
                    </a:lnTo>
                    <a:lnTo>
                      <a:pt x="106" y="754"/>
                    </a:lnTo>
                    <a:lnTo>
                      <a:pt x="95" y="741"/>
                    </a:lnTo>
                    <a:lnTo>
                      <a:pt x="84" y="728"/>
                    </a:lnTo>
                    <a:lnTo>
                      <a:pt x="72" y="715"/>
                    </a:lnTo>
                    <a:lnTo>
                      <a:pt x="62" y="700"/>
                    </a:lnTo>
                    <a:lnTo>
                      <a:pt x="53" y="686"/>
                    </a:lnTo>
                    <a:lnTo>
                      <a:pt x="44" y="670"/>
                    </a:lnTo>
                    <a:lnTo>
                      <a:pt x="36" y="655"/>
                    </a:lnTo>
                    <a:lnTo>
                      <a:pt x="29" y="638"/>
                    </a:lnTo>
                    <a:lnTo>
                      <a:pt x="22" y="621"/>
                    </a:lnTo>
                    <a:lnTo>
                      <a:pt x="16" y="605"/>
                    </a:lnTo>
                    <a:lnTo>
                      <a:pt x="11" y="587"/>
                    </a:lnTo>
                    <a:lnTo>
                      <a:pt x="7" y="570"/>
                    </a:lnTo>
                    <a:lnTo>
                      <a:pt x="4" y="552"/>
                    </a:lnTo>
                    <a:lnTo>
                      <a:pt x="2" y="534"/>
                    </a:lnTo>
                    <a:lnTo>
                      <a:pt x="0" y="516"/>
                    </a:lnTo>
                    <a:lnTo>
                      <a:pt x="0" y="497"/>
                    </a:lnTo>
                    <a:lnTo>
                      <a:pt x="0" y="165"/>
                    </a:lnTo>
                    <a:lnTo>
                      <a:pt x="0" y="165"/>
                    </a:lnTo>
                    <a:lnTo>
                      <a:pt x="1" y="149"/>
                    </a:lnTo>
                    <a:lnTo>
                      <a:pt x="3" y="132"/>
                    </a:lnTo>
                    <a:lnTo>
                      <a:pt x="7" y="117"/>
                    </a:lnTo>
                    <a:lnTo>
                      <a:pt x="13" y="101"/>
                    </a:lnTo>
                    <a:lnTo>
                      <a:pt x="20" y="87"/>
                    </a:lnTo>
                    <a:lnTo>
                      <a:pt x="28" y="73"/>
                    </a:lnTo>
                    <a:lnTo>
                      <a:pt x="38" y="61"/>
                    </a:lnTo>
                    <a:lnTo>
                      <a:pt x="49" y="48"/>
                    </a:lnTo>
                    <a:lnTo>
                      <a:pt x="60" y="38"/>
                    </a:lnTo>
                    <a:lnTo>
                      <a:pt x="73" y="29"/>
                    </a:lnTo>
                    <a:lnTo>
                      <a:pt x="87" y="20"/>
                    </a:lnTo>
                    <a:lnTo>
                      <a:pt x="101" y="13"/>
                    </a:lnTo>
                    <a:lnTo>
                      <a:pt x="117" y="8"/>
                    </a:lnTo>
                    <a:lnTo>
                      <a:pt x="132" y="4"/>
                    </a:lnTo>
                    <a:lnTo>
                      <a:pt x="149" y="1"/>
                    </a:lnTo>
                    <a:lnTo>
                      <a:pt x="165" y="0"/>
                    </a:lnTo>
                    <a:lnTo>
                      <a:pt x="165" y="0"/>
                    </a:lnTo>
                    <a:lnTo>
                      <a:pt x="173" y="1"/>
                    </a:lnTo>
                    <a:lnTo>
                      <a:pt x="179" y="3"/>
                    </a:lnTo>
                    <a:lnTo>
                      <a:pt x="184" y="6"/>
                    </a:lnTo>
                    <a:lnTo>
                      <a:pt x="189" y="10"/>
                    </a:lnTo>
                    <a:lnTo>
                      <a:pt x="193" y="14"/>
                    </a:lnTo>
                    <a:lnTo>
                      <a:pt x="197" y="20"/>
                    </a:lnTo>
                    <a:lnTo>
                      <a:pt x="198" y="27"/>
                    </a:lnTo>
                    <a:lnTo>
                      <a:pt x="199" y="33"/>
                    </a:lnTo>
                    <a:lnTo>
                      <a:pt x="199" y="33"/>
                    </a:lnTo>
                    <a:lnTo>
                      <a:pt x="198" y="40"/>
                    </a:lnTo>
                    <a:lnTo>
                      <a:pt x="197" y="46"/>
                    </a:lnTo>
                    <a:lnTo>
                      <a:pt x="193" y="51"/>
                    </a:lnTo>
                    <a:lnTo>
                      <a:pt x="189" y="57"/>
                    </a:lnTo>
                    <a:lnTo>
                      <a:pt x="184" y="61"/>
                    </a:lnTo>
                    <a:lnTo>
                      <a:pt x="179" y="64"/>
                    </a:lnTo>
                    <a:lnTo>
                      <a:pt x="173" y="66"/>
                    </a:lnTo>
                    <a:lnTo>
                      <a:pt x="165" y="66"/>
                    </a:lnTo>
                    <a:lnTo>
                      <a:pt x="165" y="66"/>
                    </a:lnTo>
                    <a:lnTo>
                      <a:pt x="155" y="67"/>
                    </a:lnTo>
                    <a:lnTo>
                      <a:pt x="146" y="68"/>
                    </a:lnTo>
                    <a:lnTo>
                      <a:pt x="136" y="71"/>
                    </a:lnTo>
                    <a:lnTo>
                      <a:pt x="127" y="74"/>
                    </a:lnTo>
                    <a:lnTo>
                      <a:pt x="118" y="78"/>
                    </a:lnTo>
                    <a:lnTo>
                      <a:pt x="110" y="83"/>
                    </a:lnTo>
                    <a:lnTo>
                      <a:pt x="102" y="89"/>
                    </a:lnTo>
                    <a:lnTo>
                      <a:pt x="95" y="96"/>
                    </a:lnTo>
                    <a:lnTo>
                      <a:pt x="89" y="102"/>
                    </a:lnTo>
                    <a:lnTo>
                      <a:pt x="83" y="110"/>
                    </a:lnTo>
                    <a:lnTo>
                      <a:pt x="79" y="119"/>
                    </a:lnTo>
                    <a:lnTo>
                      <a:pt x="74" y="127"/>
                    </a:lnTo>
                    <a:lnTo>
                      <a:pt x="70" y="136"/>
                    </a:lnTo>
                    <a:lnTo>
                      <a:pt x="68" y="146"/>
                    </a:lnTo>
                    <a:lnTo>
                      <a:pt x="67" y="156"/>
                    </a:lnTo>
                    <a:lnTo>
                      <a:pt x="66" y="165"/>
                    </a:lnTo>
                    <a:lnTo>
                      <a:pt x="66" y="497"/>
                    </a:lnTo>
                    <a:lnTo>
                      <a:pt x="66" y="497"/>
                    </a:lnTo>
                    <a:lnTo>
                      <a:pt x="66" y="512"/>
                    </a:lnTo>
                    <a:lnTo>
                      <a:pt x="68" y="527"/>
                    </a:lnTo>
                    <a:lnTo>
                      <a:pt x="69" y="542"/>
                    </a:lnTo>
                    <a:lnTo>
                      <a:pt x="72" y="557"/>
                    </a:lnTo>
                    <a:lnTo>
                      <a:pt x="75" y="571"/>
                    </a:lnTo>
                    <a:lnTo>
                      <a:pt x="80" y="585"/>
                    </a:lnTo>
                    <a:lnTo>
                      <a:pt x="85" y="599"/>
                    </a:lnTo>
                    <a:lnTo>
                      <a:pt x="90" y="613"/>
                    </a:lnTo>
                    <a:lnTo>
                      <a:pt x="96" y="626"/>
                    </a:lnTo>
                    <a:lnTo>
                      <a:pt x="102" y="639"/>
                    </a:lnTo>
                    <a:lnTo>
                      <a:pt x="110" y="651"/>
                    </a:lnTo>
                    <a:lnTo>
                      <a:pt x="117" y="663"/>
                    </a:lnTo>
                    <a:lnTo>
                      <a:pt x="125" y="675"/>
                    </a:lnTo>
                    <a:lnTo>
                      <a:pt x="134" y="687"/>
                    </a:lnTo>
                    <a:lnTo>
                      <a:pt x="144" y="697"/>
                    </a:lnTo>
                    <a:lnTo>
                      <a:pt x="154" y="707"/>
                    </a:lnTo>
                    <a:lnTo>
                      <a:pt x="164" y="718"/>
                    </a:lnTo>
                    <a:lnTo>
                      <a:pt x="175" y="727"/>
                    </a:lnTo>
                    <a:lnTo>
                      <a:pt x="186" y="735"/>
                    </a:lnTo>
                    <a:lnTo>
                      <a:pt x="198" y="744"/>
                    </a:lnTo>
                    <a:lnTo>
                      <a:pt x="210" y="752"/>
                    </a:lnTo>
                    <a:lnTo>
                      <a:pt x="222" y="759"/>
                    </a:lnTo>
                    <a:lnTo>
                      <a:pt x="235" y="765"/>
                    </a:lnTo>
                    <a:lnTo>
                      <a:pt x="248" y="771"/>
                    </a:lnTo>
                    <a:lnTo>
                      <a:pt x="262" y="777"/>
                    </a:lnTo>
                    <a:lnTo>
                      <a:pt x="276" y="782"/>
                    </a:lnTo>
                    <a:lnTo>
                      <a:pt x="290" y="786"/>
                    </a:lnTo>
                    <a:lnTo>
                      <a:pt x="304" y="789"/>
                    </a:lnTo>
                    <a:lnTo>
                      <a:pt x="319" y="791"/>
                    </a:lnTo>
                    <a:lnTo>
                      <a:pt x="334" y="793"/>
                    </a:lnTo>
                    <a:lnTo>
                      <a:pt x="349" y="794"/>
                    </a:lnTo>
                    <a:lnTo>
                      <a:pt x="364" y="795"/>
                    </a:lnTo>
                    <a:lnTo>
                      <a:pt x="364" y="795"/>
                    </a:lnTo>
                    <a:lnTo>
                      <a:pt x="380" y="794"/>
                    </a:lnTo>
                    <a:lnTo>
                      <a:pt x="395" y="793"/>
                    </a:lnTo>
                    <a:lnTo>
                      <a:pt x="410" y="791"/>
                    </a:lnTo>
                    <a:lnTo>
                      <a:pt x="424" y="789"/>
                    </a:lnTo>
                    <a:lnTo>
                      <a:pt x="439" y="786"/>
                    </a:lnTo>
                    <a:lnTo>
                      <a:pt x="453" y="782"/>
                    </a:lnTo>
                    <a:lnTo>
                      <a:pt x="467" y="777"/>
                    </a:lnTo>
                    <a:lnTo>
                      <a:pt x="480" y="771"/>
                    </a:lnTo>
                    <a:lnTo>
                      <a:pt x="494" y="765"/>
                    </a:lnTo>
                    <a:lnTo>
                      <a:pt x="506" y="759"/>
                    </a:lnTo>
                    <a:lnTo>
                      <a:pt x="518" y="752"/>
                    </a:lnTo>
                    <a:lnTo>
                      <a:pt x="531" y="744"/>
                    </a:lnTo>
                    <a:lnTo>
                      <a:pt x="542" y="735"/>
                    </a:lnTo>
                    <a:lnTo>
                      <a:pt x="554" y="727"/>
                    </a:lnTo>
                    <a:lnTo>
                      <a:pt x="565" y="718"/>
                    </a:lnTo>
                    <a:lnTo>
                      <a:pt x="575" y="707"/>
                    </a:lnTo>
                    <a:lnTo>
                      <a:pt x="585" y="697"/>
                    </a:lnTo>
                    <a:lnTo>
                      <a:pt x="594" y="687"/>
                    </a:lnTo>
                    <a:lnTo>
                      <a:pt x="603" y="675"/>
                    </a:lnTo>
                    <a:lnTo>
                      <a:pt x="611" y="663"/>
                    </a:lnTo>
                    <a:lnTo>
                      <a:pt x="619" y="651"/>
                    </a:lnTo>
                    <a:lnTo>
                      <a:pt x="626" y="639"/>
                    </a:lnTo>
                    <a:lnTo>
                      <a:pt x="633" y="626"/>
                    </a:lnTo>
                    <a:lnTo>
                      <a:pt x="639" y="613"/>
                    </a:lnTo>
                    <a:lnTo>
                      <a:pt x="645" y="599"/>
                    </a:lnTo>
                    <a:lnTo>
                      <a:pt x="649" y="585"/>
                    </a:lnTo>
                    <a:lnTo>
                      <a:pt x="653" y="571"/>
                    </a:lnTo>
                    <a:lnTo>
                      <a:pt x="656" y="557"/>
                    </a:lnTo>
                    <a:lnTo>
                      <a:pt x="659" y="542"/>
                    </a:lnTo>
                    <a:lnTo>
                      <a:pt x="661" y="527"/>
                    </a:lnTo>
                    <a:lnTo>
                      <a:pt x="662" y="512"/>
                    </a:lnTo>
                    <a:lnTo>
                      <a:pt x="662" y="497"/>
                    </a:lnTo>
                    <a:lnTo>
                      <a:pt x="662" y="165"/>
                    </a:lnTo>
                    <a:lnTo>
                      <a:pt x="662" y="165"/>
                    </a:lnTo>
                    <a:lnTo>
                      <a:pt x="662" y="156"/>
                    </a:lnTo>
                    <a:lnTo>
                      <a:pt x="660" y="146"/>
                    </a:lnTo>
                    <a:lnTo>
                      <a:pt x="658" y="136"/>
                    </a:lnTo>
                    <a:lnTo>
                      <a:pt x="655" y="127"/>
                    </a:lnTo>
                    <a:lnTo>
                      <a:pt x="651" y="119"/>
                    </a:lnTo>
                    <a:lnTo>
                      <a:pt x="646" y="110"/>
                    </a:lnTo>
                    <a:lnTo>
                      <a:pt x="639" y="102"/>
                    </a:lnTo>
                    <a:lnTo>
                      <a:pt x="633" y="96"/>
                    </a:lnTo>
                    <a:lnTo>
                      <a:pt x="626" y="89"/>
                    </a:lnTo>
                    <a:lnTo>
                      <a:pt x="619" y="83"/>
                    </a:lnTo>
                    <a:lnTo>
                      <a:pt x="610" y="78"/>
                    </a:lnTo>
                    <a:lnTo>
                      <a:pt x="602" y="74"/>
                    </a:lnTo>
                    <a:lnTo>
                      <a:pt x="593" y="71"/>
                    </a:lnTo>
                    <a:lnTo>
                      <a:pt x="584" y="68"/>
                    </a:lnTo>
                    <a:lnTo>
                      <a:pt x="573" y="67"/>
                    </a:lnTo>
                    <a:lnTo>
                      <a:pt x="563" y="66"/>
                    </a:lnTo>
                    <a:lnTo>
                      <a:pt x="563" y="66"/>
                    </a:lnTo>
                    <a:lnTo>
                      <a:pt x="557" y="66"/>
                    </a:lnTo>
                    <a:lnTo>
                      <a:pt x="550" y="64"/>
                    </a:lnTo>
                    <a:lnTo>
                      <a:pt x="544" y="61"/>
                    </a:lnTo>
                    <a:lnTo>
                      <a:pt x="540" y="57"/>
                    </a:lnTo>
                    <a:lnTo>
                      <a:pt x="536" y="51"/>
                    </a:lnTo>
                    <a:lnTo>
                      <a:pt x="533" y="46"/>
                    </a:lnTo>
                    <a:lnTo>
                      <a:pt x="531" y="40"/>
                    </a:lnTo>
                    <a:lnTo>
                      <a:pt x="530" y="33"/>
                    </a:lnTo>
                    <a:lnTo>
                      <a:pt x="530" y="33"/>
                    </a:lnTo>
                    <a:lnTo>
                      <a:pt x="531" y="27"/>
                    </a:lnTo>
                    <a:lnTo>
                      <a:pt x="533" y="20"/>
                    </a:lnTo>
                    <a:lnTo>
                      <a:pt x="536" y="14"/>
                    </a:lnTo>
                    <a:lnTo>
                      <a:pt x="540" y="10"/>
                    </a:lnTo>
                    <a:lnTo>
                      <a:pt x="544" y="6"/>
                    </a:lnTo>
                    <a:lnTo>
                      <a:pt x="550" y="3"/>
                    </a:lnTo>
                    <a:lnTo>
                      <a:pt x="557" y="1"/>
                    </a:lnTo>
                    <a:lnTo>
                      <a:pt x="563" y="0"/>
                    </a:lnTo>
                    <a:lnTo>
                      <a:pt x="563" y="0"/>
                    </a:lnTo>
                    <a:lnTo>
                      <a:pt x="580" y="1"/>
                    </a:lnTo>
                    <a:lnTo>
                      <a:pt x="596" y="4"/>
                    </a:lnTo>
                    <a:lnTo>
                      <a:pt x="613" y="8"/>
                    </a:lnTo>
                    <a:lnTo>
                      <a:pt x="627" y="13"/>
                    </a:lnTo>
                    <a:lnTo>
                      <a:pt x="642" y="20"/>
                    </a:lnTo>
                    <a:lnTo>
                      <a:pt x="656" y="29"/>
                    </a:lnTo>
                    <a:lnTo>
                      <a:pt x="668" y="38"/>
                    </a:lnTo>
                    <a:lnTo>
                      <a:pt x="680" y="48"/>
                    </a:lnTo>
                    <a:lnTo>
                      <a:pt x="691" y="61"/>
                    </a:lnTo>
                    <a:lnTo>
                      <a:pt x="700" y="73"/>
                    </a:lnTo>
                    <a:lnTo>
                      <a:pt x="709" y="87"/>
                    </a:lnTo>
                    <a:lnTo>
                      <a:pt x="716" y="101"/>
                    </a:lnTo>
                    <a:lnTo>
                      <a:pt x="721" y="117"/>
                    </a:lnTo>
                    <a:lnTo>
                      <a:pt x="725" y="132"/>
                    </a:lnTo>
                    <a:lnTo>
                      <a:pt x="727" y="149"/>
                    </a:lnTo>
                    <a:lnTo>
                      <a:pt x="728" y="165"/>
                    </a:lnTo>
                    <a:lnTo>
                      <a:pt x="728" y="497"/>
                    </a:lnTo>
                    <a:lnTo>
                      <a:pt x="728" y="497"/>
                    </a:lnTo>
                    <a:lnTo>
                      <a:pt x="728" y="516"/>
                    </a:lnTo>
                    <a:lnTo>
                      <a:pt x="726" y="534"/>
                    </a:lnTo>
                    <a:lnTo>
                      <a:pt x="724" y="552"/>
                    </a:lnTo>
                    <a:lnTo>
                      <a:pt x="721" y="570"/>
                    </a:lnTo>
                    <a:lnTo>
                      <a:pt x="717" y="587"/>
                    </a:lnTo>
                    <a:lnTo>
                      <a:pt x="712" y="605"/>
                    </a:lnTo>
                    <a:lnTo>
                      <a:pt x="707" y="621"/>
                    </a:lnTo>
                    <a:lnTo>
                      <a:pt x="700" y="638"/>
                    </a:lnTo>
                    <a:lnTo>
                      <a:pt x="692" y="655"/>
                    </a:lnTo>
                    <a:lnTo>
                      <a:pt x="685" y="670"/>
                    </a:lnTo>
                    <a:lnTo>
                      <a:pt x="676" y="686"/>
                    </a:lnTo>
                    <a:lnTo>
                      <a:pt x="666" y="700"/>
                    </a:lnTo>
                    <a:lnTo>
                      <a:pt x="656" y="715"/>
                    </a:lnTo>
                    <a:lnTo>
                      <a:pt x="646" y="728"/>
                    </a:lnTo>
                    <a:lnTo>
                      <a:pt x="634" y="741"/>
                    </a:lnTo>
                    <a:lnTo>
                      <a:pt x="622" y="754"/>
                    </a:lnTo>
                    <a:lnTo>
                      <a:pt x="609" y="766"/>
                    </a:lnTo>
                    <a:lnTo>
                      <a:pt x="596" y="778"/>
                    </a:lnTo>
                    <a:lnTo>
                      <a:pt x="583" y="789"/>
                    </a:lnTo>
                    <a:lnTo>
                      <a:pt x="568" y="798"/>
                    </a:lnTo>
                    <a:lnTo>
                      <a:pt x="554" y="809"/>
                    </a:lnTo>
                    <a:lnTo>
                      <a:pt x="538" y="817"/>
                    </a:lnTo>
                    <a:lnTo>
                      <a:pt x="523" y="825"/>
                    </a:lnTo>
                    <a:lnTo>
                      <a:pt x="506" y="833"/>
                    </a:lnTo>
                    <a:lnTo>
                      <a:pt x="489" y="839"/>
                    </a:lnTo>
                    <a:lnTo>
                      <a:pt x="473" y="845"/>
                    </a:lnTo>
                    <a:lnTo>
                      <a:pt x="455" y="850"/>
                    </a:lnTo>
                    <a:lnTo>
                      <a:pt x="438" y="853"/>
                    </a:lnTo>
                    <a:lnTo>
                      <a:pt x="420" y="857"/>
                    </a:lnTo>
                    <a:lnTo>
                      <a:pt x="401" y="859"/>
                    </a:lnTo>
                    <a:lnTo>
                      <a:pt x="383" y="860"/>
                    </a:lnTo>
                    <a:lnTo>
                      <a:pt x="364" y="861"/>
                    </a:lnTo>
                    <a:lnTo>
                      <a:pt x="364" y="8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03" name="Freeform 77">
                <a:extLst>
                  <a:ext uri="{FF2B5EF4-FFF2-40B4-BE49-F238E27FC236}">
                    <a16:creationId xmlns:a16="http://schemas.microsoft.com/office/drawing/2014/main" id="{4DE5F3BD-1FA2-4A1F-9FBE-D5F459925672}"/>
                  </a:ext>
                </a:extLst>
              </p:cNvPr>
              <p:cNvSpPr>
                <a:spLocks/>
              </p:cNvSpPr>
              <p:nvPr/>
            </p:nvSpPr>
            <p:spPr bwMode="auto">
              <a:xfrm>
                <a:off x="4945063" y="3459163"/>
                <a:ext cx="211138" cy="179388"/>
              </a:xfrm>
              <a:custGeom>
                <a:avLst/>
                <a:gdLst>
                  <a:gd name="T0" fmla="*/ 133 w 927"/>
                  <a:gd name="T1" fmla="*/ 791 h 794"/>
                  <a:gd name="T2" fmla="*/ 74 w 927"/>
                  <a:gd name="T3" fmla="*/ 766 h 794"/>
                  <a:gd name="T4" fmla="*/ 29 w 927"/>
                  <a:gd name="T5" fmla="*/ 721 h 794"/>
                  <a:gd name="T6" fmla="*/ 3 w 927"/>
                  <a:gd name="T7" fmla="*/ 662 h 794"/>
                  <a:gd name="T8" fmla="*/ 0 w 927"/>
                  <a:gd name="T9" fmla="*/ 132 h 794"/>
                  <a:gd name="T10" fmla="*/ 10 w 927"/>
                  <a:gd name="T11" fmla="*/ 109 h 794"/>
                  <a:gd name="T12" fmla="*/ 33 w 927"/>
                  <a:gd name="T13" fmla="*/ 99 h 794"/>
                  <a:gd name="T14" fmla="*/ 52 w 927"/>
                  <a:gd name="T15" fmla="*/ 104 h 794"/>
                  <a:gd name="T16" fmla="*/ 66 w 927"/>
                  <a:gd name="T17" fmla="*/ 125 h 794"/>
                  <a:gd name="T18" fmla="*/ 67 w 927"/>
                  <a:gd name="T19" fmla="*/ 639 h 794"/>
                  <a:gd name="T20" fmla="*/ 79 w 927"/>
                  <a:gd name="T21" fmla="*/ 677 h 794"/>
                  <a:gd name="T22" fmla="*/ 103 w 927"/>
                  <a:gd name="T23" fmla="*/ 706 h 794"/>
                  <a:gd name="T24" fmla="*/ 137 w 927"/>
                  <a:gd name="T25" fmla="*/ 723 h 794"/>
                  <a:gd name="T26" fmla="*/ 166 w 927"/>
                  <a:gd name="T27" fmla="*/ 728 h 794"/>
                  <a:gd name="T28" fmla="*/ 205 w 927"/>
                  <a:gd name="T29" fmla="*/ 720 h 794"/>
                  <a:gd name="T30" fmla="*/ 236 w 927"/>
                  <a:gd name="T31" fmla="*/ 699 h 794"/>
                  <a:gd name="T32" fmla="*/ 258 w 927"/>
                  <a:gd name="T33" fmla="*/ 667 h 794"/>
                  <a:gd name="T34" fmla="*/ 265 w 927"/>
                  <a:gd name="T35" fmla="*/ 629 h 794"/>
                  <a:gd name="T36" fmla="*/ 269 w 927"/>
                  <a:gd name="T37" fmla="*/ 258 h 794"/>
                  <a:gd name="T38" fmla="*/ 299 w 927"/>
                  <a:gd name="T39" fmla="*/ 186 h 794"/>
                  <a:gd name="T40" fmla="*/ 353 w 927"/>
                  <a:gd name="T41" fmla="*/ 132 h 794"/>
                  <a:gd name="T42" fmla="*/ 424 w 927"/>
                  <a:gd name="T43" fmla="*/ 103 h 794"/>
                  <a:gd name="T44" fmla="*/ 484 w 927"/>
                  <a:gd name="T45" fmla="*/ 100 h 794"/>
                  <a:gd name="T46" fmla="*/ 559 w 927"/>
                  <a:gd name="T47" fmla="*/ 123 h 794"/>
                  <a:gd name="T48" fmla="*/ 617 w 927"/>
                  <a:gd name="T49" fmla="*/ 172 h 794"/>
                  <a:gd name="T50" fmla="*/ 654 w 927"/>
                  <a:gd name="T51" fmla="*/ 239 h 794"/>
                  <a:gd name="T52" fmla="*/ 662 w 927"/>
                  <a:gd name="T53" fmla="*/ 497 h 794"/>
                  <a:gd name="T54" fmla="*/ 668 w 927"/>
                  <a:gd name="T55" fmla="*/ 525 h 794"/>
                  <a:gd name="T56" fmla="*/ 685 w 927"/>
                  <a:gd name="T57" fmla="*/ 560 h 794"/>
                  <a:gd name="T58" fmla="*/ 715 w 927"/>
                  <a:gd name="T59" fmla="*/ 583 h 794"/>
                  <a:gd name="T60" fmla="*/ 752 w 927"/>
                  <a:gd name="T61" fmla="*/ 595 h 794"/>
                  <a:gd name="T62" fmla="*/ 782 w 927"/>
                  <a:gd name="T63" fmla="*/ 594 h 794"/>
                  <a:gd name="T64" fmla="*/ 818 w 927"/>
                  <a:gd name="T65" fmla="*/ 578 h 794"/>
                  <a:gd name="T66" fmla="*/ 845 w 927"/>
                  <a:gd name="T67" fmla="*/ 551 h 794"/>
                  <a:gd name="T68" fmla="*/ 859 w 927"/>
                  <a:gd name="T69" fmla="*/ 516 h 794"/>
                  <a:gd name="T70" fmla="*/ 861 w 927"/>
                  <a:gd name="T71" fmla="*/ 33 h 794"/>
                  <a:gd name="T72" fmla="*/ 871 w 927"/>
                  <a:gd name="T73" fmla="*/ 9 h 794"/>
                  <a:gd name="T74" fmla="*/ 894 w 927"/>
                  <a:gd name="T75" fmla="*/ 0 h 794"/>
                  <a:gd name="T76" fmla="*/ 913 w 927"/>
                  <a:gd name="T77" fmla="*/ 5 h 794"/>
                  <a:gd name="T78" fmla="*/ 927 w 927"/>
                  <a:gd name="T79" fmla="*/ 26 h 794"/>
                  <a:gd name="T80" fmla="*/ 927 w 927"/>
                  <a:gd name="T81" fmla="*/ 513 h 794"/>
                  <a:gd name="T82" fmla="*/ 908 w 927"/>
                  <a:gd name="T83" fmla="*/ 575 h 794"/>
                  <a:gd name="T84" fmla="*/ 867 w 927"/>
                  <a:gd name="T85" fmla="*/ 624 h 794"/>
                  <a:gd name="T86" fmla="*/ 811 w 927"/>
                  <a:gd name="T87" fmla="*/ 655 h 794"/>
                  <a:gd name="T88" fmla="*/ 762 w 927"/>
                  <a:gd name="T89" fmla="*/ 662 h 794"/>
                  <a:gd name="T90" fmla="*/ 698 w 927"/>
                  <a:gd name="T91" fmla="*/ 649 h 794"/>
                  <a:gd name="T92" fmla="*/ 645 w 927"/>
                  <a:gd name="T93" fmla="*/ 613 h 794"/>
                  <a:gd name="T94" fmla="*/ 610 w 927"/>
                  <a:gd name="T95" fmla="*/ 561 h 794"/>
                  <a:gd name="T96" fmla="*/ 596 w 927"/>
                  <a:gd name="T97" fmla="*/ 497 h 794"/>
                  <a:gd name="T98" fmla="*/ 594 w 927"/>
                  <a:gd name="T99" fmla="*/ 271 h 794"/>
                  <a:gd name="T100" fmla="*/ 573 w 927"/>
                  <a:gd name="T101" fmla="*/ 223 h 794"/>
                  <a:gd name="T102" fmla="*/ 538 w 927"/>
                  <a:gd name="T103" fmla="*/ 188 h 794"/>
                  <a:gd name="T104" fmla="*/ 491 w 927"/>
                  <a:gd name="T105" fmla="*/ 168 h 794"/>
                  <a:gd name="T106" fmla="*/ 450 w 927"/>
                  <a:gd name="T107" fmla="*/ 165 h 794"/>
                  <a:gd name="T108" fmla="*/ 401 w 927"/>
                  <a:gd name="T109" fmla="*/ 181 h 794"/>
                  <a:gd name="T110" fmla="*/ 361 w 927"/>
                  <a:gd name="T111" fmla="*/ 213 h 794"/>
                  <a:gd name="T112" fmla="*/ 337 w 927"/>
                  <a:gd name="T113" fmla="*/ 259 h 794"/>
                  <a:gd name="T114" fmla="*/ 331 w 927"/>
                  <a:gd name="T115" fmla="*/ 629 h 794"/>
                  <a:gd name="T116" fmla="*/ 324 w 927"/>
                  <a:gd name="T117" fmla="*/ 678 h 794"/>
                  <a:gd name="T118" fmla="*/ 294 w 927"/>
                  <a:gd name="T119" fmla="*/ 734 h 794"/>
                  <a:gd name="T120" fmla="*/ 244 w 927"/>
                  <a:gd name="T121" fmla="*/ 774 h 794"/>
                  <a:gd name="T122" fmla="*/ 183 w 927"/>
                  <a:gd name="T123" fmla="*/ 793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7" h="794">
                    <a:moveTo>
                      <a:pt x="166" y="794"/>
                    </a:moveTo>
                    <a:lnTo>
                      <a:pt x="166" y="794"/>
                    </a:lnTo>
                    <a:lnTo>
                      <a:pt x="149" y="793"/>
                    </a:lnTo>
                    <a:lnTo>
                      <a:pt x="133" y="791"/>
                    </a:lnTo>
                    <a:lnTo>
                      <a:pt x="117" y="787"/>
                    </a:lnTo>
                    <a:lnTo>
                      <a:pt x="101" y="781"/>
                    </a:lnTo>
                    <a:lnTo>
                      <a:pt x="87" y="774"/>
                    </a:lnTo>
                    <a:lnTo>
                      <a:pt x="74" y="766"/>
                    </a:lnTo>
                    <a:lnTo>
                      <a:pt x="60" y="756"/>
                    </a:lnTo>
                    <a:lnTo>
                      <a:pt x="49" y="746"/>
                    </a:lnTo>
                    <a:lnTo>
                      <a:pt x="38" y="734"/>
                    </a:lnTo>
                    <a:lnTo>
                      <a:pt x="29" y="721"/>
                    </a:lnTo>
                    <a:lnTo>
                      <a:pt x="20" y="708"/>
                    </a:lnTo>
                    <a:lnTo>
                      <a:pt x="14" y="693"/>
                    </a:lnTo>
                    <a:lnTo>
                      <a:pt x="7" y="678"/>
                    </a:lnTo>
                    <a:lnTo>
                      <a:pt x="3" y="662"/>
                    </a:lnTo>
                    <a:lnTo>
                      <a:pt x="1" y="646"/>
                    </a:lnTo>
                    <a:lnTo>
                      <a:pt x="0" y="629"/>
                    </a:lnTo>
                    <a:lnTo>
                      <a:pt x="0" y="132"/>
                    </a:lnTo>
                    <a:lnTo>
                      <a:pt x="0" y="132"/>
                    </a:lnTo>
                    <a:lnTo>
                      <a:pt x="1" y="125"/>
                    </a:lnTo>
                    <a:lnTo>
                      <a:pt x="3" y="119"/>
                    </a:lnTo>
                    <a:lnTo>
                      <a:pt x="6" y="114"/>
                    </a:lnTo>
                    <a:lnTo>
                      <a:pt x="10" y="109"/>
                    </a:lnTo>
                    <a:lnTo>
                      <a:pt x="15" y="104"/>
                    </a:lnTo>
                    <a:lnTo>
                      <a:pt x="21" y="101"/>
                    </a:lnTo>
                    <a:lnTo>
                      <a:pt x="27" y="99"/>
                    </a:lnTo>
                    <a:lnTo>
                      <a:pt x="33" y="99"/>
                    </a:lnTo>
                    <a:lnTo>
                      <a:pt x="33" y="99"/>
                    </a:lnTo>
                    <a:lnTo>
                      <a:pt x="40" y="99"/>
                    </a:lnTo>
                    <a:lnTo>
                      <a:pt x="47" y="101"/>
                    </a:lnTo>
                    <a:lnTo>
                      <a:pt x="52" y="104"/>
                    </a:lnTo>
                    <a:lnTo>
                      <a:pt x="57" y="109"/>
                    </a:lnTo>
                    <a:lnTo>
                      <a:pt x="61" y="114"/>
                    </a:lnTo>
                    <a:lnTo>
                      <a:pt x="64" y="119"/>
                    </a:lnTo>
                    <a:lnTo>
                      <a:pt x="66" y="125"/>
                    </a:lnTo>
                    <a:lnTo>
                      <a:pt x="66" y="132"/>
                    </a:lnTo>
                    <a:lnTo>
                      <a:pt x="66" y="629"/>
                    </a:lnTo>
                    <a:lnTo>
                      <a:pt x="66" y="629"/>
                    </a:lnTo>
                    <a:lnTo>
                      <a:pt x="67" y="639"/>
                    </a:lnTo>
                    <a:lnTo>
                      <a:pt x="68" y="649"/>
                    </a:lnTo>
                    <a:lnTo>
                      <a:pt x="70" y="658"/>
                    </a:lnTo>
                    <a:lnTo>
                      <a:pt x="75" y="667"/>
                    </a:lnTo>
                    <a:lnTo>
                      <a:pt x="79" y="677"/>
                    </a:lnTo>
                    <a:lnTo>
                      <a:pt x="84" y="684"/>
                    </a:lnTo>
                    <a:lnTo>
                      <a:pt x="89" y="692"/>
                    </a:lnTo>
                    <a:lnTo>
                      <a:pt x="95" y="699"/>
                    </a:lnTo>
                    <a:lnTo>
                      <a:pt x="103" y="706"/>
                    </a:lnTo>
                    <a:lnTo>
                      <a:pt x="111" y="711"/>
                    </a:lnTo>
                    <a:lnTo>
                      <a:pt x="118" y="716"/>
                    </a:lnTo>
                    <a:lnTo>
                      <a:pt x="127" y="720"/>
                    </a:lnTo>
                    <a:lnTo>
                      <a:pt x="137" y="723"/>
                    </a:lnTo>
                    <a:lnTo>
                      <a:pt x="146" y="726"/>
                    </a:lnTo>
                    <a:lnTo>
                      <a:pt x="155" y="727"/>
                    </a:lnTo>
                    <a:lnTo>
                      <a:pt x="166" y="728"/>
                    </a:lnTo>
                    <a:lnTo>
                      <a:pt x="166" y="728"/>
                    </a:lnTo>
                    <a:lnTo>
                      <a:pt x="176" y="727"/>
                    </a:lnTo>
                    <a:lnTo>
                      <a:pt x="186" y="726"/>
                    </a:lnTo>
                    <a:lnTo>
                      <a:pt x="196" y="723"/>
                    </a:lnTo>
                    <a:lnTo>
                      <a:pt x="205" y="720"/>
                    </a:lnTo>
                    <a:lnTo>
                      <a:pt x="213" y="716"/>
                    </a:lnTo>
                    <a:lnTo>
                      <a:pt x="222" y="711"/>
                    </a:lnTo>
                    <a:lnTo>
                      <a:pt x="229" y="706"/>
                    </a:lnTo>
                    <a:lnTo>
                      <a:pt x="236" y="699"/>
                    </a:lnTo>
                    <a:lnTo>
                      <a:pt x="242" y="692"/>
                    </a:lnTo>
                    <a:lnTo>
                      <a:pt x="248" y="684"/>
                    </a:lnTo>
                    <a:lnTo>
                      <a:pt x="254" y="677"/>
                    </a:lnTo>
                    <a:lnTo>
                      <a:pt x="258" y="667"/>
                    </a:lnTo>
                    <a:lnTo>
                      <a:pt x="261" y="658"/>
                    </a:lnTo>
                    <a:lnTo>
                      <a:pt x="263" y="649"/>
                    </a:lnTo>
                    <a:lnTo>
                      <a:pt x="265" y="639"/>
                    </a:lnTo>
                    <a:lnTo>
                      <a:pt x="265" y="629"/>
                    </a:lnTo>
                    <a:lnTo>
                      <a:pt x="265" y="298"/>
                    </a:lnTo>
                    <a:lnTo>
                      <a:pt x="265" y="298"/>
                    </a:lnTo>
                    <a:lnTo>
                      <a:pt x="266" y="277"/>
                    </a:lnTo>
                    <a:lnTo>
                      <a:pt x="269" y="258"/>
                    </a:lnTo>
                    <a:lnTo>
                      <a:pt x="274" y="239"/>
                    </a:lnTo>
                    <a:lnTo>
                      <a:pt x="280" y="220"/>
                    </a:lnTo>
                    <a:lnTo>
                      <a:pt x="289" y="203"/>
                    </a:lnTo>
                    <a:lnTo>
                      <a:pt x="299" y="186"/>
                    </a:lnTo>
                    <a:lnTo>
                      <a:pt x="311" y="172"/>
                    </a:lnTo>
                    <a:lnTo>
                      <a:pt x="324" y="157"/>
                    </a:lnTo>
                    <a:lnTo>
                      <a:pt x="337" y="145"/>
                    </a:lnTo>
                    <a:lnTo>
                      <a:pt x="353" y="132"/>
                    </a:lnTo>
                    <a:lnTo>
                      <a:pt x="369" y="123"/>
                    </a:lnTo>
                    <a:lnTo>
                      <a:pt x="387" y="115"/>
                    </a:lnTo>
                    <a:lnTo>
                      <a:pt x="405" y="108"/>
                    </a:lnTo>
                    <a:lnTo>
                      <a:pt x="424" y="103"/>
                    </a:lnTo>
                    <a:lnTo>
                      <a:pt x="444" y="100"/>
                    </a:lnTo>
                    <a:lnTo>
                      <a:pt x="464" y="99"/>
                    </a:lnTo>
                    <a:lnTo>
                      <a:pt x="464" y="99"/>
                    </a:lnTo>
                    <a:lnTo>
                      <a:pt x="484" y="100"/>
                    </a:lnTo>
                    <a:lnTo>
                      <a:pt x="504" y="103"/>
                    </a:lnTo>
                    <a:lnTo>
                      <a:pt x="523" y="108"/>
                    </a:lnTo>
                    <a:lnTo>
                      <a:pt x="541" y="115"/>
                    </a:lnTo>
                    <a:lnTo>
                      <a:pt x="559" y="123"/>
                    </a:lnTo>
                    <a:lnTo>
                      <a:pt x="575" y="132"/>
                    </a:lnTo>
                    <a:lnTo>
                      <a:pt x="590" y="145"/>
                    </a:lnTo>
                    <a:lnTo>
                      <a:pt x="604" y="157"/>
                    </a:lnTo>
                    <a:lnTo>
                      <a:pt x="617" y="172"/>
                    </a:lnTo>
                    <a:lnTo>
                      <a:pt x="628" y="186"/>
                    </a:lnTo>
                    <a:lnTo>
                      <a:pt x="639" y="203"/>
                    </a:lnTo>
                    <a:lnTo>
                      <a:pt x="647" y="220"/>
                    </a:lnTo>
                    <a:lnTo>
                      <a:pt x="654" y="239"/>
                    </a:lnTo>
                    <a:lnTo>
                      <a:pt x="658" y="258"/>
                    </a:lnTo>
                    <a:lnTo>
                      <a:pt x="661" y="277"/>
                    </a:lnTo>
                    <a:lnTo>
                      <a:pt x="662" y="298"/>
                    </a:lnTo>
                    <a:lnTo>
                      <a:pt x="662" y="497"/>
                    </a:lnTo>
                    <a:lnTo>
                      <a:pt x="662" y="497"/>
                    </a:lnTo>
                    <a:lnTo>
                      <a:pt x="663" y="507"/>
                    </a:lnTo>
                    <a:lnTo>
                      <a:pt x="664" y="516"/>
                    </a:lnTo>
                    <a:lnTo>
                      <a:pt x="668" y="525"/>
                    </a:lnTo>
                    <a:lnTo>
                      <a:pt x="671" y="535"/>
                    </a:lnTo>
                    <a:lnTo>
                      <a:pt x="675" y="543"/>
                    </a:lnTo>
                    <a:lnTo>
                      <a:pt x="680" y="551"/>
                    </a:lnTo>
                    <a:lnTo>
                      <a:pt x="685" y="560"/>
                    </a:lnTo>
                    <a:lnTo>
                      <a:pt x="691" y="567"/>
                    </a:lnTo>
                    <a:lnTo>
                      <a:pt x="699" y="573"/>
                    </a:lnTo>
                    <a:lnTo>
                      <a:pt x="707" y="578"/>
                    </a:lnTo>
                    <a:lnTo>
                      <a:pt x="715" y="583"/>
                    </a:lnTo>
                    <a:lnTo>
                      <a:pt x="723" y="588"/>
                    </a:lnTo>
                    <a:lnTo>
                      <a:pt x="733" y="591"/>
                    </a:lnTo>
                    <a:lnTo>
                      <a:pt x="742" y="594"/>
                    </a:lnTo>
                    <a:lnTo>
                      <a:pt x="752" y="595"/>
                    </a:lnTo>
                    <a:lnTo>
                      <a:pt x="762" y="596"/>
                    </a:lnTo>
                    <a:lnTo>
                      <a:pt x="762" y="596"/>
                    </a:lnTo>
                    <a:lnTo>
                      <a:pt x="772" y="595"/>
                    </a:lnTo>
                    <a:lnTo>
                      <a:pt x="782" y="594"/>
                    </a:lnTo>
                    <a:lnTo>
                      <a:pt x="792" y="591"/>
                    </a:lnTo>
                    <a:lnTo>
                      <a:pt x="801" y="588"/>
                    </a:lnTo>
                    <a:lnTo>
                      <a:pt x="809" y="583"/>
                    </a:lnTo>
                    <a:lnTo>
                      <a:pt x="818" y="578"/>
                    </a:lnTo>
                    <a:lnTo>
                      <a:pt x="825" y="573"/>
                    </a:lnTo>
                    <a:lnTo>
                      <a:pt x="832" y="567"/>
                    </a:lnTo>
                    <a:lnTo>
                      <a:pt x="838" y="560"/>
                    </a:lnTo>
                    <a:lnTo>
                      <a:pt x="845" y="551"/>
                    </a:lnTo>
                    <a:lnTo>
                      <a:pt x="850" y="543"/>
                    </a:lnTo>
                    <a:lnTo>
                      <a:pt x="854" y="535"/>
                    </a:lnTo>
                    <a:lnTo>
                      <a:pt x="857" y="525"/>
                    </a:lnTo>
                    <a:lnTo>
                      <a:pt x="859" y="516"/>
                    </a:lnTo>
                    <a:lnTo>
                      <a:pt x="861" y="507"/>
                    </a:lnTo>
                    <a:lnTo>
                      <a:pt x="861" y="497"/>
                    </a:lnTo>
                    <a:lnTo>
                      <a:pt x="861" y="33"/>
                    </a:lnTo>
                    <a:lnTo>
                      <a:pt x="861" y="33"/>
                    </a:lnTo>
                    <a:lnTo>
                      <a:pt x="862" y="26"/>
                    </a:lnTo>
                    <a:lnTo>
                      <a:pt x="864" y="20"/>
                    </a:lnTo>
                    <a:lnTo>
                      <a:pt x="867" y="14"/>
                    </a:lnTo>
                    <a:lnTo>
                      <a:pt x="871" y="9"/>
                    </a:lnTo>
                    <a:lnTo>
                      <a:pt x="876" y="5"/>
                    </a:lnTo>
                    <a:lnTo>
                      <a:pt x="882" y="2"/>
                    </a:lnTo>
                    <a:lnTo>
                      <a:pt x="888" y="0"/>
                    </a:lnTo>
                    <a:lnTo>
                      <a:pt x="894" y="0"/>
                    </a:lnTo>
                    <a:lnTo>
                      <a:pt x="894" y="0"/>
                    </a:lnTo>
                    <a:lnTo>
                      <a:pt x="901" y="0"/>
                    </a:lnTo>
                    <a:lnTo>
                      <a:pt x="908" y="2"/>
                    </a:lnTo>
                    <a:lnTo>
                      <a:pt x="913" y="5"/>
                    </a:lnTo>
                    <a:lnTo>
                      <a:pt x="918" y="9"/>
                    </a:lnTo>
                    <a:lnTo>
                      <a:pt x="922" y="14"/>
                    </a:lnTo>
                    <a:lnTo>
                      <a:pt x="925" y="20"/>
                    </a:lnTo>
                    <a:lnTo>
                      <a:pt x="927" y="26"/>
                    </a:lnTo>
                    <a:lnTo>
                      <a:pt x="927" y="33"/>
                    </a:lnTo>
                    <a:lnTo>
                      <a:pt x="927" y="497"/>
                    </a:lnTo>
                    <a:lnTo>
                      <a:pt x="927" y="497"/>
                    </a:lnTo>
                    <a:lnTo>
                      <a:pt x="927" y="513"/>
                    </a:lnTo>
                    <a:lnTo>
                      <a:pt x="924" y="530"/>
                    </a:lnTo>
                    <a:lnTo>
                      <a:pt x="920" y="545"/>
                    </a:lnTo>
                    <a:lnTo>
                      <a:pt x="915" y="561"/>
                    </a:lnTo>
                    <a:lnTo>
                      <a:pt x="908" y="575"/>
                    </a:lnTo>
                    <a:lnTo>
                      <a:pt x="899" y="589"/>
                    </a:lnTo>
                    <a:lnTo>
                      <a:pt x="890" y="601"/>
                    </a:lnTo>
                    <a:lnTo>
                      <a:pt x="879" y="613"/>
                    </a:lnTo>
                    <a:lnTo>
                      <a:pt x="867" y="624"/>
                    </a:lnTo>
                    <a:lnTo>
                      <a:pt x="855" y="633"/>
                    </a:lnTo>
                    <a:lnTo>
                      <a:pt x="841" y="641"/>
                    </a:lnTo>
                    <a:lnTo>
                      <a:pt x="827" y="649"/>
                    </a:lnTo>
                    <a:lnTo>
                      <a:pt x="811" y="655"/>
                    </a:lnTo>
                    <a:lnTo>
                      <a:pt x="796" y="659"/>
                    </a:lnTo>
                    <a:lnTo>
                      <a:pt x="779" y="661"/>
                    </a:lnTo>
                    <a:lnTo>
                      <a:pt x="762" y="662"/>
                    </a:lnTo>
                    <a:lnTo>
                      <a:pt x="762" y="662"/>
                    </a:lnTo>
                    <a:lnTo>
                      <a:pt x="745" y="661"/>
                    </a:lnTo>
                    <a:lnTo>
                      <a:pt x="729" y="659"/>
                    </a:lnTo>
                    <a:lnTo>
                      <a:pt x="713" y="655"/>
                    </a:lnTo>
                    <a:lnTo>
                      <a:pt x="698" y="649"/>
                    </a:lnTo>
                    <a:lnTo>
                      <a:pt x="683" y="641"/>
                    </a:lnTo>
                    <a:lnTo>
                      <a:pt x="670" y="633"/>
                    </a:lnTo>
                    <a:lnTo>
                      <a:pt x="657" y="624"/>
                    </a:lnTo>
                    <a:lnTo>
                      <a:pt x="645" y="613"/>
                    </a:lnTo>
                    <a:lnTo>
                      <a:pt x="634" y="601"/>
                    </a:lnTo>
                    <a:lnTo>
                      <a:pt x="625" y="589"/>
                    </a:lnTo>
                    <a:lnTo>
                      <a:pt x="617" y="575"/>
                    </a:lnTo>
                    <a:lnTo>
                      <a:pt x="610" y="561"/>
                    </a:lnTo>
                    <a:lnTo>
                      <a:pt x="604" y="545"/>
                    </a:lnTo>
                    <a:lnTo>
                      <a:pt x="600" y="530"/>
                    </a:lnTo>
                    <a:lnTo>
                      <a:pt x="597" y="513"/>
                    </a:lnTo>
                    <a:lnTo>
                      <a:pt x="596" y="497"/>
                    </a:lnTo>
                    <a:lnTo>
                      <a:pt x="596" y="298"/>
                    </a:lnTo>
                    <a:lnTo>
                      <a:pt x="596" y="298"/>
                    </a:lnTo>
                    <a:lnTo>
                      <a:pt x="596" y="284"/>
                    </a:lnTo>
                    <a:lnTo>
                      <a:pt x="594" y="271"/>
                    </a:lnTo>
                    <a:lnTo>
                      <a:pt x="591" y="259"/>
                    </a:lnTo>
                    <a:lnTo>
                      <a:pt x="586" y="246"/>
                    </a:lnTo>
                    <a:lnTo>
                      <a:pt x="581" y="235"/>
                    </a:lnTo>
                    <a:lnTo>
                      <a:pt x="573" y="223"/>
                    </a:lnTo>
                    <a:lnTo>
                      <a:pt x="566" y="213"/>
                    </a:lnTo>
                    <a:lnTo>
                      <a:pt x="558" y="204"/>
                    </a:lnTo>
                    <a:lnTo>
                      <a:pt x="549" y="195"/>
                    </a:lnTo>
                    <a:lnTo>
                      <a:pt x="538" y="188"/>
                    </a:lnTo>
                    <a:lnTo>
                      <a:pt x="527" y="181"/>
                    </a:lnTo>
                    <a:lnTo>
                      <a:pt x="515" y="176"/>
                    </a:lnTo>
                    <a:lnTo>
                      <a:pt x="503" y="171"/>
                    </a:lnTo>
                    <a:lnTo>
                      <a:pt x="491" y="168"/>
                    </a:lnTo>
                    <a:lnTo>
                      <a:pt x="477" y="165"/>
                    </a:lnTo>
                    <a:lnTo>
                      <a:pt x="464" y="165"/>
                    </a:lnTo>
                    <a:lnTo>
                      <a:pt x="464" y="165"/>
                    </a:lnTo>
                    <a:lnTo>
                      <a:pt x="450" y="165"/>
                    </a:lnTo>
                    <a:lnTo>
                      <a:pt x="437" y="168"/>
                    </a:lnTo>
                    <a:lnTo>
                      <a:pt x="424" y="171"/>
                    </a:lnTo>
                    <a:lnTo>
                      <a:pt x="412" y="176"/>
                    </a:lnTo>
                    <a:lnTo>
                      <a:pt x="401" y="181"/>
                    </a:lnTo>
                    <a:lnTo>
                      <a:pt x="390" y="188"/>
                    </a:lnTo>
                    <a:lnTo>
                      <a:pt x="380" y="195"/>
                    </a:lnTo>
                    <a:lnTo>
                      <a:pt x="371" y="204"/>
                    </a:lnTo>
                    <a:lnTo>
                      <a:pt x="361" y="213"/>
                    </a:lnTo>
                    <a:lnTo>
                      <a:pt x="354" y="223"/>
                    </a:lnTo>
                    <a:lnTo>
                      <a:pt x="348" y="235"/>
                    </a:lnTo>
                    <a:lnTo>
                      <a:pt x="342" y="246"/>
                    </a:lnTo>
                    <a:lnTo>
                      <a:pt x="337" y="259"/>
                    </a:lnTo>
                    <a:lnTo>
                      <a:pt x="334" y="271"/>
                    </a:lnTo>
                    <a:lnTo>
                      <a:pt x="332" y="284"/>
                    </a:lnTo>
                    <a:lnTo>
                      <a:pt x="331" y="298"/>
                    </a:lnTo>
                    <a:lnTo>
                      <a:pt x="331" y="629"/>
                    </a:lnTo>
                    <a:lnTo>
                      <a:pt x="331" y="629"/>
                    </a:lnTo>
                    <a:lnTo>
                      <a:pt x="330" y="646"/>
                    </a:lnTo>
                    <a:lnTo>
                      <a:pt x="328" y="662"/>
                    </a:lnTo>
                    <a:lnTo>
                      <a:pt x="324" y="678"/>
                    </a:lnTo>
                    <a:lnTo>
                      <a:pt x="319" y="693"/>
                    </a:lnTo>
                    <a:lnTo>
                      <a:pt x="312" y="708"/>
                    </a:lnTo>
                    <a:lnTo>
                      <a:pt x="303" y="721"/>
                    </a:lnTo>
                    <a:lnTo>
                      <a:pt x="294" y="734"/>
                    </a:lnTo>
                    <a:lnTo>
                      <a:pt x="283" y="746"/>
                    </a:lnTo>
                    <a:lnTo>
                      <a:pt x="271" y="756"/>
                    </a:lnTo>
                    <a:lnTo>
                      <a:pt x="259" y="766"/>
                    </a:lnTo>
                    <a:lnTo>
                      <a:pt x="244" y="774"/>
                    </a:lnTo>
                    <a:lnTo>
                      <a:pt x="230" y="781"/>
                    </a:lnTo>
                    <a:lnTo>
                      <a:pt x="215" y="787"/>
                    </a:lnTo>
                    <a:lnTo>
                      <a:pt x="199" y="791"/>
                    </a:lnTo>
                    <a:lnTo>
                      <a:pt x="183" y="793"/>
                    </a:lnTo>
                    <a:lnTo>
                      <a:pt x="166" y="794"/>
                    </a:lnTo>
                    <a:lnTo>
                      <a:pt x="166" y="7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04" name="Freeform 78">
                <a:extLst>
                  <a:ext uri="{FF2B5EF4-FFF2-40B4-BE49-F238E27FC236}">
                    <a16:creationId xmlns:a16="http://schemas.microsoft.com/office/drawing/2014/main" id="{71419986-B090-487E-85F2-404572258C43}"/>
                  </a:ext>
                </a:extLst>
              </p:cNvPr>
              <p:cNvSpPr>
                <a:spLocks noEditPoints="1"/>
              </p:cNvSpPr>
              <p:nvPr/>
            </p:nvSpPr>
            <p:spPr bwMode="auto">
              <a:xfrm>
                <a:off x="4900613" y="3278188"/>
                <a:ext cx="36513" cy="60325"/>
              </a:xfrm>
              <a:custGeom>
                <a:avLst/>
                <a:gdLst>
                  <a:gd name="T0" fmla="*/ 33 w 166"/>
                  <a:gd name="T1" fmla="*/ 265 h 265"/>
                  <a:gd name="T2" fmla="*/ 21 w 166"/>
                  <a:gd name="T3" fmla="*/ 263 h 265"/>
                  <a:gd name="T4" fmla="*/ 10 w 166"/>
                  <a:gd name="T5" fmla="*/ 256 h 265"/>
                  <a:gd name="T6" fmla="*/ 3 w 166"/>
                  <a:gd name="T7" fmla="*/ 246 h 265"/>
                  <a:gd name="T8" fmla="*/ 0 w 166"/>
                  <a:gd name="T9" fmla="*/ 232 h 265"/>
                  <a:gd name="T10" fmla="*/ 0 w 166"/>
                  <a:gd name="T11" fmla="*/ 33 h 265"/>
                  <a:gd name="T12" fmla="*/ 3 w 166"/>
                  <a:gd name="T13" fmla="*/ 21 h 265"/>
                  <a:gd name="T14" fmla="*/ 10 w 166"/>
                  <a:gd name="T15" fmla="*/ 11 h 265"/>
                  <a:gd name="T16" fmla="*/ 21 w 166"/>
                  <a:gd name="T17" fmla="*/ 3 h 265"/>
                  <a:gd name="T18" fmla="*/ 33 w 166"/>
                  <a:gd name="T19" fmla="*/ 0 h 265"/>
                  <a:gd name="T20" fmla="*/ 44 w 166"/>
                  <a:gd name="T21" fmla="*/ 1 h 265"/>
                  <a:gd name="T22" fmla="*/ 66 w 166"/>
                  <a:gd name="T23" fmla="*/ 5 h 265"/>
                  <a:gd name="T24" fmla="*/ 88 w 166"/>
                  <a:gd name="T25" fmla="*/ 12 h 265"/>
                  <a:gd name="T26" fmla="*/ 110 w 166"/>
                  <a:gd name="T27" fmla="*/ 23 h 265"/>
                  <a:gd name="T28" fmla="*/ 130 w 166"/>
                  <a:gd name="T29" fmla="*/ 39 h 265"/>
                  <a:gd name="T30" fmla="*/ 146 w 166"/>
                  <a:gd name="T31" fmla="*/ 59 h 265"/>
                  <a:gd name="T32" fmla="*/ 159 w 166"/>
                  <a:gd name="T33" fmla="*/ 85 h 265"/>
                  <a:gd name="T34" fmla="*/ 165 w 166"/>
                  <a:gd name="T35" fmla="*/ 115 h 265"/>
                  <a:gd name="T36" fmla="*/ 166 w 166"/>
                  <a:gd name="T37" fmla="*/ 133 h 265"/>
                  <a:gd name="T38" fmla="*/ 163 w 166"/>
                  <a:gd name="T39" fmla="*/ 167 h 265"/>
                  <a:gd name="T40" fmla="*/ 152 w 166"/>
                  <a:gd name="T41" fmla="*/ 195 h 265"/>
                  <a:gd name="T42" fmla="*/ 138 w 166"/>
                  <a:gd name="T43" fmla="*/ 218 h 265"/>
                  <a:gd name="T44" fmla="*/ 119 w 166"/>
                  <a:gd name="T45" fmla="*/ 236 h 265"/>
                  <a:gd name="T46" fmla="*/ 99 w 166"/>
                  <a:gd name="T47" fmla="*/ 250 h 265"/>
                  <a:gd name="T48" fmla="*/ 77 w 166"/>
                  <a:gd name="T49" fmla="*/ 259 h 265"/>
                  <a:gd name="T50" fmla="*/ 54 w 166"/>
                  <a:gd name="T51" fmla="*/ 264 h 265"/>
                  <a:gd name="T52" fmla="*/ 33 w 166"/>
                  <a:gd name="T53" fmla="*/ 265 h 265"/>
                  <a:gd name="T54" fmla="*/ 67 w 166"/>
                  <a:gd name="T55" fmla="*/ 74 h 265"/>
                  <a:gd name="T56" fmla="*/ 67 w 166"/>
                  <a:gd name="T57" fmla="*/ 192 h 265"/>
                  <a:gd name="T58" fmla="*/ 79 w 166"/>
                  <a:gd name="T59" fmla="*/ 185 h 265"/>
                  <a:gd name="T60" fmla="*/ 89 w 166"/>
                  <a:gd name="T61" fmla="*/ 172 h 265"/>
                  <a:gd name="T62" fmla="*/ 97 w 166"/>
                  <a:gd name="T63" fmla="*/ 156 h 265"/>
                  <a:gd name="T64" fmla="*/ 100 w 166"/>
                  <a:gd name="T65" fmla="*/ 133 h 265"/>
                  <a:gd name="T66" fmla="*/ 99 w 166"/>
                  <a:gd name="T67" fmla="*/ 121 h 265"/>
                  <a:gd name="T68" fmla="*/ 93 w 166"/>
                  <a:gd name="T69" fmla="*/ 102 h 265"/>
                  <a:gd name="T70" fmla="*/ 84 w 166"/>
                  <a:gd name="T71" fmla="*/ 87 h 265"/>
                  <a:gd name="T72" fmla="*/ 73 w 166"/>
                  <a:gd name="T73" fmla="*/ 78 h 265"/>
                  <a:gd name="T74" fmla="*/ 67 w 166"/>
                  <a:gd name="T75"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 h="265">
                    <a:moveTo>
                      <a:pt x="33" y="265"/>
                    </a:moveTo>
                    <a:lnTo>
                      <a:pt x="33" y="265"/>
                    </a:lnTo>
                    <a:lnTo>
                      <a:pt x="27" y="265"/>
                    </a:lnTo>
                    <a:lnTo>
                      <a:pt x="21" y="263"/>
                    </a:lnTo>
                    <a:lnTo>
                      <a:pt x="15" y="260"/>
                    </a:lnTo>
                    <a:lnTo>
                      <a:pt x="10" y="256"/>
                    </a:lnTo>
                    <a:lnTo>
                      <a:pt x="7" y="251"/>
                    </a:lnTo>
                    <a:lnTo>
                      <a:pt x="3" y="246"/>
                    </a:lnTo>
                    <a:lnTo>
                      <a:pt x="1" y="239"/>
                    </a:lnTo>
                    <a:lnTo>
                      <a:pt x="0" y="232"/>
                    </a:lnTo>
                    <a:lnTo>
                      <a:pt x="0" y="33"/>
                    </a:lnTo>
                    <a:lnTo>
                      <a:pt x="0" y="33"/>
                    </a:lnTo>
                    <a:lnTo>
                      <a:pt x="1" y="27"/>
                    </a:lnTo>
                    <a:lnTo>
                      <a:pt x="3" y="21"/>
                    </a:lnTo>
                    <a:lnTo>
                      <a:pt x="7" y="15"/>
                    </a:lnTo>
                    <a:lnTo>
                      <a:pt x="10" y="11"/>
                    </a:lnTo>
                    <a:lnTo>
                      <a:pt x="15" y="7"/>
                    </a:lnTo>
                    <a:lnTo>
                      <a:pt x="21" y="3"/>
                    </a:lnTo>
                    <a:lnTo>
                      <a:pt x="27" y="1"/>
                    </a:lnTo>
                    <a:lnTo>
                      <a:pt x="33" y="0"/>
                    </a:lnTo>
                    <a:lnTo>
                      <a:pt x="33" y="0"/>
                    </a:lnTo>
                    <a:lnTo>
                      <a:pt x="44" y="1"/>
                    </a:lnTo>
                    <a:lnTo>
                      <a:pt x="54" y="2"/>
                    </a:lnTo>
                    <a:lnTo>
                      <a:pt x="66" y="5"/>
                    </a:lnTo>
                    <a:lnTo>
                      <a:pt x="77" y="8"/>
                    </a:lnTo>
                    <a:lnTo>
                      <a:pt x="88" y="12"/>
                    </a:lnTo>
                    <a:lnTo>
                      <a:pt x="99" y="17"/>
                    </a:lnTo>
                    <a:lnTo>
                      <a:pt x="110" y="23"/>
                    </a:lnTo>
                    <a:lnTo>
                      <a:pt x="119" y="30"/>
                    </a:lnTo>
                    <a:lnTo>
                      <a:pt x="130" y="39"/>
                    </a:lnTo>
                    <a:lnTo>
                      <a:pt x="138" y="49"/>
                    </a:lnTo>
                    <a:lnTo>
                      <a:pt x="146" y="59"/>
                    </a:lnTo>
                    <a:lnTo>
                      <a:pt x="152" y="72"/>
                    </a:lnTo>
                    <a:lnTo>
                      <a:pt x="159" y="85"/>
                    </a:lnTo>
                    <a:lnTo>
                      <a:pt x="163" y="100"/>
                    </a:lnTo>
                    <a:lnTo>
                      <a:pt x="165" y="115"/>
                    </a:lnTo>
                    <a:lnTo>
                      <a:pt x="166" y="133"/>
                    </a:lnTo>
                    <a:lnTo>
                      <a:pt x="166" y="133"/>
                    </a:lnTo>
                    <a:lnTo>
                      <a:pt x="165" y="150"/>
                    </a:lnTo>
                    <a:lnTo>
                      <a:pt x="163" y="167"/>
                    </a:lnTo>
                    <a:lnTo>
                      <a:pt x="159" y="181"/>
                    </a:lnTo>
                    <a:lnTo>
                      <a:pt x="152" y="195"/>
                    </a:lnTo>
                    <a:lnTo>
                      <a:pt x="146" y="207"/>
                    </a:lnTo>
                    <a:lnTo>
                      <a:pt x="138" y="218"/>
                    </a:lnTo>
                    <a:lnTo>
                      <a:pt x="130" y="227"/>
                    </a:lnTo>
                    <a:lnTo>
                      <a:pt x="119" y="236"/>
                    </a:lnTo>
                    <a:lnTo>
                      <a:pt x="110" y="243"/>
                    </a:lnTo>
                    <a:lnTo>
                      <a:pt x="99" y="250"/>
                    </a:lnTo>
                    <a:lnTo>
                      <a:pt x="88" y="255"/>
                    </a:lnTo>
                    <a:lnTo>
                      <a:pt x="77" y="259"/>
                    </a:lnTo>
                    <a:lnTo>
                      <a:pt x="66" y="262"/>
                    </a:lnTo>
                    <a:lnTo>
                      <a:pt x="54" y="264"/>
                    </a:lnTo>
                    <a:lnTo>
                      <a:pt x="44" y="265"/>
                    </a:lnTo>
                    <a:lnTo>
                      <a:pt x="33" y="265"/>
                    </a:lnTo>
                    <a:lnTo>
                      <a:pt x="33" y="265"/>
                    </a:lnTo>
                    <a:close/>
                    <a:moveTo>
                      <a:pt x="67" y="74"/>
                    </a:moveTo>
                    <a:lnTo>
                      <a:pt x="67" y="192"/>
                    </a:lnTo>
                    <a:lnTo>
                      <a:pt x="67" y="192"/>
                    </a:lnTo>
                    <a:lnTo>
                      <a:pt x="73" y="189"/>
                    </a:lnTo>
                    <a:lnTo>
                      <a:pt x="79" y="185"/>
                    </a:lnTo>
                    <a:lnTo>
                      <a:pt x="84" y="179"/>
                    </a:lnTo>
                    <a:lnTo>
                      <a:pt x="89" y="172"/>
                    </a:lnTo>
                    <a:lnTo>
                      <a:pt x="93" y="165"/>
                    </a:lnTo>
                    <a:lnTo>
                      <a:pt x="97" y="156"/>
                    </a:lnTo>
                    <a:lnTo>
                      <a:pt x="99" y="145"/>
                    </a:lnTo>
                    <a:lnTo>
                      <a:pt x="100" y="133"/>
                    </a:lnTo>
                    <a:lnTo>
                      <a:pt x="100" y="133"/>
                    </a:lnTo>
                    <a:lnTo>
                      <a:pt x="99" y="121"/>
                    </a:lnTo>
                    <a:lnTo>
                      <a:pt x="97" y="111"/>
                    </a:lnTo>
                    <a:lnTo>
                      <a:pt x="93" y="102"/>
                    </a:lnTo>
                    <a:lnTo>
                      <a:pt x="89" y="93"/>
                    </a:lnTo>
                    <a:lnTo>
                      <a:pt x="84" y="87"/>
                    </a:lnTo>
                    <a:lnTo>
                      <a:pt x="79" y="82"/>
                    </a:lnTo>
                    <a:lnTo>
                      <a:pt x="73" y="78"/>
                    </a:lnTo>
                    <a:lnTo>
                      <a:pt x="67" y="74"/>
                    </a:lnTo>
                    <a:lnTo>
                      <a:pt x="67"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05" name="Freeform 79">
                <a:extLst>
                  <a:ext uri="{FF2B5EF4-FFF2-40B4-BE49-F238E27FC236}">
                    <a16:creationId xmlns:a16="http://schemas.microsoft.com/office/drawing/2014/main" id="{D600EA57-3B13-44C4-AB66-64C1079B7A55}"/>
                  </a:ext>
                </a:extLst>
              </p:cNvPr>
              <p:cNvSpPr>
                <a:spLocks noEditPoints="1"/>
              </p:cNvSpPr>
              <p:nvPr/>
            </p:nvSpPr>
            <p:spPr bwMode="auto">
              <a:xfrm>
                <a:off x="4967288" y="3278188"/>
                <a:ext cx="38100" cy="60325"/>
              </a:xfrm>
              <a:custGeom>
                <a:avLst/>
                <a:gdLst>
                  <a:gd name="T0" fmla="*/ 133 w 166"/>
                  <a:gd name="T1" fmla="*/ 265 h 265"/>
                  <a:gd name="T2" fmla="*/ 112 w 166"/>
                  <a:gd name="T3" fmla="*/ 264 h 265"/>
                  <a:gd name="T4" fmla="*/ 89 w 166"/>
                  <a:gd name="T5" fmla="*/ 259 h 265"/>
                  <a:gd name="T6" fmla="*/ 68 w 166"/>
                  <a:gd name="T7" fmla="*/ 250 h 265"/>
                  <a:gd name="T8" fmla="*/ 47 w 166"/>
                  <a:gd name="T9" fmla="*/ 236 h 265"/>
                  <a:gd name="T10" fmla="*/ 28 w 166"/>
                  <a:gd name="T11" fmla="*/ 218 h 265"/>
                  <a:gd name="T12" fmla="*/ 14 w 166"/>
                  <a:gd name="T13" fmla="*/ 195 h 265"/>
                  <a:gd name="T14" fmla="*/ 5 w 166"/>
                  <a:gd name="T15" fmla="*/ 167 h 265"/>
                  <a:gd name="T16" fmla="*/ 0 w 166"/>
                  <a:gd name="T17" fmla="*/ 133 h 265"/>
                  <a:gd name="T18" fmla="*/ 1 w 166"/>
                  <a:gd name="T19" fmla="*/ 115 h 265"/>
                  <a:gd name="T20" fmla="*/ 9 w 166"/>
                  <a:gd name="T21" fmla="*/ 85 h 265"/>
                  <a:gd name="T22" fmla="*/ 20 w 166"/>
                  <a:gd name="T23" fmla="*/ 59 h 265"/>
                  <a:gd name="T24" fmla="*/ 38 w 166"/>
                  <a:gd name="T25" fmla="*/ 39 h 265"/>
                  <a:gd name="T26" fmla="*/ 57 w 166"/>
                  <a:gd name="T27" fmla="*/ 23 h 265"/>
                  <a:gd name="T28" fmla="*/ 79 w 166"/>
                  <a:gd name="T29" fmla="*/ 12 h 265"/>
                  <a:gd name="T30" fmla="*/ 101 w 166"/>
                  <a:gd name="T31" fmla="*/ 5 h 265"/>
                  <a:gd name="T32" fmla="*/ 123 w 166"/>
                  <a:gd name="T33" fmla="*/ 1 h 265"/>
                  <a:gd name="T34" fmla="*/ 133 w 166"/>
                  <a:gd name="T35" fmla="*/ 0 h 265"/>
                  <a:gd name="T36" fmla="*/ 146 w 166"/>
                  <a:gd name="T37" fmla="*/ 3 h 265"/>
                  <a:gd name="T38" fmla="*/ 157 w 166"/>
                  <a:gd name="T39" fmla="*/ 11 h 265"/>
                  <a:gd name="T40" fmla="*/ 164 w 166"/>
                  <a:gd name="T41" fmla="*/ 21 h 265"/>
                  <a:gd name="T42" fmla="*/ 166 w 166"/>
                  <a:gd name="T43" fmla="*/ 33 h 265"/>
                  <a:gd name="T44" fmla="*/ 166 w 166"/>
                  <a:gd name="T45" fmla="*/ 232 h 265"/>
                  <a:gd name="T46" fmla="*/ 164 w 166"/>
                  <a:gd name="T47" fmla="*/ 246 h 265"/>
                  <a:gd name="T48" fmla="*/ 157 w 166"/>
                  <a:gd name="T49" fmla="*/ 256 h 265"/>
                  <a:gd name="T50" fmla="*/ 146 w 166"/>
                  <a:gd name="T51" fmla="*/ 263 h 265"/>
                  <a:gd name="T52" fmla="*/ 133 w 166"/>
                  <a:gd name="T53" fmla="*/ 265 h 265"/>
                  <a:gd name="T54" fmla="*/ 100 w 166"/>
                  <a:gd name="T55" fmla="*/ 75 h 265"/>
                  <a:gd name="T56" fmla="*/ 94 w 166"/>
                  <a:gd name="T57" fmla="*/ 78 h 265"/>
                  <a:gd name="T58" fmla="*/ 82 w 166"/>
                  <a:gd name="T59" fmla="*/ 87 h 265"/>
                  <a:gd name="T60" fmla="*/ 73 w 166"/>
                  <a:gd name="T61" fmla="*/ 102 h 265"/>
                  <a:gd name="T62" fmla="*/ 68 w 166"/>
                  <a:gd name="T63" fmla="*/ 121 h 265"/>
                  <a:gd name="T64" fmla="*/ 67 w 166"/>
                  <a:gd name="T65" fmla="*/ 133 h 265"/>
                  <a:gd name="T66" fmla="*/ 70 w 166"/>
                  <a:gd name="T67" fmla="*/ 156 h 265"/>
                  <a:gd name="T68" fmla="*/ 77 w 166"/>
                  <a:gd name="T69" fmla="*/ 172 h 265"/>
                  <a:gd name="T70" fmla="*/ 87 w 166"/>
                  <a:gd name="T71" fmla="*/ 185 h 265"/>
                  <a:gd name="T72" fmla="*/ 100 w 166"/>
                  <a:gd name="T73" fmla="*/ 19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6" h="265">
                    <a:moveTo>
                      <a:pt x="133" y="265"/>
                    </a:moveTo>
                    <a:lnTo>
                      <a:pt x="133" y="265"/>
                    </a:lnTo>
                    <a:lnTo>
                      <a:pt x="123" y="265"/>
                    </a:lnTo>
                    <a:lnTo>
                      <a:pt x="112" y="264"/>
                    </a:lnTo>
                    <a:lnTo>
                      <a:pt x="101" y="262"/>
                    </a:lnTo>
                    <a:lnTo>
                      <a:pt x="89" y="259"/>
                    </a:lnTo>
                    <a:lnTo>
                      <a:pt x="79" y="255"/>
                    </a:lnTo>
                    <a:lnTo>
                      <a:pt x="68" y="250"/>
                    </a:lnTo>
                    <a:lnTo>
                      <a:pt x="57" y="243"/>
                    </a:lnTo>
                    <a:lnTo>
                      <a:pt x="47" y="236"/>
                    </a:lnTo>
                    <a:lnTo>
                      <a:pt x="38" y="227"/>
                    </a:lnTo>
                    <a:lnTo>
                      <a:pt x="28" y="218"/>
                    </a:lnTo>
                    <a:lnTo>
                      <a:pt x="20" y="207"/>
                    </a:lnTo>
                    <a:lnTo>
                      <a:pt x="14" y="195"/>
                    </a:lnTo>
                    <a:lnTo>
                      <a:pt x="9" y="181"/>
                    </a:lnTo>
                    <a:lnTo>
                      <a:pt x="5" y="167"/>
                    </a:lnTo>
                    <a:lnTo>
                      <a:pt x="1" y="150"/>
                    </a:lnTo>
                    <a:lnTo>
                      <a:pt x="0" y="133"/>
                    </a:lnTo>
                    <a:lnTo>
                      <a:pt x="0" y="133"/>
                    </a:lnTo>
                    <a:lnTo>
                      <a:pt x="1" y="115"/>
                    </a:lnTo>
                    <a:lnTo>
                      <a:pt x="5" y="100"/>
                    </a:lnTo>
                    <a:lnTo>
                      <a:pt x="9" y="85"/>
                    </a:lnTo>
                    <a:lnTo>
                      <a:pt x="14" y="72"/>
                    </a:lnTo>
                    <a:lnTo>
                      <a:pt x="20" y="59"/>
                    </a:lnTo>
                    <a:lnTo>
                      <a:pt x="28" y="49"/>
                    </a:lnTo>
                    <a:lnTo>
                      <a:pt x="38" y="39"/>
                    </a:lnTo>
                    <a:lnTo>
                      <a:pt x="47" y="30"/>
                    </a:lnTo>
                    <a:lnTo>
                      <a:pt x="57" y="23"/>
                    </a:lnTo>
                    <a:lnTo>
                      <a:pt x="68" y="17"/>
                    </a:lnTo>
                    <a:lnTo>
                      <a:pt x="79" y="12"/>
                    </a:lnTo>
                    <a:lnTo>
                      <a:pt x="89" y="8"/>
                    </a:lnTo>
                    <a:lnTo>
                      <a:pt x="101" y="5"/>
                    </a:lnTo>
                    <a:lnTo>
                      <a:pt x="112" y="2"/>
                    </a:lnTo>
                    <a:lnTo>
                      <a:pt x="123" y="1"/>
                    </a:lnTo>
                    <a:lnTo>
                      <a:pt x="133" y="0"/>
                    </a:lnTo>
                    <a:lnTo>
                      <a:pt x="133" y="0"/>
                    </a:lnTo>
                    <a:lnTo>
                      <a:pt x="140" y="1"/>
                    </a:lnTo>
                    <a:lnTo>
                      <a:pt x="146" y="3"/>
                    </a:lnTo>
                    <a:lnTo>
                      <a:pt x="151" y="7"/>
                    </a:lnTo>
                    <a:lnTo>
                      <a:pt x="157" y="11"/>
                    </a:lnTo>
                    <a:lnTo>
                      <a:pt x="161" y="15"/>
                    </a:lnTo>
                    <a:lnTo>
                      <a:pt x="164" y="21"/>
                    </a:lnTo>
                    <a:lnTo>
                      <a:pt x="166" y="27"/>
                    </a:lnTo>
                    <a:lnTo>
                      <a:pt x="166" y="33"/>
                    </a:lnTo>
                    <a:lnTo>
                      <a:pt x="166" y="232"/>
                    </a:lnTo>
                    <a:lnTo>
                      <a:pt x="166" y="232"/>
                    </a:lnTo>
                    <a:lnTo>
                      <a:pt x="166" y="239"/>
                    </a:lnTo>
                    <a:lnTo>
                      <a:pt x="164" y="246"/>
                    </a:lnTo>
                    <a:lnTo>
                      <a:pt x="161" y="251"/>
                    </a:lnTo>
                    <a:lnTo>
                      <a:pt x="157" y="256"/>
                    </a:lnTo>
                    <a:lnTo>
                      <a:pt x="151" y="260"/>
                    </a:lnTo>
                    <a:lnTo>
                      <a:pt x="146" y="263"/>
                    </a:lnTo>
                    <a:lnTo>
                      <a:pt x="140" y="265"/>
                    </a:lnTo>
                    <a:lnTo>
                      <a:pt x="133" y="265"/>
                    </a:lnTo>
                    <a:lnTo>
                      <a:pt x="133" y="265"/>
                    </a:lnTo>
                    <a:close/>
                    <a:moveTo>
                      <a:pt x="100" y="75"/>
                    </a:moveTo>
                    <a:lnTo>
                      <a:pt x="100" y="75"/>
                    </a:lnTo>
                    <a:lnTo>
                      <a:pt x="94" y="78"/>
                    </a:lnTo>
                    <a:lnTo>
                      <a:pt x="87" y="82"/>
                    </a:lnTo>
                    <a:lnTo>
                      <a:pt x="82" y="87"/>
                    </a:lnTo>
                    <a:lnTo>
                      <a:pt x="77" y="95"/>
                    </a:lnTo>
                    <a:lnTo>
                      <a:pt x="73" y="102"/>
                    </a:lnTo>
                    <a:lnTo>
                      <a:pt x="70" y="111"/>
                    </a:lnTo>
                    <a:lnTo>
                      <a:pt x="68" y="121"/>
                    </a:lnTo>
                    <a:lnTo>
                      <a:pt x="67" y="133"/>
                    </a:lnTo>
                    <a:lnTo>
                      <a:pt x="67" y="133"/>
                    </a:lnTo>
                    <a:lnTo>
                      <a:pt x="68" y="145"/>
                    </a:lnTo>
                    <a:lnTo>
                      <a:pt x="70" y="156"/>
                    </a:lnTo>
                    <a:lnTo>
                      <a:pt x="73" y="165"/>
                    </a:lnTo>
                    <a:lnTo>
                      <a:pt x="77" y="172"/>
                    </a:lnTo>
                    <a:lnTo>
                      <a:pt x="82" y="179"/>
                    </a:lnTo>
                    <a:lnTo>
                      <a:pt x="87" y="185"/>
                    </a:lnTo>
                    <a:lnTo>
                      <a:pt x="94" y="189"/>
                    </a:lnTo>
                    <a:lnTo>
                      <a:pt x="100" y="192"/>
                    </a:lnTo>
                    <a:lnTo>
                      <a:pt x="10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106" name="Group 105">
            <a:extLst>
              <a:ext uri="{FF2B5EF4-FFF2-40B4-BE49-F238E27FC236}">
                <a16:creationId xmlns:a16="http://schemas.microsoft.com/office/drawing/2014/main" id="{927B01EC-FBB1-440C-905D-E4DC045122CA}"/>
              </a:ext>
            </a:extLst>
          </p:cNvPr>
          <p:cNvGrpSpPr/>
          <p:nvPr/>
        </p:nvGrpSpPr>
        <p:grpSpPr>
          <a:xfrm>
            <a:off x="373259" y="3251788"/>
            <a:ext cx="399846" cy="399846"/>
            <a:chOff x="377952" y="4036796"/>
            <a:chExt cx="399846" cy="399846"/>
          </a:xfrm>
        </p:grpSpPr>
        <p:sp>
          <p:nvSpPr>
            <p:cNvPr id="107" name="Rectangle 106">
              <a:extLst>
                <a:ext uri="{FF2B5EF4-FFF2-40B4-BE49-F238E27FC236}">
                  <a16:creationId xmlns:a16="http://schemas.microsoft.com/office/drawing/2014/main" id="{533742BC-89FB-4897-A9B6-580824B5956E}"/>
                </a:ext>
              </a:extLst>
            </p:cNvPr>
            <p:cNvSpPr/>
            <p:nvPr/>
          </p:nvSpPr>
          <p:spPr>
            <a:xfrm>
              <a:off x="377952" y="4036796"/>
              <a:ext cx="399846" cy="3998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a:ln>
                  <a:noFill/>
                </a:ln>
                <a:solidFill>
                  <a:srgbClr val="FFFFFF"/>
                </a:solidFill>
                <a:effectLst/>
                <a:uLnTx/>
                <a:uFillTx/>
                <a:latin typeface="Gene Sans Light" panose="00000400000000000000" pitchFamily="2" charset="0"/>
                <a:ea typeface="+mn-ea"/>
                <a:cs typeface="+mn-cs"/>
                <a:sym typeface="Arial"/>
              </a:endParaRPr>
            </a:p>
          </p:txBody>
        </p:sp>
        <p:grpSp>
          <p:nvGrpSpPr>
            <p:cNvPr id="108" name="Group 107">
              <a:extLst>
                <a:ext uri="{FF2B5EF4-FFF2-40B4-BE49-F238E27FC236}">
                  <a16:creationId xmlns:a16="http://schemas.microsoft.com/office/drawing/2014/main" id="{E0E9E5BF-1685-4BB0-A35E-5220C8CEC089}"/>
                </a:ext>
              </a:extLst>
            </p:cNvPr>
            <p:cNvGrpSpPr/>
            <p:nvPr/>
          </p:nvGrpSpPr>
          <p:grpSpPr>
            <a:xfrm>
              <a:off x="473733" y="4133954"/>
              <a:ext cx="208284" cy="205530"/>
              <a:chOff x="4119563" y="3282951"/>
              <a:chExt cx="360363" cy="355600"/>
            </a:xfrm>
            <a:solidFill>
              <a:schemeClr val="bg1"/>
            </a:solidFill>
          </p:grpSpPr>
          <p:sp>
            <p:nvSpPr>
              <p:cNvPr id="109" name="Freeform 17">
                <a:extLst>
                  <a:ext uri="{FF2B5EF4-FFF2-40B4-BE49-F238E27FC236}">
                    <a16:creationId xmlns:a16="http://schemas.microsoft.com/office/drawing/2014/main" id="{BBDAF635-52E4-4857-99DD-3533CF65AEF4}"/>
                  </a:ext>
                </a:extLst>
              </p:cNvPr>
              <p:cNvSpPr>
                <a:spLocks noEditPoints="1"/>
              </p:cNvSpPr>
              <p:nvPr/>
            </p:nvSpPr>
            <p:spPr bwMode="auto">
              <a:xfrm>
                <a:off x="4119563" y="3414713"/>
                <a:ext cx="360363" cy="223838"/>
              </a:xfrm>
              <a:custGeom>
                <a:avLst/>
                <a:gdLst>
                  <a:gd name="T0" fmla="*/ 313 w 1591"/>
                  <a:gd name="T1" fmla="*/ 987 h 993"/>
                  <a:gd name="T2" fmla="*/ 298 w 1591"/>
                  <a:gd name="T3" fmla="*/ 960 h 993"/>
                  <a:gd name="T4" fmla="*/ 332 w 1591"/>
                  <a:gd name="T5" fmla="*/ 888 h 993"/>
                  <a:gd name="T6" fmla="*/ 418 w 1591"/>
                  <a:gd name="T7" fmla="*/ 823 h 993"/>
                  <a:gd name="T8" fmla="*/ 474 w 1591"/>
                  <a:gd name="T9" fmla="*/ 775 h 993"/>
                  <a:gd name="T10" fmla="*/ 369 w 1591"/>
                  <a:gd name="T11" fmla="*/ 698 h 993"/>
                  <a:gd name="T12" fmla="*/ 280 w 1591"/>
                  <a:gd name="T13" fmla="*/ 599 h 993"/>
                  <a:gd name="T14" fmla="*/ 208 w 1591"/>
                  <a:gd name="T15" fmla="*/ 484 h 993"/>
                  <a:gd name="T16" fmla="*/ 160 w 1591"/>
                  <a:gd name="T17" fmla="*/ 357 h 993"/>
                  <a:gd name="T18" fmla="*/ 135 w 1591"/>
                  <a:gd name="T19" fmla="*/ 222 h 993"/>
                  <a:gd name="T20" fmla="*/ 71 w 1591"/>
                  <a:gd name="T21" fmla="*/ 194 h 993"/>
                  <a:gd name="T22" fmla="*/ 23 w 1591"/>
                  <a:gd name="T23" fmla="*/ 163 h 993"/>
                  <a:gd name="T24" fmla="*/ 1 w 1591"/>
                  <a:gd name="T25" fmla="*/ 109 h 993"/>
                  <a:gd name="T26" fmla="*/ 9 w 1591"/>
                  <a:gd name="T27" fmla="*/ 60 h 993"/>
                  <a:gd name="T28" fmla="*/ 44 w 1591"/>
                  <a:gd name="T29" fmla="*/ 17 h 993"/>
                  <a:gd name="T30" fmla="*/ 100 w 1591"/>
                  <a:gd name="T31" fmla="*/ 0 h 993"/>
                  <a:gd name="T32" fmla="*/ 1530 w 1591"/>
                  <a:gd name="T33" fmla="*/ 8 h 993"/>
                  <a:gd name="T34" fmla="*/ 1573 w 1591"/>
                  <a:gd name="T35" fmla="*/ 44 h 993"/>
                  <a:gd name="T36" fmla="*/ 1591 w 1591"/>
                  <a:gd name="T37" fmla="*/ 100 h 993"/>
                  <a:gd name="T38" fmla="*/ 1578 w 1591"/>
                  <a:gd name="T39" fmla="*/ 146 h 993"/>
                  <a:gd name="T40" fmla="*/ 1538 w 1591"/>
                  <a:gd name="T41" fmla="*/ 187 h 993"/>
                  <a:gd name="T42" fmla="*/ 1457 w 1591"/>
                  <a:gd name="T43" fmla="*/ 199 h 993"/>
                  <a:gd name="T44" fmla="*/ 1442 w 1591"/>
                  <a:gd name="T45" fmla="*/ 313 h 993"/>
                  <a:gd name="T46" fmla="*/ 1400 w 1591"/>
                  <a:gd name="T47" fmla="*/ 443 h 993"/>
                  <a:gd name="T48" fmla="*/ 1337 w 1591"/>
                  <a:gd name="T49" fmla="*/ 562 h 993"/>
                  <a:gd name="T50" fmla="*/ 1254 w 1591"/>
                  <a:gd name="T51" fmla="*/ 667 h 993"/>
                  <a:gd name="T52" fmla="*/ 1153 w 1591"/>
                  <a:gd name="T53" fmla="*/ 752 h 993"/>
                  <a:gd name="T54" fmla="*/ 1137 w 1591"/>
                  <a:gd name="T55" fmla="*/ 803 h 993"/>
                  <a:gd name="T56" fmla="*/ 1235 w 1591"/>
                  <a:gd name="T57" fmla="*/ 865 h 993"/>
                  <a:gd name="T58" fmla="*/ 1289 w 1591"/>
                  <a:gd name="T59" fmla="*/ 936 h 993"/>
                  <a:gd name="T60" fmla="*/ 1287 w 1591"/>
                  <a:gd name="T61" fmla="*/ 979 h 993"/>
                  <a:gd name="T62" fmla="*/ 1259 w 1591"/>
                  <a:gd name="T63" fmla="*/ 993 h 993"/>
                  <a:gd name="T64" fmla="*/ 1153 w 1591"/>
                  <a:gd name="T65" fmla="*/ 887 h 993"/>
                  <a:gd name="T66" fmla="*/ 998 w 1591"/>
                  <a:gd name="T67" fmla="*/ 823 h 993"/>
                  <a:gd name="T68" fmla="*/ 976 w 1591"/>
                  <a:gd name="T69" fmla="*/ 802 h 993"/>
                  <a:gd name="T70" fmla="*/ 977 w 1591"/>
                  <a:gd name="T71" fmla="*/ 776 h 993"/>
                  <a:gd name="T72" fmla="*/ 996 w 1591"/>
                  <a:gd name="T73" fmla="*/ 760 h 993"/>
                  <a:gd name="T74" fmla="*/ 1118 w 1591"/>
                  <a:gd name="T75" fmla="*/ 697 h 993"/>
                  <a:gd name="T76" fmla="*/ 1221 w 1591"/>
                  <a:gd name="T77" fmla="*/ 604 h 993"/>
                  <a:gd name="T78" fmla="*/ 1305 w 1591"/>
                  <a:gd name="T79" fmla="*/ 490 h 993"/>
                  <a:gd name="T80" fmla="*/ 1362 w 1591"/>
                  <a:gd name="T81" fmla="*/ 357 h 993"/>
                  <a:gd name="T82" fmla="*/ 1390 w 1591"/>
                  <a:gd name="T83" fmla="*/ 214 h 993"/>
                  <a:gd name="T84" fmla="*/ 1397 w 1591"/>
                  <a:gd name="T85" fmla="*/ 147 h 993"/>
                  <a:gd name="T86" fmla="*/ 1490 w 1591"/>
                  <a:gd name="T87" fmla="*/ 133 h 993"/>
                  <a:gd name="T88" fmla="*/ 1518 w 1591"/>
                  <a:gd name="T89" fmla="*/ 117 h 993"/>
                  <a:gd name="T90" fmla="*/ 1522 w 1591"/>
                  <a:gd name="T91" fmla="*/ 86 h 993"/>
                  <a:gd name="T92" fmla="*/ 1490 w 1591"/>
                  <a:gd name="T93" fmla="*/ 67 h 993"/>
                  <a:gd name="T94" fmla="*/ 76 w 1591"/>
                  <a:gd name="T95" fmla="*/ 76 h 993"/>
                  <a:gd name="T96" fmla="*/ 68 w 1591"/>
                  <a:gd name="T97" fmla="*/ 106 h 993"/>
                  <a:gd name="T98" fmla="*/ 93 w 1591"/>
                  <a:gd name="T99" fmla="*/ 132 h 993"/>
                  <a:gd name="T100" fmla="*/ 184 w 1591"/>
                  <a:gd name="T101" fmla="*/ 138 h 993"/>
                  <a:gd name="T102" fmla="*/ 199 w 1591"/>
                  <a:gd name="T103" fmla="*/ 166 h 993"/>
                  <a:gd name="T104" fmla="*/ 216 w 1591"/>
                  <a:gd name="T105" fmla="*/ 311 h 993"/>
                  <a:gd name="T106" fmla="*/ 264 w 1591"/>
                  <a:gd name="T107" fmla="*/ 447 h 993"/>
                  <a:gd name="T108" fmla="*/ 339 w 1591"/>
                  <a:gd name="T109" fmla="*/ 568 h 993"/>
                  <a:gd name="T110" fmla="*/ 436 w 1591"/>
                  <a:gd name="T111" fmla="*/ 669 h 993"/>
                  <a:gd name="T112" fmla="*/ 553 w 1591"/>
                  <a:gd name="T113" fmla="*/ 742 h 993"/>
                  <a:gd name="T114" fmla="*/ 608 w 1591"/>
                  <a:gd name="T115" fmla="*/ 768 h 993"/>
                  <a:gd name="T116" fmla="*/ 617 w 1591"/>
                  <a:gd name="T117" fmla="*/ 792 h 993"/>
                  <a:gd name="T118" fmla="*/ 602 w 1591"/>
                  <a:gd name="T119" fmla="*/ 818 h 993"/>
                  <a:gd name="T120" fmla="*/ 490 w 1591"/>
                  <a:gd name="T121" fmla="*/ 860 h 993"/>
                  <a:gd name="T122" fmla="*/ 385 w 1591"/>
                  <a:gd name="T123" fmla="*/ 927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1" h="993">
                    <a:moveTo>
                      <a:pt x="1259" y="993"/>
                    </a:moveTo>
                    <a:lnTo>
                      <a:pt x="331" y="993"/>
                    </a:lnTo>
                    <a:lnTo>
                      <a:pt x="331" y="993"/>
                    </a:lnTo>
                    <a:lnTo>
                      <a:pt x="325" y="992"/>
                    </a:lnTo>
                    <a:lnTo>
                      <a:pt x="319" y="990"/>
                    </a:lnTo>
                    <a:lnTo>
                      <a:pt x="313" y="987"/>
                    </a:lnTo>
                    <a:lnTo>
                      <a:pt x="309" y="983"/>
                    </a:lnTo>
                    <a:lnTo>
                      <a:pt x="305" y="979"/>
                    </a:lnTo>
                    <a:lnTo>
                      <a:pt x="301" y="973"/>
                    </a:lnTo>
                    <a:lnTo>
                      <a:pt x="299" y="967"/>
                    </a:lnTo>
                    <a:lnTo>
                      <a:pt x="298" y="960"/>
                    </a:lnTo>
                    <a:lnTo>
                      <a:pt x="298" y="960"/>
                    </a:lnTo>
                    <a:lnTo>
                      <a:pt x="299" y="948"/>
                    </a:lnTo>
                    <a:lnTo>
                      <a:pt x="302" y="936"/>
                    </a:lnTo>
                    <a:lnTo>
                      <a:pt x="308" y="923"/>
                    </a:lnTo>
                    <a:lnTo>
                      <a:pt x="314" y="912"/>
                    </a:lnTo>
                    <a:lnTo>
                      <a:pt x="322" y="899"/>
                    </a:lnTo>
                    <a:lnTo>
                      <a:pt x="332" y="888"/>
                    </a:lnTo>
                    <a:lnTo>
                      <a:pt x="344" y="876"/>
                    </a:lnTo>
                    <a:lnTo>
                      <a:pt x="356" y="865"/>
                    </a:lnTo>
                    <a:lnTo>
                      <a:pt x="370" y="854"/>
                    </a:lnTo>
                    <a:lnTo>
                      <a:pt x="385" y="842"/>
                    </a:lnTo>
                    <a:lnTo>
                      <a:pt x="401" y="832"/>
                    </a:lnTo>
                    <a:lnTo>
                      <a:pt x="418" y="823"/>
                    </a:lnTo>
                    <a:lnTo>
                      <a:pt x="436" y="812"/>
                    </a:lnTo>
                    <a:lnTo>
                      <a:pt x="455" y="803"/>
                    </a:lnTo>
                    <a:lnTo>
                      <a:pt x="473" y="795"/>
                    </a:lnTo>
                    <a:lnTo>
                      <a:pt x="493" y="787"/>
                    </a:lnTo>
                    <a:lnTo>
                      <a:pt x="493" y="787"/>
                    </a:lnTo>
                    <a:lnTo>
                      <a:pt x="474" y="775"/>
                    </a:lnTo>
                    <a:lnTo>
                      <a:pt x="456" y="764"/>
                    </a:lnTo>
                    <a:lnTo>
                      <a:pt x="438" y="752"/>
                    </a:lnTo>
                    <a:lnTo>
                      <a:pt x="419" y="740"/>
                    </a:lnTo>
                    <a:lnTo>
                      <a:pt x="403" y="727"/>
                    </a:lnTo>
                    <a:lnTo>
                      <a:pt x="385" y="712"/>
                    </a:lnTo>
                    <a:lnTo>
                      <a:pt x="369" y="698"/>
                    </a:lnTo>
                    <a:lnTo>
                      <a:pt x="353" y="683"/>
                    </a:lnTo>
                    <a:lnTo>
                      <a:pt x="337" y="667"/>
                    </a:lnTo>
                    <a:lnTo>
                      <a:pt x="322" y="651"/>
                    </a:lnTo>
                    <a:lnTo>
                      <a:pt x="308" y="634"/>
                    </a:lnTo>
                    <a:lnTo>
                      <a:pt x="293" y="617"/>
                    </a:lnTo>
                    <a:lnTo>
                      <a:pt x="280" y="599"/>
                    </a:lnTo>
                    <a:lnTo>
                      <a:pt x="266" y="581"/>
                    </a:lnTo>
                    <a:lnTo>
                      <a:pt x="254" y="562"/>
                    </a:lnTo>
                    <a:lnTo>
                      <a:pt x="241" y="543"/>
                    </a:lnTo>
                    <a:lnTo>
                      <a:pt x="230" y="524"/>
                    </a:lnTo>
                    <a:lnTo>
                      <a:pt x="219" y="504"/>
                    </a:lnTo>
                    <a:lnTo>
                      <a:pt x="208" y="484"/>
                    </a:lnTo>
                    <a:lnTo>
                      <a:pt x="199" y="464"/>
                    </a:lnTo>
                    <a:lnTo>
                      <a:pt x="190" y="443"/>
                    </a:lnTo>
                    <a:lnTo>
                      <a:pt x="181" y="421"/>
                    </a:lnTo>
                    <a:lnTo>
                      <a:pt x="173" y="401"/>
                    </a:lnTo>
                    <a:lnTo>
                      <a:pt x="166" y="379"/>
                    </a:lnTo>
                    <a:lnTo>
                      <a:pt x="160" y="357"/>
                    </a:lnTo>
                    <a:lnTo>
                      <a:pt x="153" y="334"/>
                    </a:lnTo>
                    <a:lnTo>
                      <a:pt x="148" y="313"/>
                    </a:lnTo>
                    <a:lnTo>
                      <a:pt x="144" y="290"/>
                    </a:lnTo>
                    <a:lnTo>
                      <a:pt x="140" y="267"/>
                    </a:lnTo>
                    <a:lnTo>
                      <a:pt x="138" y="244"/>
                    </a:lnTo>
                    <a:lnTo>
                      <a:pt x="135" y="222"/>
                    </a:lnTo>
                    <a:lnTo>
                      <a:pt x="134" y="199"/>
                    </a:lnTo>
                    <a:lnTo>
                      <a:pt x="100" y="199"/>
                    </a:lnTo>
                    <a:lnTo>
                      <a:pt x="100" y="199"/>
                    </a:lnTo>
                    <a:lnTo>
                      <a:pt x="89" y="198"/>
                    </a:lnTo>
                    <a:lnTo>
                      <a:pt x="80" y="197"/>
                    </a:lnTo>
                    <a:lnTo>
                      <a:pt x="71" y="194"/>
                    </a:lnTo>
                    <a:lnTo>
                      <a:pt x="61" y="191"/>
                    </a:lnTo>
                    <a:lnTo>
                      <a:pt x="52" y="187"/>
                    </a:lnTo>
                    <a:lnTo>
                      <a:pt x="44" y="181"/>
                    </a:lnTo>
                    <a:lnTo>
                      <a:pt x="37" y="176"/>
                    </a:lnTo>
                    <a:lnTo>
                      <a:pt x="29" y="169"/>
                    </a:lnTo>
                    <a:lnTo>
                      <a:pt x="23" y="163"/>
                    </a:lnTo>
                    <a:lnTo>
                      <a:pt x="17" y="154"/>
                    </a:lnTo>
                    <a:lnTo>
                      <a:pt x="13" y="146"/>
                    </a:lnTo>
                    <a:lnTo>
                      <a:pt x="9" y="138"/>
                    </a:lnTo>
                    <a:lnTo>
                      <a:pt x="4" y="129"/>
                    </a:lnTo>
                    <a:lnTo>
                      <a:pt x="2" y="119"/>
                    </a:lnTo>
                    <a:lnTo>
                      <a:pt x="1" y="109"/>
                    </a:lnTo>
                    <a:lnTo>
                      <a:pt x="0" y="100"/>
                    </a:lnTo>
                    <a:lnTo>
                      <a:pt x="0" y="100"/>
                    </a:lnTo>
                    <a:lnTo>
                      <a:pt x="1" y="89"/>
                    </a:lnTo>
                    <a:lnTo>
                      <a:pt x="2" y="79"/>
                    </a:lnTo>
                    <a:lnTo>
                      <a:pt x="4" y="70"/>
                    </a:lnTo>
                    <a:lnTo>
                      <a:pt x="9" y="60"/>
                    </a:lnTo>
                    <a:lnTo>
                      <a:pt x="13" y="52"/>
                    </a:lnTo>
                    <a:lnTo>
                      <a:pt x="17" y="44"/>
                    </a:lnTo>
                    <a:lnTo>
                      <a:pt x="23" y="37"/>
                    </a:lnTo>
                    <a:lnTo>
                      <a:pt x="29" y="29"/>
                    </a:lnTo>
                    <a:lnTo>
                      <a:pt x="37" y="22"/>
                    </a:lnTo>
                    <a:lnTo>
                      <a:pt x="44" y="17"/>
                    </a:lnTo>
                    <a:lnTo>
                      <a:pt x="52" y="12"/>
                    </a:lnTo>
                    <a:lnTo>
                      <a:pt x="61" y="8"/>
                    </a:lnTo>
                    <a:lnTo>
                      <a:pt x="71" y="4"/>
                    </a:lnTo>
                    <a:lnTo>
                      <a:pt x="80" y="1"/>
                    </a:lnTo>
                    <a:lnTo>
                      <a:pt x="89" y="0"/>
                    </a:lnTo>
                    <a:lnTo>
                      <a:pt x="100" y="0"/>
                    </a:lnTo>
                    <a:lnTo>
                      <a:pt x="1490" y="0"/>
                    </a:lnTo>
                    <a:lnTo>
                      <a:pt x="1490" y="0"/>
                    </a:lnTo>
                    <a:lnTo>
                      <a:pt x="1501" y="0"/>
                    </a:lnTo>
                    <a:lnTo>
                      <a:pt x="1511" y="1"/>
                    </a:lnTo>
                    <a:lnTo>
                      <a:pt x="1521" y="4"/>
                    </a:lnTo>
                    <a:lnTo>
                      <a:pt x="1530" y="8"/>
                    </a:lnTo>
                    <a:lnTo>
                      <a:pt x="1538" y="12"/>
                    </a:lnTo>
                    <a:lnTo>
                      <a:pt x="1546" y="17"/>
                    </a:lnTo>
                    <a:lnTo>
                      <a:pt x="1555" y="22"/>
                    </a:lnTo>
                    <a:lnTo>
                      <a:pt x="1561" y="29"/>
                    </a:lnTo>
                    <a:lnTo>
                      <a:pt x="1568" y="37"/>
                    </a:lnTo>
                    <a:lnTo>
                      <a:pt x="1573" y="44"/>
                    </a:lnTo>
                    <a:lnTo>
                      <a:pt x="1578" y="52"/>
                    </a:lnTo>
                    <a:lnTo>
                      <a:pt x="1583" y="60"/>
                    </a:lnTo>
                    <a:lnTo>
                      <a:pt x="1586" y="70"/>
                    </a:lnTo>
                    <a:lnTo>
                      <a:pt x="1589" y="79"/>
                    </a:lnTo>
                    <a:lnTo>
                      <a:pt x="1590" y="89"/>
                    </a:lnTo>
                    <a:lnTo>
                      <a:pt x="1591" y="100"/>
                    </a:lnTo>
                    <a:lnTo>
                      <a:pt x="1591" y="100"/>
                    </a:lnTo>
                    <a:lnTo>
                      <a:pt x="1590" y="109"/>
                    </a:lnTo>
                    <a:lnTo>
                      <a:pt x="1589" y="119"/>
                    </a:lnTo>
                    <a:lnTo>
                      <a:pt x="1586" y="129"/>
                    </a:lnTo>
                    <a:lnTo>
                      <a:pt x="1583" y="138"/>
                    </a:lnTo>
                    <a:lnTo>
                      <a:pt x="1578" y="146"/>
                    </a:lnTo>
                    <a:lnTo>
                      <a:pt x="1573" y="154"/>
                    </a:lnTo>
                    <a:lnTo>
                      <a:pt x="1568" y="163"/>
                    </a:lnTo>
                    <a:lnTo>
                      <a:pt x="1561" y="169"/>
                    </a:lnTo>
                    <a:lnTo>
                      <a:pt x="1555" y="176"/>
                    </a:lnTo>
                    <a:lnTo>
                      <a:pt x="1546" y="181"/>
                    </a:lnTo>
                    <a:lnTo>
                      <a:pt x="1538" y="187"/>
                    </a:lnTo>
                    <a:lnTo>
                      <a:pt x="1530" y="191"/>
                    </a:lnTo>
                    <a:lnTo>
                      <a:pt x="1521" y="194"/>
                    </a:lnTo>
                    <a:lnTo>
                      <a:pt x="1511" y="197"/>
                    </a:lnTo>
                    <a:lnTo>
                      <a:pt x="1501" y="198"/>
                    </a:lnTo>
                    <a:lnTo>
                      <a:pt x="1490" y="199"/>
                    </a:lnTo>
                    <a:lnTo>
                      <a:pt x="1457" y="199"/>
                    </a:lnTo>
                    <a:lnTo>
                      <a:pt x="1457" y="199"/>
                    </a:lnTo>
                    <a:lnTo>
                      <a:pt x="1455" y="222"/>
                    </a:lnTo>
                    <a:lnTo>
                      <a:pt x="1453" y="244"/>
                    </a:lnTo>
                    <a:lnTo>
                      <a:pt x="1450" y="267"/>
                    </a:lnTo>
                    <a:lnTo>
                      <a:pt x="1447" y="290"/>
                    </a:lnTo>
                    <a:lnTo>
                      <a:pt x="1442" y="313"/>
                    </a:lnTo>
                    <a:lnTo>
                      <a:pt x="1437" y="334"/>
                    </a:lnTo>
                    <a:lnTo>
                      <a:pt x="1432" y="357"/>
                    </a:lnTo>
                    <a:lnTo>
                      <a:pt x="1424" y="379"/>
                    </a:lnTo>
                    <a:lnTo>
                      <a:pt x="1417" y="401"/>
                    </a:lnTo>
                    <a:lnTo>
                      <a:pt x="1410" y="421"/>
                    </a:lnTo>
                    <a:lnTo>
                      <a:pt x="1400" y="443"/>
                    </a:lnTo>
                    <a:lnTo>
                      <a:pt x="1392" y="464"/>
                    </a:lnTo>
                    <a:lnTo>
                      <a:pt x="1382" y="484"/>
                    </a:lnTo>
                    <a:lnTo>
                      <a:pt x="1371" y="504"/>
                    </a:lnTo>
                    <a:lnTo>
                      <a:pt x="1361" y="524"/>
                    </a:lnTo>
                    <a:lnTo>
                      <a:pt x="1350" y="543"/>
                    </a:lnTo>
                    <a:lnTo>
                      <a:pt x="1337" y="562"/>
                    </a:lnTo>
                    <a:lnTo>
                      <a:pt x="1325" y="581"/>
                    </a:lnTo>
                    <a:lnTo>
                      <a:pt x="1311" y="599"/>
                    </a:lnTo>
                    <a:lnTo>
                      <a:pt x="1298" y="617"/>
                    </a:lnTo>
                    <a:lnTo>
                      <a:pt x="1284" y="634"/>
                    </a:lnTo>
                    <a:lnTo>
                      <a:pt x="1269" y="651"/>
                    </a:lnTo>
                    <a:lnTo>
                      <a:pt x="1254" y="667"/>
                    </a:lnTo>
                    <a:lnTo>
                      <a:pt x="1238" y="683"/>
                    </a:lnTo>
                    <a:lnTo>
                      <a:pt x="1221" y="698"/>
                    </a:lnTo>
                    <a:lnTo>
                      <a:pt x="1205" y="712"/>
                    </a:lnTo>
                    <a:lnTo>
                      <a:pt x="1188" y="727"/>
                    </a:lnTo>
                    <a:lnTo>
                      <a:pt x="1171" y="739"/>
                    </a:lnTo>
                    <a:lnTo>
                      <a:pt x="1153" y="752"/>
                    </a:lnTo>
                    <a:lnTo>
                      <a:pt x="1135" y="764"/>
                    </a:lnTo>
                    <a:lnTo>
                      <a:pt x="1116" y="775"/>
                    </a:lnTo>
                    <a:lnTo>
                      <a:pt x="1097" y="787"/>
                    </a:lnTo>
                    <a:lnTo>
                      <a:pt x="1097" y="787"/>
                    </a:lnTo>
                    <a:lnTo>
                      <a:pt x="1117" y="795"/>
                    </a:lnTo>
                    <a:lnTo>
                      <a:pt x="1137" y="803"/>
                    </a:lnTo>
                    <a:lnTo>
                      <a:pt x="1155" y="812"/>
                    </a:lnTo>
                    <a:lnTo>
                      <a:pt x="1173" y="823"/>
                    </a:lnTo>
                    <a:lnTo>
                      <a:pt x="1189" y="832"/>
                    </a:lnTo>
                    <a:lnTo>
                      <a:pt x="1206" y="842"/>
                    </a:lnTo>
                    <a:lnTo>
                      <a:pt x="1220" y="854"/>
                    </a:lnTo>
                    <a:lnTo>
                      <a:pt x="1235" y="865"/>
                    </a:lnTo>
                    <a:lnTo>
                      <a:pt x="1247" y="877"/>
                    </a:lnTo>
                    <a:lnTo>
                      <a:pt x="1259" y="888"/>
                    </a:lnTo>
                    <a:lnTo>
                      <a:pt x="1268" y="899"/>
                    </a:lnTo>
                    <a:lnTo>
                      <a:pt x="1276" y="912"/>
                    </a:lnTo>
                    <a:lnTo>
                      <a:pt x="1284" y="923"/>
                    </a:lnTo>
                    <a:lnTo>
                      <a:pt x="1289" y="936"/>
                    </a:lnTo>
                    <a:lnTo>
                      <a:pt x="1291" y="948"/>
                    </a:lnTo>
                    <a:lnTo>
                      <a:pt x="1292" y="960"/>
                    </a:lnTo>
                    <a:lnTo>
                      <a:pt x="1292" y="960"/>
                    </a:lnTo>
                    <a:lnTo>
                      <a:pt x="1292" y="967"/>
                    </a:lnTo>
                    <a:lnTo>
                      <a:pt x="1290" y="973"/>
                    </a:lnTo>
                    <a:lnTo>
                      <a:pt x="1287" y="979"/>
                    </a:lnTo>
                    <a:lnTo>
                      <a:pt x="1282" y="983"/>
                    </a:lnTo>
                    <a:lnTo>
                      <a:pt x="1277" y="987"/>
                    </a:lnTo>
                    <a:lnTo>
                      <a:pt x="1272" y="990"/>
                    </a:lnTo>
                    <a:lnTo>
                      <a:pt x="1266" y="992"/>
                    </a:lnTo>
                    <a:lnTo>
                      <a:pt x="1259" y="993"/>
                    </a:lnTo>
                    <a:lnTo>
                      <a:pt x="1259" y="993"/>
                    </a:lnTo>
                    <a:close/>
                    <a:moveTo>
                      <a:pt x="385" y="927"/>
                    </a:moveTo>
                    <a:lnTo>
                      <a:pt x="1205" y="927"/>
                    </a:lnTo>
                    <a:lnTo>
                      <a:pt x="1205" y="927"/>
                    </a:lnTo>
                    <a:lnTo>
                      <a:pt x="1191" y="915"/>
                    </a:lnTo>
                    <a:lnTo>
                      <a:pt x="1174" y="901"/>
                    </a:lnTo>
                    <a:lnTo>
                      <a:pt x="1153" y="887"/>
                    </a:lnTo>
                    <a:lnTo>
                      <a:pt x="1129" y="873"/>
                    </a:lnTo>
                    <a:lnTo>
                      <a:pt x="1101" y="860"/>
                    </a:lnTo>
                    <a:lnTo>
                      <a:pt x="1070" y="847"/>
                    </a:lnTo>
                    <a:lnTo>
                      <a:pt x="1036" y="834"/>
                    </a:lnTo>
                    <a:lnTo>
                      <a:pt x="998" y="823"/>
                    </a:lnTo>
                    <a:lnTo>
                      <a:pt x="998" y="823"/>
                    </a:lnTo>
                    <a:lnTo>
                      <a:pt x="994" y="821"/>
                    </a:lnTo>
                    <a:lnTo>
                      <a:pt x="989" y="818"/>
                    </a:lnTo>
                    <a:lnTo>
                      <a:pt x="984" y="814"/>
                    </a:lnTo>
                    <a:lnTo>
                      <a:pt x="981" y="811"/>
                    </a:lnTo>
                    <a:lnTo>
                      <a:pt x="978" y="806"/>
                    </a:lnTo>
                    <a:lnTo>
                      <a:pt x="976" y="802"/>
                    </a:lnTo>
                    <a:lnTo>
                      <a:pt x="975" y="797"/>
                    </a:lnTo>
                    <a:lnTo>
                      <a:pt x="974" y="792"/>
                    </a:lnTo>
                    <a:lnTo>
                      <a:pt x="974" y="792"/>
                    </a:lnTo>
                    <a:lnTo>
                      <a:pt x="974" y="787"/>
                    </a:lnTo>
                    <a:lnTo>
                      <a:pt x="975" y="781"/>
                    </a:lnTo>
                    <a:lnTo>
                      <a:pt x="977" y="776"/>
                    </a:lnTo>
                    <a:lnTo>
                      <a:pt x="979" y="772"/>
                    </a:lnTo>
                    <a:lnTo>
                      <a:pt x="983" y="768"/>
                    </a:lnTo>
                    <a:lnTo>
                      <a:pt x="987" y="764"/>
                    </a:lnTo>
                    <a:lnTo>
                      <a:pt x="991" y="762"/>
                    </a:lnTo>
                    <a:lnTo>
                      <a:pt x="996" y="760"/>
                    </a:lnTo>
                    <a:lnTo>
                      <a:pt x="996" y="760"/>
                    </a:lnTo>
                    <a:lnTo>
                      <a:pt x="1018" y="751"/>
                    </a:lnTo>
                    <a:lnTo>
                      <a:pt x="1038" y="742"/>
                    </a:lnTo>
                    <a:lnTo>
                      <a:pt x="1059" y="732"/>
                    </a:lnTo>
                    <a:lnTo>
                      <a:pt x="1079" y="721"/>
                    </a:lnTo>
                    <a:lnTo>
                      <a:pt x="1098" y="709"/>
                    </a:lnTo>
                    <a:lnTo>
                      <a:pt x="1118" y="697"/>
                    </a:lnTo>
                    <a:lnTo>
                      <a:pt x="1137" y="683"/>
                    </a:lnTo>
                    <a:lnTo>
                      <a:pt x="1154" y="669"/>
                    </a:lnTo>
                    <a:lnTo>
                      <a:pt x="1172" y="654"/>
                    </a:lnTo>
                    <a:lnTo>
                      <a:pt x="1189" y="638"/>
                    </a:lnTo>
                    <a:lnTo>
                      <a:pt x="1206" y="621"/>
                    </a:lnTo>
                    <a:lnTo>
                      <a:pt x="1221" y="604"/>
                    </a:lnTo>
                    <a:lnTo>
                      <a:pt x="1237" y="587"/>
                    </a:lnTo>
                    <a:lnTo>
                      <a:pt x="1252" y="568"/>
                    </a:lnTo>
                    <a:lnTo>
                      <a:pt x="1266" y="550"/>
                    </a:lnTo>
                    <a:lnTo>
                      <a:pt x="1279" y="530"/>
                    </a:lnTo>
                    <a:lnTo>
                      <a:pt x="1293" y="510"/>
                    </a:lnTo>
                    <a:lnTo>
                      <a:pt x="1305" y="490"/>
                    </a:lnTo>
                    <a:lnTo>
                      <a:pt x="1317" y="468"/>
                    </a:lnTo>
                    <a:lnTo>
                      <a:pt x="1327" y="447"/>
                    </a:lnTo>
                    <a:lnTo>
                      <a:pt x="1337" y="426"/>
                    </a:lnTo>
                    <a:lnTo>
                      <a:pt x="1346" y="403"/>
                    </a:lnTo>
                    <a:lnTo>
                      <a:pt x="1355" y="380"/>
                    </a:lnTo>
                    <a:lnTo>
                      <a:pt x="1362" y="357"/>
                    </a:lnTo>
                    <a:lnTo>
                      <a:pt x="1368" y="334"/>
                    </a:lnTo>
                    <a:lnTo>
                      <a:pt x="1375" y="311"/>
                    </a:lnTo>
                    <a:lnTo>
                      <a:pt x="1380" y="287"/>
                    </a:lnTo>
                    <a:lnTo>
                      <a:pt x="1384" y="263"/>
                    </a:lnTo>
                    <a:lnTo>
                      <a:pt x="1387" y="238"/>
                    </a:lnTo>
                    <a:lnTo>
                      <a:pt x="1390" y="214"/>
                    </a:lnTo>
                    <a:lnTo>
                      <a:pt x="1391" y="190"/>
                    </a:lnTo>
                    <a:lnTo>
                      <a:pt x="1391" y="166"/>
                    </a:lnTo>
                    <a:lnTo>
                      <a:pt x="1391" y="166"/>
                    </a:lnTo>
                    <a:lnTo>
                      <a:pt x="1392" y="159"/>
                    </a:lnTo>
                    <a:lnTo>
                      <a:pt x="1394" y="152"/>
                    </a:lnTo>
                    <a:lnTo>
                      <a:pt x="1397" y="147"/>
                    </a:lnTo>
                    <a:lnTo>
                      <a:pt x="1401" y="142"/>
                    </a:lnTo>
                    <a:lnTo>
                      <a:pt x="1407" y="138"/>
                    </a:lnTo>
                    <a:lnTo>
                      <a:pt x="1412" y="135"/>
                    </a:lnTo>
                    <a:lnTo>
                      <a:pt x="1418" y="133"/>
                    </a:lnTo>
                    <a:lnTo>
                      <a:pt x="1424" y="133"/>
                    </a:lnTo>
                    <a:lnTo>
                      <a:pt x="1490" y="133"/>
                    </a:lnTo>
                    <a:lnTo>
                      <a:pt x="1490" y="133"/>
                    </a:lnTo>
                    <a:lnTo>
                      <a:pt x="1498" y="132"/>
                    </a:lnTo>
                    <a:lnTo>
                      <a:pt x="1504" y="130"/>
                    </a:lnTo>
                    <a:lnTo>
                      <a:pt x="1509" y="127"/>
                    </a:lnTo>
                    <a:lnTo>
                      <a:pt x="1514" y="122"/>
                    </a:lnTo>
                    <a:lnTo>
                      <a:pt x="1518" y="117"/>
                    </a:lnTo>
                    <a:lnTo>
                      <a:pt x="1522" y="112"/>
                    </a:lnTo>
                    <a:lnTo>
                      <a:pt x="1524" y="106"/>
                    </a:lnTo>
                    <a:lnTo>
                      <a:pt x="1525" y="100"/>
                    </a:lnTo>
                    <a:lnTo>
                      <a:pt x="1525" y="100"/>
                    </a:lnTo>
                    <a:lnTo>
                      <a:pt x="1524" y="92"/>
                    </a:lnTo>
                    <a:lnTo>
                      <a:pt x="1522" y="86"/>
                    </a:lnTo>
                    <a:lnTo>
                      <a:pt x="1518" y="81"/>
                    </a:lnTo>
                    <a:lnTo>
                      <a:pt x="1514" y="76"/>
                    </a:lnTo>
                    <a:lnTo>
                      <a:pt x="1509" y="72"/>
                    </a:lnTo>
                    <a:lnTo>
                      <a:pt x="1504" y="69"/>
                    </a:lnTo>
                    <a:lnTo>
                      <a:pt x="1498" y="67"/>
                    </a:lnTo>
                    <a:lnTo>
                      <a:pt x="1490" y="67"/>
                    </a:lnTo>
                    <a:lnTo>
                      <a:pt x="100" y="67"/>
                    </a:lnTo>
                    <a:lnTo>
                      <a:pt x="100" y="67"/>
                    </a:lnTo>
                    <a:lnTo>
                      <a:pt x="93" y="67"/>
                    </a:lnTo>
                    <a:lnTo>
                      <a:pt x="87" y="69"/>
                    </a:lnTo>
                    <a:lnTo>
                      <a:pt x="81" y="72"/>
                    </a:lnTo>
                    <a:lnTo>
                      <a:pt x="76" y="76"/>
                    </a:lnTo>
                    <a:lnTo>
                      <a:pt x="73" y="81"/>
                    </a:lnTo>
                    <a:lnTo>
                      <a:pt x="70" y="86"/>
                    </a:lnTo>
                    <a:lnTo>
                      <a:pt x="68" y="92"/>
                    </a:lnTo>
                    <a:lnTo>
                      <a:pt x="67" y="100"/>
                    </a:lnTo>
                    <a:lnTo>
                      <a:pt x="67" y="100"/>
                    </a:lnTo>
                    <a:lnTo>
                      <a:pt x="68" y="106"/>
                    </a:lnTo>
                    <a:lnTo>
                      <a:pt x="70" y="112"/>
                    </a:lnTo>
                    <a:lnTo>
                      <a:pt x="73" y="117"/>
                    </a:lnTo>
                    <a:lnTo>
                      <a:pt x="76" y="122"/>
                    </a:lnTo>
                    <a:lnTo>
                      <a:pt x="81" y="127"/>
                    </a:lnTo>
                    <a:lnTo>
                      <a:pt x="87" y="130"/>
                    </a:lnTo>
                    <a:lnTo>
                      <a:pt x="93" y="132"/>
                    </a:lnTo>
                    <a:lnTo>
                      <a:pt x="100" y="133"/>
                    </a:lnTo>
                    <a:lnTo>
                      <a:pt x="166" y="133"/>
                    </a:lnTo>
                    <a:lnTo>
                      <a:pt x="166" y="133"/>
                    </a:lnTo>
                    <a:lnTo>
                      <a:pt x="173" y="133"/>
                    </a:lnTo>
                    <a:lnTo>
                      <a:pt x="179" y="135"/>
                    </a:lnTo>
                    <a:lnTo>
                      <a:pt x="184" y="138"/>
                    </a:lnTo>
                    <a:lnTo>
                      <a:pt x="190" y="142"/>
                    </a:lnTo>
                    <a:lnTo>
                      <a:pt x="194" y="147"/>
                    </a:lnTo>
                    <a:lnTo>
                      <a:pt x="197" y="152"/>
                    </a:lnTo>
                    <a:lnTo>
                      <a:pt x="198" y="159"/>
                    </a:lnTo>
                    <a:lnTo>
                      <a:pt x="199" y="166"/>
                    </a:lnTo>
                    <a:lnTo>
                      <a:pt x="199" y="166"/>
                    </a:lnTo>
                    <a:lnTo>
                      <a:pt x="200" y="190"/>
                    </a:lnTo>
                    <a:lnTo>
                      <a:pt x="201" y="214"/>
                    </a:lnTo>
                    <a:lnTo>
                      <a:pt x="203" y="238"/>
                    </a:lnTo>
                    <a:lnTo>
                      <a:pt x="206" y="263"/>
                    </a:lnTo>
                    <a:lnTo>
                      <a:pt x="211" y="287"/>
                    </a:lnTo>
                    <a:lnTo>
                      <a:pt x="216" y="311"/>
                    </a:lnTo>
                    <a:lnTo>
                      <a:pt x="222" y="334"/>
                    </a:lnTo>
                    <a:lnTo>
                      <a:pt x="229" y="357"/>
                    </a:lnTo>
                    <a:lnTo>
                      <a:pt x="236" y="380"/>
                    </a:lnTo>
                    <a:lnTo>
                      <a:pt x="245" y="403"/>
                    </a:lnTo>
                    <a:lnTo>
                      <a:pt x="254" y="426"/>
                    </a:lnTo>
                    <a:lnTo>
                      <a:pt x="264" y="447"/>
                    </a:lnTo>
                    <a:lnTo>
                      <a:pt x="275" y="468"/>
                    </a:lnTo>
                    <a:lnTo>
                      <a:pt x="286" y="490"/>
                    </a:lnTo>
                    <a:lnTo>
                      <a:pt x="298" y="510"/>
                    </a:lnTo>
                    <a:lnTo>
                      <a:pt x="311" y="530"/>
                    </a:lnTo>
                    <a:lnTo>
                      <a:pt x="324" y="550"/>
                    </a:lnTo>
                    <a:lnTo>
                      <a:pt x="339" y="568"/>
                    </a:lnTo>
                    <a:lnTo>
                      <a:pt x="353" y="587"/>
                    </a:lnTo>
                    <a:lnTo>
                      <a:pt x="369" y="604"/>
                    </a:lnTo>
                    <a:lnTo>
                      <a:pt x="385" y="622"/>
                    </a:lnTo>
                    <a:lnTo>
                      <a:pt x="402" y="638"/>
                    </a:lnTo>
                    <a:lnTo>
                      <a:pt x="418" y="654"/>
                    </a:lnTo>
                    <a:lnTo>
                      <a:pt x="436" y="669"/>
                    </a:lnTo>
                    <a:lnTo>
                      <a:pt x="455" y="683"/>
                    </a:lnTo>
                    <a:lnTo>
                      <a:pt x="473" y="697"/>
                    </a:lnTo>
                    <a:lnTo>
                      <a:pt x="492" y="709"/>
                    </a:lnTo>
                    <a:lnTo>
                      <a:pt x="512" y="721"/>
                    </a:lnTo>
                    <a:lnTo>
                      <a:pt x="532" y="732"/>
                    </a:lnTo>
                    <a:lnTo>
                      <a:pt x="553" y="742"/>
                    </a:lnTo>
                    <a:lnTo>
                      <a:pt x="574" y="751"/>
                    </a:lnTo>
                    <a:lnTo>
                      <a:pt x="594" y="760"/>
                    </a:lnTo>
                    <a:lnTo>
                      <a:pt x="594" y="760"/>
                    </a:lnTo>
                    <a:lnTo>
                      <a:pt x="599" y="762"/>
                    </a:lnTo>
                    <a:lnTo>
                      <a:pt x="604" y="764"/>
                    </a:lnTo>
                    <a:lnTo>
                      <a:pt x="608" y="768"/>
                    </a:lnTo>
                    <a:lnTo>
                      <a:pt x="611" y="772"/>
                    </a:lnTo>
                    <a:lnTo>
                      <a:pt x="614" y="776"/>
                    </a:lnTo>
                    <a:lnTo>
                      <a:pt x="615" y="781"/>
                    </a:lnTo>
                    <a:lnTo>
                      <a:pt x="616" y="787"/>
                    </a:lnTo>
                    <a:lnTo>
                      <a:pt x="617" y="792"/>
                    </a:lnTo>
                    <a:lnTo>
                      <a:pt x="617" y="792"/>
                    </a:lnTo>
                    <a:lnTo>
                      <a:pt x="616" y="797"/>
                    </a:lnTo>
                    <a:lnTo>
                      <a:pt x="615" y="802"/>
                    </a:lnTo>
                    <a:lnTo>
                      <a:pt x="613" y="806"/>
                    </a:lnTo>
                    <a:lnTo>
                      <a:pt x="610" y="811"/>
                    </a:lnTo>
                    <a:lnTo>
                      <a:pt x="606" y="814"/>
                    </a:lnTo>
                    <a:lnTo>
                      <a:pt x="602" y="818"/>
                    </a:lnTo>
                    <a:lnTo>
                      <a:pt x="597" y="821"/>
                    </a:lnTo>
                    <a:lnTo>
                      <a:pt x="592" y="823"/>
                    </a:lnTo>
                    <a:lnTo>
                      <a:pt x="592" y="823"/>
                    </a:lnTo>
                    <a:lnTo>
                      <a:pt x="555" y="834"/>
                    </a:lnTo>
                    <a:lnTo>
                      <a:pt x="521" y="847"/>
                    </a:lnTo>
                    <a:lnTo>
                      <a:pt x="490" y="860"/>
                    </a:lnTo>
                    <a:lnTo>
                      <a:pt x="462" y="873"/>
                    </a:lnTo>
                    <a:lnTo>
                      <a:pt x="437" y="887"/>
                    </a:lnTo>
                    <a:lnTo>
                      <a:pt x="416" y="901"/>
                    </a:lnTo>
                    <a:lnTo>
                      <a:pt x="399" y="915"/>
                    </a:lnTo>
                    <a:lnTo>
                      <a:pt x="385" y="927"/>
                    </a:lnTo>
                    <a:lnTo>
                      <a:pt x="385" y="9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10" name="Freeform 18">
                <a:extLst>
                  <a:ext uri="{FF2B5EF4-FFF2-40B4-BE49-F238E27FC236}">
                    <a16:creationId xmlns:a16="http://schemas.microsoft.com/office/drawing/2014/main" id="{BC90BBA0-6B93-47AA-9627-196C4F98265B}"/>
                  </a:ext>
                </a:extLst>
              </p:cNvPr>
              <p:cNvSpPr>
                <a:spLocks/>
              </p:cNvSpPr>
              <p:nvPr/>
            </p:nvSpPr>
            <p:spPr bwMode="auto">
              <a:xfrm>
                <a:off x="4321175" y="3282951"/>
                <a:ext cx="133350" cy="115888"/>
              </a:xfrm>
              <a:custGeom>
                <a:avLst/>
                <a:gdLst>
                  <a:gd name="T0" fmla="*/ 298 w 586"/>
                  <a:gd name="T1" fmla="*/ 513 h 513"/>
                  <a:gd name="T2" fmla="*/ 289 w 586"/>
                  <a:gd name="T3" fmla="*/ 511 h 513"/>
                  <a:gd name="T4" fmla="*/ 280 w 586"/>
                  <a:gd name="T5" fmla="*/ 507 h 513"/>
                  <a:gd name="T6" fmla="*/ 275 w 586"/>
                  <a:gd name="T7" fmla="*/ 502 h 513"/>
                  <a:gd name="T8" fmla="*/ 267 w 586"/>
                  <a:gd name="T9" fmla="*/ 491 h 513"/>
                  <a:gd name="T10" fmla="*/ 265 w 586"/>
                  <a:gd name="T11" fmla="*/ 479 h 513"/>
                  <a:gd name="T12" fmla="*/ 268 w 586"/>
                  <a:gd name="T13" fmla="*/ 466 h 513"/>
                  <a:gd name="T14" fmla="*/ 272 w 586"/>
                  <a:gd name="T15" fmla="*/ 460 h 513"/>
                  <a:gd name="T16" fmla="*/ 405 w 586"/>
                  <a:gd name="T17" fmla="*/ 273 h 513"/>
                  <a:gd name="T18" fmla="*/ 482 w 586"/>
                  <a:gd name="T19" fmla="*/ 159 h 513"/>
                  <a:gd name="T20" fmla="*/ 502 w 586"/>
                  <a:gd name="T21" fmla="*/ 124 h 513"/>
                  <a:gd name="T22" fmla="*/ 513 w 586"/>
                  <a:gd name="T23" fmla="*/ 99 h 513"/>
                  <a:gd name="T24" fmla="*/ 515 w 586"/>
                  <a:gd name="T25" fmla="*/ 84 h 513"/>
                  <a:gd name="T26" fmla="*/ 510 w 586"/>
                  <a:gd name="T27" fmla="*/ 74 h 513"/>
                  <a:gd name="T28" fmla="*/ 507 w 586"/>
                  <a:gd name="T29" fmla="*/ 72 h 513"/>
                  <a:gd name="T30" fmla="*/ 501 w 586"/>
                  <a:gd name="T31" fmla="*/ 71 h 513"/>
                  <a:gd name="T32" fmla="*/ 489 w 586"/>
                  <a:gd name="T33" fmla="*/ 73 h 513"/>
                  <a:gd name="T34" fmla="*/ 464 w 586"/>
                  <a:gd name="T35" fmla="*/ 87 h 513"/>
                  <a:gd name="T36" fmla="*/ 429 w 586"/>
                  <a:gd name="T37" fmla="*/ 116 h 513"/>
                  <a:gd name="T38" fmla="*/ 379 w 586"/>
                  <a:gd name="T39" fmla="*/ 162 h 513"/>
                  <a:gd name="T40" fmla="*/ 274 w 586"/>
                  <a:gd name="T41" fmla="*/ 271 h 513"/>
                  <a:gd name="T42" fmla="*/ 58 w 586"/>
                  <a:gd name="T43" fmla="*/ 502 h 513"/>
                  <a:gd name="T44" fmla="*/ 53 w 586"/>
                  <a:gd name="T45" fmla="*/ 507 h 513"/>
                  <a:gd name="T46" fmla="*/ 42 w 586"/>
                  <a:gd name="T47" fmla="*/ 512 h 513"/>
                  <a:gd name="T48" fmla="*/ 28 w 586"/>
                  <a:gd name="T49" fmla="*/ 512 h 513"/>
                  <a:gd name="T50" fmla="*/ 17 w 586"/>
                  <a:gd name="T51" fmla="*/ 508 h 513"/>
                  <a:gd name="T52" fmla="*/ 12 w 586"/>
                  <a:gd name="T53" fmla="*/ 504 h 513"/>
                  <a:gd name="T54" fmla="*/ 4 w 586"/>
                  <a:gd name="T55" fmla="*/ 493 h 513"/>
                  <a:gd name="T56" fmla="*/ 0 w 586"/>
                  <a:gd name="T57" fmla="*/ 481 h 513"/>
                  <a:gd name="T58" fmla="*/ 2 w 586"/>
                  <a:gd name="T59" fmla="*/ 469 h 513"/>
                  <a:gd name="T60" fmla="*/ 10 w 586"/>
                  <a:gd name="T61" fmla="*/ 457 h 513"/>
                  <a:gd name="T62" fmla="*/ 150 w 586"/>
                  <a:gd name="T63" fmla="*/ 304 h 513"/>
                  <a:gd name="T64" fmla="*/ 261 w 586"/>
                  <a:gd name="T65" fmla="*/ 187 h 513"/>
                  <a:gd name="T66" fmla="*/ 346 w 586"/>
                  <a:gd name="T67" fmla="*/ 102 h 513"/>
                  <a:gd name="T68" fmla="*/ 409 w 586"/>
                  <a:gd name="T69" fmla="*/ 44 h 513"/>
                  <a:gd name="T70" fmla="*/ 446 w 586"/>
                  <a:gd name="T71" fmla="*/ 19 h 513"/>
                  <a:gd name="T72" fmla="*/ 467 w 586"/>
                  <a:gd name="T73" fmla="*/ 7 h 513"/>
                  <a:gd name="T74" fmla="*/ 485 w 586"/>
                  <a:gd name="T75" fmla="*/ 1 h 513"/>
                  <a:gd name="T76" fmla="*/ 501 w 586"/>
                  <a:gd name="T77" fmla="*/ 0 h 513"/>
                  <a:gd name="T78" fmla="*/ 516 w 586"/>
                  <a:gd name="T79" fmla="*/ 2 h 513"/>
                  <a:gd name="T80" fmla="*/ 530 w 586"/>
                  <a:gd name="T81" fmla="*/ 8 h 513"/>
                  <a:gd name="T82" fmla="*/ 552 w 586"/>
                  <a:gd name="T83" fmla="*/ 24 h 513"/>
                  <a:gd name="T84" fmla="*/ 564 w 586"/>
                  <a:gd name="T85" fmla="*/ 34 h 513"/>
                  <a:gd name="T86" fmla="*/ 578 w 586"/>
                  <a:gd name="T87" fmla="*/ 51 h 513"/>
                  <a:gd name="T88" fmla="*/ 583 w 586"/>
                  <a:gd name="T89" fmla="*/ 63 h 513"/>
                  <a:gd name="T90" fmla="*/ 586 w 586"/>
                  <a:gd name="T91" fmla="*/ 77 h 513"/>
                  <a:gd name="T92" fmla="*/ 585 w 586"/>
                  <a:gd name="T93" fmla="*/ 92 h 513"/>
                  <a:gd name="T94" fmla="*/ 581 w 586"/>
                  <a:gd name="T95" fmla="*/ 110 h 513"/>
                  <a:gd name="T96" fmla="*/ 568 w 586"/>
                  <a:gd name="T97" fmla="*/ 142 h 513"/>
                  <a:gd name="T98" fmla="*/ 535 w 586"/>
                  <a:gd name="T99" fmla="*/ 199 h 513"/>
                  <a:gd name="T100" fmla="*/ 486 w 586"/>
                  <a:gd name="T101" fmla="*/ 274 h 513"/>
                  <a:gd name="T102" fmla="*/ 325 w 586"/>
                  <a:gd name="T103" fmla="*/ 499 h 513"/>
                  <a:gd name="T104" fmla="*/ 320 w 586"/>
                  <a:gd name="T105" fmla="*/ 505 h 513"/>
                  <a:gd name="T106" fmla="*/ 307 w 586"/>
                  <a:gd name="T107" fmla="*/ 512 h 513"/>
                  <a:gd name="T108" fmla="*/ 298 w 586"/>
                  <a:gd name="T109" fmla="*/ 513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6" h="513">
                    <a:moveTo>
                      <a:pt x="298" y="513"/>
                    </a:moveTo>
                    <a:lnTo>
                      <a:pt x="298" y="513"/>
                    </a:lnTo>
                    <a:lnTo>
                      <a:pt x="294" y="512"/>
                    </a:lnTo>
                    <a:lnTo>
                      <a:pt x="289" y="511"/>
                    </a:lnTo>
                    <a:lnTo>
                      <a:pt x="284" y="509"/>
                    </a:lnTo>
                    <a:lnTo>
                      <a:pt x="280" y="507"/>
                    </a:lnTo>
                    <a:lnTo>
                      <a:pt x="280" y="507"/>
                    </a:lnTo>
                    <a:lnTo>
                      <a:pt x="275" y="502"/>
                    </a:lnTo>
                    <a:lnTo>
                      <a:pt x="271" y="497"/>
                    </a:lnTo>
                    <a:lnTo>
                      <a:pt x="267" y="491"/>
                    </a:lnTo>
                    <a:lnTo>
                      <a:pt x="266" y="485"/>
                    </a:lnTo>
                    <a:lnTo>
                      <a:pt x="265" y="479"/>
                    </a:lnTo>
                    <a:lnTo>
                      <a:pt x="266" y="472"/>
                    </a:lnTo>
                    <a:lnTo>
                      <a:pt x="268" y="466"/>
                    </a:lnTo>
                    <a:lnTo>
                      <a:pt x="272" y="460"/>
                    </a:lnTo>
                    <a:lnTo>
                      <a:pt x="272" y="460"/>
                    </a:lnTo>
                    <a:lnTo>
                      <a:pt x="346" y="357"/>
                    </a:lnTo>
                    <a:lnTo>
                      <a:pt x="405" y="273"/>
                    </a:lnTo>
                    <a:lnTo>
                      <a:pt x="450" y="209"/>
                    </a:lnTo>
                    <a:lnTo>
                      <a:pt x="482" y="159"/>
                    </a:lnTo>
                    <a:lnTo>
                      <a:pt x="493" y="141"/>
                    </a:lnTo>
                    <a:lnTo>
                      <a:pt x="502" y="124"/>
                    </a:lnTo>
                    <a:lnTo>
                      <a:pt x="509" y="111"/>
                    </a:lnTo>
                    <a:lnTo>
                      <a:pt x="513" y="99"/>
                    </a:lnTo>
                    <a:lnTo>
                      <a:pt x="515" y="91"/>
                    </a:lnTo>
                    <a:lnTo>
                      <a:pt x="515" y="84"/>
                    </a:lnTo>
                    <a:lnTo>
                      <a:pt x="514" y="79"/>
                    </a:lnTo>
                    <a:lnTo>
                      <a:pt x="510" y="74"/>
                    </a:lnTo>
                    <a:lnTo>
                      <a:pt x="510" y="74"/>
                    </a:lnTo>
                    <a:lnTo>
                      <a:pt x="507" y="72"/>
                    </a:lnTo>
                    <a:lnTo>
                      <a:pt x="504" y="71"/>
                    </a:lnTo>
                    <a:lnTo>
                      <a:pt x="501" y="71"/>
                    </a:lnTo>
                    <a:lnTo>
                      <a:pt x="497" y="71"/>
                    </a:lnTo>
                    <a:lnTo>
                      <a:pt x="489" y="73"/>
                    </a:lnTo>
                    <a:lnTo>
                      <a:pt x="477" y="79"/>
                    </a:lnTo>
                    <a:lnTo>
                      <a:pt x="464" y="87"/>
                    </a:lnTo>
                    <a:lnTo>
                      <a:pt x="449" y="99"/>
                    </a:lnTo>
                    <a:lnTo>
                      <a:pt x="429" y="116"/>
                    </a:lnTo>
                    <a:lnTo>
                      <a:pt x="406" y="138"/>
                    </a:lnTo>
                    <a:lnTo>
                      <a:pt x="379" y="162"/>
                    </a:lnTo>
                    <a:lnTo>
                      <a:pt x="349" y="193"/>
                    </a:lnTo>
                    <a:lnTo>
                      <a:pt x="274" y="271"/>
                    </a:lnTo>
                    <a:lnTo>
                      <a:pt x="177" y="373"/>
                    </a:lnTo>
                    <a:lnTo>
                      <a:pt x="58" y="502"/>
                    </a:lnTo>
                    <a:lnTo>
                      <a:pt x="58" y="502"/>
                    </a:lnTo>
                    <a:lnTo>
                      <a:pt x="53" y="507"/>
                    </a:lnTo>
                    <a:lnTo>
                      <a:pt x="48" y="510"/>
                    </a:lnTo>
                    <a:lnTo>
                      <a:pt x="42" y="512"/>
                    </a:lnTo>
                    <a:lnTo>
                      <a:pt x="36" y="512"/>
                    </a:lnTo>
                    <a:lnTo>
                      <a:pt x="28" y="512"/>
                    </a:lnTo>
                    <a:lnTo>
                      <a:pt x="22" y="511"/>
                    </a:lnTo>
                    <a:lnTo>
                      <a:pt x="17" y="508"/>
                    </a:lnTo>
                    <a:lnTo>
                      <a:pt x="12" y="504"/>
                    </a:lnTo>
                    <a:lnTo>
                      <a:pt x="12" y="504"/>
                    </a:lnTo>
                    <a:lnTo>
                      <a:pt x="7" y="499"/>
                    </a:lnTo>
                    <a:lnTo>
                      <a:pt x="4" y="493"/>
                    </a:lnTo>
                    <a:lnTo>
                      <a:pt x="1" y="487"/>
                    </a:lnTo>
                    <a:lnTo>
                      <a:pt x="0" y="481"/>
                    </a:lnTo>
                    <a:lnTo>
                      <a:pt x="1" y="475"/>
                    </a:lnTo>
                    <a:lnTo>
                      <a:pt x="2" y="469"/>
                    </a:lnTo>
                    <a:lnTo>
                      <a:pt x="6" y="462"/>
                    </a:lnTo>
                    <a:lnTo>
                      <a:pt x="10" y="457"/>
                    </a:lnTo>
                    <a:lnTo>
                      <a:pt x="10" y="457"/>
                    </a:lnTo>
                    <a:lnTo>
                      <a:pt x="150" y="304"/>
                    </a:lnTo>
                    <a:lnTo>
                      <a:pt x="209" y="242"/>
                    </a:lnTo>
                    <a:lnTo>
                      <a:pt x="261" y="187"/>
                    </a:lnTo>
                    <a:lnTo>
                      <a:pt x="307" y="141"/>
                    </a:lnTo>
                    <a:lnTo>
                      <a:pt x="346" y="102"/>
                    </a:lnTo>
                    <a:lnTo>
                      <a:pt x="380" y="70"/>
                    </a:lnTo>
                    <a:lnTo>
                      <a:pt x="409" y="44"/>
                    </a:lnTo>
                    <a:lnTo>
                      <a:pt x="435" y="26"/>
                    </a:lnTo>
                    <a:lnTo>
                      <a:pt x="446" y="19"/>
                    </a:lnTo>
                    <a:lnTo>
                      <a:pt x="457" y="12"/>
                    </a:lnTo>
                    <a:lnTo>
                      <a:pt x="467" y="7"/>
                    </a:lnTo>
                    <a:lnTo>
                      <a:pt x="476" y="3"/>
                    </a:lnTo>
                    <a:lnTo>
                      <a:pt x="485" y="1"/>
                    </a:lnTo>
                    <a:lnTo>
                      <a:pt x="493" y="0"/>
                    </a:lnTo>
                    <a:lnTo>
                      <a:pt x="501" y="0"/>
                    </a:lnTo>
                    <a:lnTo>
                      <a:pt x="509" y="0"/>
                    </a:lnTo>
                    <a:lnTo>
                      <a:pt x="516" y="2"/>
                    </a:lnTo>
                    <a:lnTo>
                      <a:pt x="523" y="5"/>
                    </a:lnTo>
                    <a:lnTo>
                      <a:pt x="530" y="8"/>
                    </a:lnTo>
                    <a:lnTo>
                      <a:pt x="538" y="12"/>
                    </a:lnTo>
                    <a:lnTo>
                      <a:pt x="552" y="24"/>
                    </a:lnTo>
                    <a:lnTo>
                      <a:pt x="552" y="24"/>
                    </a:lnTo>
                    <a:lnTo>
                      <a:pt x="564" y="34"/>
                    </a:lnTo>
                    <a:lnTo>
                      <a:pt x="574" y="45"/>
                    </a:lnTo>
                    <a:lnTo>
                      <a:pt x="578" y="51"/>
                    </a:lnTo>
                    <a:lnTo>
                      <a:pt x="581" y="57"/>
                    </a:lnTo>
                    <a:lnTo>
                      <a:pt x="583" y="63"/>
                    </a:lnTo>
                    <a:lnTo>
                      <a:pt x="585" y="69"/>
                    </a:lnTo>
                    <a:lnTo>
                      <a:pt x="586" y="77"/>
                    </a:lnTo>
                    <a:lnTo>
                      <a:pt x="586" y="84"/>
                    </a:lnTo>
                    <a:lnTo>
                      <a:pt x="585" y="92"/>
                    </a:lnTo>
                    <a:lnTo>
                      <a:pt x="583" y="100"/>
                    </a:lnTo>
                    <a:lnTo>
                      <a:pt x="581" y="110"/>
                    </a:lnTo>
                    <a:lnTo>
                      <a:pt x="577" y="120"/>
                    </a:lnTo>
                    <a:lnTo>
                      <a:pt x="568" y="142"/>
                    </a:lnTo>
                    <a:lnTo>
                      <a:pt x="553" y="168"/>
                    </a:lnTo>
                    <a:lnTo>
                      <a:pt x="535" y="199"/>
                    </a:lnTo>
                    <a:lnTo>
                      <a:pt x="513" y="234"/>
                    </a:lnTo>
                    <a:lnTo>
                      <a:pt x="486" y="274"/>
                    </a:lnTo>
                    <a:lnTo>
                      <a:pt x="416" y="372"/>
                    </a:lnTo>
                    <a:lnTo>
                      <a:pt x="325" y="499"/>
                    </a:lnTo>
                    <a:lnTo>
                      <a:pt x="325" y="499"/>
                    </a:lnTo>
                    <a:lnTo>
                      <a:pt x="320" y="505"/>
                    </a:lnTo>
                    <a:lnTo>
                      <a:pt x="314" y="509"/>
                    </a:lnTo>
                    <a:lnTo>
                      <a:pt x="307" y="512"/>
                    </a:lnTo>
                    <a:lnTo>
                      <a:pt x="298" y="513"/>
                    </a:lnTo>
                    <a:lnTo>
                      <a:pt x="298" y="5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11" name="Freeform 19">
                <a:extLst>
                  <a:ext uri="{FF2B5EF4-FFF2-40B4-BE49-F238E27FC236}">
                    <a16:creationId xmlns:a16="http://schemas.microsoft.com/office/drawing/2014/main" id="{A6A6977A-4091-4700-9508-42B3BB4D8D22}"/>
                  </a:ext>
                </a:extLst>
              </p:cNvPr>
              <p:cNvSpPr>
                <a:spLocks/>
              </p:cNvSpPr>
              <p:nvPr/>
            </p:nvSpPr>
            <p:spPr bwMode="auto">
              <a:xfrm>
                <a:off x="4202113" y="3489326"/>
                <a:ext cx="66675" cy="66675"/>
              </a:xfrm>
              <a:custGeom>
                <a:avLst/>
                <a:gdLst>
                  <a:gd name="T0" fmla="*/ 264 w 298"/>
                  <a:gd name="T1" fmla="*/ 299 h 299"/>
                  <a:gd name="T2" fmla="*/ 252 w 298"/>
                  <a:gd name="T3" fmla="*/ 296 h 299"/>
                  <a:gd name="T4" fmla="*/ 231 w 298"/>
                  <a:gd name="T5" fmla="*/ 288 h 299"/>
                  <a:gd name="T6" fmla="*/ 191 w 298"/>
                  <a:gd name="T7" fmla="*/ 266 h 299"/>
                  <a:gd name="T8" fmla="*/ 154 w 298"/>
                  <a:gd name="T9" fmla="*/ 240 h 299"/>
                  <a:gd name="T10" fmla="*/ 119 w 298"/>
                  <a:gd name="T11" fmla="*/ 211 h 299"/>
                  <a:gd name="T12" fmla="*/ 86 w 298"/>
                  <a:gd name="T13" fmla="*/ 180 h 299"/>
                  <a:gd name="T14" fmla="*/ 59 w 298"/>
                  <a:gd name="T15" fmla="*/ 145 h 299"/>
                  <a:gd name="T16" fmla="*/ 33 w 298"/>
                  <a:gd name="T17" fmla="*/ 108 h 299"/>
                  <a:gd name="T18" fmla="*/ 11 w 298"/>
                  <a:gd name="T19" fmla="*/ 68 h 299"/>
                  <a:gd name="T20" fmla="*/ 2 w 298"/>
                  <a:gd name="T21" fmla="*/ 47 h 299"/>
                  <a:gd name="T22" fmla="*/ 0 w 298"/>
                  <a:gd name="T23" fmla="*/ 33 h 299"/>
                  <a:gd name="T24" fmla="*/ 2 w 298"/>
                  <a:gd name="T25" fmla="*/ 21 h 299"/>
                  <a:gd name="T26" fmla="*/ 9 w 298"/>
                  <a:gd name="T27" fmla="*/ 11 h 299"/>
                  <a:gd name="T28" fmla="*/ 20 w 298"/>
                  <a:gd name="T29" fmla="*/ 3 h 299"/>
                  <a:gd name="T30" fmla="*/ 26 w 298"/>
                  <a:gd name="T31" fmla="*/ 1 h 299"/>
                  <a:gd name="T32" fmla="*/ 39 w 298"/>
                  <a:gd name="T33" fmla="*/ 1 h 299"/>
                  <a:gd name="T34" fmla="*/ 51 w 298"/>
                  <a:gd name="T35" fmla="*/ 7 h 299"/>
                  <a:gd name="T36" fmla="*/ 60 w 298"/>
                  <a:gd name="T37" fmla="*/ 15 h 299"/>
                  <a:gd name="T38" fmla="*/ 63 w 298"/>
                  <a:gd name="T39" fmla="*/ 21 h 299"/>
                  <a:gd name="T40" fmla="*/ 80 w 298"/>
                  <a:gd name="T41" fmla="*/ 56 h 299"/>
                  <a:gd name="T42" fmla="*/ 100 w 298"/>
                  <a:gd name="T43" fmla="*/ 89 h 299"/>
                  <a:gd name="T44" fmla="*/ 124 w 298"/>
                  <a:gd name="T45" fmla="*/ 120 h 299"/>
                  <a:gd name="T46" fmla="*/ 150 w 298"/>
                  <a:gd name="T47" fmla="*/ 149 h 299"/>
                  <a:gd name="T48" fmla="*/ 178 w 298"/>
                  <a:gd name="T49" fmla="*/ 175 h 299"/>
                  <a:gd name="T50" fmla="*/ 210 w 298"/>
                  <a:gd name="T51" fmla="*/ 199 h 299"/>
                  <a:gd name="T52" fmla="*/ 243 w 298"/>
                  <a:gd name="T53" fmla="*/ 219 h 299"/>
                  <a:gd name="T54" fmla="*/ 278 w 298"/>
                  <a:gd name="T55" fmla="*/ 235 h 299"/>
                  <a:gd name="T56" fmla="*/ 283 w 298"/>
                  <a:gd name="T57" fmla="*/ 238 h 299"/>
                  <a:gd name="T58" fmla="*/ 292 w 298"/>
                  <a:gd name="T59" fmla="*/ 248 h 299"/>
                  <a:gd name="T60" fmla="*/ 298 w 298"/>
                  <a:gd name="T61" fmla="*/ 260 h 299"/>
                  <a:gd name="T62" fmla="*/ 298 w 298"/>
                  <a:gd name="T63" fmla="*/ 272 h 299"/>
                  <a:gd name="T64" fmla="*/ 296 w 298"/>
                  <a:gd name="T65" fmla="*/ 279 h 299"/>
                  <a:gd name="T66" fmla="*/ 290 w 298"/>
                  <a:gd name="T67" fmla="*/ 287 h 299"/>
                  <a:gd name="T68" fmla="*/ 283 w 298"/>
                  <a:gd name="T69" fmla="*/ 294 h 299"/>
                  <a:gd name="T70" fmla="*/ 274 w 298"/>
                  <a:gd name="T71" fmla="*/ 298 h 299"/>
                  <a:gd name="T72" fmla="*/ 264 w 298"/>
                  <a:gd name="T73" fmla="*/ 29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8" h="299">
                    <a:moveTo>
                      <a:pt x="264" y="299"/>
                    </a:moveTo>
                    <a:lnTo>
                      <a:pt x="264" y="299"/>
                    </a:lnTo>
                    <a:lnTo>
                      <a:pt x="258" y="298"/>
                    </a:lnTo>
                    <a:lnTo>
                      <a:pt x="252" y="296"/>
                    </a:lnTo>
                    <a:lnTo>
                      <a:pt x="252" y="296"/>
                    </a:lnTo>
                    <a:lnTo>
                      <a:pt x="231" y="288"/>
                    </a:lnTo>
                    <a:lnTo>
                      <a:pt x="211" y="278"/>
                    </a:lnTo>
                    <a:lnTo>
                      <a:pt x="191" y="266"/>
                    </a:lnTo>
                    <a:lnTo>
                      <a:pt x="172" y="254"/>
                    </a:lnTo>
                    <a:lnTo>
                      <a:pt x="154" y="240"/>
                    </a:lnTo>
                    <a:lnTo>
                      <a:pt x="136" y="227"/>
                    </a:lnTo>
                    <a:lnTo>
                      <a:pt x="119" y="211"/>
                    </a:lnTo>
                    <a:lnTo>
                      <a:pt x="102" y="196"/>
                    </a:lnTo>
                    <a:lnTo>
                      <a:pt x="86" y="180"/>
                    </a:lnTo>
                    <a:lnTo>
                      <a:pt x="72" y="163"/>
                    </a:lnTo>
                    <a:lnTo>
                      <a:pt x="59" y="145"/>
                    </a:lnTo>
                    <a:lnTo>
                      <a:pt x="45" y="127"/>
                    </a:lnTo>
                    <a:lnTo>
                      <a:pt x="33" y="108"/>
                    </a:lnTo>
                    <a:lnTo>
                      <a:pt x="21" y="87"/>
                    </a:lnTo>
                    <a:lnTo>
                      <a:pt x="11" y="68"/>
                    </a:lnTo>
                    <a:lnTo>
                      <a:pt x="2" y="47"/>
                    </a:lnTo>
                    <a:lnTo>
                      <a:pt x="2" y="47"/>
                    </a:lnTo>
                    <a:lnTo>
                      <a:pt x="1" y="41"/>
                    </a:lnTo>
                    <a:lnTo>
                      <a:pt x="0" y="33"/>
                    </a:lnTo>
                    <a:lnTo>
                      <a:pt x="1" y="27"/>
                    </a:lnTo>
                    <a:lnTo>
                      <a:pt x="2" y="21"/>
                    </a:lnTo>
                    <a:lnTo>
                      <a:pt x="5" y="16"/>
                    </a:lnTo>
                    <a:lnTo>
                      <a:pt x="9" y="11"/>
                    </a:lnTo>
                    <a:lnTo>
                      <a:pt x="14" y="7"/>
                    </a:lnTo>
                    <a:lnTo>
                      <a:pt x="20" y="3"/>
                    </a:lnTo>
                    <a:lnTo>
                      <a:pt x="20" y="3"/>
                    </a:lnTo>
                    <a:lnTo>
                      <a:pt x="26" y="1"/>
                    </a:lnTo>
                    <a:lnTo>
                      <a:pt x="33" y="0"/>
                    </a:lnTo>
                    <a:lnTo>
                      <a:pt x="39" y="1"/>
                    </a:lnTo>
                    <a:lnTo>
                      <a:pt x="45" y="3"/>
                    </a:lnTo>
                    <a:lnTo>
                      <a:pt x="51" y="7"/>
                    </a:lnTo>
                    <a:lnTo>
                      <a:pt x="55" y="11"/>
                    </a:lnTo>
                    <a:lnTo>
                      <a:pt x="60" y="15"/>
                    </a:lnTo>
                    <a:lnTo>
                      <a:pt x="63" y="21"/>
                    </a:lnTo>
                    <a:lnTo>
                      <a:pt x="63" y="21"/>
                    </a:lnTo>
                    <a:lnTo>
                      <a:pt x="71" y="39"/>
                    </a:lnTo>
                    <a:lnTo>
                      <a:pt x="80" y="56"/>
                    </a:lnTo>
                    <a:lnTo>
                      <a:pt x="90" y="74"/>
                    </a:lnTo>
                    <a:lnTo>
                      <a:pt x="100" y="89"/>
                    </a:lnTo>
                    <a:lnTo>
                      <a:pt x="111" y="106"/>
                    </a:lnTo>
                    <a:lnTo>
                      <a:pt x="124" y="120"/>
                    </a:lnTo>
                    <a:lnTo>
                      <a:pt x="136" y="136"/>
                    </a:lnTo>
                    <a:lnTo>
                      <a:pt x="150" y="149"/>
                    </a:lnTo>
                    <a:lnTo>
                      <a:pt x="163" y="163"/>
                    </a:lnTo>
                    <a:lnTo>
                      <a:pt x="178" y="175"/>
                    </a:lnTo>
                    <a:lnTo>
                      <a:pt x="193" y="188"/>
                    </a:lnTo>
                    <a:lnTo>
                      <a:pt x="210" y="199"/>
                    </a:lnTo>
                    <a:lnTo>
                      <a:pt x="225" y="209"/>
                    </a:lnTo>
                    <a:lnTo>
                      <a:pt x="243" y="219"/>
                    </a:lnTo>
                    <a:lnTo>
                      <a:pt x="259" y="228"/>
                    </a:lnTo>
                    <a:lnTo>
                      <a:pt x="278" y="235"/>
                    </a:lnTo>
                    <a:lnTo>
                      <a:pt x="278" y="235"/>
                    </a:lnTo>
                    <a:lnTo>
                      <a:pt x="283" y="238"/>
                    </a:lnTo>
                    <a:lnTo>
                      <a:pt x="288" y="242"/>
                    </a:lnTo>
                    <a:lnTo>
                      <a:pt x="292" y="248"/>
                    </a:lnTo>
                    <a:lnTo>
                      <a:pt x="296" y="254"/>
                    </a:lnTo>
                    <a:lnTo>
                      <a:pt x="298" y="260"/>
                    </a:lnTo>
                    <a:lnTo>
                      <a:pt x="298" y="266"/>
                    </a:lnTo>
                    <a:lnTo>
                      <a:pt x="298" y="272"/>
                    </a:lnTo>
                    <a:lnTo>
                      <a:pt x="296" y="279"/>
                    </a:lnTo>
                    <a:lnTo>
                      <a:pt x="296" y="279"/>
                    </a:lnTo>
                    <a:lnTo>
                      <a:pt x="293" y="284"/>
                    </a:lnTo>
                    <a:lnTo>
                      <a:pt x="290" y="287"/>
                    </a:lnTo>
                    <a:lnTo>
                      <a:pt x="287" y="291"/>
                    </a:lnTo>
                    <a:lnTo>
                      <a:pt x="283" y="294"/>
                    </a:lnTo>
                    <a:lnTo>
                      <a:pt x="279" y="296"/>
                    </a:lnTo>
                    <a:lnTo>
                      <a:pt x="274" y="298"/>
                    </a:lnTo>
                    <a:lnTo>
                      <a:pt x="270" y="299"/>
                    </a:lnTo>
                    <a:lnTo>
                      <a:pt x="264" y="299"/>
                    </a:lnTo>
                    <a:lnTo>
                      <a:pt x="264"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spTree>
    <p:extLst>
      <p:ext uri="{BB962C8B-B14F-4D97-AF65-F5344CB8AC3E}">
        <p14:creationId xmlns:p14="http://schemas.microsoft.com/office/powerpoint/2010/main" val="1427657203"/>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
          </p:nvPr>
        </p:nvSpPr>
        <p:spPr/>
        <p:txBody>
          <a:bodyPr/>
          <a:lstStyle/>
          <a:p>
            <a:endParaRPr lang="en-US" dirty="0"/>
          </a:p>
        </p:txBody>
      </p:sp>
      <p:sp>
        <p:nvSpPr>
          <p:cNvPr id="8" name="Title 7">
            <a:extLst>
              <a:ext uri="{FF2B5EF4-FFF2-40B4-BE49-F238E27FC236}">
                <a16:creationId xmlns:a16="http://schemas.microsoft.com/office/drawing/2014/main" id="{CFE12123-D4DF-4E7A-B5B1-A37CEADD848E}"/>
              </a:ext>
            </a:extLst>
          </p:cNvPr>
          <p:cNvSpPr>
            <a:spLocks noGrp="1"/>
          </p:cNvSpPr>
          <p:nvPr>
            <p:ph type="title"/>
          </p:nvPr>
        </p:nvSpPr>
        <p:spPr/>
        <p:txBody>
          <a:bodyPr/>
          <a:lstStyle/>
          <a:p>
            <a:pPr>
              <a:defRPr/>
            </a:pPr>
            <a:r>
              <a:rPr lang="en-US" dirty="0"/>
              <a:t>Effect of Baseline Corticosteroid Use on Outcome with ICIs</a:t>
            </a:r>
            <a:endParaRPr lang="en-ID" dirty="0">
              <a:latin typeface="Gene Sans" panose="00000500000000000000" pitchFamily="50" charset="0"/>
            </a:endParaRPr>
          </a:p>
        </p:txBody>
      </p:sp>
      <p:sp>
        <p:nvSpPr>
          <p:cNvPr id="419" name="Google Shape;122;p3">
            <a:extLst>
              <a:ext uri="{FF2B5EF4-FFF2-40B4-BE49-F238E27FC236}">
                <a16:creationId xmlns:a16="http://schemas.microsoft.com/office/drawing/2014/main" id="{E030F3E8-7FE0-43A6-81CB-48A2491B3195}"/>
              </a:ext>
            </a:extLst>
          </p:cNvPr>
          <p:cNvSpPr txBox="1">
            <a:spLocks/>
          </p:cNvSpPr>
          <p:nvPr/>
        </p:nvSpPr>
        <p:spPr>
          <a:xfrm>
            <a:off x="381000" y="94545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grpSp>
        <p:nvGrpSpPr>
          <p:cNvPr id="52" name="Group 51">
            <a:extLst>
              <a:ext uri="{FF2B5EF4-FFF2-40B4-BE49-F238E27FC236}">
                <a16:creationId xmlns:a16="http://schemas.microsoft.com/office/drawing/2014/main" id="{E82EFB9A-8BCF-4DAC-9CF5-395888C2DF41}"/>
              </a:ext>
            </a:extLst>
          </p:cNvPr>
          <p:cNvGrpSpPr/>
          <p:nvPr/>
        </p:nvGrpSpPr>
        <p:grpSpPr>
          <a:xfrm>
            <a:off x="2065284" y="4510485"/>
            <a:ext cx="5013432" cy="107722"/>
            <a:chOff x="2425723" y="3283222"/>
            <a:chExt cx="5013432" cy="107722"/>
          </a:xfrm>
        </p:grpSpPr>
        <p:grpSp>
          <p:nvGrpSpPr>
            <p:cNvPr id="49" name="Group 48">
              <a:extLst>
                <a:ext uri="{FF2B5EF4-FFF2-40B4-BE49-F238E27FC236}">
                  <a16:creationId xmlns:a16="http://schemas.microsoft.com/office/drawing/2014/main" id="{2A4F983C-F5E2-43A7-A55E-C754022518DB}"/>
                </a:ext>
              </a:extLst>
            </p:cNvPr>
            <p:cNvGrpSpPr/>
            <p:nvPr/>
          </p:nvGrpSpPr>
          <p:grpSpPr>
            <a:xfrm>
              <a:off x="2425723" y="3283222"/>
              <a:ext cx="1234129" cy="107722"/>
              <a:chOff x="3839946" y="3163560"/>
              <a:chExt cx="1234129" cy="107722"/>
            </a:xfrm>
          </p:grpSpPr>
          <p:cxnSp>
            <p:nvCxnSpPr>
              <p:cNvPr id="639" name="Google Shape;3254;p24">
                <a:extLst>
                  <a:ext uri="{FF2B5EF4-FFF2-40B4-BE49-F238E27FC236}">
                    <a16:creationId xmlns:a16="http://schemas.microsoft.com/office/drawing/2014/main" id="{CB283F4A-8D0D-4DB2-AA7F-B8EBFC5838FC}"/>
                  </a:ext>
                </a:extLst>
              </p:cNvPr>
              <p:cNvCxnSpPr/>
              <p:nvPr/>
            </p:nvCxnSpPr>
            <p:spPr>
              <a:xfrm>
                <a:off x="3839946" y="3217421"/>
                <a:ext cx="237863" cy="0"/>
              </a:xfrm>
              <a:prstGeom prst="straightConnector1">
                <a:avLst/>
              </a:prstGeom>
              <a:noFill/>
              <a:ln w="19050" cap="flat" cmpd="sng">
                <a:solidFill>
                  <a:schemeClr val="accent4"/>
                </a:solidFill>
                <a:prstDash val="solid"/>
                <a:round/>
                <a:headEnd type="none" w="sm" len="sm"/>
                <a:tailEnd type="none" w="sm" len="sm"/>
              </a:ln>
            </p:spPr>
          </p:cxnSp>
          <p:sp>
            <p:nvSpPr>
              <p:cNvPr id="640" name="Google Shape;3255;p24">
                <a:extLst>
                  <a:ext uri="{FF2B5EF4-FFF2-40B4-BE49-F238E27FC236}">
                    <a16:creationId xmlns:a16="http://schemas.microsoft.com/office/drawing/2014/main" id="{2CB23C0E-1FF6-4DFB-857D-3CFD75EF5C41}"/>
                  </a:ext>
                </a:extLst>
              </p:cNvPr>
              <p:cNvSpPr txBox="1"/>
              <p:nvPr/>
            </p:nvSpPr>
            <p:spPr>
              <a:xfrm>
                <a:off x="4117082" y="3163560"/>
                <a:ext cx="956993" cy="107722"/>
              </a:xfrm>
              <a:prstGeom prst="rect">
                <a:avLst/>
              </a:prstGeom>
              <a:noFill/>
              <a:ln>
                <a:noFill/>
              </a:ln>
            </p:spPr>
            <p:txBody>
              <a:bodyPr spcFirstLastPara="1" wrap="non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Prednisone 0 to &lt; 10 mg</a:t>
                </a:r>
                <a:endParaRPr kumimoji="0" sz="1050" b="0" i="0" u="none" strike="noStrike" kern="0" cap="none" spc="0" normalizeH="0" baseline="0" noProof="0" dirty="0">
                  <a:ln>
                    <a:noFill/>
                  </a:ln>
                  <a:solidFill>
                    <a:srgbClr val="000000"/>
                  </a:solidFill>
                  <a:effectLst/>
                  <a:uLnTx/>
                  <a:uFillTx/>
                  <a:latin typeface="Gene Sans Light" panose="00000400000000000000" pitchFamily="2" charset="0"/>
                  <a:cs typeface="Arial"/>
                  <a:sym typeface="Arial"/>
                </a:endParaRPr>
              </a:p>
            </p:txBody>
          </p:sp>
        </p:grpSp>
        <p:grpSp>
          <p:nvGrpSpPr>
            <p:cNvPr id="50" name="Group 49">
              <a:extLst>
                <a:ext uri="{FF2B5EF4-FFF2-40B4-BE49-F238E27FC236}">
                  <a16:creationId xmlns:a16="http://schemas.microsoft.com/office/drawing/2014/main" id="{2F0C2530-7E45-412F-9A2A-6DD1F19896C7}"/>
                </a:ext>
              </a:extLst>
            </p:cNvPr>
            <p:cNvGrpSpPr/>
            <p:nvPr/>
          </p:nvGrpSpPr>
          <p:grpSpPr>
            <a:xfrm>
              <a:off x="3802413" y="3283222"/>
              <a:ext cx="1697397" cy="107722"/>
              <a:chOff x="3839946" y="3293474"/>
              <a:chExt cx="1697397" cy="107722"/>
            </a:xfrm>
          </p:grpSpPr>
          <p:cxnSp>
            <p:nvCxnSpPr>
              <p:cNvPr id="641" name="Google Shape;3256;p24">
                <a:extLst>
                  <a:ext uri="{FF2B5EF4-FFF2-40B4-BE49-F238E27FC236}">
                    <a16:creationId xmlns:a16="http://schemas.microsoft.com/office/drawing/2014/main" id="{AC287278-6467-40BA-9A1F-A926B5EB97E0}"/>
                  </a:ext>
                </a:extLst>
              </p:cNvPr>
              <p:cNvCxnSpPr/>
              <p:nvPr/>
            </p:nvCxnSpPr>
            <p:spPr>
              <a:xfrm>
                <a:off x="3839946" y="3347335"/>
                <a:ext cx="237863" cy="0"/>
              </a:xfrm>
              <a:prstGeom prst="straightConnector1">
                <a:avLst/>
              </a:prstGeom>
              <a:noFill/>
              <a:ln w="19050" cap="flat" cmpd="sng">
                <a:solidFill>
                  <a:schemeClr val="tx1"/>
                </a:solidFill>
                <a:prstDash val="solid"/>
                <a:round/>
                <a:headEnd type="none" w="sm" len="sm"/>
                <a:tailEnd type="none" w="sm" len="sm"/>
              </a:ln>
            </p:spPr>
          </p:cxnSp>
          <p:sp>
            <p:nvSpPr>
              <p:cNvPr id="642" name="Google Shape;3257;p24">
                <a:extLst>
                  <a:ext uri="{FF2B5EF4-FFF2-40B4-BE49-F238E27FC236}">
                    <a16:creationId xmlns:a16="http://schemas.microsoft.com/office/drawing/2014/main" id="{ADFABD64-52D7-4F07-98A2-65B097D8CFD0}"/>
                  </a:ext>
                </a:extLst>
              </p:cNvPr>
              <p:cNvSpPr txBox="1"/>
              <p:nvPr/>
            </p:nvSpPr>
            <p:spPr>
              <a:xfrm>
                <a:off x="4117082" y="3293474"/>
                <a:ext cx="1420261" cy="107722"/>
              </a:xfrm>
              <a:prstGeom prst="rect">
                <a:avLst/>
              </a:prstGeom>
              <a:noFill/>
              <a:ln>
                <a:noFill/>
              </a:ln>
            </p:spPr>
            <p:txBody>
              <a:bodyPr spcFirstLastPara="1" wrap="non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Prednisone ≥ 10 mg (cancer-related)</a:t>
                </a:r>
                <a:endParaRPr kumimoji="0" sz="1050" b="0" i="0" u="none" strike="noStrike" kern="0" cap="none" spc="0" normalizeH="0" baseline="0" noProof="0" dirty="0">
                  <a:ln>
                    <a:noFill/>
                  </a:ln>
                  <a:solidFill>
                    <a:srgbClr val="000000"/>
                  </a:solidFill>
                  <a:effectLst/>
                  <a:uLnTx/>
                  <a:uFillTx/>
                  <a:latin typeface="Gene Sans Light" panose="00000400000000000000" pitchFamily="2" charset="0"/>
                  <a:cs typeface="Arial"/>
                  <a:sym typeface="Arial"/>
                </a:endParaRPr>
              </a:p>
            </p:txBody>
          </p:sp>
        </p:grpSp>
        <p:grpSp>
          <p:nvGrpSpPr>
            <p:cNvPr id="51" name="Group 50">
              <a:extLst>
                <a:ext uri="{FF2B5EF4-FFF2-40B4-BE49-F238E27FC236}">
                  <a16:creationId xmlns:a16="http://schemas.microsoft.com/office/drawing/2014/main" id="{7BEF7B5F-BC5D-4060-83CE-9AD0CD8E9758}"/>
                </a:ext>
              </a:extLst>
            </p:cNvPr>
            <p:cNvGrpSpPr/>
            <p:nvPr/>
          </p:nvGrpSpPr>
          <p:grpSpPr>
            <a:xfrm>
              <a:off x="5642371" y="3283222"/>
              <a:ext cx="1796784" cy="107722"/>
              <a:chOff x="3839946" y="3423389"/>
              <a:chExt cx="1796784" cy="107722"/>
            </a:xfrm>
          </p:grpSpPr>
          <p:cxnSp>
            <p:nvCxnSpPr>
              <p:cNvPr id="643" name="Google Shape;3260;p24">
                <a:extLst>
                  <a:ext uri="{FF2B5EF4-FFF2-40B4-BE49-F238E27FC236}">
                    <a16:creationId xmlns:a16="http://schemas.microsoft.com/office/drawing/2014/main" id="{64D736EB-F40E-4532-8DDC-7995D56902B8}"/>
                  </a:ext>
                </a:extLst>
              </p:cNvPr>
              <p:cNvCxnSpPr/>
              <p:nvPr/>
            </p:nvCxnSpPr>
            <p:spPr>
              <a:xfrm>
                <a:off x="3839946" y="3477250"/>
                <a:ext cx="237863" cy="0"/>
              </a:xfrm>
              <a:prstGeom prst="straightConnector1">
                <a:avLst/>
              </a:prstGeom>
              <a:noFill/>
              <a:ln w="19050" cap="flat" cmpd="sng">
                <a:solidFill>
                  <a:schemeClr val="accent5"/>
                </a:solidFill>
                <a:prstDash val="solid"/>
                <a:round/>
                <a:headEnd type="none" w="sm" len="sm"/>
                <a:tailEnd type="none" w="sm" len="sm"/>
              </a:ln>
            </p:spPr>
          </p:cxnSp>
          <p:sp>
            <p:nvSpPr>
              <p:cNvPr id="644" name="Google Shape;3261;p24">
                <a:extLst>
                  <a:ext uri="{FF2B5EF4-FFF2-40B4-BE49-F238E27FC236}">
                    <a16:creationId xmlns:a16="http://schemas.microsoft.com/office/drawing/2014/main" id="{594772E3-352C-40F2-8FF6-6A06E6CAD017}"/>
                  </a:ext>
                </a:extLst>
              </p:cNvPr>
              <p:cNvSpPr txBox="1"/>
              <p:nvPr/>
            </p:nvSpPr>
            <p:spPr>
              <a:xfrm>
                <a:off x="4117083" y="3423389"/>
                <a:ext cx="1519647" cy="107722"/>
              </a:xfrm>
              <a:prstGeom prst="rect">
                <a:avLst/>
              </a:prstGeom>
              <a:noFill/>
              <a:ln>
                <a:noFill/>
              </a:ln>
            </p:spPr>
            <p:txBody>
              <a:bodyPr spcFirstLastPara="1" wrap="non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7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Prednisone ≥ 10 mg (cancer-unrelated)</a:t>
                </a:r>
                <a:endParaRPr kumimoji="0" sz="1050" b="0" i="0" u="none" strike="noStrike" kern="0" cap="none" spc="0" normalizeH="0" baseline="0" noProof="0" dirty="0">
                  <a:ln>
                    <a:noFill/>
                  </a:ln>
                  <a:solidFill>
                    <a:srgbClr val="000000"/>
                  </a:solidFill>
                  <a:effectLst/>
                  <a:uLnTx/>
                  <a:uFillTx/>
                  <a:latin typeface="Gene Sans Light" panose="00000400000000000000" pitchFamily="2" charset="0"/>
                  <a:cs typeface="Arial"/>
                  <a:sym typeface="Arial"/>
                </a:endParaRPr>
              </a:p>
            </p:txBody>
          </p:sp>
        </p:grpSp>
      </p:grpSp>
      <p:graphicFrame>
        <p:nvGraphicFramePr>
          <p:cNvPr id="650" name="Google Shape;3433;p24">
            <a:extLst>
              <a:ext uri="{FF2B5EF4-FFF2-40B4-BE49-F238E27FC236}">
                <a16:creationId xmlns:a16="http://schemas.microsoft.com/office/drawing/2014/main" id="{7BE12529-5C83-43BD-8098-840127098125}"/>
              </a:ext>
            </a:extLst>
          </p:cNvPr>
          <p:cNvGraphicFramePr/>
          <p:nvPr/>
        </p:nvGraphicFramePr>
        <p:xfrm>
          <a:off x="391509" y="3650512"/>
          <a:ext cx="4087339" cy="804798"/>
        </p:xfrm>
        <a:graphic>
          <a:graphicData uri="http://schemas.openxmlformats.org/drawingml/2006/table">
            <a:tbl>
              <a:tblPr firstRow="1" bandRow="1">
                <a:noFill/>
              </a:tblPr>
              <a:tblGrid>
                <a:gridCol w="740635">
                  <a:extLst>
                    <a:ext uri="{9D8B030D-6E8A-4147-A177-3AD203B41FA5}">
                      <a16:colId xmlns:a16="http://schemas.microsoft.com/office/drawing/2014/main" val="20000"/>
                    </a:ext>
                  </a:extLst>
                </a:gridCol>
                <a:gridCol w="557784">
                  <a:extLst>
                    <a:ext uri="{9D8B030D-6E8A-4147-A177-3AD203B41FA5}">
                      <a16:colId xmlns:a16="http://schemas.microsoft.com/office/drawing/2014/main" val="20001"/>
                    </a:ext>
                  </a:extLst>
                </a:gridCol>
                <a:gridCol w="557784">
                  <a:extLst>
                    <a:ext uri="{9D8B030D-6E8A-4147-A177-3AD203B41FA5}">
                      <a16:colId xmlns:a16="http://schemas.microsoft.com/office/drawing/2014/main" val="20002"/>
                    </a:ext>
                  </a:extLst>
                </a:gridCol>
                <a:gridCol w="557784">
                  <a:extLst>
                    <a:ext uri="{9D8B030D-6E8A-4147-A177-3AD203B41FA5}">
                      <a16:colId xmlns:a16="http://schemas.microsoft.com/office/drawing/2014/main" val="20003"/>
                    </a:ext>
                  </a:extLst>
                </a:gridCol>
                <a:gridCol w="557784">
                  <a:extLst>
                    <a:ext uri="{9D8B030D-6E8A-4147-A177-3AD203B41FA5}">
                      <a16:colId xmlns:a16="http://schemas.microsoft.com/office/drawing/2014/main" val="20004"/>
                    </a:ext>
                  </a:extLst>
                </a:gridCol>
                <a:gridCol w="557784">
                  <a:extLst>
                    <a:ext uri="{9D8B030D-6E8A-4147-A177-3AD203B41FA5}">
                      <a16:colId xmlns:a16="http://schemas.microsoft.com/office/drawing/2014/main" val="20005"/>
                    </a:ext>
                  </a:extLst>
                </a:gridCol>
                <a:gridCol w="557784">
                  <a:extLst>
                    <a:ext uri="{9D8B030D-6E8A-4147-A177-3AD203B41FA5}">
                      <a16:colId xmlns:a16="http://schemas.microsoft.com/office/drawing/2014/main" val="20006"/>
                    </a:ext>
                  </a:extLst>
                </a:gridCol>
              </a:tblGrid>
              <a:tr h="256158">
                <a:tc>
                  <a:txBody>
                    <a:bodyPr/>
                    <a:lstStyle/>
                    <a:p>
                      <a:pPr marL="0" marR="0" lvl="0" indent="0" algn="l" rtl="0">
                        <a:lnSpc>
                          <a:spcPct val="100000"/>
                        </a:lnSpc>
                        <a:spcBef>
                          <a:spcPts val="0"/>
                        </a:spcBef>
                        <a:spcAft>
                          <a:spcPts val="0"/>
                        </a:spcAft>
                        <a:buClr>
                          <a:schemeClr val="accent1"/>
                        </a:buClr>
                        <a:buSzPts val="900"/>
                        <a:buFont typeface="Arial"/>
                        <a:buNone/>
                      </a:pPr>
                      <a:r>
                        <a:rPr lang="en-US" sz="600" b="1" dirty="0">
                          <a:solidFill>
                            <a:schemeClr val="accent4"/>
                          </a:solidFill>
                          <a:latin typeface="Gene Sans Light" panose="00000400000000000000" pitchFamily="2" charset="0"/>
                        </a:rPr>
                        <a:t>Prednisone </a:t>
                      </a:r>
                      <a:br>
                        <a:rPr lang="en-US" sz="600" b="1" dirty="0">
                          <a:solidFill>
                            <a:schemeClr val="accent4"/>
                          </a:solidFill>
                          <a:latin typeface="Gene Sans Light" panose="00000400000000000000" pitchFamily="2" charset="0"/>
                        </a:rPr>
                      </a:br>
                      <a:r>
                        <a:rPr lang="en-US" sz="600" b="1" dirty="0">
                          <a:solidFill>
                            <a:schemeClr val="accent4"/>
                          </a:solidFill>
                          <a:latin typeface="Gene Sans Light" panose="00000400000000000000" pitchFamily="2" charset="0"/>
                        </a:rPr>
                        <a:t>0 to &lt; 10 mg</a:t>
                      </a:r>
                      <a:endParaRPr sz="600" dirty="0">
                        <a:solidFill>
                          <a:schemeClr val="accent4"/>
                        </a:solidFill>
                        <a:latin typeface="Gene Sans Light" panose="00000400000000000000" pitchFamily="2" charset="0"/>
                      </a:endParaRPr>
                    </a:p>
                  </a:txBody>
                  <a:tcPr marL="0" marR="72000" marT="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4"/>
                          </a:solidFill>
                          <a:latin typeface="Gene Sans Light" panose="00000400000000000000" pitchFamily="2" charset="0"/>
                        </a:rPr>
                        <a:t>557</a:t>
                      </a:r>
                      <a:endParaRPr sz="700" dirty="0">
                        <a:solidFill>
                          <a:schemeClr val="accent4"/>
                        </a:solidFill>
                        <a:latin typeface="Gene Sans Light" panose="00000400000000000000" pitchFamily="2" charset="0"/>
                      </a:endParaRPr>
                    </a:p>
                  </a:txBody>
                  <a:tcPr marL="72000" marR="72000" marT="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4"/>
                          </a:solidFill>
                          <a:latin typeface="Gene Sans Light" panose="00000400000000000000" pitchFamily="2" charset="0"/>
                        </a:rPr>
                        <a:t>91</a:t>
                      </a:r>
                      <a:endParaRPr sz="700" dirty="0">
                        <a:solidFill>
                          <a:schemeClr val="accent4"/>
                        </a:solidFill>
                        <a:latin typeface="Gene Sans Light" panose="00000400000000000000" pitchFamily="2" charset="0"/>
                      </a:endParaRPr>
                    </a:p>
                  </a:txBody>
                  <a:tcPr marL="72000" marR="72000" marT="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4"/>
                          </a:solidFill>
                          <a:latin typeface="Gene Sans Light" panose="00000400000000000000" pitchFamily="2" charset="0"/>
                        </a:rPr>
                        <a:t>35</a:t>
                      </a:r>
                      <a:endParaRPr sz="700" dirty="0">
                        <a:solidFill>
                          <a:schemeClr val="accent4"/>
                        </a:solidFill>
                        <a:latin typeface="Gene Sans Light" panose="00000400000000000000" pitchFamily="2" charset="0"/>
                      </a:endParaRPr>
                    </a:p>
                  </a:txBody>
                  <a:tcPr marL="72000" marR="72000" marT="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4"/>
                          </a:solidFill>
                          <a:latin typeface="Gene Sans Light" panose="00000400000000000000" pitchFamily="2" charset="0"/>
                        </a:rPr>
                        <a:t>10</a:t>
                      </a:r>
                      <a:endParaRPr sz="700" dirty="0">
                        <a:solidFill>
                          <a:schemeClr val="accent4"/>
                        </a:solidFill>
                        <a:latin typeface="Gene Sans Light" panose="00000400000000000000" pitchFamily="2" charset="0"/>
                      </a:endParaRPr>
                    </a:p>
                  </a:txBody>
                  <a:tcPr marL="72000" marR="72000" marT="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4"/>
                          </a:solidFill>
                          <a:latin typeface="Gene Sans Light" panose="00000400000000000000" pitchFamily="2" charset="0"/>
                        </a:rPr>
                        <a:t>4</a:t>
                      </a:r>
                      <a:endParaRPr sz="700" dirty="0">
                        <a:solidFill>
                          <a:schemeClr val="accent4"/>
                        </a:solidFill>
                        <a:latin typeface="Gene Sans Light" panose="00000400000000000000" pitchFamily="2" charset="0"/>
                      </a:endParaRPr>
                    </a:p>
                  </a:txBody>
                  <a:tcPr marL="72000" marR="72000" marT="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4"/>
                          </a:solidFill>
                          <a:latin typeface="Gene Sans Light" panose="00000400000000000000" pitchFamily="2" charset="0"/>
                        </a:rPr>
                        <a:t>0</a:t>
                      </a:r>
                      <a:endParaRPr sz="700" dirty="0">
                        <a:solidFill>
                          <a:schemeClr val="accent4"/>
                        </a:solidFill>
                        <a:latin typeface="Gene Sans Light" panose="00000400000000000000" pitchFamily="2" charset="0"/>
                      </a:endParaRPr>
                    </a:p>
                  </a:txBody>
                  <a:tcPr marL="72000" marR="72000" marT="0" marB="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0"/>
                  </a:ext>
                </a:extLst>
              </a:tr>
              <a:tr h="256158">
                <a:tc>
                  <a:txBody>
                    <a:bodyPr/>
                    <a:lstStyle/>
                    <a:p>
                      <a:pPr marL="0" marR="0" lvl="0" indent="0" algn="l" rtl="0">
                        <a:lnSpc>
                          <a:spcPct val="100000"/>
                        </a:lnSpc>
                        <a:spcBef>
                          <a:spcPts val="0"/>
                        </a:spcBef>
                        <a:spcAft>
                          <a:spcPts val="0"/>
                        </a:spcAft>
                        <a:buClr>
                          <a:schemeClr val="dk2"/>
                        </a:buClr>
                        <a:buSzPts val="900"/>
                        <a:buFont typeface="Arial"/>
                        <a:buNone/>
                      </a:pPr>
                      <a:r>
                        <a:rPr lang="en-US" sz="600" b="1" dirty="0">
                          <a:solidFill>
                            <a:schemeClr val="tx1"/>
                          </a:solidFill>
                          <a:latin typeface="Gene Sans Light" panose="00000400000000000000" pitchFamily="2" charset="0"/>
                        </a:rPr>
                        <a:t>Prednisone ≥ 10 mg (cancer-related)</a:t>
                      </a:r>
                      <a:endParaRPr sz="600" dirty="0">
                        <a:solidFill>
                          <a:schemeClr val="tx1"/>
                        </a:solidFill>
                        <a:latin typeface="Gene Sans Light" panose="00000400000000000000" pitchFamily="2" charset="0"/>
                      </a:endParaRPr>
                    </a:p>
                  </a:txBody>
                  <a:tcPr marL="0" marR="72000" marT="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tx1"/>
                          </a:solidFill>
                          <a:latin typeface="Gene Sans Light" panose="00000400000000000000" pitchFamily="2" charset="0"/>
                        </a:rPr>
                        <a:t>66</a:t>
                      </a:r>
                      <a:endParaRPr sz="700" dirty="0">
                        <a:solidFill>
                          <a:schemeClr val="tx1"/>
                        </a:solidFill>
                        <a:latin typeface="Gene Sans Light" panose="00000400000000000000" pitchFamily="2" charset="0"/>
                      </a:endParaRPr>
                    </a:p>
                  </a:txBody>
                  <a:tcPr marL="72000" marR="72000" marT="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tx1"/>
                          </a:solidFill>
                          <a:latin typeface="Gene Sans Light" panose="00000400000000000000" pitchFamily="2" charset="0"/>
                        </a:rPr>
                        <a:t>6</a:t>
                      </a:r>
                      <a:endParaRPr sz="700" dirty="0">
                        <a:solidFill>
                          <a:schemeClr val="tx1"/>
                        </a:solidFill>
                        <a:latin typeface="Gene Sans Light" panose="00000400000000000000" pitchFamily="2" charset="0"/>
                      </a:endParaRPr>
                    </a:p>
                  </a:txBody>
                  <a:tcPr marL="72000" marR="72000" marT="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tx1"/>
                          </a:solidFill>
                          <a:latin typeface="Gene Sans Light" panose="00000400000000000000" pitchFamily="2" charset="0"/>
                        </a:rPr>
                        <a:t>1</a:t>
                      </a:r>
                      <a:endParaRPr sz="700" dirty="0">
                        <a:solidFill>
                          <a:schemeClr val="tx1"/>
                        </a:solidFill>
                        <a:latin typeface="Gene Sans Light" panose="00000400000000000000" pitchFamily="2" charset="0"/>
                      </a:endParaRPr>
                    </a:p>
                  </a:txBody>
                  <a:tcPr marL="72000" marR="72000" marT="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tx1"/>
                          </a:solidFill>
                          <a:latin typeface="Gene Sans Light" panose="00000400000000000000" pitchFamily="2" charset="0"/>
                        </a:rPr>
                        <a:t>0</a:t>
                      </a:r>
                      <a:endParaRPr sz="700" dirty="0">
                        <a:solidFill>
                          <a:schemeClr val="tx1"/>
                        </a:solidFill>
                        <a:latin typeface="Gene Sans Light" panose="00000400000000000000" pitchFamily="2" charset="0"/>
                      </a:endParaRPr>
                    </a:p>
                  </a:txBody>
                  <a:tcPr marL="72000" marR="72000" marT="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tx1"/>
                          </a:solidFill>
                          <a:latin typeface="Gene Sans Light" panose="00000400000000000000" pitchFamily="2" charset="0"/>
                        </a:rPr>
                        <a:t>0</a:t>
                      </a:r>
                      <a:endParaRPr sz="700" dirty="0">
                        <a:solidFill>
                          <a:schemeClr val="tx1"/>
                        </a:solidFill>
                        <a:latin typeface="Gene Sans Light" panose="00000400000000000000" pitchFamily="2" charset="0"/>
                      </a:endParaRPr>
                    </a:p>
                  </a:txBody>
                  <a:tcPr marL="72000" marR="72000" marT="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tx1"/>
                          </a:solidFill>
                          <a:latin typeface="Gene Sans Light" panose="00000400000000000000" pitchFamily="2" charset="0"/>
                        </a:rPr>
                        <a:t>0</a:t>
                      </a:r>
                      <a:endParaRPr sz="700" dirty="0">
                        <a:solidFill>
                          <a:schemeClr val="tx1"/>
                        </a:solidFill>
                        <a:latin typeface="Gene Sans Light" panose="00000400000000000000" pitchFamily="2" charset="0"/>
                      </a:endParaRPr>
                    </a:p>
                  </a:txBody>
                  <a:tcPr marL="72000" marR="72000" marT="0" marB="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1"/>
                  </a:ext>
                </a:extLst>
              </a:tr>
              <a:tr h="256158">
                <a:tc>
                  <a:txBody>
                    <a:bodyPr/>
                    <a:lstStyle/>
                    <a:p>
                      <a:pPr marL="0" marR="0" lvl="0" indent="0" algn="l" rtl="0">
                        <a:lnSpc>
                          <a:spcPct val="100000"/>
                        </a:lnSpc>
                        <a:spcBef>
                          <a:spcPts val="0"/>
                        </a:spcBef>
                        <a:spcAft>
                          <a:spcPts val="0"/>
                        </a:spcAft>
                        <a:buClr>
                          <a:schemeClr val="accent2"/>
                        </a:buClr>
                        <a:buSzPts val="900"/>
                        <a:buFont typeface="Arial"/>
                        <a:buNone/>
                      </a:pPr>
                      <a:r>
                        <a:rPr lang="en-US" sz="600" b="1" dirty="0">
                          <a:solidFill>
                            <a:schemeClr val="accent5"/>
                          </a:solidFill>
                          <a:latin typeface="Gene Sans Light" panose="00000400000000000000" pitchFamily="2" charset="0"/>
                        </a:rPr>
                        <a:t>Prednisone ≥ 10 mg (cancer-unrelated)</a:t>
                      </a:r>
                      <a:endParaRPr sz="600" dirty="0">
                        <a:solidFill>
                          <a:schemeClr val="accent5"/>
                        </a:solidFill>
                        <a:latin typeface="Gene Sans Light" panose="00000400000000000000" pitchFamily="2" charset="0"/>
                      </a:endParaRPr>
                    </a:p>
                  </a:txBody>
                  <a:tcPr marL="0" marR="72000" marT="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5"/>
                          </a:solidFill>
                          <a:latin typeface="Gene Sans Light" panose="00000400000000000000" pitchFamily="2" charset="0"/>
                        </a:rPr>
                        <a:t>27</a:t>
                      </a:r>
                      <a:endParaRPr sz="700" dirty="0">
                        <a:solidFill>
                          <a:schemeClr val="accent5"/>
                        </a:solidFill>
                        <a:latin typeface="Gene Sans Light" panose="00000400000000000000" pitchFamily="2" charset="0"/>
                      </a:endParaRPr>
                    </a:p>
                  </a:txBody>
                  <a:tcPr marL="72000" marR="72000" marT="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5"/>
                          </a:solidFill>
                          <a:latin typeface="Gene Sans Light" panose="00000400000000000000" pitchFamily="2" charset="0"/>
                        </a:rPr>
                        <a:t>8</a:t>
                      </a:r>
                      <a:endParaRPr sz="700" dirty="0">
                        <a:solidFill>
                          <a:schemeClr val="accent5"/>
                        </a:solidFill>
                        <a:latin typeface="Gene Sans Light" panose="00000400000000000000" pitchFamily="2" charset="0"/>
                      </a:endParaRPr>
                    </a:p>
                  </a:txBody>
                  <a:tcPr marL="72000" marR="72000" marT="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5"/>
                          </a:solidFill>
                          <a:latin typeface="Gene Sans Light" panose="00000400000000000000" pitchFamily="2" charset="0"/>
                        </a:rPr>
                        <a:t>2</a:t>
                      </a:r>
                      <a:endParaRPr sz="700" dirty="0">
                        <a:solidFill>
                          <a:schemeClr val="accent5"/>
                        </a:solidFill>
                        <a:latin typeface="Gene Sans Light" panose="00000400000000000000" pitchFamily="2" charset="0"/>
                      </a:endParaRPr>
                    </a:p>
                  </a:txBody>
                  <a:tcPr marL="72000" marR="72000" marT="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5"/>
                          </a:solidFill>
                          <a:latin typeface="Gene Sans Light" panose="00000400000000000000" pitchFamily="2" charset="0"/>
                        </a:rPr>
                        <a:t>0</a:t>
                      </a:r>
                      <a:endParaRPr sz="700" dirty="0">
                        <a:solidFill>
                          <a:schemeClr val="accent5"/>
                        </a:solidFill>
                        <a:latin typeface="Gene Sans Light" panose="00000400000000000000" pitchFamily="2" charset="0"/>
                      </a:endParaRPr>
                    </a:p>
                  </a:txBody>
                  <a:tcPr marL="72000" marR="72000" marT="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5"/>
                          </a:solidFill>
                          <a:latin typeface="Gene Sans Light" panose="00000400000000000000" pitchFamily="2" charset="0"/>
                        </a:rPr>
                        <a:t>0</a:t>
                      </a:r>
                      <a:endParaRPr sz="700" dirty="0">
                        <a:solidFill>
                          <a:schemeClr val="accent5"/>
                        </a:solidFill>
                        <a:latin typeface="Gene Sans Light" panose="00000400000000000000" pitchFamily="2" charset="0"/>
                      </a:endParaRPr>
                    </a:p>
                  </a:txBody>
                  <a:tcPr marL="72000" marR="72000" marT="0" marB="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5"/>
                          </a:solidFill>
                          <a:latin typeface="Gene Sans Light" panose="00000400000000000000" pitchFamily="2" charset="0"/>
                        </a:rPr>
                        <a:t>0</a:t>
                      </a:r>
                      <a:endParaRPr sz="700" dirty="0">
                        <a:solidFill>
                          <a:schemeClr val="accent5"/>
                        </a:solidFill>
                        <a:latin typeface="Gene Sans Light" panose="00000400000000000000" pitchFamily="2" charset="0"/>
                      </a:endParaRPr>
                    </a:p>
                  </a:txBody>
                  <a:tcPr marL="72000" marR="72000" marT="0" marB="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651" name="Google Shape;3434;p24">
            <a:extLst>
              <a:ext uri="{FF2B5EF4-FFF2-40B4-BE49-F238E27FC236}">
                <a16:creationId xmlns:a16="http://schemas.microsoft.com/office/drawing/2014/main" id="{9B4B7F32-3423-43D2-BE4A-E1858752C81D}"/>
              </a:ext>
            </a:extLst>
          </p:cNvPr>
          <p:cNvSpPr txBox="1"/>
          <p:nvPr/>
        </p:nvSpPr>
        <p:spPr>
          <a:xfrm>
            <a:off x="378809" y="3456594"/>
            <a:ext cx="871147" cy="138499"/>
          </a:xfrm>
          <a:prstGeom prst="rect">
            <a:avLst/>
          </a:prstGeom>
          <a:noFill/>
          <a:ln>
            <a:noFill/>
          </a:ln>
        </p:spPr>
        <p:txBody>
          <a:bodyPr spcFirstLastPara="1" wrap="square" lIns="0" tIns="0" rIns="0" bIns="0" anchor="t" anchorCtr="0">
            <a:spAutoFit/>
          </a:bodyPr>
          <a:lstStyle/>
          <a:p>
            <a:pPr marL="127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1" i="0" u="none" strike="noStrike" kern="0" cap="none" spc="0" normalizeH="0" baseline="0" noProof="0" dirty="0">
                <a:ln>
                  <a:noFill/>
                </a:ln>
                <a:solidFill>
                  <a:srgbClr val="004677"/>
                </a:solidFill>
                <a:effectLst/>
                <a:uLnTx/>
                <a:uFillTx/>
                <a:latin typeface="Gene Sans Light" panose="00000400000000000000" pitchFamily="2" charset="0"/>
                <a:cs typeface="Arial"/>
                <a:sym typeface="Arial"/>
              </a:rPr>
              <a:t>No. at risk:</a:t>
            </a:r>
            <a:endParaRPr kumimoji="0" sz="900" b="1" i="0" u="none" strike="noStrike" kern="0" cap="none" spc="0" normalizeH="0" baseline="0" noProof="0" dirty="0">
              <a:ln>
                <a:noFill/>
              </a:ln>
              <a:solidFill>
                <a:srgbClr val="004677"/>
              </a:solidFill>
              <a:effectLst/>
              <a:uLnTx/>
              <a:uFillTx/>
              <a:latin typeface="Gene Sans Light" panose="00000400000000000000" pitchFamily="2" charset="0"/>
              <a:cs typeface="Arial"/>
              <a:sym typeface="Arial"/>
            </a:endParaRPr>
          </a:p>
        </p:txBody>
      </p:sp>
      <p:graphicFrame>
        <p:nvGraphicFramePr>
          <p:cNvPr id="649" name="Shape1_20200925_154825">
            <a:extLst>
              <a:ext uri="{FF2B5EF4-FFF2-40B4-BE49-F238E27FC236}">
                <a16:creationId xmlns:a16="http://schemas.microsoft.com/office/drawing/2014/main" id="{D530E7E3-AA4B-44AB-91EE-DBAB72763543}"/>
              </a:ext>
            </a:extLst>
          </p:cNvPr>
          <p:cNvGraphicFramePr/>
          <p:nvPr/>
        </p:nvGraphicFramePr>
        <p:xfrm>
          <a:off x="744794" y="1430008"/>
          <a:ext cx="3657600" cy="2233326"/>
        </p:xfrm>
        <a:graphic>
          <a:graphicData uri="http://schemas.openxmlformats.org/drawingml/2006/chart">
            <c:chart xmlns:c="http://schemas.openxmlformats.org/drawingml/2006/chart" xmlns:r="http://schemas.openxmlformats.org/officeDocument/2006/relationships" r:id="rId3"/>
          </a:graphicData>
        </a:graphic>
      </p:graphicFrame>
      <p:grpSp>
        <p:nvGrpSpPr>
          <p:cNvPr id="653" name="Group 652">
            <a:extLst>
              <a:ext uri="{FF2B5EF4-FFF2-40B4-BE49-F238E27FC236}">
                <a16:creationId xmlns:a16="http://schemas.microsoft.com/office/drawing/2014/main" id="{F1FD95E6-BF7E-42DD-9B37-627DAA4E1399}"/>
              </a:ext>
            </a:extLst>
          </p:cNvPr>
          <p:cNvGrpSpPr/>
          <p:nvPr/>
        </p:nvGrpSpPr>
        <p:grpSpPr>
          <a:xfrm>
            <a:off x="1410305" y="1574773"/>
            <a:ext cx="2743200" cy="1603241"/>
            <a:chOff x="5372783" y="1507084"/>
            <a:chExt cx="2972202" cy="1753755"/>
          </a:xfrm>
        </p:grpSpPr>
        <p:grpSp>
          <p:nvGrpSpPr>
            <p:cNvPr id="654" name="Group 653">
              <a:extLst>
                <a:ext uri="{FF2B5EF4-FFF2-40B4-BE49-F238E27FC236}">
                  <a16:creationId xmlns:a16="http://schemas.microsoft.com/office/drawing/2014/main" id="{EF3270ED-F267-4806-9AA0-4DCC8D15C067}"/>
                </a:ext>
              </a:extLst>
            </p:cNvPr>
            <p:cNvGrpSpPr/>
            <p:nvPr/>
          </p:nvGrpSpPr>
          <p:grpSpPr>
            <a:xfrm>
              <a:off x="5378224" y="1516646"/>
              <a:ext cx="1873156" cy="1427340"/>
              <a:chOff x="5378224" y="1402317"/>
              <a:chExt cx="1873156" cy="1427340"/>
            </a:xfrm>
          </p:grpSpPr>
          <p:sp>
            <p:nvSpPr>
              <p:cNvPr id="812" name="Google Shape;3407;p24">
                <a:extLst>
                  <a:ext uri="{FF2B5EF4-FFF2-40B4-BE49-F238E27FC236}">
                    <a16:creationId xmlns:a16="http://schemas.microsoft.com/office/drawing/2014/main" id="{799A3561-26FB-4064-8424-87426FFD97B4}"/>
                  </a:ext>
                </a:extLst>
              </p:cNvPr>
              <p:cNvSpPr/>
              <p:nvPr/>
            </p:nvSpPr>
            <p:spPr>
              <a:xfrm>
                <a:off x="5378224" y="1402317"/>
                <a:ext cx="1843958" cy="1402688"/>
              </a:xfrm>
              <a:custGeom>
                <a:avLst/>
                <a:gdLst/>
                <a:ahLst/>
                <a:cxnLst/>
                <a:rect l="l" t="t" r="r" b="b"/>
                <a:pathLst>
                  <a:path w="1004570" h="1011555" extrusionOk="0">
                    <a:moveTo>
                      <a:pt x="0" y="0"/>
                    </a:moveTo>
                    <a:lnTo>
                      <a:pt x="6413" y="0"/>
                    </a:lnTo>
                    <a:lnTo>
                      <a:pt x="6413" y="46494"/>
                    </a:lnTo>
                    <a:lnTo>
                      <a:pt x="18376" y="46494"/>
                    </a:lnTo>
                    <a:lnTo>
                      <a:pt x="18376" y="93014"/>
                    </a:lnTo>
                    <a:lnTo>
                      <a:pt x="32207" y="93014"/>
                    </a:lnTo>
                    <a:lnTo>
                      <a:pt x="32207" y="139522"/>
                    </a:lnTo>
                    <a:lnTo>
                      <a:pt x="41376" y="139522"/>
                    </a:lnTo>
                    <a:lnTo>
                      <a:pt x="41376" y="186016"/>
                    </a:lnTo>
                    <a:lnTo>
                      <a:pt x="46901" y="186016"/>
                    </a:lnTo>
                    <a:lnTo>
                      <a:pt x="46901" y="232524"/>
                    </a:lnTo>
                    <a:lnTo>
                      <a:pt x="51473" y="232524"/>
                    </a:lnTo>
                    <a:lnTo>
                      <a:pt x="51473" y="279018"/>
                    </a:lnTo>
                    <a:lnTo>
                      <a:pt x="55156" y="279018"/>
                    </a:lnTo>
                    <a:lnTo>
                      <a:pt x="55156" y="325513"/>
                    </a:lnTo>
                    <a:lnTo>
                      <a:pt x="57023" y="325513"/>
                    </a:lnTo>
                    <a:lnTo>
                      <a:pt x="57023" y="372008"/>
                    </a:lnTo>
                    <a:lnTo>
                      <a:pt x="65303" y="372008"/>
                    </a:lnTo>
                    <a:lnTo>
                      <a:pt x="65303" y="418515"/>
                    </a:lnTo>
                    <a:lnTo>
                      <a:pt x="77279" y="418515"/>
                    </a:lnTo>
                    <a:lnTo>
                      <a:pt x="77279" y="465023"/>
                    </a:lnTo>
                    <a:lnTo>
                      <a:pt x="96570" y="465023"/>
                    </a:lnTo>
                    <a:lnTo>
                      <a:pt x="96570" y="511505"/>
                    </a:lnTo>
                    <a:lnTo>
                      <a:pt x="102069" y="511505"/>
                    </a:lnTo>
                    <a:lnTo>
                      <a:pt x="102069" y="558012"/>
                    </a:lnTo>
                    <a:lnTo>
                      <a:pt x="125069" y="558012"/>
                    </a:lnTo>
                    <a:lnTo>
                      <a:pt x="125069" y="604507"/>
                    </a:lnTo>
                    <a:lnTo>
                      <a:pt x="128727" y="604507"/>
                    </a:lnTo>
                    <a:lnTo>
                      <a:pt x="128727" y="651052"/>
                    </a:lnTo>
                    <a:lnTo>
                      <a:pt x="134251" y="651052"/>
                    </a:lnTo>
                    <a:lnTo>
                      <a:pt x="134251" y="697547"/>
                    </a:lnTo>
                    <a:lnTo>
                      <a:pt x="147116" y="697547"/>
                    </a:lnTo>
                    <a:lnTo>
                      <a:pt x="147116" y="744042"/>
                    </a:lnTo>
                    <a:lnTo>
                      <a:pt x="197713" y="744042"/>
                    </a:lnTo>
                    <a:lnTo>
                      <a:pt x="197713" y="790536"/>
                    </a:lnTo>
                    <a:lnTo>
                      <a:pt x="269430" y="790536"/>
                    </a:lnTo>
                    <a:lnTo>
                      <a:pt x="269430" y="837031"/>
                    </a:lnTo>
                    <a:lnTo>
                      <a:pt x="379780" y="837031"/>
                    </a:lnTo>
                    <a:lnTo>
                      <a:pt x="379780" y="889355"/>
                    </a:lnTo>
                    <a:lnTo>
                      <a:pt x="429450" y="889355"/>
                    </a:lnTo>
                    <a:lnTo>
                      <a:pt x="429450" y="950379"/>
                    </a:lnTo>
                    <a:lnTo>
                      <a:pt x="547154" y="950379"/>
                    </a:lnTo>
                    <a:lnTo>
                      <a:pt x="547154" y="1011415"/>
                    </a:lnTo>
                    <a:lnTo>
                      <a:pt x="1004150" y="1011415"/>
                    </a:lnTo>
                  </a:path>
                </a:pathLst>
              </a:custGeom>
              <a:noFill/>
              <a:ln w="1905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grpSp>
            <p:nvGrpSpPr>
              <p:cNvPr id="813" name="Google Shape;3408;p24">
                <a:extLst>
                  <a:ext uri="{FF2B5EF4-FFF2-40B4-BE49-F238E27FC236}">
                    <a16:creationId xmlns:a16="http://schemas.microsoft.com/office/drawing/2014/main" id="{DDD01899-4209-4E24-98B8-6296166AC146}"/>
                  </a:ext>
                </a:extLst>
              </p:cNvPr>
              <p:cNvGrpSpPr/>
              <p:nvPr/>
            </p:nvGrpSpPr>
            <p:grpSpPr>
              <a:xfrm>
                <a:off x="5951823" y="2538857"/>
                <a:ext cx="1299557" cy="290800"/>
                <a:chOff x="7775131" y="3673898"/>
                <a:chExt cx="1997305" cy="522786"/>
              </a:xfrm>
            </p:grpSpPr>
            <p:sp>
              <p:nvSpPr>
                <p:cNvPr id="814" name="Google Shape;3409;p24">
                  <a:extLst>
                    <a:ext uri="{FF2B5EF4-FFF2-40B4-BE49-F238E27FC236}">
                      <a16:creationId xmlns:a16="http://schemas.microsoft.com/office/drawing/2014/main" id="{F9D71632-7485-4482-AFDD-6C037183BBD7}"/>
                    </a:ext>
                  </a:extLst>
                </p:cNvPr>
                <p:cNvSpPr/>
                <p:nvPr/>
              </p:nvSpPr>
              <p:spPr>
                <a:xfrm>
                  <a:off x="7775131" y="3717301"/>
                  <a:ext cx="90605" cy="0"/>
                </a:xfrm>
                <a:custGeom>
                  <a:avLst/>
                  <a:gdLst/>
                  <a:ahLst/>
                  <a:cxnLst/>
                  <a:rect l="l" t="t" r="r" b="b"/>
                  <a:pathLst>
                    <a:path w="24129" h="120000" extrusionOk="0">
                      <a:moveTo>
                        <a:pt x="0" y="0"/>
                      </a:moveTo>
                      <a:lnTo>
                        <a:pt x="23622"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815" name="Google Shape;3410;p24">
                  <a:extLst>
                    <a:ext uri="{FF2B5EF4-FFF2-40B4-BE49-F238E27FC236}">
                      <a16:creationId xmlns:a16="http://schemas.microsoft.com/office/drawing/2014/main" id="{381BF3C1-64E5-484A-B64E-1EA62EF32359}"/>
                    </a:ext>
                  </a:extLst>
                </p:cNvPr>
                <p:cNvSpPr/>
                <p:nvPr/>
              </p:nvSpPr>
              <p:spPr>
                <a:xfrm>
                  <a:off x="7819647" y="3673898"/>
                  <a:ext cx="0" cy="88070"/>
                </a:xfrm>
                <a:custGeom>
                  <a:avLst/>
                  <a:gdLst/>
                  <a:ahLst/>
                  <a:cxnLst/>
                  <a:rect l="l" t="t" r="r" b="b"/>
                  <a:pathLst>
                    <a:path w="120000" h="24130" extrusionOk="0">
                      <a:moveTo>
                        <a:pt x="0" y="23647"/>
                      </a:moveTo>
                      <a:lnTo>
                        <a:pt x="0"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816" name="Google Shape;3411;p24">
                  <a:extLst>
                    <a:ext uri="{FF2B5EF4-FFF2-40B4-BE49-F238E27FC236}">
                      <a16:creationId xmlns:a16="http://schemas.microsoft.com/office/drawing/2014/main" id="{300F7639-2EF6-4D0E-8B3C-3B9F75F17EEB}"/>
                    </a:ext>
                  </a:extLst>
                </p:cNvPr>
                <p:cNvSpPr/>
                <p:nvPr/>
              </p:nvSpPr>
              <p:spPr>
                <a:xfrm>
                  <a:off x="8037071" y="3847738"/>
                  <a:ext cx="90605" cy="0"/>
                </a:xfrm>
                <a:custGeom>
                  <a:avLst/>
                  <a:gdLst/>
                  <a:ahLst/>
                  <a:cxnLst/>
                  <a:rect l="l" t="t" r="r" b="b"/>
                  <a:pathLst>
                    <a:path w="24129" h="120000" extrusionOk="0">
                      <a:moveTo>
                        <a:pt x="0" y="0"/>
                      </a:moveTo>
                      <a:lnTo>
                        <a:pt x="23647"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817" name="Google Shape;3412;p24">
                  <a:extLst>
                    <a:ext uri="{FF2B5EF4-FFF2-40B4-BE49-F238E27FC236}">
                      <a16:creationId xmlns:a16="http://schemas.microsoft.com/office/drawing/2014/main" id="{0BB14C14-A839-4179-9B83-F89E649EC817}"/>
                    </a:ext>
                  </a:extLst>
                </p:cNvPr>
                <p:cNvSpPr/>
                <p:nvPr/>
              </p:nvSpPr>
              <p:spPr>
                <a:xfrm>
                  <a:off x="8081728" y="3804304"/>
                  <a:ext cx="0" cy="88070"/>
                </a:xfrm>
                <a:custGeom>
                  <a:avLst/>
                  <a:gdLst/>
                  <a:ahLst/>
                  <a:cxnLst/>
                  <a:rect l="l" t="t" r="r" b="b"/>
                  <a:pathLst>
                    <a:path w="120000" h="24130" extrusionOk="0">
                      <a:moveTo>
                        <a:pt x="0" y="23647"/>
                      </a:moveTo>
                      <a:lnTo>
                        <a:pt x="0"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818" name="Google Shape;3413;p24">
                  <a:extLst>
                    <a:ext uri="{FF2B5EF4-FFF2-40B4-BE49-F238E27FC236}">
                      <a16:creationId xmlns:a16="http://schemas.microsoft.com/office/drawing/2014/main" id="{0DAB7464-B4E5-47BF-B9ED-2EE344D5BA0C}"/>
                    </a:ext>
                  </a:extLst>
                </p:cNvPr>
                <p:cNvSpPr/>
                <p:nvPr/>
              </p:nvSpPr>
              <p:spPr>
                <a:xfrm>
                  <a:off x="8452139" y="4152049"/>
                  <a:ext cx="90605" cy="0"/>
                </a:xfrm>
                <a:custGeom>
                  <a:avLst/>
                  <a:gdLst/>
                  <a:ahLst/>
                  <a:cxnLst/>
                  <a:rect l="l" t="t" r="r" b="b"/>
                  <a:pathLst>
                    <a:path w="24129" h="120000" extrusionOk="0">
                      <a:moveTo>
                        <a:pt x="0" y="0"/>
                      </a:moveTo>
                      <a:lnTo>
                        <a:pt x="23634"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819" name="Google Shape;3414;p24">
                  <a:extLst>
                    <a:ext uri="{FF2B5EF4-FFF2-40B4-BE49-F238E27FC236}">
                      <a16:creationId xmlns:a16="http://schemas.microsoft.com/office/drawing/2014/main" id="{A668987E-9B07-4A16-B0F5-B4A34C0715D2}"/>
                    </a:ext>
                  </a:extLst>
                </p:cNvPr>
                <p:cNvSpPr/>
                <p:nvPr/>
              </p:nvSpPr>
              <p:spPr>
                <a:xfrm>
                  <a:off x="8496798" y="4108614"/>
                  <a:ext cx="0" cy="88070"/>
                </a:xfrm>
                <a:custGeom>
                  <a:avLst/>
                  <a:gdLst/>
                  <a:ahLst/>
                  <a:cxnLst/>
                  <a:rect l="l" t="t" r="r" b="b"/>
                  <a:pathLst>
                    <a:path w="120000" h="24130" extrusionOk="0">
                      <a:moveTo>
                        <a:pt x="0" y="23647"/>
                      </a:moveTo>
                      <a:lnTo>
                        <a:pt x="0"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820" name="Google Shape;3415;p24">
                  <a:extLst>
                    <a:ext uri="{FF2B5EF4-FFF2-40B4-BE49-F238E27FC236}">
                      <a16:creationId xmlns:a16="http://schemas.microsoft.com/office/drawing/2014/main" id="{1CBAC9BA-7352-4870-9ACE-8009A00A7219}"/>
                    </a:ext>
                  </a:extLst>
                </p:cNvPr>
                <p:cNvSpPr/>
                <p:nvPr/>
              </p:nvSpPr>
              <p:spPr>
                <a:xfrm>
                  <a:off x="8574135" y="4152049"/>
                  <a:ext cx="90605" cy="0"/>
                </a:xfrm>
                <a:custGeom>
                  <a:avLst/>
                  <a:gdLst/>
                  <a:ahLst/>
                  <a:cxnLst/>
                  <a:rect l="l" t="t" r="r" b="b"/>
                  <a:pathLst>
                    <a:path w="24129" h="120000" extrusionOk="0">
                      <a:moveTo>
                        <a:pt x="0" y="0"/>
                      </a:moveTo>
                      <a:lnTo>
                        <a:pt x="23609"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821" name="Google Shape;3416;p24">
                  <a:extLst>
                    <a:ext uri="{FF2B5EF4-FFF2-40B4-BE49-F238E27FC236}">
                      <a16:creationId xmlns:a16="http://schemas.microsoft.com/office/drawing/2014/main" id="{4297888A-1DFA-41A4-B3D9-93F441084C63}"/>
                    </a:ext>
                  </a:extLst>
                </p:cNvPr>
                <p:cNvSpPr/>
                <p:nvPr/>
              </p:nvSpPr>
              <p:spPr>
                <a:xfrm>
                  <a:off x="8618718" y="4108614"/>
                  <a:ext cx="0" cy="88070"/>
                </a:xfrm>
                <a:custGeom>
                  <a:avLst/>
                  <a:gdLst/>
                  <a:ahLst/>
                  <a:cxnLst/>
                  <a:rect l="l" t="t" r="r" b="b"/>
                  <a:pathLst>
                    <a:path w="120000" h="24130" extrusionOk="0">
                      <a:moveTo>
                        <a:pt x="0" y="23647"/>
                      </a:moveTo>
                      <a:lnTo>
                        <a:pt x="0"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1157" name="Google Shape;3417;p24">
                  <a:extLst>
                    <a:ext uri="{FF2B5EF4-FFF2-40B4-BE49-F238E27FC236}">
                      <a16:creationId xmlns:a16="http://schemas.microsoft.com/office/drawing/2014/main" id="{40C5F894-633D-495C-9060-AAF384A6CCE7}"/>
                    </a:ext>
                  </a:extLst>
                </p:cNvPr>
                <p:cNvSpPr/>
                <p:nvPr/>
              </p:nvSpPr>
              <p:spPr>
                <a:xfrm>
                  <a:off x="8779106" y="4152049"/>
                  <a:ext cx="90605" cy="0"/>
                </a:xfrm>
                <a:custGeom>
                  <a:avLst/>
                  <a:gdLst/>
                  <a:ahLst/>
                  <a:cxnLst/>
                  <a:rect l="l" t="t" r="r" b="b"/>
                  <a:pathLst>
                    <a:path w="24129" h="120000" extrusionOk="0">
                      <a:moveTo>
                        <a:pt x="0" y="0"/>
                      </a:moveTo>
                      <a:lnTo>
                        <a:pt x="23596"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1158" name="Google Shape;3418;p24">
                  <a:extLst>
                    <a:ext uri="{FF2B5EF4-FFF2-40B4-BE49-F238E27FC236}">
                      <a16:creationId xmlns:a16="http://schemas.microsoft.com/office/drawing/2014/main" id="{57C4F458-058A-4289-BFDB-356BE47CA841}"/>
                    </a:ext>
                  </a:extLst>
                </p:cNvPr>
                <p:cNvSpPr/>
                <p:nvPr/>
              </p:nvSpPr>
              <p:spPr>
                <a:xfrm>
                  <a:off x="8823585" y="4108614"/>
                  <a:ext cx="0" cy="88070"/>
                </a:xfrm>
                <a:custGeom>
                  <a:avLst/>
                  <a:gdLst/>
                  <a:ahLst/>
                  <a:cxnLst/>
                  <a:rect l="l" t="t" r="r" b="b"/>
                  <a:pathLst>
                    <a:path w="120000" h="24130" extrusionOk="0">
                      <a:moveTo>
                        <a:pt x="0" y="23647"/>
                      </a:moveTo>
                      <a:lnTo>
                        <a:pt x="0"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1159" name="Google Shape;3419;p24">
                  <a:extLst>
                    <a:ext uri="{FF2B5EF4-FFF2-40B4-BE49-F238E27FC236}">
                      <a16:creationId xmlns:a16="http://schemas.microsoft.com/office/drawing/2014/main" id="{1C3C9BC8-6499-4E86-B83D-EF25B0876A95}"/>
                    </a:ext>
                  </a:extLst>
                </p:cNvPr>
                <p:cNvSpPr/>
                <p:nvPr/>
              </p:nvSpPr>
              <p:spPr>
                <a:xfrm>
                  <a:off x="9681831" y="4152049"/>
                  <a:ext cx="90605" cy="0"/>
                </a:xfrm>
                <a:custGeom>
                  <a:avLst/>
                  <a:gdLst/>
                  <a:ahLst/>
                  <a:cxnLst/>
                  <a:rect l="l" t="t" r="r" b="b"/>
                  <a:pathLst>
                    <a:path w="24129" h="120000" extrusionOk="0">
                      <a:moveTo>
                        <a:pt x="0" y="0"/>
                      </a:moveTo>
                      <a:lnTo>
                        <a:pt x="23634"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1160" name="Google Shape;3420;p24">
                  <a:extLst>
                    <a:ext uri="{FF2B5EF4-FFF2-40B4-BE49-F238E27FC236}">
                      <a16:creationId xmlns:a16="http://schemas.microsoft.com/office/drawing/2014/main" id="{A302447D-5D89-4CC8-BF00-78DFC91641AF}"/>
                    </a:ext>
                  </a:extLst>
                </p:cNvPr>
                <p:cNvSpPr/>
                <p:nvPr/>
              </p:nvSpPr>
              <p:spPr>
                <a:xfrm>
                  <a:off x="9726454" y="4108614"/>
                  <a:ext cx="0" cy="88070"/>
                </a:xfrm>
                <a:custGeom>
                  <a:avLst/>
                  <a:gdLst/>
                  <a:ahLst/>
                  <a:cxnLst/>
                  <a:rect l="l" t="t" r="r" b="b"/>
                  <a:pathLst>
                    <a:path w="120000" h="24130" extrusionOk="0">
                      <a:moveTo>
                        <a:pt x="0" y="23647"/>
                      </a:moveTo>
                      <a:lnTo>
                        <a:pt x="0"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grpSp>
        </p:grpSp>
        <p:grpSp>
          <p:nvGrpSpPr>
            <p:cNvPr id="655" name="Group 654">
              <a:extLst>
                <a:ext uri="{FF2B5EF4-FFF2-40B4-BE49-F238E27FC236}">
                  <a16:creationId xmlns:a16="http://schemas.microsoft.com/office/drawing/2014/main" id="{8A24C58D-52DB-4335-A237-E540F66418D7}"/>
                </a:ext>
              </a:extLst>
            </p:cNvPr>
            <p:cNvGrpSpPr/>
            <p:nvPr/>
          </p:nvGrpSpPr>
          <p:grpSpPr>
            <a:xfrm>
              <a:off x="5373869" y="1511089"/>
              <a:ext cx="1344089" cy="1749750"/>
              <a:chOff x="5373869" y="1396760"/>
              <a:chExt cx="1344089" cy="1749750"/>
            </a:xfrm>
          </p:grpSpPr>
          <p:sp>
            <p:nvSpPr>
              <p:cNvPr id="800" name="Google Shape;3421;p24">
                <a:extLst>
                  <a:ext uri="{FF2B5EF4-FFF2-40B4-BE49-F238E27FC236}">
                    <a16:creationId xmlns:a16="http://schemas.microsoft.com/office/drawing/2014/main" id="{3EB281FE-7E54-41BC-ACDA-2DE35B142145}"/>
                  </a:ext>
                </a:extLst>
              </p:cNvPr>
              <p:cNvSpPr/>
              <p:nvPr/>
            </p:nvSpPr>
            <p:spPr>
              <a:xfrm>
                <a:off x="5373869" y="1396760"/>
                <a:ext cx="1344089" cy="1749750"/>
              </a:xfrm>
              <a:custGeom>
                <a:avLst/>
                <a:gdLst/>
                <a:ahLst/>
                <a:cxnLst/>
                <a:rect l="l" t="t" r="r" b="b"/>
                <a:pathLst>
                  <a:path w="729614" h="1256030" extrusionOk="0">
                    <a:moveTo>
                      <a:pt x="0" y="0"/>
                    </a:moveTo>
                    <a:lnTo>
                      <a:pt x="4597" y="0"/>
                    </a:lnTo>
                    <a:lnTo>
                      <a:pt x="4597" y="19037"/>
                    </a:lnTo>
                    <a:lnTo>
                      <a:pt x="5537" y="19037"/>
                    </a:lnTo>
                    <a:lnTo>
                      <a:pt x="5537" y="38036"/>
                    </a:lnTo>
                    <a:lnTo>
                      <a:pt x="8280" y="38036"/>
                    </a:lnTo>
                    <a:lnTo>
                      <a:pt x="8280" y="57073"/>
                    </a:lnTo>
                    <a:lnTo>
                      <a:pt x="11010" y="57073"/>
                    </a:lnTo>
                    <a:lnTo>
                      <a:pt x="11010" y="95122"/>
                    </a:lnTo>
                    <a:lnTo>
                      <a:pt x="11950" y="95122"/>
                    </a:lnTo>
                    <a:lnTo>
                      <a:pt x="11950" y="114160"/>
                    </a:lnTo>
                    <a:lnTo>
                      <a:pt x="12877" y="114160"/>
                    </a:lnTo>
                    <a:lnTo>
                      <a:pt x="12877" y="152209"/>
                    </a:lnTo>
                    <a:lnTo>
                      <a:pt x="14719" y="152209"/>
                    </a:lnTo>
                    <a:lnTo>
                      <a:pt x="14719" y="190245"/>
                    </a:lnTo>
                    <a:lnTo>
                      <a:pt x="15633" y="190245"/>
                    </a:lnTo>
                    <a:lnTo>
                      <a:pt x="15633" y="209257"/>
                    </a:lnTo>
                    <a:lnTo>
                      <a:pt x="16548" y="209257"/>
                    </a:lnTo>
                    <a:lnTo>
                      <a:pt x="16548" y="228295"/>
                    </a:lnTo>
                    <a:lnTo>
                      <a:pt x="18376" y="228295"/>
                    </a:lnTo>
                    <a:lnTo>
                      <a:pt x="18376" y="266331"/>
                    </a:lnTo>
                    <a:lnTo>
                      <a:pt x="19316" y="266331"/>
                    </a:lnTo>
                    <a:lnTo>
                      <a:pt x="19316" y="285343"/>
                    </a:lnTo>
                    <a:lnTo>
                      <a:pt x="20231" y="285343"/>
                    </a:lnTo>
                    <a:lnTo>
                      <a:pt x="20231" y="304380"/>
                    </a:lnTo>
                    <a:lnTo>
                      <a:pt x="22034" y="304380"/>
                    </a:lnTo>
                    <a:lnTo>
                      <a:pt x="22034" y="342417"/>
                    </a:lnTo>
                    <a:lnTo>
                      <a:pt x="22999" y="342417"/>
                    </a:lnTo>
                    <a:lnTo>
                      <a:pt x="22999" y="380479"/>
                    </a:lnTo>
                    <a:lnTo>
                      <a:pt x="24815" y="380479"/>
                    </a:lnTo>
                    <a:lnTo>
                      <a:pt x="24815" y="399516"/>
                    </a:lnTo>
                    <a:lnTo>
                      <a:pt x="30327" y="399516"/>
                    </a:lnTo>
                    <a:lnTo>
                      <a:pt x="30327" y="418515"/>
                    </a:lnTo>
                    <a:lnTo>
                      <a:pt x="31292" y="418515"/>
                    </a:lnTo>
                    <a:lnTo>
                      <a:pt x="31292" y="475589"/>
                    </a:lnTo>
                    <a:lnTo>
                      <a:pt x="32207" y="475589"/>
                    </a:lnTo>
                    <a:lnTo>
                      <a:pt x="32207" y="494601"/>
                    </a:lnTo>
                    <a:lnTo>
                      <a:pt x="34963" y="494601"/>
                    </a:lnTo>
                    <a:lnTo>
                      <a:pt x="34963" y="532650"/>
                    </a:lnTo>
                    <a:lnTo>
                      <a:pt x="35864" y="532650"/>
                    </a:lnTo>
                    <a:lnTo>
                      <a:pt x="35864" y="608749"/>
                    </a:lnTo>
                    <a:lnTo>
                      <a:pt x="39547" y="608749"/>
                    </a:lnTo>
                    <a:lnTo>
                      <a:pt x="39547" y="646810"/>
                    </a:lnTo>
                    <a:lnTo>
                      <a:pt x="45986" y="646810"/>
                    </a:lnTo>
                    <a:lnTo>
                      <a:pt x="45986" y="665822"/>
                    </a:lnTo>
                    <a:lnTo>
                      <a:pt x="47790" y="665822"/>
                    </a:lnTo>
                    <a:lnTo>
                      <a:pt x="47790" y="684860"/>
                    </a:lnTo>
                    <a:lnTo>
                      <a:pt x="49644" y="684860"/>
                    </a:lnTo>
                    <a:lnTo>
                      <a:pt x="49644" y="703872"/>
                    </a:lnTo>
                    <a:lnTo>
                      <a:pt x="51473" y="703872"/>
                    </a:lnTo>
                    <a:lnTo>
                      <a:pt x="51473" y="741908"/>
                    </a:lnTo>
                    <a:lnTo>
                      <a:pt x="54267" y="741908"/>
                    </a:lnTo>
                    <a:lnTo>
                      <a:pt x="54267" y="760945"/>
                    </a:lnTo>
                    <a:lnTo>
                      <a:pt x="55156" y="760945"/>
                    </a:lnTo>
                    <a:lnTo>
                      <a:pt x="55156" y="779957"/>
                    </a:lnTo>
                    <a:lnTo>
                      <a:pt x="57924" y="779957"/>
                    </a:lnTo>
                    <a:lnTo>
                      <a:pt x="57924" y="798995"/>
                    </a:lnTo>
                    <a:lnTo>
                      <a:pt x="59766" y="798995"/>
                    </a:lnTo>
                    <a:lnTo>
                      <a:pt x="59766" y="818819"/>
                    </a:lnTo>
                    <a:lnTo>
                      <a:pt x="71704" y="818819"/>
                    </a:lnTo>
                    <a:lnTo>
                      <a:pt x="71704" y="838682"/>
                    </a:lnTo>
                    <a:lnTo>
                      <a:pt x="73571" y="838682"/>
                    </a:lnTo>
                    <a:lnTo>
                      <a:pt x="73571" y="858545"/>
                    </a:lnTo>
                    <a:lnTo>
                      <a:pt x="74485" y="858545"/>
                    </a:lnTo>
                    <a:lnTo>
                      <a:pt x="74485" y="878382"/>
                    </a:lnTo>
                    <a:lnTo>
                      <a:pt x="75399" y="878382"/>
                    </a:lnTo>
                    <a:lnTo>
                      <a:pt x="75399" y="898245"/>
                    </a:lnTo>
                    <a:lnTo>
                      <a:pt x="76301" y="898245"/>
                    </a:lnTo>
                    <a:lnTo>
                      <a:pt x="76301" y="937945"/>
                    </a:lnTo>
                    <a:lnTo>
                      <a:pt x="80010" y="937945"/>
                    </a:lnTo>
                    <a:lnTo>
                      <a:pt x="80010" y="957795"/>
                    </a:lnTo>
                    <a:lnTo>
                      <a:pt x="89179" y="957795"/>
                    </a:lnTo>
                    <a:lnTo>
                      <a:pt x="89179" y="977620"/>
                    </a:lnTo>
                    <a:lnTo>
                      <a:pt x="102997" y="977620"/>
                    </a:lnTo>
                    <a:lnTo>
                      <a:pt x="102997" y="1017333"/>
                    </a:lnTo>
                    <a:lnTo>
                      <a:pt x="108496" y="1017333"/>
                    </a:lnTo>
                    <a:lnTo>
                      <a:pt x="108496" y="1037196"/>
                    </a:lnTo>
                    <a:lnTo>
                      <a:pt x="158165" y="1037196"/>
                    </a:lnTo>
                    <a:lnTo>
                      <a:pt x="158165" y="1057059"/>
                    </a:lnTo>
                    <a:lnTo>
                      <a:pt x="175653" y="1057059"/>
                    </a:lnTo>
                    <a:lnTo>
                      <a:pt x="175653" y="1076883"/>
                    </a:lnTo>
                    <a:lnTo>
                      <a:pt x="364147" y="1076883"/>
                    </a:lnTo>
                    <a:lnTo>
                      <a:pt x="364147" y="1106677"/>
                    </a:lnTo>
                    <a:lnTo>
                      <a:pt x="394500" y="1106677"/>
                    </a:lnTo>
                    <a:lnTo>
                      <a:pt x="394500" y="1136446"/>
                    </a:lnTo>
                    <a:lnTo>
                      <a:pt x="577494" y="1136446"/>
                    </a:lnTo>
                    <a:lnTo>
                      <a:pt x="577494" y="1195997"/>
                    </a:lnTo>
                    <a:lnTo>
                      <a:pt x="729234" y="1195997"/>
                    </a:lnTo>
                    <a:lnTo>
                      <a:pt x="729234" y="125556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grpSp>
            <p:nvGrpSpPr>
              <p:cNvPr id="801" name="Group 800">
                <a:extLst>
                  <a:ext uri="{FF2B5EF4-FFF2-40B4-BE49-F238E27FC236}">
                    <a16:creationId xmlns:a16="http://schemas.microsoft.com/office/drawing/2014/main" id="{08FC2AD4-AD3C-4847-AF78-D1AD7D28A236}"/>
                  </a:ext>
                </a:extLst>
              </p:cNvPr>
              <p:cNvGrpSpPr/>
              <p:nvPr/>
            </p:nvGrpSpPr>
            <p:grpSpPr>
              <a:xfrm>
                <a:off x="5700440" y="2870266"/>
                <a:ext cx="736103" cy="137061"/>
                <a:chOff x="5700440" y="2870266"/>
                <a:chExt cx="736103" cy="137061"/>
              </a:xfrm>
            </p:grpSpPr>
            <p:sp>
              <p:nvSpPr>
                <p:cNvPr id="802" name="Google Shape;3422;p24">
                  <a:extLst>
                    <a:ext uri="{FF2B5EF4-FFF2-40B4-BE49-F238E27FC236}">
                      <a16:creationId xmlns:a16="http://schemas.microsoft.com/office/drawing/2014/main" id="{69AEE7B0-A592-400A-BDA0-1C9D8C90513E}"/>
                    </a:ext>
                  </a:extLst>
                </p:cNvPr>
                <p:cNvSpPr/>
                <p:nvPr/>
              </p:nvSpPr>
              <p:spPr>
                <a:xfrm>
                  <a:off x="5700440" y="2896946"/>
                  <a:ext cx="59166" cy="0"/>
                </a:xfrm>
                <a:custGeom>
                  <a:avLst/>
                  <a:gdLst/>
                  <a:ahLst/>
                  <a:cxnLst/>
                  <a:rect l="l" t="t" r="r" b="b"/>
                  <a:pathLst>
                    <a:path w="24129" h="120000" extrusionOk="0">
                      <a:moveTo>
                        <a:pt x="0" y="0"/>
                      </a:moveTo>
                      <a:lnTo>
                        <a:pt x="23672" y="0"/>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803" name="Google Shape;3423;p24">
                  <a:extLst>
                    <a:ext uri="{FF2B5EF4-FFF2-40B4-BE49-F238E27FC236}">
                      <a16:creationId xmlns:a16="http://schemas.microsoft.com/office/drawing/2014/main" id="{81B33047-B0A7-4F88-BFB8-3301DA9E3696}"/>
                    </a:ext>
                  </a:extLst>
                </p:cNvPr>
                <p:cNvSpPr/>
                <p:nvPr/>
              </p:nvSpPr>
              <p:spPr>
                <a:xfrm>
                  <a:off x="5729579" y="2870266"/>
                  <a:ext cx="0" cy="54138"/>
                </a:xfrm>
                <a:custGeom>
                  <a:avLst/>
                  <a:gdLst/>
                  <a:ahLst/>
                  <a:cxnLst/>
                  <a:rect l="l" t="t" r="r" b="b"/>
                  <a:pathLst>
                    <a:path w="120000" h="24130" extrusionOk="0">
                      <a:moveTo>
                        <a:pt x="0" y="23609"/>
                      </a:moveTo>
                      <a:lnTo>
                        <a:pt x="0" y="0"/>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804" name="Google Shape;3424;p24">
                  <a:extLst>
                    <a:ext uri="{FF2B5EF4-FFF2-40B4-BE49-F238E27FC236}">
                      <a16:creationId xmlns:a16="http://schemas.microsoft.com/office/drawing/2014/main" id="{21706806-B999-4DAE-8A3E-9BF0E3BAAE78}"/>
                    </a:ext>
                  </a:extLst>
                </p:cNvPr>
                <p:cNvSpPr/>
                <p:nvPr/>
              </p:nvSpPr>
              <p:spPr>
                <a:xfrm>
                  <a:off x="5844465" y="2896946"/>
                  <a:ext cx="59166" cy="0"/>
                </a:xfrm>
                <a:custGeom>
                  <a:avLst/>
                  <a:gdLst/>
                  <a:ahLst/>
                  <a:cxnLst/>
                  <a:rect l="l" t="t" r="r" b="b"/>
                  <a:pathLst>
                    <a:path w="24129" h="120000" extrusionOk="0">
                      <a:moveTo>
                        <a:pt x="0" y="0"/>
                      </a:moveTo>
                      <a:lnTo>
                        <a:pt x="23647" y="0"/>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805" name="Google Shape;3425;p24">
                  <a:extLst>
                    <a:ext uri="{FF2B5EF4-FFF2-40B4-BE49-F238E27FC236}">
                      <a16:creationId xmlns:a16="http://schemas.microsoft.com/office/drawing/2014/main" id="{89544671-B32D-4E17-B6FB-B329045B2DCE}"/>
                    </a:ext>
                  </a:extLst>
                </p:cNvPr>
                <p:cNvSpPr/>
                <p:nvPr/>
              </p:nvSpPr>
              <p:spPr>
                <a:xfrm>
                  <a:off x="5873533" y="2870266"/>
                  <a:ext cx="0" cy="54138"/>
                </a:xfrm>
                <a:custGeom>
                  <a:avLst/>
                  <a:gdLst/>
                  <a:ahLst/>
                  <a:cxnLst/>
                  <a:rect l="l" t="t" r="r" b="b"/>
                  <a:pathLst>
                    <a:path w="120000" h="24130" extrusionOk="0">
                      <a:moveTo>
                        <a:pt x="0" y="23609"/>
                      </a:moveTo>
                      <a:lnTo>
                        <a:pt x="0" y="0"/>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806" name="Google Shape;3426;p24">
                  <a:extLst>
                    <a:ext uri="{FF2B5EF4-FFF2-40B4-BE49-F238E27FC236}">
                      <a16:creationId xmlns:a16="http://schemas.microsoft.com/office/drawing/2014/main" id="{C3DFA901-B81B-4A17-A819-2D1C84FD0792}"/>
                    </a:ext>
                  </a:extLst>
                </p:cNvPr>
                <p:cNvSpPr/>
                <p:nvPr/>
              </p:nvSpPr>
              <p:spPr>
                <a:xfrm>
                  <a:off x="5891888" y="2896946"/>
                  <a:ext cx="59166" cy="0"/>
                </a:xfrm>
                <a:custGeom>
                  <a:avLst/>
                  <a:gdLst/>
                  <a:ahLst/>
                  <a:cxnLst/>
                  <a:rect l="l" t="t" r="r" b="b"/>
                  <a:pathLst>
                    <a:path w="24129" h="120000" extrusionOk="0">
                      <a:moveTo>
                        <a:pt x="0" y="0"/>
                      </a:moveTo>
                      <a:lnTo>
                        <a:pt x="23622" y="0"/>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807" name="Google Shape;3427;p24">
                  <a:extLst>
                    <a:ext uri="{FF2B5EF4-FFF2-40B4-BE49-F238E27FC236}">
                      <a16:creationId xmlns:a16="http://schemas.microsoft.com/office/drawing/2014/main" id="{931A9426-9B4E-467C-9953-84B5D6C05F49}"/>
                    </a:ext>
                  </a:extLst>
                </p:cNvPr>
                <p:cNvSpPr/>
                <p:nvPr/>
              </p:nvSpPr>
              <p:spPr>
                <a:xfrm>
                  <a:off x="5921049" y="2870266"/>
                  <a:ext cx="0" cy="54138"/>
                </a:xfrm>
                <a:custGeom>
                  <a:avLst/>
                  <a:gdLst/>
                  <a:ahLst/>
                  <a:cxnLst/>
                  <a:rect l="l" t="t" r="r" b="b"/>
                  <a:pathLst>
                    <a:path w="120000" h="24130" extrusionOk="0">
                      <a:moveTo>
                        <a:pt x="0" y="23609"/>
                      </a:moveTo>
                      <a:lnTo>
                        <a:pt x="0" y="0"/>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808" name="Google Shape;3428;p24">
                  <a:extLst>
                    <a:ext uri="{FF2B5EF4-FFF2-40B4-BE49-F238E27FC236}">
                      <a16:creationId xmlns:a16="http://schemas.microsoft.com/office/drawing/2014/main" id="{C00AC119-30E3-4F22-B7D8-0C86A4278ED5}"/>
                    </a:ext>
                  </a:extLst>
                </p:cNvPr>
                <p:cNvSpPr/>
                <p:nvPr/>
              </p:nvSpPr>
              <p:spPr>
                <a:xfrm>
                  <a:off x="6081676" y="2979922"/>
                  <a:ext cx="59166" cy="0"/>
                </a:xfrm>
                <a:custGeom>
                  <a:avLst/>
                  <a:gdLst/>
                  <a:ahLst/>
                  <a:cxnLst/>
                  <a:rect l="l" t="t" r="r" b="b"/>
                  <a:pathLst>
                    <a:path w="24129" h="120000" extrusionOk="0">
                      <a:moveTo>
                        <a:pt x="0" y="0"/>
                      </a:moveTo>
                      <a:lnTo>
                        <a:pt x="23596" y="0"/>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809" name="Google Shape;3429;p24">
                  <a:extLst>
                    <a:ext uri="{FF2B5EF4-FFF2-40B4-BE49-F238E27FC236}">
                      <a16:creationId xmlns:a16="http://schemas.microsoft.com/office/drawing/2014/main" id="{B1BBCCBB-7694-483F-8F29-2075B5F67507}"/>
                    </a:ext>
                  </a:extLst>
                </p:cNvPr>
                <p:cNvSpPr/>
                <p:nvPr/>
              </p:nvSpPr>
              <p:spPr>
                <a:xfrm>
                  <a:off x="6110743" y="2953189"/>
                  <a:ext cx="0" cy="54138"/>
                </a:xfrm>
                <a:custGeom>
                  <a:avLst/>
                  <a:gdLst/>
                  <a:ahLst/>
                  <a:cxnLst/>
                  <a:rect l="l" t="t" r="r" b="b"/>
                  <a:pathLst>
                    <a:path w="120000" h="24130" extrusionOk="0">
                      <a:moveTo>
                        <a:pt x="0" y="23647"/>
                      </a:moveTo>
                      <a:lnTo>
                        <a:pt x="0" y="0"/>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810" name="Google Shape;3430;p24">
                  <a:extLst>
                    <a:ext uri="{FF2B5EF4-FFF2-40B4-BE49-F238E27FC236}">
                      <a16:creationId xmlns:a16="http://schemas.microsoft.com/office/drawing/2014/main" id="{5CD69218-AC26-4786-8C9F-E02B5575CA77}"/>
                    </a:ext>
                  </a:extLst>
                </p:cNvPr>
                <p:cNvSpPr/>
                <p:nvPr/>
              </p:nvSpPr>
              <p:spPr>
                <a:xfrm>
                  <a:off x="6377377" y="2982878"/>
                  <a:ext cx="59166" cy="0"/>
                </a:xfrm>
                <a:custGeom>
                  <a:avLst/>
                  <a:gdLst/>
                  <a:ahLst/>
                  <a:cxnLst/>
                  <a:rect l="l" t="t" r="r" b="b"/>
                  <a:pathLst>
                    <a:path w="24129" h="120000" extrusionOk="0">
                      <a:moveTo>
                        <a:pt x="0" y="0"/>
                      </a:moveTo>
                      <a:lnTo>
                        <a:pt x="23634" y="0"/>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811" name="Google Shape;3431;p24">
                  <a:extLst>
                    <a:ext uri="{FF2B5EF4-FFF2-40B4-BE49-F238E27FC236}">
                      <a16:creationId xmlns:a16="http://schemas.microsoft.com/office/drawing/2014/main" id="{1EE6B66D-7371-4A47-882E-330BD0A35BC0}"/>
                    </a:ext>
                  </a:extLst>
                </p:cNvPr>
                <p:cNvSpPr/>
                <p:nvPr/>
              </p:nvSpPr>
              <p:spPr>
                <a:xfrm>
                  <a:off x="6413999" y="2953189"/>
                  <a:ext cx="0" cy="54138"/>
                </a:xfrm>
                <a:custGeom>
                  <a:avLst/>
                  <a:gdLst/>
                  <a:ahLst/>
                  <a:cxnLst/>
                  <a:rect l="l" t="t" r="r" b="b"/>
                  <a:pathLst>
                    <a:path w="120000" h="24130" extrusionOk="0">
                      <a:moveTo>
                        <a:pt x="0" y="23647"/>
                      </a:moveTo>
                      <a:lnTo>
                        <a:pt x="0" y="0"/>
                      </a:lnTo>
                    </a:path>
                  </a:pathLst>
                </a:custGeom>
                <a:noFill/>
                <a:ln w="1270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grpSp>
        </p:grpSp>
        <p:grpSp>
          <p:nvGrpSpPr>
            <p:cNvPr id="656" name="Group 655">
              <a:extLst>
                <a:ext uri="{FF2B5EF4-FFF2-40B4-BE49-F238E27FC236}">
                  <a16:creationId xmlns:a16="http://schemas.microsoft.com/office/drawing/2014/main" id="{02AECAB3-3B88-44FD-BF73-0D2BCA520603}"/>
                </a:ext>
              </a:extLst>
            </p:cNvPr>
            <p:cNvGrpSpPr/>
            <p:nvPr/>
          </p:nvGrpSpPr>
          <p:grpSpPr>
            <a:xfrm>
              <a:off x="5372783" y="1507084"/>
              <a:ext cx="2972202" cy="1635972"/>
              <a:chOff x="5372783" y="1392755"/>
              <a:chExt cx="2972202" cy="1635972"/>
            </a:xfrm>
          </p:grpSpPr>
          <p:sp>
            <p:nvSpPr>
              <p:cNvPr id="657" name="Google Shape;3264;p24">
                <a:extLst>
                  <a:ext uri="{FF2B5EF4-FFF2-40B4-BE49-F238E27FC236}">
                    <a16:creationId xmlns:a16="http://schemas.microsoft.com/office/drawing/2014/main" id="{093B6159-AFDD-4659-8DDD-1E3250041731}"/>
                  </a:ext>
                </a:extLst>
              </p:cNvPr>
              <p:cNvSpPr/>
              <p:nvPr/>
            </p:nvSpPr>
            <p:spPr>
              <a:xfrm>
                <a:off x="5372783" y="1392755"/>
                <a:ext cx="2945523" cy="1614022"/>
              </a:xfrm>
              <a:custGeom>
                <a:avLst/>
                <a:gdLst/>
                <a:ahLst/>
                <a:cxnLst/>
                <a:rect l="l" t="t" r="r" b="b"/>
                <a:pathLst>
                  <a:path w="2109470" h="1419860" extrusionOk="0">
                    <a:moveTo>
                      <a:pt x="0" y="0"/>
                    </a:moveTo>
                    <a:lnTo>
                      <a:pt x="2451" y="0"/>
                    </a:lnTo>
                    <a:lnTo>
                      <a:pt x="2451" y="2781"/>
                    </a:lnTo>
                    <a:lnTo>
                      <a:pt x="3657" y="2781"/>
                    </a:lnTo>
                    <a:lnTo>
                      <a:pt x="3657" y="5549"/>
                    </a:lnTo>
                    <a:lnTo>
                      <a:pt x="6057" y="5549"/>
                    </a:lnTo>
                    <a:lnTo>
                      <a:pt x="6057" y="11074"/>
                    </a:lnTo>
                    <a:lnTo>
                      <a:pt x="7277" y="11074"/>
                    </a:lnTo>
                    <a:lnTo>
                      <a:pt x="7277" y="13804"/>
                    </a:lnTo>
                    <a:lnTo>
                      <a:pt x="9715" y="13804"/>
                    </a:lnTo>
                    <a:lnTo>
                      <a:pt x="9715" y="22098"/>
                    </a:lnTo>
                    <a:lnTo>
                      <a:pt x="10947" y="22098"/>
                    </a:lnTo>
                    <a:lnTo>
                      <a:pt x="10947" y="24866"/>
                    </a:lnTo>
                    <a:lnTo>
                      <a:pt x="12153" y="24866"/>
                    </a:lnTo>
                    <a:lnTo>
                      <a:pt x="12153" y="30391"/>
                    </a:lnTo>
                    <a:lnTo>
                      <a:pt x="13335" y="30391"/>
                    </a:lnTo>
                    <a:lnTo>
                      <a:pt x="13335" y="33121"/>
                    </a:lnTo>
                    <a:lnTo>
                      <a:pt x="14566" y="33121"/>
                    </a:lnTo>
                    <a:lnTo>
                      <a:pt x="14566" y="38671"/>
                    </a:lnTo>
                    <a:lnTo>
                      <a:pt x="15773" y="38671"/>
                    </a:lnTo>
                    <a:lnTo>
                      <a:pt x="15773" y="44183"/>
                    </a:lnTo>
                    <a:lnTo>
                      <a:pt x="17005" y="44183"/>
                    </a:lnTo>
                    <a:lnTo>
                      <a:pt x="17005" y="55219"/>
                    </a:lnTo>
                    <a:lnTo>
                      <a:pt x="18224" y="55219"/>
                    </a:lnTo>
                    <a:lnTo>
                      <a:pt x="18224" y="63500"/>
                    </a:lnTo>
                    <a:lnTo>
                      <a:pt x="19443" y="63500"/>
                    </a:lnTo>
                    <a:lnTo>
                      <a:pt x="19443" y="71793"/>
                    </a:lnTo>
                    <a:lnTo>
                      <a:pt x="20612" y="71793"/>
                    </a:lnTo>
                    <a:lnTo>
                      <a:pt x="20612" y="77304"/>
                    </a:lnTo>
                    <a:lnTo>
                      <a:pt x="21844" y="77304"/>
                    </a:lnTo>
                    <a:lnTo>
                      <a:pt x="21844" y="96621"/>
                    </a:lnTo>
                    <a:lnTo>
                      <a:pt x="23063" y="96621"/>
                    </a:lnTo>
                    <a:lnTo>
                      <a:pt x="23063" y="104914"/>
                    </a:lnTo>
                    <a:lnTo>
                      <a:pt x="24282" y="104914"/>
                    </a:lnTo>
                    <a:lnTo>
                      <a:pt x="24282" y="113207"/>
                    </a:lnTo>
                    <a:lnTo>
                      <a:pt x="25501" y="113207"/>
                    </a:lnTo>
                    <a:lnTo>
                      <a:pt x="25501" y="118719"/>
                    </a:lnTo>
                    <a:lnTo>
                      <a:pt x="27940" y="118719"/>
                    </a:lnTo>
                    <a:lnTo>
                      <a:pt x="27940" y="121450"/>
                    </a:lnTo>
                    <a:lnTo>
                      <a:pt x="29121" y="121450"/>
                    </a:lnTo>
                    <a:lnTo>
                      <a:pt x="29121" y="126974"/>
                    </a:lnTo>
                    <a:lnTo>
                      <a:pt x="30340" y="126974"/>
                    </a:lnTo>
                    <a:lnTo>
                      <a:pt x="30340" y="132524"/>
                    </a:lnTo>
                    <a:lnTo>
                      <a:pt x="31572" y="132524"/>
                    </a:lnTo>
                    <a:lnTo>
                      <a:pt x="31572" y="143548"/>
                    </a:lnTo>
                    <a:lnTo>
                      <a:pt x="32778" y="143548"/>
                    </a:lnTo>
                    <a:lnTo>
                      <a:pt x="32778" y="146329"/>
                    </a:lnTo>
                    <a:lnTo>
                      <a:pt x="33997" y="146329"/>
                    </a:lnTo>
                    <a:lnTo>
                      <a:pt x="33997" y="157353"/>
                    </a:lnTo>
                    <a:lnTo>
                      <a:pt x="35229" y="157353"/>
                    </a:lnTo>
                    <a:lnTo>
                      <a:pt x="35229" y="165646"/>
                    </a:lnTo>
                    <a:lnTo>
                      <a:pt x="36436" y="165646"/>
                    </a:lnTo>
                    <a:lnTo>
                      <a:pt x="36436" y="182181"/>
                    </a:lnTo>
                    <a:lnTo>
                      <a:pt x="37617" y="182181"/>
                    </a:lnTo>
                    <a:lnTo>
                      <a:pt x="37617" y="190474"/>
                    </a:lnTo>
                    <a:lnTo>
                      <a:pt x="38849" y="190474"/>
                    </a:lnTo>
                    <a:lnTo>
                      <a:pt x="38849" y="198767"/>
                    </a:lnTo>
                    <a:lnTo>
                      <a:pt x="40068" y="198767"/>
                    </a:lnTo>
                    <a:lnTo>
                      <a:pt x="40068" y="204279"/>
                    </a:lnTo>
                    <a:lnTo>
                      <a:pt x="41275" y="204279"/>
                    </a:lnTo>
                    <a:lnTo>
                      <a:pt x="41275" y="215303"/>
                    </a:lnTo>
                    <a:lnTo>
                      <a:pt x="42506" y="215303"/>
                    </a:lnTo>
                    <a:lnTo>
                      <a:pt x="42506" y="226364"/>
                    </a:lnTo>
                    <a:lnTo>
                      <a:pt x="43726" y="226364"/>
                    </a:lnTo>
                    <a:lnTo>
                      <a:pt x="43726" y="234657"/>
                    </a:lnTo>
                    <a:lnTo>
                      <a:pt x="44945" y="234657"/>
                    </a:lnTo>
                    <a:lnTo>
                      <a:pt x="44945" y="240207"/>
                    </a:lnTo>
                    <a:lnTo>
                      <a:pt x="47345" y="240207"/>
                    </a:lnTo>
                    <a:lnTo>
                      <a:pt x="47345" y="254012"/>
                    </a:lnTo>
                    <a:lnTo>
                      <a:pt x="48552" y="254012"/>
                    </a:lnTo>
                    <a:lnTo>
                      <a:pt x="48552" y="259575"/>
                    </a:lnTo>
                    <a:lnTo>
                      <a:pt x="49784" y="259575"/>
                    </a:lnTo>
                    <a:lnTo>
                      <a:pt x="49784" y="273418"/>
                    </a:lnTo>
                    <a:lnTo>
                      <a:pt x="51003" y="273418"/>
                    </a:lnTo>
                    <a:lnTo>
                      <a:pt x="51003" y="342569"/>
                    </a:lnTo>
                    <a:lnTo>
                      <a:pt x="52235" y="342569"/>
                    </a:lnTo>
                    <a:lnTo>
                      <a:pt x="52235" y="348081"/>
                    </a:lnTo>
                    <a:lnTo>
                      <a:pt x="53403" y="348081"/>
                    </a:lnTo>
                    <a:lnTo>
                      <a:pt x="53403" y="356362"/>
                    </a:lnTo>
                    <a:lnTo>
                      <a:pt x="54622" y="356362"/>
                    </a:lnTo>
                    <a:lnTo>
                      <a:pt x="54622" y="375716"/>
                    </a:lnTo>
                    <a:lnTo>
                      <a:pt x="55841" y="375716"/>
                    </a:lnTo>
                    <a:lnTo>
                      <a:pt x="55841" y="386791"/>
                    </a:lnTo>
                    <a:lnTo>
                      <a:pt x="57061" y="386791"/>
                    </a:lnTo>
                    <a:lnTo>
                      <a:pt x="57061" y="392341"/>
                    </a:lnTo>
                    <a:lnTo>
                      <a:pt x="58280" y="392341"/>
                    </a:lnTo>
                    <a:lnTo>
                      <a:pt x="58280" y="400634"/>
                    </a:lnTo>
                    <a:lnTo>
                      <a:pt x="59512" y="400634"/>
                    </a:lnTo>
                    <a:lnTo>
                      <a:pt x="59512" y="403415"/>
                    </a:lnTo>
                    <a:lnTo>
                      <a:pt x="60718" y="403415"/>
                    </a:lnTo>
                    <a:lnTo>
                      <a:pt x="60718" y="406146"/>
                    </a:lnTo>
                    <a:lnTo>
                      <a:pt x="61899" y="406146"/>
                    </a:lnTo>
                    <a:lnTo>
                      <a:pt x="61899" y="411708"/>
                    </a:lnTo>
                    <a:lnTo>
                      <a:pt x="63119" y="411708"/>
                    </a:lnTo>
                    <a:lnTo>
                      <a:pt x="63119" y="428282"/>
                    </a:lnTo>
                    <a:lnTo>
                      <a:pt x="64350" y="428282"/>
                    </a:lnTo>
                    <a:lnTo>
                      <a:pt x="64350" y="436575"/>
                    </a:lnTo>
                    <a:lnTo>
                      <a:pt x="65557" y="436575"/>
                    </a:lnTo>
                    <a:lnTo>
                      <a:pt x="65557" y="442125"/>
                    </a:lnTo>
                    <a:lnTo>
                      <a:pt x="66789" y="442125"/>
                    </a:lnTo>
                    <a:lnTo>
                      <a:pt x="66789" y="455980"/>
                    </a:lnTo>
                    <a:lnTo>
                      <a:pt x="68008" y="455980"/>
                    </a:lnTo>
                    <a:lnTo>
                      <a:pt x="68008" y="514045"/>
                    </a:lnTo>
                    <a:lnTo>
                      <a:pt x="69215" y="514045"/>
                    </a:lnTo>
                    <a:lnTo>
                      <a:pt x="69215" y="522338"/>
                    </a:lnTo>
                    <a:lnTo>
                      <a:pt x="70408" y="522338"/>
                    </a:lnTo>
                    <a:lnTo>
                      <a:pt x="70408" y="533412"/>
                    </a:lnTo>
                    <a:lnTo>
                      <a:pt x="71628" y="533412"/>
                    </a:lnTo>
                    <a:lnTo>
                      <a:pt x="71628" y="549986"/>
                    </a:lnTo>
                    <a:lnTo>
                      <a:pt x="72847" y="549986"/>
                    </a:lnTo>
                    <a:lnTo>
                      <a:pt x="72847" y="558279"/>
                    </a:lnTo>
                    <a:lnTo>
                      <a:pt x="74066" y="558279"/>
                    </a:lnTo>
                    <a:lnTo>
                      <a:pt x="74066" y="566610"/>
                    </a:lnTo>
                    <a:lnTo>
                      <a:pt x="75285" y="566610"/>
                    </a:lnTo>
                    <a:lnTo>
                      <a:pt x="75285" y="577684"/>
                    </a:lnTo>
                    <a:lnTo>
                      <a:pt x="76517" y="577684"/>
                    </a:lnTo>
                    <a:lnTo>
                      <a:pt x="76517" y="597077"/>
                    </a:lnTo>
                    <a:lnTo>
                      <a:pt x="77673" y="597077"/>
                    </a:lnTo>
                    <a:lnTo>
                      <a:pt x="77673" y="619340"/>
                    </a:lnTo>
                    <a:lnTo>
                      <a:pt x="78905" y="619340"/>
                    </a:lnTo>
                    <a:lnTo>
                      <a:pt x="78905" y="622122"/>
                    </a:lnTo>
                    <a:lnTo>
                      <a:pt x="80124" y="622122"/>
                    </a:lnTo>
                    <a:lnTo>
                      <a:pt x="80124" y="624890"/>
                    </a:lnTo>
                    <a:lnTo>
                      <a:pt x="81356" y="624890"/>
                    </a:lnTo>
                    <a:lnTo>
                      <a:pt x="81356" y="627672"/>
                    </a:lnTo>
                    <a:lnTo>
                      <a:pt x="82562" y="627672"/>
                    </a:lnTo>
                    <a:lnTo>
                      <a:pt x="82562" y="633272"/>
                    </a:lnTo>
                    <a:lnTo>
                      <a:pt x="83794" y="633272"/>
                    </a:lnTo>
                    <a:lnTo>
                      <a:pt x="83794" y="638873"/>
                    </a:lnTo>
                    <a:lnTo>
                      <a:pt x="85013" y="638873"/>
                    </a:lnTo>
                    <a:lnTo>
                      <a:pt x="85013" y="658393"/>
                    </a:lnTo>
                    <a:lnTo>
                      <a:pt x="86182" y="658393"/>
                    </a:lnTo>
                    <a:lnTo>
                      <a:pt x="86182" y="661174"/>
                    </a:lnTo>
                    <a:lnTo>
                      <a:pt x="87401" y="661174"/>
                    </a:lnTo>
                    <a:lnTo>
                      <a:pt x="87401" y="672325"/>
                    </a:lnTo>
                    <a:lnTo>
                      <a:pt x="88633" y="672325"/>
                    </a:lnTo>
                    <a:lnTo>
                      <a:pt x="88633" y="677926"/>
                    </a:lnTo>
                    <a:lnTo>
                      <a:pt x="89839" y="677926"/>
                    </a:lnTo>
                    <a:lnTo>
                      <a:pt x="89839" y="680694"/>
                    </a:lnTo>
                    <a:lnTo>
                      <a:pt x="91071" y="680694"/>
                    </a:lnTo>
                    <a:lnTo>
                      <a:pt x="91071" y="686295"/>
                    </a:lnTo>
                    <a:lnTo>
                      <a:pt x="93510" y="686295"/>
                    </a:lnTo>
                    <a:lnTo>
                      <a:pt x="93510" y="694664"/>
                    </a:lnTo>
                    <a:lnTo>
                      <a:pt x="94678" y="694664"/>
                    </a:lnTo>
                    <a:lnTo>
                      <a:pt x="94678" y="697445"/>
                    </a:lnTo>
                    <a:lnTo>
                      <a:pt x="98348" y="697445"/>
                    </a:lnTo>
                    <a:lnTo>
                      <a:pt x="98348" y="700265"/>
                    </a:lnTo>
                    <a:lnTo>
                      <a:pt x="99568" y="700265"/>
                    </a:lnTo>
                    <a:lnTo>
                      <a:pt x="99568" y="703046"/>
                    </a:lnTo>
                    <a:lnTo>
                      <a:pt x="100787" y="703046"/>
                    </a:lnTo>
                    <a:lnTo>
                      <a:pt x="100787" y="714197"/>
                    </a:lnTo>
                    <a:lnTo>
                      <a:pt x="102006" y="714197"/>
                    </a:lnTo>
                    <a:lnTo>
                      <a:pt x="102006" y="722566"/>
                    </a:lnTo>
                    <a:lnTo>
                      <a:pt x="103187" y="722566"/>
                    </a:lnTo>
                    <a:lnTo>
                      <a:pt x="103187" y="728167"/>
                    </a:lnTo>
                    <a:lnTo>
                      <a:pt x="106845" y="728167"/>
                    </a:lnTo>
                    <a:lnTo>
                      <a:pt x="106845" y="730948"/>
                    </a:lnTo>
                    <a:lnTo>
                      <a:pt x="108064" y="730948"/>
                    </a:lnTo>
                    <a:lnTo>
                      <a:pt x="108064" y="733717"/>
                    </a:lnTo>
                    <a:lnTo>
                      <a:pt x="109296" y="733717"/>
                    </a:lnTo>
                    <a:lnTo>
                      <a:pt x="109296" y="736549"/>
                    </a:lnTo>
                    <a:lnTo>
                      <a:pt x="110464" y="736549"/>
                    </a:lnTo>
                    <a:lnTo>
                      <a:pt x="110464" y="742099"/>
                    </a:lnTo>
                    <a:lnTo>
                      <a:pt x="114134" y="742099"/>
                    </a:lnTo>
                    <a:lnTo>
                      <a:pt x="114134" y="744918"/>
                    </a:lnTo>
                    <a:lnTo>
                      <a:pt x="116573" y="744918"/>
                    </a:lnTo>
                    <a:lnTo>
                      <a:pt x="116573" y="750468"/>
                    </a:lnTo>
                    <a:lnTo>
                      <a:pt x="118960" y="750468"/>
                    </a:lnTo>
                    <a:lnTo>
                      <a:pt x="118960" y="753249"/>
                    </a:lnTo>
                    <a:lnTo>
                      <a:pt x="120192" y="753249"/>
                    </a:lnTo>
                    <a:lnTo>
                      <a:pt x="120192" y="756069"/>
                    </a:lnTo>
                    <a:lnTo>
                      <a:pt x="122631" y="756069"/>
                    </a:lnTo>
                    <a:lnTo>
                      <a:pt x="122631" y="767219"/>
                    </a:lnTo>
                    <a:lnTo>
                      <a:pt x="123850" y="767219"/>
                    </a:lnTo>
                    <a:lnTo>
                      <a:pt x="123850" y="770001"/>
                    </a:lnTo>
                    <a:lnTo>
                      <a:pt x="125069" y="770001"/>
                    </a:lnTo>
                    <a:lnTo>
                      <a:pt x="125069" y="772820"/>
                    </a:lnTo>
                    <a:lnTo>
                      <a:pt x="126301" y="772820"/>
                    </a:lnTo>
                    <a:lnTo>
                      <a:pt x="126301" y="781240"/>
                    </a:lnTo>
                    <a:lnTo>
                      <a:pt x="127469" y="781240"/>
                    </a:lnTo>
                    <a:lnTo>
                      <a:pt x="127469" y="784009"/>
                    </a:lnTo>
                    <a:lnTo>
                      <a:pt x="128689" y="784009"/>
                    </a:lnTo>
                    <a:lnTo>
                      <a:pt x="128689" y="786828"/>
                    </a:lnTo>
                    <a:lnTo>
                      <a:pt x="131127" y="786828"/>
                    </a:lnTo>
                    <a:lnTo>
                      <a:pt x="131127" y="789647"/>
                    </a:lnTo>
                    <a:lnTo>
                      <a:pt x="135966" y="789647"/>
                    </a:lnTo>
                    <a:lnTo>
                      <a:pt x="135966" y="812126"/>
                    </a:lnTo>
                    <a:lnTo>
                      <a:pt x="137185" y="812126"/>
                    </a:lnTo>
                    <a:lnTo>
                      <a:pt x="137185" y="817765"/>
                    </a:lnTo>
                    <a:lnTo>
                      <a:pt x="138417" y="817765"/>
                    </a:lnTo>
                    <a:lnTo>
                      <a:pt x="138417" y="823366"/>
                    </a:lnTo>
                    <a:lnTo>
                      <a:pt x="140855" y="823366"/>
                    </a:lnTo>
                    <a:lnTo>
                      <a:pt x="140855" y="828992"/>
                    </a:lnTo>
                    <a:lnTo>
                      <a:pt x="142074" y="828992"/>
                    </a:lnTo>
                    <a:lnTo>
                      <a:pt x="142074" y="834644"/>
                    </a:lnTo>
                    <a:lnTo>
                      <a:pt x="143256" y="834644"/>
                    </a:lnTo>
                    <a:lnTo>
                      <a:pt x="143256" y="837412"/>
                    </a:lnTo>
                    <a:lnTo>
                      <a:pt x="144475" y="837412"/>
                    </a:lnTo>
                    <a:lnTo>
                      <a:pt x="144475" y="845870"/>
                    </a:lnTo>
                    <a:lnTo>
                      <a:pt x="146913" y="845870"/>
                    </a:lnTo>
                    <a:lnTo>
                      <a:pt x="146913" y="851509"/>
                    </a:lnTo>
                    <a:lnTo>
                      <a:pt x="148132" y="851509"/>
                    </a:lnTo>
                    <a:lnTo>
                      <a:pt x="148132" y="854329"/>
                    </a:lnTo>
                    <a:lnTo>
                      <a:pt x="150583" y="854329"/>
                    </a:lnTo>
                    <a:lnTo>
                      <a:pt x="150583" y="857161"/>
                    </a:lnTo>
                    <a:lnTo>
                      <a:pt x="151752" y="857161"/>
                    </a:lnTo>
                    <a:lnTo>
                      <a:pt x="151752" y="862799"/>
                    </a:lnTo>
                    <a:lnTo>
                      <a:pt x="152971" y="862799"/>
                    </a:lnTo>
                    <a:lnTo>
                      <a:pt x="152971" y="876935"/>
                    </a:lnTo>
                    <a:lnTo>
                      <a:pt x="154190" y="876935"/>
                    </a:lnTo>
                    <a:lnTo>
                      <a:pt x="154190" y="882611"/>
                    </a:lnTo>
                    <a:lnTo>
                      <a:pt x="156629" y="882611"/>
                    </a:lnTo>
                    <a:lnTo>
                      <a:pt x="156629" y="885482"/>
                    </a:lnTo>
                    <a:lnTo>
                      <a:pt x="159080" y="885482"/>
                    </a:lnTo>
                    <a:lnTo>
                      <a:pt x="159080" y="888288"/>
                    </a:lnTo>
                    <a:lnTo>
                      <a:pt x="161467" y="888288"/>
                    </a:lnTo>
                    <a:lnTo>
                      <a:pt x="161467" y="891159"/>
                    </a:lnTo>
                    <a:lnTo>
                      <a:pt x="167538" y="891159"/>
                    </a:lnTo>
                    <a:lnTo>
                      <a:pt x="167538" y="894016"/>
                    </a:lnTo>
                    <a:lnTo>
                      <a:pt x="169976" y="894016"/>
                    </a:lnTo>
                    <a:lnTo>
                      <a:pt x="169976" y="902601"/>
                    </a:lnTo>
                    <a:lnTo>
                      <a:pt x="172415" y="902601"/>
                    </a:lnTo>
                    <a:lnTo>
                      <a:pt x="172415" y="908329"/>
                    </a:lnTo>
                    <a:lnTo>
                      <a:pt x="173634" y="908329"/>
                    </a:lnTo>
                    <a:lnTo>
                      <a:pt x="173634" y="911186"/>
                    </a:lnTo>
                    <a:lnTo>
                      <a:pt x="174853" y="911186"/>
                    </a:lnTo>
                    <a:lnTo>
                      <a:pt x="174853" y="914057"/>
                    </a:lnTo>
                    <a:lnTo>
                      <a:pt x="178473" y="914057"/>
                    </a:lnTo>
                    <a:lnTo>
                      <a:pt x="178473" y="925537"/>
                    </a:lnTo>
                    <a:lnTo>
                      <a:pt x="179705" y="925537"/>
                    </a:lnTo>
                    <a:lnTo>
                      <a:pt x="179705" y="928408"/>
                    </a:lnTo>
                    <a:lnTo>
                      <a:pt x="182130" y="928408"/>
                    </a:lnTo>
                    <a:lnTo>
                      <a:pt x="182130" y="931265"/>
                    </a:lnTo>
                    <a:lnTo>
                      <a:pt x="184543" y="931265"/>
                    </a:lnTo>
                    <a:lnTo>
                      <a:pt x="184543" y="934123"/>
                    </a:lnTo>
                    <a:lnTo>
                      <a:pt x="186982" y="934123"/>
                    </a:lnTo>
                    <a:lnTo>
                      <a:pt x="186982" y="942797"/>
                    </a:lnTo>
                    <a:lnTo>
                      <a:pt x="189407" y="942797"/>
                    </a:lnTo>
                    <a:lnTo>
                      <a:pt x="189407" y="945692"/>
                    </a:lnTo>
                    <a:lnTo>
                      <a:pt x="191858" y="945692"/>
                    </a:lnTo>
                    <a:lnTo>
                      <a:pt x="191858" y="948601"/>
                    </a:lnTo>
                    <a:lnTo>
                      <a:pt x="195478" y="948601"/>
                    </a:lnTo>
                    <a:lnTo>
                      <a:pt x="195478" y="957313"/>
                    </a:lnTo>
                    <a:lnTo>
                      <a:pt x="197916" y="957313"/>
                    </a:lnTo>
                    <a:lnTo>
                      <a:pt x="197916" y="960208"/>
                    </a:lnTo>
                    <a:lnTo>
                      <a:pt x="199136" y="960208"/>
                    </a:lnTo>
                    <a:lnTo>
                      <a:pt x="199136" y="963117"/>
                    </a:lnTo>
                    <a:lnTo>
                      <a:pt x="202755" y="963117"/>
                    </a:lnTo>
                    <a:lnTo>
                      <a:pt x="202755" y="966025"/>
                    </a:lnTo>
                    <a:lnTo>
                      <a:pt x="203974" y="966025"/>
                    </a:lnTo>
                    <a:lnTo>
                      <a:pt x="203974" y="977684"/>
                    </a:lnTo>
                    <a:lnTo>
                      <a:pt x="206413" y="977684"/>
                    </a:lnTo>
                    <a:lnTo>
                      <a:pt x="206413" y="980630"/>
                    </a:lnTo>
                    <a:lnTo>
                      <a:pt x="210032" y="980630"/>
                    </a:lnTo>
                    <a:lnTo>
                      <a:pt x="210032" y="986561"/>
                    </a:lnTo>
                    <a:lnTo>
                      <a:pt x="212483" y="986561"/>
                    </a:lnTo>
                    <a:lnTo>
                      <a:pt x="212483" y="989507"/>
                    </a:lnTo>
                    <a:lnTo>
                      <a:pt x="213690" y="989507"/>
                    </a:lnTo>
                    <a:lnTo>
                      <a:pt x="213690" y="992492"/>
                    </a:lnTo>
                    <a:lnTo>
                      <a:pt x="214922" y="992492"/>
                    </a:lnTo>
                    <a:lnTo>
                      <a:pt x="214922" y="995438"/>
                    </a:lnTo>
                    <a:lnTo>
                      <a:pt x="217322" y="995438"/>
                    </a:lnTo>
                    <a:lnTo>
                      <a:pt x="217322" y="1004328"/>
                    </a:lnTo>
                    <a:lnTo>
                      <a:pt x="218541" y="1004328"/>
                    </a:lnTo>
                    <a:lnTo>
                      <a:pt x="218541" y="1007300"/>
                    </a:lnTo>
                    <a:lnTo>
                      <a:pt x="219760" y="1007300"/>
                    </a:lnTo>
                    <a:lnTo>
                      <a:pt x="219760" y="1010259"/>
                    </a:lnTo>
                    <a:lnTo>
                      <a:pt x="222199" y="1010259"/>
                    </a:lnTo>
                    <a:lnTo>
                      <a:pt x="222199" y="1013193"/>
                    </a:lnTo>
                    <a:lnTo>
                      <a:pt x="224650" y="1013193"/>
                    </a:lnTo>
                    <a:lnTo>
                      <a:pt x="224650" y="1016190"/>
                    </a:lnTo>
                    <a:lnTo>
                      <a:pt x="229489" y="1016190"/>
                    </a:lnTo>
                    <a:lnTo>
                      <a:pt x="229489" y="1022121"/>
                    </a:lnTo>
                    <a:lnTo>
                      <a:pt x="230695" y="1022121"/>
                    </a:lnTo>
                    <a:lnTo>
                      <a:pt x="230695" y="1025067"/>
                    </a:lnTo>
                    <a:lnTo>
                      <a:pt x="231927" y="1025067"/>
                    </a:lnTo>
                    <a:lnTo>
                      <a:pt x="231927" y="1028014"/>
                    </a:lnTo>
                    <a:lnTo>
                      <a:pt x="235534" y="1028014"/>
                    </a:lnTo>
                    <a:lnTo>
                      <a:pt x="235534" y="1030998"/>
                    </a:lnTo>
                    <a:lnTo>
                      <a:pt x="237985" y="1030998"/>
                    </a:lnTo>
                    <a:lnTo>
                      <a:pt x="237985" y="1033945"/>
                    </a:lnTo>
                    <a:lnTo>
                      <a:pt x="241604" y="1033945"/>
                    </a:lnTo>
                    <a:lnTo>
                      <a:pt x="241604" y="1036929"/>
                    </a:lnTo>
                    <a:lnTo>
                      <a:pt x="242811" y="1036929"/>
                    </a:lnTo>
                    <a:lnTo>
                      <a:pt x="242811" y="1039926"/>
                    </a:lnTo>
                    <a:lnTo>
                      <a:pt x="244043" y="1039926"/>
                    </a:lnTo>
                    <a:lnTo>
                      <a:pt x="244043" y="1042949"/>
                    </a:lnTo>
                    <a:lnTo>
                      <a:pt x="245262" y="1042949"/>
                    </a:lnTo>
                    <a:lnTo>
                      <a:pt x="245262" y="1045933"/>
                    </a:lnTo>
                    <a:lnTo>
                      <a:pt x="246481" y="1045933"/>
                    </a:lnTo>
                    <a:lnTo>
                      <a:pt x="246481" y="1048931"/>
                    </a:lnTo>
                    <a:lnTo>
                      <a:pt x="250101" y="1048931"/>
                    </a:lnTo>
                    <a:lnTo>
                      <a:pt x="250101" y="1051966"/>
                    </a:lnTo>
                    <a:lnTo>
                      <a:pt x="258610" y="1051966"/>
                    </a:lnTo>
                    <a:lnTo>
                      <a:pt x="258610" y="1054989"/>
                    </a:lnTo>
                    <a:lnTo>
                      <a:pt x="262267" y="1054989"/>
                    </a:lnTo>
                    <a:lnTo>
                      <a:pt x="262267" y="1058062"/>
                    </a:lnTo>
                    <a:lnTo>
                      <a:pt x="264706" y="1058062"/>
                    </a:lnTo>
                    <a:lnTo>
                      <a:pt x="264706" y="1061135"/>
                    </a:lnTo>
                    <a:lnTo>
                      <a:pt x="271983" y="1061135"/>
                    </a:lnTo>
                    <a:lnTo>
                      <a:pt x="271983" y="1067282"/>
                    </a:lnTo>
                    <a:lnTo>
                      <a:pt x="273202" y="1067282"/>
                    </a:lnTo>
                    <a:lnTo>
                      <a:pt x="273202" y="1070394"/>
                    </a:lnTo>
                    <a:lnTo>
                      <a:pt x="274383" y="1070394"/>
                    </a:lnTo>
                    <a:lnTo>
                      <a:pt x="274383" y="1073505"/>
                    </a:lnTo>
                    <a:lnTo>
                      <a:pt x="279273" y="1073505"/>
                    </a:lnTo>
                    <a:lnTo>
                      <a:pt x="279273" y="1079779"/>
                    </a:lnTo>
                    <a:lnTo>
                      <a:pt x="280479" y="1079779"/>
                    </a:lnTo>
                    <a:lnTo>
                      <a:pt x="280479" y="1089253"/>
                    </a:lnTo>
                    <a:lnTo>
                      <a:pt x="284099" y="1089253"/>
                    </a:lnTo>
                    <a:lnTo>
                      <a:pt x="284099" y="1092441"/>
                    </a:lnTo>
                    <a:lnTo>
                      <a:pt x="286550" y="1092441"/>
                    </a:lnTo>
                    <a:lnTo>
                      <a:pt x="286550" y="1095603"/>
                    </a:lnTo>
                    <a:lnTo>
                      <a:pt x="287756" y="1095603"/>
                    </a:lnTo>
                    <a:lnTo>
                      <a:pt x="287756" y="1098804"/>
                    </a:lnTo>
                    <a:lnTo>
                      <a:pt x="288988" y="1098804"/>
                    </a:lnTo>
                    <a:lnTo>
                      <a:pt x="288988" y="1105154"/>
                    </a:lnTo>
                    <a:lnTo>
                      <a:pt x="297484" y="1105154"/>
                    </a:lnTo>
                    <a:lnTo>
                      <a:pt x="297484" y="1108341"/>
                    </a:lnTo>
                    <a:lnTo>
                      <a:pt x="298665" y="1108341"/>
                    </a:lnTo>
                    <a:lnTo>
                      <a:pt x="298665" y="1111504"/>
                    </a:lnTo>
                    <a:lnTo>
                      <a:pt x="301104" y="1111504"/>
                    </a:lnTo>
                    <a:lnTo>
                      <a:pt x="301104" y="1114704"/>
                    </a:lnTo>
                    <a:lnTo>
                      <a:pt x="304761" y="1114704"/>
                    </a:lnTo>
                    <a:lnTo>
                      <a:pt x="304761" y="1121054"/>
                    </a:lnTo>
                    <a:lnTo>
                      <a:pt x="305993" y="1121054"/>
                    </a:lnTo>
                    <a:lnTo>
                      <a:pt x="305993" y="1133767"/>
                    </a:lnTo>
                    <a:lnTo>
                      <a:pt x="308381" y="1133767"/>
                    </a:lnTo>
                    <a:lnTo>
                      <a:pt x="308381" y="1136916"/>
                    </a:lnTo>
                    <a:lnTo>
                      <a:pt x="310832" y="1136916"/>
                    </a:lnTo>
                    <a:lnTo>
                      <a:pt x="310832" y="1143279"/>
                    </a:lnTo>
                    <a:lnTo>
                      <a:pt x="314490" y="1143279"/>
                    </a:lnTo>
                    <a:lnTo>
                      <a:pt x="314490" y="1146479"/>
                    </a:lnTo>
                    <a:lnTo>
                      <a:pt x="315671" y="1146479"/>
                    </a:lnTo>
                    <a:lnTo>
                      <a:pt x="315671" y="1149680"/>
                    </a:lnTo>
                    <a:lnTo>
                      <a:pt x="318109" y="1149680"/>
                    </a:lnTo>
                    <a:lnTo>
                      <a:pt x="318109" y="1156068"/>
                    </a:lnTo>
                    <a:lnTo>
                      <a:pt x="319328" y="1156068"/>
                    </a:lnTo>
                    <a:lnTo>
                      <a:pt x="319328" y="1159268"/>
                    </a:lnTo>
                    <a:lnTo>
                      <a:pt x="331444" y="1159268"/>
                    </a:lnTo>
                    <a:lnTo>
                      <a:pt x="331444" y="1162507"/>
                    </a:lnTo>
                    <a:lnTo>
                      <a:pt x="333883" y="1162507"/>
                    </a:lnTo>
                    <a:lnTo>
                      <a:pt x="333883" y="1165796"/>
                    </a:lnTo>
                    <a:lnTo>
                      <a:pt x="339953" y="1165796"/>
                    </a:lnTo>
                    <a:lnTo>
                      <a:pt x="339953" y="1172324"/>
                    </a:lnTo>
                    <a:lnTo>
                      <a:pt x="346049" y="1172324"/>
                    </a:lnTo>
                    <a:lnTo>
                      <a:pt x="346049" y="1178839"/>
                    </a:lnTo>
                    <a:lnTo>
                      <a:pt x="354545" y="1178839"/>
                    </a:lnTo>
                    <a:lnTo>
                      <a:pt x="354545" y="1182128"/>
                    </a:lnTo>
                    <a:lnTo>
                      <a:pt x="369112" y="1182128"/>
                    </a:lnTo>
                    <a:lnTo>
                      <a:pt x="369112" y="1188808"/>
                    </a:lnTo>
                    <a:lnTo>
                      <a:pt x="371551" y="1188808"/>
                    </a:lnTo>
                    <a:lnTo>
                      <a:pt x="371551" y="1192225"/>
                    </a:lnTo>
                    <a:lnTo>
                      <a:pt x="382460" y="1192225"/>
                    </a:lnTo>
                    <a:lnTo>
                      <a:pt x="382460" y="1195666"/>
                    </a:lnTo>
                    <a:lnTo>
                      <a:pt x="401904" y="1195666"/>
                    </a:lnTo>
                    <a:lnTo>
                      <a:pt x="401904" y="1199172"/>
                    </a:lnTo>
                    <a:lnTo>
                      <a:pt x="404329" y="1199172"/>
                    </a:lnTo>
                    <a:lnTo>
                      <a:pt x="404329" y="1202664"/>
                    </a:lnTo>
                    <a:lnTo>
                      <a:pt x="407949" y="1202664"/>
                    </a:lnTo>
                    <a:lnTo>
                      <a:pt x="407949" y="1206106"/>
                    </a:lnTo>
                    <a:lnTo>
                      <a:pt x="409181" y="1206106"/>
                    </a:lnTo>
                    <a:lnTo>
                      <a:pt x="409181" y="1209598"/>
                    </a:lnTo>
                    <a:lnTo>
                      <a:pt x="422516" y="1209598"/>
                    </a:lnTo>
                    <a:lnTo>
                      <a:pt x="422516" y="1213104"/>
                    </a:lnTo>
                    <a:lnTo>
                      <a:pt x="429793" y="1213104"/>
                    </a:lnTo>
                    <a:lnTo>
                      <a:pt x="429793" y="1216583"/>
                    </a:lnTo>
                    <a:lnTo>
                      <a:pt x="434682" y="1216583"/>
                    </a:lnTo>
                    <a:lnTo>
                      <a:pt x="434682" y="1220076"/>
                    </a:lnTo>
                    <a:lnTo>
                      <a:pt x="477177" y="1220076"/>
                    </a:lnTo>
                    <a:lnTo>
                      <a:pt x="477177" y="1223695"/>
                    </a:lnTo>
                    <a:lnTo>
                      <a:pt x="482015" y="1223695"/>
                    </a:lnTo>
                    <a:lnTo>
                      <a:pt x="482015" y="1227277"/>
                    </a:lnTo>
                    <a:lnTo>
                      <a:pt x="486867" y="1227277"/>
                    </a:lnTo>
                    <a:lnTo>
                      <a:pt x="486867" y="1230934"/>
                    </a:lnTo>
                    <a:lnTo>
                      <a:pt x="501472" y="1230934"/>
                    </a:lnTo>
                    <a:lnTo>
                      <a:pt x="501472" y="1234643"/>
                    </a:lnTo>
                    <a:lnTo>
                      <a:pt x="506298" y="1234643"/>
                    </a:lnTo>
                    <a:lnTo>
                      <a:pt x="506298" y="1238427"/>
                    </a:lnTo>
                    <a:lnTo>
                      <a:pt x="509968" y="1238427"/>
                    </a:lnTo>
                    <a:lnTo>
                      <a:pt x="509968" y="1242212"/>
                    </a:lnTo>
                    <a:lnTo>
                      <a:pt x="520865" y="1242212"/>
                    </a:lnTo>
                    <a:lnTo>
                      <a:pt x="520865" y="1246085"/>
                    </a:lnTo>
                    <a:lnTo>
                      <a:pt x="526923" y="1246085"/>
                    </a:lnTo>
                    <a:lnTo>
                      <a:pt x="526923" y="1249959"/>
                    </a:lnTo>
                    <a:lnTo>
                      <a:pt x="546366" y="1249959"/>
                    </a:lnTo>
                    <a:lnTo>
                      <a:pt x="546366" y="1253871"/>
                    </a:lnTo>
                    <a:lnTo>
                      <a:pt x="577926" y="1253871"/>
                    </a:lnTo>
                    <a:lnTo>
                      <a:pt x="577926" y="1258087"/>
                    </a:lnTo>
                    <a:lnTo>
                      <a:pt x="582815" y="1258087"/>
                    </a:lnTo>
                    <a:lnTo>
                      <a:pt x="582815" y="1262329"/>
                    </a:lnTo>
                    <a:lnTo>
                      <a:pt x="586435" y="1262329"/>
                    </a:lnTo>
                    <a:lnTo>
                      <a:pt x="586435" y="1266621"/>
                    </a:lnTo>
                    <a:lnTo>
                      <a:pt x="591312" y="1266621"/>
                    </a:lnTo>
                    <a:lnTo>
                      <a:pt x="591312" y="1270914"/>
                    </a:lnTo>
                    <a:lnTo>
                      <a:pt x="592493" y="1270914"/>
                    </a:lnTo>
                    <a:lnTo>
                      <a:pt x="592493" y="1279512"/>
                    </a:lnTo>
                    <a:lnTo>
                      <a:pt x="664159" y="1279512"/>
                    </a:lnTo>
                    <a:lnTo>
                      <a:pt x="664159" y="1288427"/>
                    </a:lnTo>
                    <a:lnTo>
                      <a:pt x="715124" y="1288427"/>
                    </a:lnTo>
                    <a:lnTo>
                      <a:pt x="715124" y="1293228"/>
                    </a:lnTo>
                    <a:lnTo>
                      <a:pt x="741845" y="1293228"/>
                    </a:lnTo>
                    <a:lnTo>
                      <a:pt x="741845" y="1298194"/>
                    </a:lnTo>
                    <a:lnTo>
                      <a:pt x="774623" y="1298194"/>
                    </a:lnTo>
                    <a:lnTo>
                      <a:pt x="774623" y="1303413"/>
                    </a:lnTo>
                    <a:lnTo>
                      <a:pt x="777074" y="1303413"/>
                    </a:lnTo>
                    <a:lnTo>
                      <a:pt x="777074" y="1308582"/>
                    </a:lnTo>
                    <a:lnTo>
                      <a:pt x="780694" y="1308582"/>
                    </a:lnTo>
                    <a:lnTo>
                      <a:pt x="780694" y="1313929"/>
                    </a:lnTo>
                    <a:lnTo>
                      <a:pt x="826858" y="1313929"/>
                    </a:lnTo>
                    <a:lnTo>
                      <a:pt x="826858" y="1319364"/>
                    </a:lnTo>
                    <a:lnTo>
                      <a:pt x="862037" y="1319364"/>
                    </a:lnTo>
                    <a:lnTo>
                      <a:pt x="862037" y="1325118"/>
                    </a:lnTo>
                    <a:lnTo>
                      <a:pt x="899706" y="1325118"/>
                    </a:lnTo>
                    <a:lnTo>
                      <a:pt x="899706" y="1331353"/>
                    </a:lnTo>
                    <a:lnTo>
                      <a:pt x="917930" y="1331353"/>
                    </a:lnTo>
                    <a:lnTo>
                      <a:pt x="917930" y="1337576"/>
                    </a:lnTo>
                    <a:lnTo>
                      <a:pt x="937323" y="1337576"/>
                    </a:lnTo>
                    <a:lnTo>
                      <a:pt x="937323" y="1344066"/>
                    </a:lnTo>
                    <a:lnTo>
                      <a:pt x="945832" y="1344066"/>
                    </a:lnTo>
                    <a:lnTo>
                      <a:pt x="945832" y="1350708"/>
                    </a:lnTo>
                    <a:lnTo>
                      <a:pt x="947051" y="1350708"/>
                    </a:lnTo>
                    <a:lnTo>
                      <a:pt x="947051" y="1357401"/>
                    </a:lnTo>
                    <a:lnTo>
                      <a:pt x="987107" y="1357401"/>
                    </a:lnTo>
                    <a:lnTo>
                      <a:pt x="987107" y="1364602"/>
                    </a:lnTo>
                    <a:lnTo>
                      <a:pt x="1023556" y="1364602"/>
                    </a:lnTo>
                    <a:lnTo>
                      <a:pt x="1023556" y="1372463"/>
                    </a:lnTo>
                    <a:lnTo>
                      <a:pt x="1027176" y="1372463"/>
                    </a:lnTo>
                    <a:lnTo>
                      <a:pt x="1027176" y="1380299"/>
                    </a:lnTo>
                    <a:lnTo>
                      <a:pt x="1614817" y="1380299"/>
                    </a:lnTo>
                    <a:lnTo>
                      <a:pt x="1614817" y="1399946"/>
                    </a:lnTo>
                    <a:lnTo>
                      <a:pt x="1639100" y="1399946"/>
                    </a:lnTo>
                    <a:lnTo>
                      <a:pt x="1639100" y="1419606"/>
                    </a:lnTo>
                    <a:lnTo>
                      <a:pt x="2109012" y="1419606"/>
                    </a:lnTo>
                  </a:path>
                </a:pathLst>
              </a:custGeom>
              <a:noFill/>
              <a:ln w="1905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58" name="Google Shape;3265;p24">
                <a:extLst>
                  <a:ext uri="{FF2B5EF4-FFF2-40B4-BE49-F238E27FC236}">
                    <a16:creationId xmlns:a16="http://schemas.microsoft.com/office/drawing/2014/main" id="{677ECB2C-6B09-4918-8160-2E5210EBB1AF}"/>
                  </a:ext>
                </a:extLst>
              </p:cNvPr>
              <p:cNvSpPr/>
              <p:nvPr/>
            </p:nvSpPr>
            <p:spPr>
              <a:xfrm>
                <a:off x="5576405" y="2405778"/>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59" name="Google Shape;3266;p24">
                <a:extLst>
                  <a:ext uri="{FF2B5EF4-FFF2-40B4-BE49-F238E27FC236}">
                    <a16:creationId xmlns:a16="http://schemas.microsoft.com/office/drawing/2014/main" id="{215C427A-7ECE-46EF-9061-C0D78C5AA1F5}"/>
                  </a:ext>
                </a:extLst>
              </p:cNvPr>
              <p:cNvSpPr/>
              <p:nvPr/>
            </p:nvSpPr>
            <p:spPr>
              <a:xfrm>
                <a:off x="5603370" y="2383825"/>
                <a:ext cx="0" cy="44193"/>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60" name="Google Shape;3267;p24">
                <a:extLst>
                  <a:ext uri="{FF2B5EF4-FFF2-40B4-BE49-F238E27FC236}">
                    <a16:creationId xmlns:a16="http://schemas.microsoft.com/office/drawing/2014/main" id="{23033DC5-2FC3-4BB4-8C91-04C181952A8F}"/>
                  </a:ext>
                </a:extLst>
              </p:cNvPr>
              <p:cNvSpPr/>
              <p:nvPr/>
            </p:nvSpPr>
            <p:spPr>
              <a:xfrm>
                <a:off x="5593393" y="2431807"/>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61" name="Google Shape;3268;p24">
                <a:extLst>
                  <a:ext uri="{FF2B5EF4-FFF2-40B4-BE49-F238E27FC236}">
                    <a16:creationId xmlns:a16="http://schemas.microsoft.com/office/drawing/2014/main" id="{F1D8E410-6679-44A0-928D-C7DFDFF98EAF}"/>
                  </a:ext>
                </a:extLst>
              </p:cNvPr>
              <p:cNvSpPr/>
              <p:nvPr/>
            </p:nvSpPr>
            <p:spPr>
              <a:xfrm>
                <a:off x="5620287" y="2409854"/>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62" name="Google Shape;3269;p24">
                <a:extLst>
                  <a:ext uri="{FF2B5EF4-FFF2-40B4-BE49-F238E27FC236}">
                    <a16:creationId xmlns:a16="http://schemas.microsoft.com/office/drawing/2014/main" id="{60361A6E-813A-4CEC-BA24-180E900A20F2}"/>
                  </a:ext>
                </a:extLst>
              </p:cNvPr>
              <p:cNvSpPr/>
              <p:nvPr/>
            </p:nvSpPr>
            <p:spPr>
              <a:xfrm>
                <a:off x="5605257" y="2454617"/>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63" name="Google Shape;3270;p24">
                <a:extLst>
                  <a:ext uri="{FF2B5EF4-FFF2-40B4-BE49-F238E27FC236}">
                    <a16:creationId xmlns:a16="http://schemas.microsoft.com/office/drawing/2014/main" id="{018A0D84-AC57-4C44-A24C-03F14E1F0237}"/>
                  </a:ext>
                </a:extLst>
              </p:cNvPr>
              <p:cNvSpPr/>
              <p:nvPr/>
            </p:nvSpPr>
            <p:spPr>
              <a:xfrm>
                <a:off x="5632152" y="2432707"/>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64" name="Google Shape;3271;p24">
                <a:extLst>
                  <a:ext uri="{FF2B5EF4-FFF2-40B4-BE49-F238E27FC236}">
                    <a16:creationId xmlns:a16="http://schemas.microsoft.com/office/drawing/2014/main" id="{C5A05111-F4DE-4117-87D9-F3363DC3AC94}"/>
                  </a:ext>
                </a:extLst>
              </p:cNvPr>
              <p:cNvSpPr/>
              <p:nvPr/>
            </p:nvSpPr>
            <p:spPr>
              <a:xfrm>
                <a:off x="5679826" y="2568090"/>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65" name="Google Shape;3272;p24">
                <a:extLst>
                  <a:ext uri="{FF2B5EF4-FFF2-40B4-BE49-F238E27FC236}">
                    <a16:creationId xmlns:a16="http://schemas.microsoft.com/office/drawing/2014/main" id="{1D469F17-67C3-4194-959C-DBDF19EB95BC}"/>
                  </a:ext>
                </a:extLst>
              </p:cNvPr>
              <p:cNvSpPr/>
              <p:nvPr/>
            </p:nvSpPr>
            <p:spPr>
              <a:xfrm>
                <a:off x="5706791" y="2546137"/>
                <a:ext cx="0" cy="44193"/>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66" name="Google Shape;3273;p24">
                <a:extLst>
                  <a:ext uri="{FF2B5EF4-FFF2-40B4-BE49-F238E27FC236}">
                    <a16:creationId xmlns:a16="http://schemas.microsoft.com/office/drawing/2014/main" id="{2C9AA6CC-3FD1-4B0F-9DD4-328DCCD26D26}"/>
                  </a:ext>
                </a:extLst>
              </p:cNvPr>
              <p:cNvSpPr/>
              <p:nvPr/>
            </p:nvSpPr>
            <p:spPr>
              <a:xfrm>
                <a:off x="5691707" y="2585125"/>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67" name="Google Shape;3274;p24">
                <a:extLst>
                  <a:ext uri="{FF2B5EF4-FFF2-40B4-BE49-F238E27FC236}">
                    <a16:creationId xmlns:a16="http://schemas.microsoft.com/office/drawing/2014/main" id="{43C65ED1-481F-423A-9EE2-E75D4488722B}"/>
                  </a:ext>
                </a:extLst>
              </p:cNvPr>
              <p:cNvSpPr/>
              <p:nvPr/>
            </p:nvSpPr>
            <p:spPr>
              <a:xfrm>
                <a:off x="5718657" y="2563172"/>
                <a:ext cx="0" cy="44193"/>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68" name="Google Shape;3275;p24">
                <a:extLst>
                  <a:ext uri="{FF2B5EF4-FFF2-40B4-BE49-F238E27FC236}">
                    <a16:creationId xmlns:a16="http://schemas.microsoft.com/office/drawing/2014/main" id="{152A9E5C-D2E1-4CEB-A309-685ABB6E8467}"/>
                  </a:ext>
                </a:extLst>
              </p:cNvPr>
              <p:cNvSpPr/>
              <p:nvPr/>
            </p:nvSpPr>
            <p:spPr>
              <a:xfrm>
                <a:off x="5703554" y="2588575"/>
                <a:ext cx="54285"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69" name="Google Shape;3276;p24">
                <a:extLst>
                  <a:ext uri="{FF2B5EF4-FFF2-40B4-BE49-F238E27FC236}">
                    <a16:creationId xmlns:a16="http://schemas.microsoft.com/office/drawing/2014/main" id="{54EFA64A-F52C-47FD-AF80-C8AC65C41AEA}"/>
                  </a:ext>
                </a:extLst>
              </p:cNvPr>
              <p:cNvSpPr/>
              <p:nvPr/>
            </p:nvSpPr>
            <p:spPr>
              <a:xfrm>
                <a:off x="5730519" y="2566607"/>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70" name="Google Shape;3277;p24">
                <a:extLst>
                  <a:ext uri="{FF2B5EF4-FFF2-40B4-BE49-F238E27FC236}">
                    <a16:creationId xmlns:a16="http://schemas.microsoft.com/office/drawing/2014/main" id="{8190A21D-CCE3-455E-BC6C-135A16D189AD}"/>
                  </a:ext>
                </a:extLst>
              </p:cNvPr>
              <p:cNvSpPr/>
              <p:nvPr/>
            </p:nvSpPr>
            <p:spPr>
              <a:xfrm>
                <a:off x="5705273" y="2588575"/>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71" name="Google Shape;3278;p24">
                <a:extLst>
                  <a:ext uri="{FF2B5EF4-FFF2-40B4-BE49-F238E27FC236}">
                    <a16:creationId xmlns:a16="http://schemas.microsoft.com/office/drawing/2014/main" id="{D1ED172A-B68A-422F-99CF-0E118B545FCF}"/>
                  </a:ext>
                </a:extLst>
              </p:cNvPr>
              <p:cNvSpPr/>
              <p:nvPr/>
            </p:nvSpPr>
            <p:spPr>
              <a:xfrm>
                <a:off x="5732169" y="2566607"/>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72" name="Google Shape;3279;p24">
                <a:extLst>
                  <a:ext uri="{FF2B5EF4-FFF2-40B4-BE49-F238E27FC236}">
                    <a16:creationId xmlns:a16="http://schemas.microsoft.com/office/drawing/2014/main" id="{E3B2699E-2FAD-4F69-8EFF-04FBC18397B7}"/>
                  </a:ext>
                </a:extLst>
              </p:cNvPr>
              <p:cNvSpPr/>
              <p:nvPr/>
            </p:nvSpPr>
            <p:spPr>
              <a:xfrm>
                <a:off x="5708678" y="2592011"/>
                <a:ext cx="54285"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73" name="Google Shape;3280;p24">
                <a:extLst>
                  <a:ext uri="{FF2B5EF4-FFF2-40B4-BE49-F238E27FC236}">
                    <a16:creationId xmlns:a16="http://schemas.microsoft.com/office/drawing/2014/main" id="{D9464978-1323-49D6-BB4A-37D94A6291F2}"/>
                  </a:ext>
                </a:extLst>
              </p:cNvPr>
              <p:cNvSpPr/>
              <p:nvPr/>
            </p:nvSpPr>
            <p:spPr>
              <a:xfrm>
                <a:off x="5735573" y="2570115"/>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74" name="Google Shape;3281;p24">
                <a:extLst>
                  <a:ext uri="{FF2B5EF4-FFF2-40B4-BE49-F238E27FC236}">
                    <a16:creationId xmlns:a16="http://schemas.microsoft.com/office/drawing/2014/main" id="{26CD79C3-2B52-4453-A37B-292C331591F2}"/>
                  </a:ext>
                </a:extLst>
              </p:cNvPr>
              <p:cNvSpPr/>
              <p:nvPr/>
            </p:nvSpPr>
            <p:spPr>
              <a:xfrm>
                <a:off x="5730720" y="2613059"/>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75" name="Google Shape;3282;p24">
                <a:extLst>
                  <a:ext uri="{FF2B5EF4-FFF2-40B4-BE49-F238E27FC236}">
                    <a16:creationId xmlns:a16="http://schemas.microsoft.com/office/drawing/2014/main" id="{6358E224-24E2-45E3-BAC1-F1E0AB469060}"/>
                  </a:ext>
                </a:extLst>
              </p:cNvPr>
              <p:cNvSpPr/>
              <p:nvPr/>
            </p:nvSpPr>
            <p:spPr>
              <a:xfrm>
                <a:off x="5757615" y="2591164"/>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76" name="Google Shape;3283;p24">
                <a:extLst>
                  <a:ext uri="{FF2B5EF4-FFF2-40B4-BE49-F238E27FC236}">
                    <a16:creationId xmlns:a16="http://schemas.microsoft.com/office/drawing/2014/main" id="{D18B84A6-A610-4EB3-8E28-FB961E5831C7}"/>
                  </a:ext>
                </a:extLst>
              </p:cNvPr>
              <p:cNvSpPr/>
              <p:nvPr/>
            </p:nvSpPr>
            <p:spPr>
              <a:xfrm>
                <a:off x="5788372" y="2699651"/>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77" name="Google Shape;3284;p24">
                <a:extLst>
                  <a:ext uri="{FF2B5EF4-FFF2-40B4-BE49-F238E27FC236}">
                    <a16:creationId xmlns:a16="http://schemas.microsoft.com/office/drawing/2014/main" id="{66C2E11C-6AA7-481D-826C-9EA0B2037EAF}"/>
                  </a:ext>
                </a:extLst>
              </p:cNvPr>
              <p:cNvSpPr/>
              <p:nvPr/>
            </p:nvSpPr>
            <p:spPr>
              <a:xfrm>
                <a:off x="5815249" y="2677698"/>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78" name="Google Shape;3285;p24">
                <a:extLst>
                  <a:ext uri="{FF2B5EF4-FFF2-40B4-BE49-F238E27FC236}">
                    <a16:creationId xmlns:a16="http://schemas.microsoft.com/office/drawing/2014/main" id="{4522198F-0CE8-43AD-80D2-AC89280F0089}"/>
                  </a:ext>
                </a:extLst>
              </p:cNvPr>
              <p:cNvSpPr/>
              <p:nvPr/>
            </p:nvSpPr>
            <p:spPr>
              <a:xfrm>
                <a:off x="5793408" y="2710550"/>
                <a:ext cx="54285"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79" name="Google Shape;3286;p24">
                <a:extLst>
                  <a:ext uri="{FF2B5EF4-FFF2-40B4-BE49-F238E27FC236}">
                    <a16:creationId xmlns:a16="http://schemas.microsoft.com/office/drawing/2014/main" id="{DCF764D5-E5F0-4C34-A30F-2D2E069EC574}"/>
                  </a:ext>
                </a:extLst>
              </p:cNvPr>
              <p:cNvSpPr/>
              <p:nvPr/>
            </p:nvSpPr>
            <p:spPr>
              <a:xfrm>
                <a:off x="5820375" y="2688612"/>
                <a:ext cx="0" cy="44193"/>
              </a:xfrm>
              <a:custGeom>
                <a:avLst/>
                <a:gdLst/>
                <a:ahLst/>
                <a:cxnLst/>
                <a:rect l="l" t="t" r="r" b="b"/>
                <a:pathLst>
                  <a:path w="120000" h="29210" extrusionOk="0">
                    <a:moveTo>
                      <a:pt x="0" y="28943"/>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80" name="Google Shape;3287;p24">
                <a:extLst>
                  <a:ext uri="{FF2B5EF4-FFF2-40B4-BE49-F238E27FC236}">
                    <a16:creationId xmlns:a16="http://schemas.microsoft.com/office/drawing/2014/main" id="{36A90FC8-0969-4E32-92FC-3170BB76E9FD}"/>
                  </a:ext>
                </a:extLst>
              </p:cNvPr>
              <p:cNvSpPr/>
              <p:nvPr/>
            </p:nvSpPr>
            <p:spPr>
              <a:xfrm>
                <a:off x="5806974" y="2710550"/>
                <a:ext cx="54285"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81" name="Google Shape;3288;p24">
                <a:extLst>
                  <a:ext uri="{FF2B5EF4-FFF2-40B4-BE49-F238E27FC236}">
                    <a16:creationId xmlns:a16="http://schemas.microsoft.com/office/drawing/2014/main" id="{4EE408A6-E9B9-48FB-8BD3-6C40D8FC77A3}"/>
                  </a:ext>
                </a:extLst>
              </p:cNvPr>
              <p:cNvSpPr/>
              <p:nvPr/>
            </p:nvSpPr>
            <p:spPr>
              <a:xfrm>
                <a:off x="5833940" y="2688612"/>
                <a:ext cx="0" cy="44193"/>
              </a:xfrm>
              <a:custGeom>
                <a:avLst/>
                <a:gdLst/>
                <a:ahLst/>
                <a:cxnLst/>
                <a:rect l="l" t="t" r="r" b="b"/>
                <a:pathLst>
                  <a:path w="120000" h="29210" extrusionOk="0">
                    <a:moveTo>
                      <a:pt x="0" y="28943"/>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82" name="Google Shape;3289;p24">
                <a:extLst>
                  <a:ext uri="{FF2B5EF4-FFF2-40B4-BE49-F238E27FC236}">
                    <a16:creationId xmlns:a16="http://schemas.microsoft.com/office/drawing/2014/main" id="{A6D07E48-F4CA-4157-9886-958ECA66FB44}"/>
                  </a:ext>
                </a:extLst>
              </p:cNvPr>
              <p:cNvSpPr/>
              <p:nvPr/>
            </p:nvSpPr>
            <p:spPr>
              <a:xfrm>
                <a:off x="5844304" y="2736536"/>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83" name="Google Shape;3290;p24">
                <a:extLst>
                  <a:ext uri="{FF2B5EF4-FFF2-40B4-BE49-F238E27FC236}">
                    <a16:creationId xmlns:a16="http://schemas.microsoft.com/office/drawing/2014/main" id="{7550763E-5BAC-4616-B4B1-0C1A7A86FBB5}"/>
                  </a:ext>
                </a:extLst>
              </p:cNvPr>
              <p:cNvSpPr/>
              <p:nvPr/>
            </p:nvSpPr>
            <p:spPr>
              <a:xfrm>
                <a:off x="5871216" y="2714583"/>
                <a:ext cx="0" cy="44193"/>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84" name="Google Shape;3291;p24">
                <a:extLst>
                  <a:ext uri="{FF2B5EF4-FFF2-40B4-BE49-F238E27FC236}">
                    <a16:creationId xmlns:a16="http://schemas.microsoft.com/office/drawing/2014/main" id="{7A1E2021-D99C-4351-B712-1FF1F4C6AE1D}"/>
                  </a:ext>
                </a:extLst>
              </p:cNvPr>
              <p:cNvSpPr/>
              <p:nvPr/>
            </p:nvSpPr>
            <p:spPr>
              <a:xfrm>
                <a:off x="5856167" y="2736536"/>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85" name="Google Shape;3292;p24">
                <a:extLst>
                  <a:ext uri="{FF2B5EF4-FFF2-40B4-BE49-F238E27FC236}">
                    <a16:creationId xmlns:a16="http://schemas.microsoft.com/office/drawing/2014/main" id="{A568C9A6-6843-4694-A931-46DA78545A84}"/>
                  </a:ext>
                </a:extLst>
              </p:cNvPr>
              <p:cNvSpPr/>
              <p:nvPr/>
            </p:nvSpPr>
            <p:spPr>
              <a:xfrm>
                <a:off x="5883080" y="2714583"/>
                <a:ext cx="0" cy="44193"/>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86" name="Google Shape;3293;p24">
                <a:extLst>
                  <a:ext uri="{FF2B5EF4-FFF2-40B4-BE49-F238E27FC236}">
                    <a16:creationId xmlns:a16="http://schemas.microsoft.com/office/drawing/2014/main" id="{B2211B9C-5DF5-4D66-A79C-B70CAE900B0C}"/>
                  </a:ext>
                </a:extLst>
              </p:cNvPr>
              <p:cNvSpPr/>
              <p:nvPr/>
            </p:nvSpPr>
            <p:spPr>
              <a:xfrm>
                <a:off x="5862942" y="2744131"/>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87" name="Google Shape;3294;p24">
                <a:extLst>
                  <a:ext uri="{FF2B5EF4-FFF2-40B4-BE49-F238E27FC236}">
                    <a16:creationId xmlns:a16="http://schemas.microsoft.com/office/drawing/2014/main" id="{E8349D73-A84B-44E6-95C8-6D14CD84CB77}"/>
                  </a:ext>
                </a:extLst>
              </p:cNvPr>
              <p:cNvSpPr/>
              <p:nvPr/>
            </p:nvSpPr>
            <p:spPr>
              <a:xfrm>
                <a:off x="5889890" y="2722235"/>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88" name="Google Shape;3295;p24">
                <a:extLst>
                  <a:ext uri="{FF2B5EF4-FFF2-40B4-BE49-F238E27FC236}">
                    <a16:creationId xmlns:a16="http://schemas.microsoft.com/office/drawing/2014/main" id="{5D778A06-55B9-454B-881F-1639C56BF7FE}"/>
                  </a:ext>
                </a:extLst>
              </p:cNvPr>
              <p:cNvSpPr/>
              <p:nvPr/>
            </p:nvSpPr>
            <p:spPr>
              <a:xfrm>
                <a:off x="5878210" y="2748014"/>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89" name="Google Shape;3296;p24">
                <a:extLst>
                  <a:ext uri="{FF2B5EF4-FFF2-40B4-BE49-F238E27FC236}">
                    <a16:creationId xmlns:a16="http://schemas.microsoft.com/office/drawing/2014/main" id="{51B3DFBB-4D0C-4839-93B1-30C4D3953233}"/>
                  </a:ext>
                </a:extLst>
              </p:cNvPr>
              <p:cNvSpPr/>
              <p:nvPr/>
            </p:nvSpPr>
            <p:spPr>
              <a:xfrm>
                <a:off x="5905123" y="2726061"/>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90" name="Google Shape;3297;p24">
                <a:extLst>
                  <a:ext uri="{FF2B5EF4-FFF2-40B4-BE49-F238E27FC236}">
                    <a16:creationId xmlns:a16="http://schemas.microsoft.com/office/drawing/2014/main" id="{953F6175-310A-49BD-A7FF-26DF2A2A6D40}"/>
                  </a:ext>
                </a:extLst>
              </p:cNvPr>
              <p:cNvSpPr/>
              <p:nvPr/>
            </p:nvSpPr>
            <p:spPr>
              <a:xfrm>
                <a:off x="5891722" y="2751926"/>
                <a:ext cx="54285"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91" name="Google Shape;3298;p24">
                <a:extLst>
                  <a:ext uri="{FF2B5EF4-FFF2-40B4-BE49-F238E27FC236}">
                    <a16:creationId xmlns:a16="http://schemas.microsoft.com/office/drawing/2014/main" id="{D8A5B932-C408-4D78-8893-710EB2FF0E94}"/>
                  </a:ext>
                </a:extLst>
              </p:cNvPr>
              <p:cNvSpPr/>
              <p:nvPr/>
            </p:nvSpPr>
            <p:spPr>
              <a:xfrm>
                <a:off x="5918671" y="2729987"/>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92" name="Google Shape;3299;p24">
                <a:extLst>
                  <a:ext uri="{FF2B5EF4-FFF2-40B4-BE49-F238E27FC236}">
                    <a16:creationId xmlns:a16="http://schemas.microsoft.com/office/drawing/2014/main" id="{608AEE67-41BE-4712-9137-7388A0FC60FC}"/>
                  </a:ext>
                </a:extLst>
              </p:cNvPr>
              <p:cNvSpPr/>
              <p:nvPr/>
            </p:nvSpPr>
            <p:spPr>
              <a:xfrm>
                <a:off x="5974803" y="2779674"/>
                <a:ext cx="54285" cy="0"/>
              </a:xfrm>
              <a:custGeom>
                <a:avLst/>
                <a:gdLst/>
                <a:ahLst/>
                <a:cxnLst/>
                <a:rect l="l" t="t" r="r" b="b"/>
                <a:pathLst>
                  <a:path w="29210" h="120000" extrusionOk="0">
                    <a:moveTo>
                      <a:pt x="0" y="0"/>
                    </a:moveTo>
                    <a:lnTo>
                      <a:pt x="28968"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93" name="Google Shape;3300;p24">
                <a:extLst>
                  <a:ext uri="{FF2B5EF4-FFF2-40B4-BE49-F238E27FC236}">
                    <a16:creationId xmlns:a16="http://schemas.microsoft.com/office/drawing/2014/main" id="{91C8EE9A-55C6-49A3-A28D-CE7A93F795B0}"/>
                  </a:ext>
                </a:extLst>
              </p:cNvPr>
              <p:cNvSpPr/>
              <p:nvPr/>
            </p:nvSpPr>
            <p:spPr>
              <a:xfrm>
                <a:off x="6001770" y="2757735"/>
                <a:ext cx="0" cy="44193"/>
              </a:xfrm>
              <a:custGeom>
                <a:avLst/>
                <a:gdLst/>
                <a:ahLst/>
                <a:cxnLst/>
                <a:rect l="l" t="t" r="r" b="b"/>
                <a:pathLst>
                  <a:path w="120000" h="29210" extrusionOk="0">
                    <a:moveTo>
                      <a:pt x="0" y="28943"/>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94" name="Google Shape;3301;p24">
                <a:extLst>
                  <a:ext uri="{FF2B5EF4-FFF2-40B4-BE49-F238E27FC236}">
                    <a16:creationId xmlns:a16="http://schemas.microsoft.com/office/drawing/2014/main" id="{CAA9D4F2-D21B-4AE4-B65C-DDC9EC5CE26A}"/>
                  </a:ext>
                </a:extLst>
              </p:cNvPr>
              <p:cNvSpPr/>
              <p:nvPr/>
            </p:nvSpPr>
            <p:spPr>
              <a:xfrm>
                <a:off x="5983281" y="2779674"/>
                <a:ext cx="54285" cy="0"/>
              </a:xfrm>
              <a:custGeom>
                <a:avLst/>
                <a:gdLst/>
                <a:ahLst/>
                <a:cxnLst/>
                <a:rect l="l" t="t" r="r" b="b"/>
                <a:pathLst>
                  <a:path w="29210" h="120000" extrusionOk="0">
                    <a:moveTo>
                      <a:pt x="0" y="0"/>
                    </a:moveTo>
                    <a:lnTo>
                      <a:pt x="28943"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95" name="Google Shape;3302;p24">
                <a:extLst>
                  <a:ext uri="{FF2B5EF4-FFF2-40B4-BE49-F238E27FC236}">
                    <a16:creationId xmlns:a16="http://schemas.microsoft.com/office/drawing/2014/main" id="{1CA159D0-8EAC-409F-B1EE-DE92CA3509F6}"/>
                  </a:ext>
                </a:extLst>
              </p:cNvPr>
              <p:cNvSpPr/>
              <p:nvPr/>
            </p:nvSpPr>
            <p:spPr>
              <a:xfrm>
                <a:off x="6010247" y="2757735"/>
                <a:ext cx="0" cy="44193"/>
              </a:xfrm>
              <a:custGeom>
                <a:avLst/>
                <a:gdLst/>
                <a:ahLst/>
                <a:cxnLst/>
                <a:rect l="l" t="t" r="r" b="b"/>
                <a:pathLst>
                  <a:path w="120000" h="29210" extrusionOk="0">
                    <a:moveTo>
                      <a:pt x="0" y="28943"/>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96" name="Google Shape;3303;p24">
                <a:extLst>
                  <a:ext uri="{FF2B5EF4-FFF2-40B4-BE49-F238E27FC236}">
                    <a16:creationId xmlns:a16="http://schemas.microsoft.com/office/drawing/2014/main" id="{F1399488-E38B-468B-BDE4-CDD7CC439AFF}"/>
                  </a:ext>
                </a:extLst>
              </p:cNvPr>
              <p:cNvSpPr/>
              <p:nvPr/>
            </p:nvSpPr>
            <p:spPr>
              <a:xfrm>
                <a:off x="6010412" y="2779674"/>
                <a:ext cx="54285" cy="0"/>
              </a:xfrm>
              <a:custGeom>
                <a:avLst/>
                <a:gdLst/>
                <a:ahLst/>
                <a:cxnLst/>
                <a:rect l="l" t="t" r="r" b="b"/>
                <a:pathLst>
                  <a:path w="29210" h="120000" extrusionOk="0">
                    <a:moveTo>
                      <a:pt x="0" y="0"/>
                    </a:moveTo>
                    <a:lnTo>
                      <a:pt x="2893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97" name="Google Shape;3304;p24">
                <a:extLst>
                  <a:ext uri="{FF2B5EF4-FFF2-40B4-BE49-F238E27FC236}">
                    <a16:creationId xmlns:a16="http://schemas.microsoft.com/office/drawing/2014/main" id="{61B7397F-CCBC-4B13-9AE5-57ECA0C4877F}"/>
                  </a:ext>
                </a:extLst>
              </p:cNvPr>
              <p:cNvSpPr/>
              <p:nvPr/>
            </p:nvSpPr>
            <p:spPr>
              <a:xfrm>
                <a:off x="6037396" y="2757735"/>
                <a:ext cx="0" cy="44193"/>
              </a:xfrm>
              <a:custGeom>
                <a:avLst/>
                <a:gdLst/>
                <a:ahLst/>
                <a:cxnLst/>
                <a:rect l="l" t="t" r="r" b="b"/>
                <a:pathLst>
                  <a:path w="120000" h="29210" extrusionOk="0">
                    <a:moveTo>
                      <a:pt x="0" y="28943"/>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98" name="Google Shape;3305;p24">
                <a:extLst>
                  <a:ext uri="{FF2B5EF4-FFF2-40B4-BE49-F238E27FC236}">
                    <a16:creationId xmlns:a16="http://schemas.microsoft.com/office/drawing/2014/main" id="{F5BB68D4-D459-4AD5-8A0F-A6B980E50986}"/>
                  </a:ext>
                </a:extLst>
              </p:cNvPr>
              <p:cNvSpPr/>
              <p:nvPr/>
            </p:nvSpPr>
            <p:spPr>
              <a:xfrm>
                <a:off x="6022295" y="2787859"/>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699" name="Google Shape;3306;p24">
                <a:extLst>
                  <a:ext uri="{FF2B5EF4-FFF2-40B4-BE49-F238E27FC236}">
                    <a16:creationId xmlns:a16="http://schemas.microsoft.com/office/drawing/2014/main" id="{60FEA81B-C3DD-4C84-84E2-74566B406DE4}"/>
                  </a:ext>
                </a:extLst>
              </p:cNvPr>
              <p:cNvSpPr/>
              <p:nvPr/>
            </p:nvSpPr>
            <p:spPr>
              <a:xfrm>
                <a:off x="6049259" y="2765949"/>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00" name="Google Shape;3307;p24">
                <a:extLst>
                  <a:ext uri="{FF2B5EF4-FFF2-40B4-BE49-F238E27FC236}">
                    <a16:creationId xmlns:a16="http://schemas.microsoft.com/office/drawing/2014/main" id="{53EF537B-AEB3-4FA3-8BA0-BB3DD72F7B7D}"/>
                  </a:ext>
                </a:extLst>
              </p:cNvPr>
              <p:cNvSpPr/>
              <p:nvPr/>
            </p:nvSpPr>
            <p:spPr>
              <a:xfrm>
                <a:off x="6027401" y="2792016"/>
                <a:ext cx="54285"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01" name="Google Shape;3308;p24">
                <a:extLst>
                  <a:ext uri="{FF2B5EF4-FFF2-40B4-BE49-F238E27FC236}">
                    <a16:creationId xmlns:a16="http://schemas.microsoft.com/office/drawing/2014/main" id="{EE385A7B-4EB1-4C16-BE64-084446C2E2FD}"/>
                  </a:ext>
                </a:extLst>
              </p:cNvPr>
              <p:cNvSpPr/>
              <p:nvPr/>
            </p:nvSpPr>
            <p:spPr>
              <a:xfrm>
                <a:off x="6054314" y="2770078"/>
                <a:ext cx="0" cy="44193"/>
              </a:xfrm>
              <a:custGeom>
                <a:avLst/>
                <a:gdLst/>
                <a:ahLst/>
                <a:cxnLst/>
                <a:rect l="l" t="t" r="r" b="b"/>
                <a:pathLst>
                  <a:path w="120000" h="29210" extrusionOk="0">
                    <a:moveTo>
                      <a:pt x="0" y="28943"/>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02" name="Google Shape;3309;p24">
                <a:extLst>
                  <a:ext uri="{FF2B5EF4-FFF2-40B4-BE49-F238E27FC236}">
                    <a16:creationId xmlns:a16="http://schemas.microsoft.com/office/drawing/2014/main" id="{D20F7954-5DD7-463B-84B2-D34821D5A8A1}"/>
                  </a:ext>
                </a:extLst>
              </p:cNvPr>
              <p:cNvSpPr/>
              <p:nvPr/>
            </p:nvSpPr>
            <p:spPr>
              <a:xfrm>
                <a:off x="6047741" y="2796233"/>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03" name="Google Shape;3310;p24">
                <a:extLst>
                  <a:ext uri="{FF2B5EF4-FFF2-40B4-BE49-F238E27FC236}">
                    <a16:creationId xmlns:a16="http://schemas.microsoft.com/office/drawing/2014/main" id="{B519831A-C3C2-4C8D-B2F4-610D6855C42C}"/>
                  </a:ext>
                </a:extLst>
              </p:cNvPr>
              <p:cNvSpPr/>
              <p:nvPr/>
            </p:nvSpPr>
            <p:spPr>
              <a:xfrm>
                <a:off x="6074636" y="2774280"/>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04" name="Google Shape;3311;p24">
                <a:extLst>
                  <a:ext uri="{FF2B5EF4-FFF2-40B4-BE49-F238E27FC236}">
                    <a16:creationId xmlns:a16="http://schemas.microsoft.com/office/drawing/2014/main" id="{4542C305-E616-4D3E-8866-BC73DD88076B}"/>
                  </a:ext>
                </a:extLst>
              </p:cNvPr>
              <p:cNvSpPr/>
              <p:nvPr/>
            </p:nvSpPr>
            <p:spPr>
              <a:xfrm>
                <a:off x="6051145" y="2796233"/>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05" name="Google Shape;3312;p24">
                <a:extLst>
                  <a:ext uri="{FF2B5EF4-FFF2-40B4-BE49-F238E27FC236}">
                    <a16:creationId xmlns:a16="http://schemas.microsoft.com/office/drawing/2014/main" id="{E08B4DBD-76C1-4039-AAC4-1C34B9ED3942}"/>
                  </a:ext>
                </a:extLst>
              </p:cNvPr>
              <p:cNvSpPr/>
              <p:nvPr/>
            </p:nvSpPr>
            <p:spPr>
              <a:xfrm>
                <a:off x="6078060" y="2774280"/>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06" name="Google Shape;3313;p24">
                <a:extLst>
                  <a:ext uri="{FF2B5EF4-FFF2-40B4-BE49-F238E27FC236}">
                    <a16:creationId xmlns:a16="http://schemas.microsoft.com/office/drawing/2014/main" id="{5D7581BA-3498-4419-A431-01607B3D4261}"/>
                  </a:ext>
                </a:extLst>
              </p:cNvPr>
              <p:cNvSpPr/>
              <p:nvPr/>
            </p:nvSpPr>
            <p:spPr>
              <a:xfrm>
                <a:off x="6061307" y="2804837"/>
                <a:ext cx="54285"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07" name="Google Shape;3314;p24">
                <a:extLst>
                  <a:ext uri="{FF2B5EF4-FFF2-40B4-BE49-F238E27FC236}">
                    <a16:creationId xmlns:a16="http://schemas.microsoft.com/office/drawing/2014/main" id="{C100EF68-5D51-4932-A106-D6712EE09632}"/>
                  </a:ext>
                </a:extLst>
              </p:cNvPr>
              <p:cNvSpPr/>
              <p:nvPr/>
            </p:nvSpPr>
            <p:spPr>
              <a:xfrm>
                <a:off x="6088221" y="2782898"/>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08" name="Google Shape;3315;p24">
                <a:extLst>
                  <a:ext uri="{FF2B5EF4-FFF2-40B4-BE49-F238E27FC236}">
                    <a16:creationId xmlns:a16="http://schemas.microsoft.com/office/drawing/2014/main" id="{40B10477-C206-48F4-A648-49E9549BEFC5}"/>
                  </a:ext>
                </a:extLst>
              </p:cNvPr>
              <p:cNvSpPr/>
              <p:nvPr/>
            </p:nvSpPr>
            <p:spPr>
              <a:xfrm>
                <a:off x="6062957" y="2804837"/>
                <a:ext cx="54285" cy="0"/>
              </a:xfrm>
              <a:custGeom>
                <a:avLst/>
                <a:gdLst/>
                <a:ahLst/>
                <a:cxnLst/>
                <a:rect l="l" t="t" r="r" b="b"/>
                <a:pathLst>
                  <a:path w="29210" h="120000" extrusionOk="0">
                    <a:moveTo>
                      <a:pt x="0" y="0"/>
                    </a:moveTo>
                    <a:lnTo>
                      <a:pt x="28943"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09" name="Google Shape;3316;p24">
                <a:extLst>
                  <a:ext uri="{FF2B5EF4-FFF2-40B4-BE49-F238E27FC236}">
                    <a16:creationId xmlns:a16="http://schemas.microsoft.com/office/drawing/2014/main" id="{F4641BCC-F002-4E4A-A369-4AAFECB803CA}"/>
                  </a:ext>
                </a:extLst>
              </p:cNvPr>
              <p:cNvSpPr/>
              <p:nvPr/>
            </p:nvSpPr>
            <p:spPr>
              <a:xfrm>
                <a:off x="6089923" y="2782898"/>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10" name="Google Shape;3318;p24">
                <a:extLst>
                  <a:ext uri="{FF2B5EF4-FFF2-40B4-BE49-F238E27FC236}">
                    <a16:creationId xmlns:a16="http://schemas.microsoft.com/office/drawing/2014/main" id="{F9FB6C45-1F13-4BC8-A177-9697F5FD601E}"/>
                  </a:ext>
                </a:extLst>
              </p:cNvPr>
              <p:cNvSpPr/>
              <p:nvPr/>
            </p:nvSpPr>
            <p:spPr>
              <a:xfrm>
                <a:off x="6144151" y="2796137"/>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11" name="Google Shape;3320;p24">
                <a:extLst>
                  <a:ext uri="{FF2B5EF4-FFF2-40B4-BE49-F238E27FC236}">
                    <a16:creationId xmlns:a16="http://schemas.microsoft.com/office/drawing/2014/main" id="{136AEDF6-3B83-4124-B948-39BD8637F4A3}"/>
                  </a:ext>
                </a:extLst>
              </p:cNvPr>
              <p:cNvSpPr/>
              <p:nvPr/>
            </p:nvSpPr>
            <p:spPr>
              <a:xfrm>
                <a:off x="6154330" y="2796137"/>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12" name="Google Shape;3322;p24">
                <a:extLst>
                  <a:ext uri="{FF2B5EF4-FFF2-40B4-BE49-F238E27FC236}">
                    <a16:creationId xmlns:a16="http://schemas.microsoft.com/office/drawing/2014/main" id="{66A6C015-DC1D-4E5D-AF69-447976EC5F9D}"/>
                  </a:ext>
                </a:extLst>
              </p:cNvPr>
              <p:cNvSpPr/>
              <p:nvPr/>
            </p:nvSpPr>
            <p:spPr>
              <a:xfrm>
                <a:off x="6159438" y="2796137"/>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13" name="Google Shape;3324;p24">
                <a:extLst>
                  <a:ext uri="{FF2B5EF4-FFF2-40B4-BE49-F238E27FC236}">
                    <a16:creationId xmlns:a16="http://schemas.microsoft.com/office/drawing/2014/main" id="{01E69702-3077-447B-96E8-A6DEBA053527}"/>
                  </a:ext>
                </a:extLst>
              </p:cNvPr>
              <p:cNvSpPr/>
              <p:nvPr/>
            </p:nvSpPr>
            <p:spPr>
              <a:xfrm>
                <a:off x="6171319" y="2796137"/>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14" name="Google Shape;3349;p24">
                <a:extLst>
                  <a:ext uri="{FF2B5EF4-FFF2-40B4-BE49-F238E27FC236}">
                    <a16:creationId xmlns:a16="http://schemas.microsoft.com/office/drawing/2014/main" id="{AFBACBDB-722C-4530-AFFE-9FDA45D2B74C}"/>
                  </a:ext>
                </a:extLst>
              </p:cNvPr>
              <p:cNvSpPr/>
              <p:nvPr/>
            </p:nvSpPr>
            <p:spPr>
              <a:xfrm>
                <a:off x="6519079" y="2892540"/>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15" name="Google Shape;3350;p24">
                <a:extLst>
                  <a:ext uri="{FF2B5EF4-FFF2-40B4-BE49-F238E27FC236}">
                    <a16:creationId xmlns:a16="http://schemas.microsoft.com/office/drawing/2014/main" id="{34A1BE10-40F3-4B00-8084-DEF9B371D018}"/>
                  </a:ext>
                </a:extLst>
              </p:cNvPr>
              <p:cNvSpPr/>
              <p:nvPr/>
            </p:nvSpPr>
            <p:spPr>
              <a:xfrm>
                <a:off x="6545974" y="2870630"/>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16" name="Google Shape;3351;p24">
                <a:extLst>
                  <a:ext uri="{FF2B5EF4-FFF2-40B4-BE49-F238E27FC236}">
                    <a16:creationId xmlns:a16="http://schemas.microsoft.com/office/drawing/2014/main" id="{DF3C07FA-7AD5-4632-A6D5-5D4C9C406F64}"/>
                  </a:ext>
                </a:extLst>
              </p:cNvPr>
              <p:cNvSpPr/>
              <p:nvPr/>
            </p:nvSpPr>
            <p:spPr>
              <a:xfrm>
                <a:off x="6530889" y="2892540"/>
                <a:ext cx="54285" cy="0"/>
              </a:xfrm>
              <a:custGeom>
                <a:avLst/>
                <a:gdLst/>
                <a:ahLst/>
                <a:cxnLst/>
                <a:rect l="l" t="t" r="r" b="b"/>
                <a:pathLst>
                  <a:path w="29210" h="120000" extrusionOk="0">
                    <a:moveTo>
                      <a:pt x="0" y="0"/>
                    </a:moveTo>
                    <a:lnTo>
                      <a:pt x="28943"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17" name="Google Shape;3352;p24">
                <a:extLst>
                  <a:ext uri="{FF2B5EF4-FFF2-40B4-BE49-F238E27FC236}">
                    <a16:creationId xmlns:a16="http://schemas.microsoft.com/office/drawing/2014/main" id="{3E16CF76-3DB7-4517-8B07-39CDA0C5EC1F}"/>
                  </a:ext>
                </a:extLst>
              </p:cNvPr>
              <p:cNvSpPr/>
              <p:nvPr/>
            </p:nvSpPr>
            <p:spPr>
              <a:xfrm>
                <a:off x="6557837" y="2870630"/>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18" name="Google Shape;3353;p24">
                <a:extLst>
                  <a:ext uri="{FF2B5EF4-FFF2-40B4-BE49-F238E27FC236}">
                    <a16:creationId xmlns:a16="http://schemas.microsoft.com/office/drawing/2014/main" id="{93B827E4-4B17-42B5-84CD-19D2E805887E}"/>
                  </a:ext>
                </a:extLst>
              </p:cNvPr>
              <p:cNvSpPr/>
              <p:nvPr/>
            </p:nvSpPr>
            <p:spPr>
              <a:xfrm>
                <a:off x="6556317" y="2899080"/>
                <a:ext cx="54285" cy="0"/>
              </a:xfrm>
              <a:custGeom>
                <a:avLst/>
                <a:gdLst/>
                <a:ahLst/>
                <a:cxnLst/>
                <a:rect l="l" t="t" r="r" b="b"/>
                <a:pathLst>
                  <a:path w="29210" h="120000" extrusionOk="0">
                    <a:moveTo>
                      <a:pt x="0" y="0"/>
                    </a:moveTo>
                    <a:lnTo>
                      <a:pt x="28968"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19" name="Google Shape;3354;p24">
                <a:extLst>
                  <a:ext uri="{FF2B5EF4-FFF2-40B4-BE49-F238E27FC236}">
                    <a16:creationId xmlns:a16="http://schemas.microsoft.com/office/drawing/2014/main" id="{018C36D1-B29E-4FF3-8F66-FA1E58BC65BD}"/>
                  </a:ext>
                </a:extLst>
              </p:cNvPr>
              <p:cNvSpPr/>
              <p:nvPr/>
            </p:nvSpPr>
            <p:spPr>
              <a:xfrm>
                <a:off x="6583284" y="2877140"/>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20" name="Google Shape;3355;p24">
                <a:extLst>
                  <a:ext uri="{FF2B5EF4-FFF2-40B4-BE49-F238E27FC236}">
                    <a16:creationId xmlns:a16="http://schemas.microsoft.com/office/drawing/2014/main" id="{26070772-F6F3-4FCA-A4D9-0D16C55827F9}"/>
                  </a:ext>
                </a:extLst>
              </p:cNvPr>
              <p:cNvSpPr/>
              <p:nvPr/>
            </p:nvSpPr>
            <p:spPr>
              <a:xfrm>
                <a:off x="6559742" y="2899080"/>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21" name="Google Shape;3356;p24">
                <a:extLst>
                  <a:ext uri="{FF2B5EF4-FFF2-40B4-BE49-F238E27FC236}">
                    <a16:creationId xmlns:a16="http://schemas.microsoft.com/office/drawing/2014/main" id="{ABD2A991-7343-43B2-8A35-9AA582094A92}"/>
                  </a:ext>
                </a:extLst>
              </p:cNvPr>
              <p:cNvSpPr/>
              <p:nvPr/>
            </p:nvSpPr>
            <p:spPr>
              <a:xfrm>
                <a:off x="6586690" y="2877140"/>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22" name="Google Shape;3357;p24">
                <a:extLst>
                  <a:ext uri="{FF2B5EF4-FFF2-40B4-BE49-F238E27FC236}">
                    <a16:creationId xmlns:a16="http://schemas.microsoft.com/office/drawing/2014/main" id="{4622BAF9-A82A-409F-A0F9-C3DE302DB65C}"/>
                  </a:ext>
                </a:extLst>
              </p:cNvPr>
              <p:cNvSpPr/>
              <p:nvPr/>
            </p:nvSpPr>
            <p:spPr>
              <a:xfrm>
                <a:off x="6586891" y="2899080"/>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23" name="Google Shape;3358;p24">
                <a:extLst>
                  <a:ext uri="{FF2B5EF4-FFF2-40B4-BE49-F238E27FC236}">
                    <a16:creationId xmlns:a16="http://schemas.microsoft.com/office/drawing/2014/main" id="{8C453851-29C4-423B-9A5B-2D9A10DCE3E6}"/>
                  </a:ext>
                </a:extLst>
              </p:cNvPr>
              <p:cNvSpPr/>
              <p:nvPr/>
            </p:nvSpPr>
            <p:spPr>
              <a:xfrm>
                <a:off x="6613803" y="2877140"/>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24" name="Google Shape;3359;p24">
                <a:extLst>
                  <a:ext uri="{FF2B5EF4-FFF2-40B4-BE49-F238E27FC236}">
                    <a16:creationId xmlns:a16="http://schemas.microsoft.com/office/drawing/2014/main" id="{A72557D0-25FB-4986-B96D-7DE53D2F4D30}"/>
                  </a:ext>
                </a:extLst>
              </p:cNvPr>
              <p:cNvSpPr/>
              <p:nvPr/>
            </p:nvSpPr>
            <p:spPr>
              <a:xfrm>
                <a:off x="6634310" y="2913241"/>
                <a:ext cx="54285" cy="0"/>
              </a:xfrm>
              <a:custGeom>
                <a:avLst/>
                <a:gdLst/>
                <a:ahLst/>
                <a:cxnLst/>
                <a:rect l="l" t="t" r="r" b="b"/>
                <a:pathLst>
                  <a:path w="29210" h="120000" extrusionOk="0">
                    <a:moveTo>
                      <a:pt x="0" y="0"/>
                    </a:moveTo>
                    <a:lnTo>
                      <a:pt x="28943"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25" name="Google Shape;3360;p24">
                <a:extLst>
                  <a:ext uri="{FF2B5EF4-FFF2-40B4-BE49-F238E27FC236}">
                    <a16:creationId xmlns:a16="http://schemas.microsoft.com/office/drawing/2014/main" id="{6BF743EA-0146-4A3B-82D9-C80773780E75}"/>
                  </a:ext>
                </a:extLst>
              </p:cNvPr>
              <p:cNvSpPr/>
              <p:nvPr/>
            </p:nvSpPr>
            <p:spPr>
              <a:xfrm>
                <a:off x="6661258" y="2891346"/>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26" name="Google Shape;3361;p24">
                <a:extLst>
                  <a:ext uri="{FF2B5EF4-FFF2-40B4-BE49-F238E27FC236}">
                    <a16:creationId xmlns:a16="http://schemas.microsoft.com/office/drawing/2014/main" id="{D709ED7E-8EBE-4A9D-B302-E48FC1133DDF}"/>
                  </a:ext>
                </a:extLst>
              </p:cNvPr>
              <p:cNvSpPr/>
              <p:nvPr/>
            </p:nvSpPr>
            <p:spPr>
              <a:xfrm>
                <a:off x="6661460" y="2920619"/>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27" name="Google Shape;3362;p24">
                <a:extLst>
                  <a:ext uri="{FF2B5EF4-FFF2-40B4-BE49-F238E27FC236}">
                    <a16:creationId xmlns:a16="http://schemas.microsoft.com/office/drawing/2014/main" id="{42CD17C2-4CB0-4A53-9D17-4480C613CB42}"/>
                  </a:ext>
                </a:extLst>
              </p:cNvPr>
              <p:cNvSpPr/>
              <p:nvPr/>
            </p:nvSpPr>
            <p:spPr>
              <a:xfrm>
                <a:off x="6688426" y="2898666"/>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28" name="Google Shape;3363;p24">
                <a:extLst>
                  <a:ext uri="{FF2B5EF4-FFF2-40B4-BE49-F238E27FC236}">
                    <a16:creationId xmlns:a16="http://schemas.microsoft.com/office/drawing/2014/main" id="{F3049ED7-9A2B-4132-958B-AA8F28734522}"/>
                  </a:ext>
                </a:extLst>
              </p:cNvPr>
              <p:cNvSpPr/>
              <p:nvPr/>
            </p:nvSpPr>
            <p:spPr>
              <a:xfrm>
                <a:off x="6712337" y="2935777"/>
                <a:ext cx="54285"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29" name="Google Shape;3364;p24">
                <a:extLst>
                  <a:ext uri="{FF2B5EF4-FFF2-40B4-BE49-F238E27FC236}">
                    <a16:creationId xmlns:a16="http://schemas.microsoft.com/office/drawing/2014/main" id="{7E3C801E-1BF5-49EB-9311-C1D3A73E9C95}"/>
                  </a:ext>
                </a:extLst>
              </p:cNvPr>
              <p:cNvSpPr/>
              <p:nvPr/>
            </p:nvSpPr>
            <p:spPr>
              <a:xfrm>
                <a:off x="6739250" y="2913824"/>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30" name="Google Shape;3365;p24">
                <a:extLst>
                  <a:ext uri="{FF2B5EF4-FFF2-40B4-BE49-F238E27FC236}">
                    <a16:creationId xmlns:a16="http://schemas.microsoft.com/office/drawing/2014/main" id="{5A87B8C9-E54D-4E68-9C0A-5067A67FE54D}"/>
                  </a:ext>
                </a:extLst>
              </p:cNvPr>
              <p:cNvSpPr/>
              <p:nvPr/>
            </p:nvSpPr>
            <p:spPr>
              <a:xfrm>
                <a:off x="6722498" y="2935777"/>
                <a:ext cx="54285"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31" name="Google Shape;3366;p24">
                <a:extLst>
                  <a:ext uri="{FF2B5EF4-FFF2-40B4-BE49-F238E27FC236}">
                    <a16:creationId xmlns:a16="http://schemas.microsoft.com/office/drawing/2014/main" id="{79DF2D2A-339E-4B46-A9A9-432B7FE5936D}"/>
                  </a:ext>
                </a:extLst>
              </p:cNvPr>
              <p:cNvSpPr/>
              <p:nvPr/>
            </p:nvSpPr>
            <p:spPr>
              <a:xfrm>
                <a:off x="6749411" y="2913824"/>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32" name="Google Shape;3367;p24">
                <a:extLst>
                  <a:ext uri="{FF2B5EF4-FFF2-40B4-BE49-F238E27FC236}">
                    <a16:creationId xmlns:a16="http://schemas.microsoft.com/office/drawing/2014/main" id="{8CFF40F3-4C44-466A-B65D-07C12AC283FE}"/>
                  </a:ext>
                </a:extLst>
              </p:cNvPr>
              <p:cNvSpPr/>
              <p:nvPr/>
            </p:nvSpPr>
            <p:spPr>
              <a:xfrm>
                <a:off x="6725867" y="2943963"/>
                <a:ext cx="54285" cy="0"/>
              </a:xfrm>
              <a:custGeom>
                <a:avLst/>
                <a:gdLst/>
                <a:ahLst/>
                <a:cxnLst/>
                <a:rect l="l" t="t" r="r" b="b"/>
                <a:pathLst>
                  <a:path w="29210" h="120000" extrusionOk="0">
                    <a:moveTo>
                      <a:pt x="0" y="0"/>
                    </a:moveTo>
                    <a:lnTo>
                      <a:pt x="28943"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33" name="Google Shape;3368;p24">
                <a:extLst>
                  <a:ext uri="{FF2B5EF4-FFF2-40B4-BE49-F238E27FC236}">
                    <a16:creationId xmlns:a16="http://schemas.microsoft.com/office/drawing/2014/main" id="{AA63CC6D-BA69-4432-B37B-FE79F07F2DB2}"/>
                  </a:ext>
                </a:extLst>
              </p:cNvPr>
              <p:cNvSpPr/>
              <p:nvPr/>
            </p:nvSpPr>
            <p:spPr>
              <a:xfrm>
                <a:off x="6752834" y="2922010"/>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34" name="Google Shape;3369;p24">
                <a:extLst>
                  <a:ext uri="{FF2B5EF4-FFF2-40B4-BE49-F238E27FC236}">
                    <a16:creationId xmlns:a16="http://schemas.microsoft.com/office/drawing/2014/main" id="{25790D91-45C3-4CCC-97A3-E2493E0E40C1}"/>
                  </a:ext>
                </a:extLst>
              </p:cNvPr>
              <p:cNvSpPr/>
              <p:nvPr/>
            </p:nvSpPr>
            <p:spPr>
              <a:xfrm>
                <a:off x="6736029" y="2943963"/>
                <a:ext cx="54285" cy="0"/>
              </a:xfrm>
              <a:custGeom>
                <a:avLst/>
                <a:gdLst/>
                <a:ahLst/>
                <a:cxnLst/>
                <a:rect l="l" t="t" r="r" b="b"/>
                <a:pathLst>
                  <a:path w="29210" h="120000" extrusionOk="0">
                    <a:moveTo>
                      <a:pt x="0" y="0"/>
                    </a:moveTo>
                    <a:lnTo>
                      <a:pt x="28943"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35" name="Google Shape;3370;p24">
                <a:extLst>
                  <a:ext uri="{FF2B5EF4-FFF2-40B4-BE49-F238E27FC236}">
                    <a16:creationId xmlns:a16="http://schemas.microsoft.com/office/drawing/2014/main" id="{E6610ADA-FF72-406F-B009-4028BF6B56C3}"/>
                  </a:ext>
                </a:extLst>
              </p:cNvPr>
              <p:cNvSpPr/>
              <p:nvPr/>
            </p:nvSpPr>
            <p:spPr>
              <a:xfrm>
                <a:off x="6762994" y="2922010"/>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36" name="Google Shape;3371;p24">
                <a:extLst>
                  <a:ext uri="{FF2B5EF4-FFF2-40B4-BE49-F238E27FC236}">
                    <a16:creationId xmlns:a16="http://schemas.microsoft.com/office/drawing/2014/main" id="{B1BF00E2-8E6D-486F-89B1-FA2482C51F88}"/>
                  </a:ext>
                </a:extLst>
              </p:cNvPr>
              <p:cNvSpPr/>
              <p:nvPr/>
            </p:nvSpPr>
            <p:spPr>
              <a:xfrm>
                <a:off x="6803895" y="2961807"/>
                <a:ext cx="54285"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37" name="Google Shape;3372;p24">
                <a:extLst>
                  <a:ext uri="{FF2B5EF4-FFF2-40B4-BE49-F238E27FC236}">
                    <a16:creationId xmlns:a16="http://schemas.microsoft.com/office/drawing/2014/main" id="{97448D53-BBC5-4738-A6D3-132C94FE6A57}"/>
                  </a:ext>
                </a:extLst>
              </p:cNvPr>
              <p:cNvSpPr/>
              <p:nvPr/>
            </p:nvSpPr>
            <p:spPr>
              <a:xfrm>
                <a:off x="6830808" y="2939897"/>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38" name="Google Shape;3373;p24">
                <a:extLst>
                  <a:ext uri="{FF2B5EF4-FFF2-40B4-BE49-F238E27FC236}">
                    <a16:creationId xmlns:a16="http://schemas.microsoft.com/office/drawing/2014/main" id="{C20CB563-35A3-4CDA-8D45-2B5F25C522D6}"/>
                  </a:ext>
                </a:extLst>
              </p:cNvPr>
              <p:cNvSpPr/>
              <p:nvPr/>
            </p:nvSpPr>
            <p:spPr>
              <a:xfrm>
                <a:off x="6820812" y="2961807"/>
                <a:ext cx="54285"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39" name="Google Shape;3374;p24">
                <a:extLst>
                  <a:ext uri="{FF2B5EF4-FFF2-40B4-BE49-F238E27FC236}">
                    <a16:creationId xmlns:a16="http://schemas.microsoft.com/office/drawing/2014/main" id="{F5903FFF-7A2F-4880-9AA3-8FDFFB462092}"/>
                  </a:ext>
                </a:extLst>
              </p:cNvPr>
              <p:cNvSpPr/>
              <p:nvPr/>
            </p:nvSpPr>
            <p:spPr>
              <a:xfrm>
                <a:off x="6847778" y="2939897"/>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40" name="Google Shape;3375;p24">
                <a:extLst>
                  <a:ext uri="{FF2B5EF4-FFF2-40B4-BE49-F238E27FC236}">
                    <a16:creationId xmlns:a16="http://schemas.microsoft.com/office/drawing/2014/main" id="{DE9EA50D-114C-4649-A5AF-1EDDE8712D7D}"/>
                  </a:ext>
                </a:extLst>
              </p:cNvPr>
              <p:cNvSpPr/>
              <p:nvPr/>
            </p:nvSpPr>
            <p:spPr>
              <a:xfrm>
                <a:off x="6834396" y="2961807"/>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41" name="Google Shape;3376;p24">
                <a:extLst>
                  <a:ext uri="{FF2B5EF4-FFF2-40B4-BE49-F238E27FC236}">
                    <a16:creationId xmlns:a16="http://schemas.microsoft.com/office/drawing/2014/main" id="{D435DA0A-FA74-434C-8720-F006CB8A7814}"/>
                  </a:ext>
                </a:extLst>
              </p:cNvPr>
              <p:cNvSpPr/>
              <p:nvPr/>
            </p:nvSpPr>
            <p:spPr>
              <a:xfrm>
                <a:off x="6861362" y="2939897"/>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42" name="Google Shape;3377;p24">
                <a:extLst>
                  <a:ext uri="{FF2B5EF4-FFF2-40B4-BE49-F238E27FC236}">
                    <a16:creationId xmlns:a16="http://schemas.microsoft.com/office/drawing/2014/main" id="{38C660DF-FEDF-4443-A2B7-36A73D9D8A71}"/>
                  </a:ext>
                </a:extLst>
              </p:cNvPr>
              <p:cNvSpPr/>
              <p:nvPr/>
            </p:nvSpPr>
            <p:spPr>
              <a:xfrm>
                <a:off x="6881868" y="2961807"/>
                <a:ext cx="54285"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43" name="Google Shape;3378;p24">
                <a:extLst>
                  <a:ext uri="{FF2B5EF4-FFF2-40B4-BE49-F238E27FC236}">
                    <a16:creationId xmlns:a16="http://schemas.microsoft.com/office/drawing/2014/main" id="{A974E00B-B4F2-4918-9EC0-BDE8D1CCF96C}"/>
                  </a:ext>
                </a:extLst>
              </p:cNvPr>
              <p:cNvSpPr/>
              <p:nvPr/>
            </p:nvSpPr>
            <p:spPr>
              <a:xfrm>
                <a:off x="6908763" y="2939897"/>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44" name="Google Shape;3379;p24">
                <a:extLst>
                  <a:ext uri="{FF2B5EF4-FFF2-40B4-BE49-F238E27FC236}">
                    <a16:creationId xmlns:a16="http://schemas.microsoft.com/office/drawing/2014/main" id="{4CA607B3-6231-46AB-BDB4-FE05DCEFEE9D}"/>
                  </a:ext>
                </a:extLst>
              </p:cNvPr>
              <p:cNvSpPr/>
              <p:nvPr/>
            </p:nvSpPr>
            <p:spPr>
              <a:xfrm>
                <a:off x="6888643" y="2961807"/>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45" name="Google Shape;3380;p24">
                <a:extLst>
                  <a:ext uri="{FF2B5EF4-FFF2-40B4-BE49-F238E27FC236}">
                    <a16:creationId xmlns:a16="http://schemas.microsoft.com/office/drawing/2014/main" id="{986659CC-BA94-41BF-BCF6-D63E6230CFBE}"/>
                  </a:ext>
                </a:extLst>
              </p:cNvPr>
              <p:cNvSpPr/>
              <p:nvPr/>
            </p:nvSpPr>
            <p:spPr>
              <a:xfrm>
                <a:off x="6915591" y="2939897"/>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46" name="Google Shape;3381;p24">
                <a:extLst>
                  <a:ext uri="{FF2B5EF4-FFF2-40B4-BE49-F238E27FC236}">
                    <a16:creationId xmlns:a16="http://schemas.microsoft.com/office/drawing/2014/main" id="{ACEA7DB7-836C-4731-A160-77F2B9A7E476}"/>
                  </a:ext>
                </a:extLst>
              </p:cNvPr>
              <p:cNvSpPr/>
              <p:nvPr/>
            </p:nvSpPr>
            <p:spPr>
              <a:xfrm>
                <a:off x="6898805" y="2961807"/>
                <a:ext cx="54285" cy="0"/>
              </a:xfrm>
              <a:custGeom>
                <a:avLst/>
                <a:gdLst/>
                <a:ahLst/>
                <a:cxnLst/>
                <a:rect l="l" t="t" r="r" b="b"/>
                <a:pathLst>
                  <a:path w="29210" h="120000" extrusionOk="0">
                    <a:moveTo>
                      <a:pt x="0" y="0"/>
                    </a:moveTo>
                    <a:lnTo>
                      <a:pt x="28943"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47" name="Google Shape;3382;p24">
                <a:extLst>
                  <a:ext uri="{FF2B5EF4-FFF2-40B4-BE49-F238E27FC236}">
                    <a16:creationId xmlns:a16="http://schemas.microsoft.com/office/drawing/2014/main" id="{47D7D4BB-8C1A-461D-AC5C-DB66D9902E3F}"/>
                  </a:ext>
                </a:extLst>
              </p:cNvPr>
              <p:cNvSpPr/>
              <p:nvPr/>
            </p:nvSpPr>
            <p:spPr>
              <a:xfrm>
                <a:off x="6925753" y="2939897"/>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48" name="Google Shape;3383;p24">
                <a:extLst>
                  <a:ext uri="{FF2B5EF4-FFF2-40B4-BE49-F238E27FC236}">
                    <a16:creationId xmlns:a16="http://schemas.microsoft.com/office/drawing/2014/main" id="{3927CBDE-15BB-43F1-B18D-2AA8319B151C}"/>
                  </a:ext>
                </a:extLst>
              </p:cNvPr>
              <p:cNvSpPr/>
              <p:nvPr/>
            </p:nvSpPr>
            <p:spPr>
              <a:xfrm>
                <a:off x="6917494" y="2961807"/>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49" name="Google Shape;3384;p24">
                <a:extLst>
                  <a:ext uri="{FF2B5EF4-FFF2-40B4-BE49-F238E27FC236}">
                    <a16:creationId xmlns:a16="http://schemas.microsoft.com/office/drawing/2014/main" id="{F7A5B694-2444-4808-94BF-1CEF13BD814B}"/>
                  </a:ext>
                </a:extLst>
              </p:cNvPr>
              <p:cNvSpPr/>
              <p:nvPr/>
            </p:nvSpPr>
            <p:spPr>
              <a:xfrm>
                <a:off x="6944391" y="2939897"/>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50" name="Google Shape;3385;p24">
                <a:extLst>
                  <a:ext uri="{FF2B5EF4-FFF2-40B4-BE49-F238E27FC236}">
                    <a16:creationId xmlns:a16="http://schemas.microsoft.com/office/drawing/2014/main" id="{36329060-8F27-4A7A-A482-9F4818429A2B}"/>
                  </a:ext>
                </a:extLst>
              </p:cNvPr>
              <p:cNvSpPr/>
              <p:nvPr/>
            </p:nvSpPr>
            <p:spPr>
              <a:xfrm>
                <a:off x="6924233" y="2961807"/>
                <a:ext cx="54285"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51" name="Google Shape;3386;p24">
                <a:extLst>
                  <a:ext uri="{FF2B5EF4-FFF2-40B4-BE49-F238E27FC236}">
                    <a16:creationId xmlns:a16="http://schemas.microsoft.com/office/drawing/2014/main" id="{9314799F-A95E-4260-A21F-0E8329FE7D5C}"/>
                  </a:ext>
                </a:extLst>
              </p:cNvPr>
              <p:cNvSpPr/>
              <p:nvPr/>
            </p:nvSpPr>
            <p:spPr>
              <a:xfrm>
                <a:off x="6951199" y="2939897"/>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52" name="Google Shape;3387;p24">
                <a:extLst>
                  <a:ext uri="{FF2B5EF4-FFF2-40B4-BE49-F238E27FC236}">
                    <a16:creationId xmlns:a16="http://schemas.microsoft.com/office/drawing/2014/main" id="{A4F40A93-493C-4E3B-97D4-771F3ED3BFE4}"/>
                  </a:ext>
                </a:extLst>
              </p:cNvPr>
              <p:cNvSpPr/>
              <p:nvPr/>
            </p:nvSpPr>
            <p:spPr>
              <a:xfrm>
                <a:off x="6936098" y="2961807"/>
                <a:ext cx="54285" cy="0"/>
              </a:xfrm>
              <a:custGeom>
                <a:avLst/>
                <a:gdLst/>
                <a:ahLst/>
                <a:cxnLst/>
                <a:rect l="l" t="t" r="r" b="b"/>
                <a:pathLst>
                  <a:path w="29210" h="120000" extrusionOk="0">
                    <a:moveTo>
                      <a:pt x="0" y="0"/>
                    </a:moveTo>
                    <a:lnTo>
                      <a:pt x="2893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53" name="Google Shape;3388;p24">
                <a:extLst>
                  <a:ext uri="{FF2B5EF4-FFF2-40B4-BE49-F238E27FC236}">
                    <a16:creationId xmlns:a16="http://schemas.microsoft.com/office/drawing/2014/main" id="{058B41C4-2773-452A-9A37-803DDB0DBB72}"/>
                  </a:ext>
                </a:extLst>
              </p:cNvPr>
              <p:cNvSpPr/>
              <p:nvPr/>
            </p:nvSpPr>
            <p:spPr>
              <a:xfrm>
                <a:off x="6963081" y="2939897"/>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54" name="Google Shape;3389;p24">
                <a:extLst>
                  <a:ext uri="{FF2B5EF4-FFF2-40B4-BE49-F238E27FC236}">
                    <a16:creationId xmlns:a16="http://schemas.microsoft.com/office/drawing/2014/main" id="{4918B22A-36CB-4422-9B31-DC2F0140EFCE}"/>
                  </a:ext>
                </a:extLst>
              </p:cNvPr>
              <p:cNvSpPr/>
              <p:nvPr/>
            </p:nvSpPr>
            <p:spPr>
              <a:xfrm>
                <a:off x="7027656" y="2961807"/>
                <a:ext cx="54285"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55" name="Google Shape;3390;p24">
                <a:extLst>
                  <a:ext uri="{FF2B5EF4-FFF2-40B4-BE49-F238E27FC236}">
                    <a16:creationId xmlns:a16="http://schemas.microsoft.com/office/drawing/2014/main" id="{AEE57DE8-321E-42A8-94F1-D371BB759827}"/>
                  </a:ext>
                </a:extLst>
              </p:cNvPr>
              <p:cNvSpPr/>
              <p:nvPr/>
            </p:nvSpPr>
            <p:spPr>
              <a:xfrm>
                <a:off x="7054621" y="2939897"/>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56" name="Google Shape;3391;p24">
                <a:extLst>
                  <a:ext uri="{FF2B5EF4-FFF2-40B4-BE49-F238E27FC236}">
                    <a16:creationId xmlns:a16="http://schemas.microsoft.com/office/drawing/2014/main" id="{C425F3E6-4631-4A65-9EC9-69A262793D35}"/>
                  </a:ext>
                </a:extLst>
              </p:cNvPr>
              <p:cNvSpPr/>
              <p:nvPr/>
            </p:nvSpPr>
            <p:spPr>
              <a:xfrm>
                <a:off x="7458276" y="2961807"/>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57" name="Google Shape;3392;p24">
                <a:extLst>
                  <a:ext uri="{FF2B5EF4-FFF2-40B4-BE49-F238E27FC236}">
                    <a16:creationId xmlns:a16="http://schemas.microsoft.com/office/drawing/2014/main" id="{D9307CCC-95E1-44B8-A5FC-CC2C295D3687}"/>
                  </a:ext>
                </a:extLst>
              </p:cNvPr>
              <p:cNvSpPr/>
              <p:nvPr/>
            </p:nvSpPr>
            <p:spPr>
              <a:xfrm>
                <a:off x="7485242" y="2939897"/>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58" name="Google Shape;3393;p24">
                <a:extLst>
                  <a:ext uri="{FF2B5EF4-FFF2-40B4-BE49-F238E27FC236}">
                    <a16:creationId xmlns:a16="http://schemas.microsoft.com/office/drawing/2014/main" id="{D75F2513-3666-4D62-B207-6B61CBAF1063}"/>
                  </a:ext>
                </a:extLst>
              </p:cNvPr>
              <p:cNvSpPr/>
              <p:nvPr/>
            </p:nvSpPr>
            <p:spPr>
              <a:xfrm>
                <a:off x="7505748" y="2961807"/>
                <a:ext cx="54285"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59" name="Google Shape;3394;p24">
                <a:extLst>
                  <a:ext uri="{FF2B5EF4-FFF2-40B4-BE49-F238E27FC236}">
                    <a16:creationId xmlns:a16="http://schemas.microsoft.com/office/drawing/2014/main" id="{50A5841C-4858-4414-A415-BCEAE4386D78}"/>
                  </a:ext>
                </a:extLst>
              </p:cNvPr>
              <p:cNvSpPr/>
              <p:nvPr/>
            </p:nvSpPr>
            <p:spPr>
              <a:xfrm>
                <a:off x="7532714" y="2939897"/>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60" name="Google Shape;3395;p24">
                <a:extLst>
                  <a:ext uri="{FF2B5EF4-FFF2-40B4-BE49-F238E27FC236}">
                    <a16:creationId xmlns:a16="http://schemas.microsoft.com/office/drawing/2014/main" id="{AFCDF54F-0413-4EF6-81F2-CE7DFD201AB7}"/>
                  </a:ext>
                </a:extLst>
              </p:cNvPr>
              <p:cNvSpPr/>
              <p:nvPr/>
            </p:nvSpPr>
            <p:spPr>
              <a:xfrm>
                <a:off x="7716014" y="3006489"/>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61" name="Google Shape;3396;p24">
                <a:extLst>
                  <a:ext uri="{FF2B5EF4-FFF2-40B4-BE49-F238E27FC236}">
                    <a16:creationId xmlns:a16="http://schemas.microsoft.com/office/drawing/2014/main" id="{4B002040-4158-44DB-8999-959CD512DEE0}"/>
                  </a:ext>
                </a:extLst>
              </p:cNvPr>
              <p:cNvSpPr/>
              <p:nvPr/>
            </p:nvSpPr>
            <p:spPr>
              <a:xfrm>
                <a:off x="7742927" y="2984534"/>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62" name="Google Shape;3397;p24">
                <a:extLst>
                  <a:ext uri="{FF2B5EF4-FFF2-40B4-BE49-F238E27FC236}">
                    <a16:creationId xmlns:a16="http://schemas.microsoft.com/office/drawing/2014/main" id="{B3A5630C-1571-4350-B49F-F11FBAC9F2F5}"/>
                  </a:ext>
                </a:extLst>
              </p:cNvPr>
              <p:cNvSpPr/>
              <p:nvPr/>
            </p:nvSpPr>
            <p:spPr>
              <a:xfrm>
                <a:off x="7800744" y="3006489"/>
                <a:ext cx="54285"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63" name="Google Shape;3398;p24">
                <a:extLst>
                  <a:ext uri="{FF2B5EF4-FFF2-40B4-BE49-F238E27FC236}">
                    <a16:creationId xmlns:a16="http://schemas.microsoft.com/office/drawing/2014/main" id="{387E790F-8E1F-40BC-AB80-A32FA5C96EE5}"/>
                  </a:ext>
                </a:extLst>
              </p:cNvPr>
              <p:cNvSpPr/>
              <p:nvPr/>
            </p:nvSpPr>
            <p:spPr>
              <a:xfrm>
                <a:off x="7827709" y="2984534"/>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64" name="Google Shape;3399;p24">
                <a:extLst>
                  <a:ext uri="{FF2B5EF4-FFF2-40B4-BE49-F238E27FC236}">
                    <a16:creationId xmlns:a16="http://schemas.microsoft.com/office/drawing/2014/main" id="{A7B31AF7-7F87-4610-A2C9-5A00B41D29F7}"/>
                  </a:ext>
                </a:extLst>
              </p:cNvPr>
              <p:cNvSpPr/>
              <p:nvPr/>
            </p:nvSpPr>
            <p:spPr>
              <a:xfrm>
                <a:off x="8122872" y="3006489"/>
                <a:ext cx="54285" cy="0"/>
              </a:xfrm>
              <a:custGeom>
                <a:avLst/>
                <a:gdLst/>
                <a:ahLst/>
                <a:cxnLst/>
                <a:rect l="l" t="t" r="r" b="b"/>
                <a:pathLst>
                  <a:path w="29209"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65" name="Google Shape;3400;p24">
                <a:extLst>
                  <a:ext uri="{FF2B5EF4-FFF2-40B4-BE49-F238E27FC236}">
                    <a16:creationId xmlns:a16="http://schemas.microsoft.com/office/drawing/2014/main" id="{C87FB056-C304-4CFB-8295-96A0BDF93A75}"/>
                  </a:ext>
                </a:extLst>
              </p:cNvPr>
              <p:cNvSpPr/>
              <p:nvPr/>
            </p:nvSpPr>
            <p:spPr>
              <a:xfrm>
                <a:off x="8149855" y="2984534"/>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66" name="Google Shape;3401;p24">
                <a:extLst>
                  <a:ext uri="{FF2B5EF4-FFF2-40B4-BE49-F238E27FC236}">
                    <a16:creationId xmlns:a16="http://schemas.microsoft.com/office/drawing/2014/main" id="{24BC2766-0A89-4646-B68C-5F8AD05D36F1}"/>
                  </a:ext>
                </a:extLst>
              </p:cNvPr>
              <p:cNvSpPr/>
              <p:nvPr/>
            </p:nvSpPr>
            <p:spPr>
              <a:xfrm>
                <a:off x="8168659" y="3006489"/>
                <a:ext cx="54285" cy="0"/>
              </a:xfrm>
              <a:custGeom>
                <a:avLst/>
                <a:gdLst/>
                <a:ahLst/>
                <a:cxnLst/>
                <a:rect l="l" t="t" r="r" b="b"/>
                <a:pathLst>
                  <a:path w="29209"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67" name="Google Shape;3402;p24">
                <a:extLst>
                  <a:ext uri="{FF2B5EF4-FFF2-40B4-BE49-F238E27FC236}">
                    <a16:creationId xmlns:a16="http://schemas.microsoft.com/office/drawing/2014/main" id="{1D2A25FE-FD4E-47FF-8384-0FF1925F20D7}"/>
                  </a:ext>
                </a:extLst>
              </p:cNvPr>
              <p:cNvSpPr/>
              <p:nvPr/>
            </p:nvSpPr>
            <p:spPr>
              <a:xfrm>
                <a:off x="8195625" y="2984534"/>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68" name="Google Shape;3403;p24">
                <a:extLst>
                  <a:ext uri="{FF2B5EF4-FFF2-40B4-BE49-F238E27FC236}">
                    <a16:creationId xmlns:a16="http://schemas.microsoft.com/office/drawing/2014/main" id="{E96E549A-44B3-479B-81C0-C8862E96A708}"/>
                  </a:ext>
                </a:extLst>
              </p:cNvPr>
              <p:cNvSpPr/>
              <p:nvPr/>
            </p:nvSpPr>
            <p:spPr>
              <a:xfrm>
                <a:off x="8177118" y="3006489"/>
                <a:ext cx="54285" cy="0"/>
              </a:xfrm>
              <a:custGeom>
                <a:avLst/>
                <a:gdLst/>
                <a:ahLst/>
                <a:cxnLst/>
                <a:rect l="l" t="t" r="r" b="b"/>
                <a:pathLst>
                  <a:path w="29209"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69" name="Google Shape;3404;p24">
                <a:extLst>
                  <a:ext uri="{FF2B5EF4-FFF2-40B4-BE49-F238E27FC236}">
                    <a16:creationId xmlns:a16="http://schemas.microsoft.com/office/drawing/2014/main" id="{DD56A60B-2149-4F40-A718-FB040241E23C}"/>
                  </a:ext>
                </a:extLst>
              </p:cNvPr>
              <p:cNvSpPr/>
              <p:nvPr/>
            </p:nvSpPr>
            <p:spPr>
              <a:xfrm>
                <a:off x="8204084" y="2984534"/>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70" name="Google Shape;3405;p24">
                <a:extLst>
                  <a:ext uri="{FF2B5EF4-FFF2-40B4-BE49-F238E27FC236}">
                    <a16:creationId xmlns:a16="http://schemas.microsoft.com/office/drawing/2014/main" id="{37A4048A-644A-43D4-8C28-A800FFAE2102}"/>
                  </a:ext>
                </a:extLst>
              </p:cNvPr>
              <p:cNvSpPr/>
              <p:nvPr/>
            </p:nvSpPr>
            <p:spPr>
              <a:xfrm>
                <a:off x="8290700" y="3006489"/>
                <a:ext cx="54285" cy="0"/>
              </a:xfrm>
              <a:custGeom>
                <a:avLst/>
                <a:gdLst/>
                <a:ahLst/>
                <a:cxnLst/>
                <a:rect l="l" t="t" r="r" b="b"/>
                <a:pathLst>
                  <a:path w="29209"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71" name="Google Shape;3406;p24">
                <a:extLst>
                  <a:ext uri="{FF2B5EF4-FFF2-40B4-BE49-F238E27FC236}">
                    <a16:creationId xmlns:a16="http://schemas.microsoft.com/office/drawing/2014/main" id="{AB5ADBC9-DF8E-4BA2-B194-585B3ED01751}"/>
                  </a:ext>
                </a:extLst>
              </p:cNvPr>
              <p:cNvSpPr/>
              <p:nvPr/>
            </p:nvSpPr>
            <p:spPr>
              <a:xfrm>
                <a:off x="8317685" y="2984534"/>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72" name="Google Shape;3317;p24">
                <a:extLst>
                  <a:ext uri="{FF2B5EF4-FFF2-40B4-BE49-F238E27FC236}">
                    <a16:creationId xmlns:a16="http://schemas.microsoft.com/office/drawing/2014/main" id="{9A64C2FD-1002-45CC-8093-A1A4740971A2}"/>
                  </a:ext>
                </a:extLst>
              </p:cNvPr>
              <p:cNvSpPr/>
              <p:nvPr/>
            </p:nvSpPr>
            <p:spPr>
              <a:xfrm>
                <a:off x="6117256" y="2818090"/>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73" name="Google Shape;3319;p24">
                <a:extLst>
                  <a:ext uri="{FF2B5EF4-FFF2-40B4-BE49-F238E27FC236}">
                    <a16:creationId xmlns:a16="http://schemas.microsoft.com/office/drawing/2014/main" id="{430ABEDF-DACE-4C2F-AF16-F7C51C0A3DF2}"/>
                  </a:ext>
                </a:extLst>
              </p:cNvPr>
              <p:cNvSpPr/>
              <p:nvPr/>
            </p:nvSpPr>
            <p:spPr>
              <a:xfrm>
                <a:off x="6127418" y="2818090"/>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74" name="Google Shape;3321;p24">
                <a:extLst>
                  <a:ext uri="{FF2B5EF4-FFF2-40B4-BE49-F238E27FC236}">
                    <a16:creationId xmlns:a16="http://schemas.microsoft.com/office/drawing/2014/main" id="{DE0D4413-D719-4073-8E9B-DE5427356C81}"/>
                  </a:ext>
                </a:extLst>
              </p:cNvPr>
              <p:cNvSpPr/>
              <p:nvPr/>
            </p:nvSpPr>
            <p:spPr>
              <a:xfrm>
                <a:off x="6132472" y="2818090"/>
                <a:ext cx="54285"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75" name="Google Shape;3323;p24">
                <a:extLst>
                  <a:ext uri="{FF2B5EF4-FFF2-40B4-BE49-F238E27FC236}">
                    <a16:creationId xmlns:a16="http://schemas.microsoft.com/office/drawing/2014/main" id="{8735E9F1-4B7C-47E7-BC57-61F9BC982BF4}"/>
                  </a:ext>
                </a:extLst>
              </p:cNvPr>
              <p:cNvSpPr/>
              <p:nvPr/>
            </p:nvSpPr>
            <p:spPr>
              <a:xfrm>
                <a:off x="6144353" y="2818090"/>
                <a:ext cx="54285" cy="0"/>
              </a:xfrm>
              <a:custGeom>
                <a:avLst/>
                <a:gdLst/>
                <a:ahLst/>
                <a:cxnLst/>
                <a:rect l="l" t="t" r="r" b="b"/>
                <a:pathLst>
                  <a:path w="29210" h="120000" extrusionOk="0">
                    <a:moveTo>
                      <a:pt x="0" y="0"/>
                    </a:moveTo>
                    <a:lnTo>
                      <a:pt x="28943"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76" name="Google Shape;3325;p24">
                <a:extLst>
                  <a:ext uri="{FF2B5EF4-FFF2-40B4-BE49-F238E27FC236}">
                    <a16:creationId xmlns:a16="http://schemas.microsoft.com/office/drawing/2014/main" id="{30F13BD3-D545-460B-8891-2BD8687E5D40}"/>
                  </a:ext>
                </a:extLst>
              </p:cNvPr>
              <p:cNvSpPr/>
              <p:nvPr/>
            </p:nvSpPr>
            <p:spPr>
              <a:xfrm>
                <a:off x="6200283" y="2847237"/>
                <a:ext cx="54285" cy="0"/>
              </a:xfrm>
              <a:custGeom>
                <a:avLst/>
                <a:gdLst/>
                <a:ahLst/>
                <a:cxnLst/>
                <a:rect l="l" t="t" r="r" b="b"/>
                <a:pathLst>
                  <a:path w="29210" h="120000" extrusionOk="0">
                    <a:moveTo>
                      <a:pt x="0" y="0"/>
                    </a:moveTo>
                    <a:lnTo>
                      <a:pt x="28943"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77" name="Google Shape;3326;p24">
                <a:extLst>
                  <a:ext uri="{FF2B5EF4-FFF2-40B4-BE49-F238E27FC236}">
                    <a16:creationId xmlns:a16="http://schemas.microsoft.com/office/drawing/2014/main" id="{1C50FC64-BD60-4EAC-AEAB-D2812A84DF4C}"/>
                  </a:ext>
                </a:extLst>
              </p:cNvPr>
              <p:cNvSpPr/>
              <p:nvPr/>
            </p:nvSpPr>
            <p:spPr>
              <a:xfrm>
                <a:off x="6227251" y="2825327"/>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78" name="Google Shape;3327;p24">
                <a:extLst>
                  <a:ext uri="{FF2B5EF4-FFF2-40B4-BE49-F238E27FC236}">
                    <a16:creationId xmlns:a16="http://schemas.microsoft.com/office/drawing/2014/main" id="{A09A0F2E-A6B8-4D6B-9034-46C07FC688D5}"/>
                  </a:ext>
                </a:extLst>
              </p:cNvPr>
              <p:cNvSpPr/>
              <p:nvPr/>
            </p:nvSpPr>
            <p:spPr>
              <a:xfrm>
                <a:off x="6212148" y="2847237"/>
                <a:ext cx="54285"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79" name="Google Shape;3328;p24">
                <a:extLst>
                  <a:ext uri="{FF2B5EF4-FFF2-40B4-BE49-F238E27FC236}">
                    <a16:creationId xmlns:a16="http://schemas.microsoft.com/office/drawing/2014/main" id="{0B941885-D7B4-4D10-B644-8AE93916BE76}"/>
                  </a:ext>
                </a:extLst>
              </p:cNvPr>
              <p:cNvSpPr/>
              <p:nvPr/>
            </p:nvSpPr>
            <p:spPr>
              <a:xfrm>
                <a:off x="6239131" y="2825327"/>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80" name="Google Shape;3329;p24">
                <a:extLst>
                  <a:ext uri="{FF2B5EF4-FFF2-40B4-BE49-F238E27FC236}">
                    <a16:creationId xmlns:a16="http://schemas.microsoft.com/office/drawing/2014/main" id="{39BF5871-6F07-4AA5-B6A4-07BF9BD32548}"/>
                  </a:ext>
                </a:extLst>
              </p:cNvPr>
              <p:cNvSpPr/>
              <p:nvPr/>
            </p:nvSpPr>
            <p:spPr>
              <a:xfrm>
                <a:off x="6279961" y="2857371"/>
                <a:ext cx="54285" cy="0"/>
              </a:xfrm>
              <a:custGeom>
                <a:avLst/>
                <a:gdLst/>
                <a:ahLst/>
                <a:cxnLst/>
                <a:rect l="l" t="t" r="r" b="b"/>
                <a:pathLst>
                  <a:path w="29210" h="120000" extrusionOk="0">
                    <a:moveTo>
                      <a:pt x="0" y="0"/>
                    </a:moveTo>
                    <a:lnTo>
                      <a:pt x="28968"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81" name="Google Shape;3330;p24">
                <a:extLst>
                  <a:ext uri="{FF2B5EF4-FFF2-40B4-BE49-F238E27FC236}">
                    <a16:creationId xmlns:a16="http://schemas.microsoft.com/office/drawing/2014/main" id="{B653F50B-0C45-4B13-A6EF-F07BEA823961}"/>
                  </a:ext>
                </a:extLst>
              </p:cNvPr>
              <p:cNvSpPr/>
              <p:nvPr/>
            </p:nvSpPr>
            <p:spPr>
              <a:xfrm>
                <a:off x="6306926" y="2835418"/>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82" name="Google Shape;3331;p24">
                <a:extLst>
                  <a:ext uri="{FF2B5EF4-FFF2-40B4-BE49-F238E27FC236}">
                    <a16:creationId xmlns:a16="http://schemas.microsoft.com/office/drawing/2014/main" id="{B1E27430-36EB-4E0A-B2DD-0C5101D119C7}"/>
                  </a:ext>
                </a:extLst>
              </p:cNvPr>
              <p:cNvSpPr/>
              <p:nvPr/>
            </p:nvSpPr>
            <p:spPr>
              <a:xfrm>
                <a:off x="6315569" y="2857371"/>
                <a:ext cx="54285"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83" name="Google Shape;3332;p24">
                <a:extLst>
                  <a:ext uri="{FF2B5EF4-FFF2-40B4-BE49-F238E27FC236}">
                    <a16:creationId xmlns:a16="http://schemas.microsoft.com/office/drawing/2014/main" id="{98A83571-BBB9-44A0-9BE4-1921B93DE00D}"/>
                  </a:ext>
                </a:extLst>
              </p:cNvPr>
              <p:cNvSpPr/>
              <p:nvPr/>
            </p:nvSpPr>
            <p:spPr>
              <a:xfrm>
                <a:off x="6342553" y="2835418"/>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84" name="Google Shape;3333;p24">
                <a:extLst>
                  <a:ext uri="{FF2B5EF4-FFF2-40B4-BE49-F238E27FC236}">
                    <a16:creationId xmlns:a16="http://schemas.microsoft.com/office/drawing/2014/main" id="{46482D1F-92B5-4BFE-A587-38BB38FD9D32}"/>
                  </a:ext>
                </a:extLst>
              </p:cNvPr>
              <p:cNvSpPr/>
              <p:nvPr/>
            </p:nvSpPr>
            <p:spPr>
              <a:xfrm>
                <a:off x="6327450" y="2857371"/>
                <a:ext cx="54285" cy="0"/>
              </a:xfrm>
              <a:custGeom>
                <a:avLst/>
                <a:gdLst/>
                <a:ahLst/>
                <a:cxnLst/>
                <a:rect l="l" t="t" r="r" b="b"/>
                <a:pathLst>
                  <a:path w="29210" h="120000" extrusionOk="0">
                    <a:moveTo>
                      <a:pt x="0" y="0"/>
                    </a:moveTo>
                    <a:lnTo>
                      <a:pt x="28943"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85" name="Google Shape;3334;p24">
                <a:extLst>
                  <a:ext uri="{FF2B5EF4-FFF2-40B4-BE49-F238E27FC236}">
                    <a16:creationId xmlns:a16="http://schemas.microsoft.com/office/drawing/2014/main" id="{62CF116D-4656-4FF6-805A-156A630B26A0}"/>
                  </a:ext>
                </a:extLst>
              </p:cNvPr>
              <p:cNvSpPr/>
              <p:nvPr/>
            </p:nvSpPr>
            <p:spPr>
              <a:xfrm>
                <a:off x="6354416" y="2835418"/>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86" name="Google Shape;3335;p24">
                <a:extLst>
                  <a:ext uri="{FF2B5EF4-FFF2-40B4-BE49-F238E27FC236}">
                    <a16:creationId xmlns:a16="http://schemas.microsoft.com/office/drawing/2014/main" id="{80B7AECF-18E0-4438-A080-D7485483A124}"/>
                  </a:ext>
                </a:extLst>
              </p:cNvPr>
              <p:cNvSpPr/>
              <p:nvPr/>
            </p:nvSpPr>
            <p:spPr>
              <a:xfrm>
                <a:off x="6342719" y="2857371"/>
                <a:ext cx="54285"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87" name="Google Shape;3336;p24">
                <a:extLst>
                  <a:ext uri="{FF2B5EF4-FFF2-40B4-BE49-F238E27FC236}">
                    <a16:creationId xmlns:a16="http://schemas.microsoft.com/office/drawing/2014/main" id="{5A4C1131-F8FF-4FA8-8D2E-0E85EE2F4E8A}"/>
                  </a:ext>
                </a:extLst>
              </p:cNvPr>
              <p:cNvSpPr/>
              <p:nvPr/>
            </p:nvSpPr>
            <p:spPr>
              <a:xfrm>
                <a:off x="6369685" y="2835418"/>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88" name="Google Shape;3337;p24">
                <a:extLst>
                  <a:ext uri="{FF2B5EF4-FFF2-40B4-BE49-F238E27FC236}">
                    <a16:creationId xmlns:a16="http://schemas.microsoft.com/office/drawing/2014/main" id="{97EECE77-4989-4979-94E4-1A821A2F272C}"/>
                  </a:ext>
                </a:extLst>
              </p:cNvPr>
              <p:cNvSpPr/>
              <p:nvPr/>
            </p:nvSpPr>
            <p:spPr>
              <a:xfrm>
                <a:off x="6374922" y="2862829"/>
                <a:ext cx="54285"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89" name="Google Shape;3338;p24">
                <a:extLst>
                  <a:ext uri="{FF2B5EF4-FFF2-40B4-BE49-F238E27FC236}">
                    <a16:creationId xmlns:a16="http://schemas.microsoft.com/office/drawing/2014/main" id="{B82A4CE9-03C7-46D2-8BE7-E07F127DBE90}"/>
                  </a:ext>
                </a:extLst>
              </p:cNvPr>
              <p:cNvSpPr/>
              <p:nvPr/>
            </p:nvSpPr>
            <p:spPr>
              <a:xfrm>
                <a:off x="6401889" y="2840876"/>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90" name="Google Shape;3339;p24">
                <a:extLst>
                  <a:ext uri="{FF2B5EF4-FFF2-40B4-BE49-F238E27FC236}">
                    <a16:creationId xmlns:a16="http://schemas.microsoft.com/office/drawing/2014/main" id="{973C3687-53C6-429E-8BF4-4F1818F20647}"/>
                  </a:ext>
                </a:extLst>
              </p:cNvPr>
              <p:cNvSpPr/>
              <p:nvPr/>
            </p:nvSpPr>
            <p:spPr>
              <a:xfrm>
                <a:off x="6380048" y="2862829"/>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91" name="Google Shape;3340;p24">
                <a:extLst>
                  <a:ext uri="{FF2B5EF4-FFF2-40B4-BE49-F238E27FC236}">
                    <a16:creationId xmlns:a16="http://schemas.microsoft.com/office/drawing/2014/main" id="{BA16A28B-773B-4F18-A376-6B1F23326E30}"/>
                  </a:ext>
                </a:extLst>
              </p:cNvPr>
              <p:cNvSpPr/>
              <p:nvPr/>
            </p:nvSpPr>
            <p:spPr>
              <a:xfrm>
                <a:off x="6406961" y="2840876"/>
                <a:ext cx="0" cy="44193"/>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92" name="Google Shape;3341;p24">
                <a:extLst>
                  <a:ext uri="{FF2B5EF4-FFF2-40B4-BE49-F238E27FC236}">
                    <a16:creationId xmlns:a16="http://schemas.microsoft.com/office/drawing/2014/main" id="{6705C6D1-5C36-49EE-B6EC-AEEBB5700CEA}"/>
                  </a:ext>
                </a:extLst>
              </p:cNvPr>
              <p:cNvSpPr/>
              <p:nvPr/>
            </p:nvSpPr>
            <p:spPr>
              <a:xfrm>
                <a:off x="6402073" y="2868474"/>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93" name="Google Shape;3342;p24">
                <a:extLst>
                  <a:ext uri="{FF2B5EF4-FFF2-40B4-BE49-F238E27FC236}">
                    <a16:creationId xmlns:a16="http://schemas.microsoft.com/office/drawing/2014/main" id="{8D9ADB4D-0D2D-4EF5-AAE1-0792479AC4FC}"/>
                  </a:ext>
                </a:extLst>
              </p:cNvPr>
              <p:cNvSpPr/>
              <p:nvPr/>
            </p:nvSpPr>
            <p:spPr>
              <a:xfrm>
                <a:off x="6428986" y="2846521"/>
                <a:ext cx="0" cy="44193"/>
              </a:xfrm>
              <a:custGeom>
                <a:avLst/>
                <a:gdLst/>
                <a:ahLst/>
                <a:cxnLst/>
                <a:rect l="l" t="t" r="r" b="b"/>
                <a:pathLst>
                  <a:path w="120000" h="29210" extrusionOk="0">
                    <a:moveTo>
                      <a:pt x="0" y="28943"/>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94" name="Google Shape;3343;p24">
                <a:extLst>
                  <a:ext uri="{FF2B5EF4-FFF2-40B4-BE49-F238E27FC236}">
                    <a16:creationId xmlns:a16="http://schemas.microsoft.com/office/drawing/2014/main" id="{BBA1A900-5C69-4D9E-9E45-F1D618CF1D27}"/>
                  </a:ext>
                </a:extLst>
              </p:cNvPr>
              <p:cNvSpPr/>
              <p:nvPr/>
            </p:nvSpPr>
            <p:spPr>
              <a:xfrm>
                <a:off x="6415657" y="2868474"/>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95" name="Google Shape;3344;p24">
                <a:extLst>
                  <a:ext uri="{FF2B5EF4-FFF2-40B4-BE49-F238E27FC236}">
                    <a16:creationId xmlns:a16="http://schemas.microsoft.com/office/drawing/2014/main" id="{CBC6DF2A-66C8-45B8-9704-31A2308A4F1E}"/>
                  </a:ext>
                </a:extLst>
              </p:cNvPr>
              <p:cNvSpPr/>
              <p:nvPr/>
            </p:nvSpPr>
            <p:spPr>
              <a:xfrm>
                <a:off x="6442551" y="2846521"/>
                <a:ext cx="0" cy="44193"/>
              </a:xfrm>
              <a:custGeom>
                <a:avLst/>
                <a:gdLst/>
                <a:ahLst/>
                <a:cxnLst/>
                <a:rect l="l" t="t" r="r" b="b"/>
                <a:pathLst>
                  <a:path w="120000" h="29210" extrusionOk="0">
                    <a:moveTo>
                      <a:pt x="0" y="28943"/>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96" name="Google Shape;3345;p24">
                <a:extLst>
                  <a:ext uri="{FF2B5EF4-FFF2-40B4-BE49-F238E27FC236}">
                    <a16:creationId xmlns:a16="http://schemas.microsoft.com/office/drawing/2014/main" id="{15BF1498-F1A5-4E62-8175-BEC73BE84EA3}"/>
                  </a:ext>
                </a:extLst>
              </p:cNvPr>
              <p:cNvSpPr/>
              <p:nvPr/>
            </p:nvSpPr>
            <p:spPr>
              <a:xfrm>
                <a:off x="6434295" y="2880283"/>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97" name="Google Shape;3346;p24">
                <a:extLst>
                  <a:ext uri="{FF2B5EF4-FFF2-40B4-BE49-F238E27FC236}">
                    <a16:creationId xmlns:a16="http://schemas.microsoft.com/office/drawing/2014/main" id="{E6A7C3A7-79C8-41CC-A0DB-CE9C296FAC48}"/>
                  </a:ext>
                </a:extLst>
              </p:cNvPr>
              <p:cNvSpPr/>
              <p:nvPr/>
            </p:nvSpPr>
            <p:spPr>
              <a:xfrm>
                <a:off x="6461243" y="2858372"/>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98" name="Google Shape;3347;p24">
                <a:extLst>
                  <a:ext uri="{FF2B5EF4-FFF2-40B4-BE49-F238E27FC236}">
                    <a16:creationId xmlns:a16="http://schemas.microsoft.com/office/drawing/2014/main" id="{E6CCC19F-3566-441D-867A-FCBD58C80F15}"/>
                  </a:ext>
                </a:extLst>
              </p:cNvPr>
              <p:cNvSpPr/>
              <p:nvPr/>
            </p:nvSpPr>
            <p:spPr>
              <a:xfrm>
                <a:off x="6437681" y="2886361"/>
                <a:ext cx="54285"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799" name="Google Shape;3348;p24">
                <a:extLst>
                  <a:ext uri="{FF2B5EF4-FFF2-40B4-BE49-F238E27FC236}">
                    <a16:creationId xmlns:a16="http://schemas.microsoft.com/office/drawing/2014/main" id="{852A5B5C-BF43-4BC2-A994-033850E89BC0}"/>
                  </a:ext>
                </a:extLst>
              </p:cNvPr>
              <p:cNvSpPr/>
              <p:nvPr/>
            </p:nvSpPr>
            <p:spPr>
              <a:xfrm>
                <a:off x="6464594" y="2864408"/>
                <a:ext cx="0" cy="44193"/>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grpSp>
      </p:grpSp>
      <p:graphicFrame>
        <p:nvGraphicFramePr>
          <p:cNvPr id="1176" name="Google Shape;3433;p24">
            <a:extLst>
              <a:ext uri="{FF2B5EF4-FFF2-40B4-BE49-F238E27FC236}">
                <a16:creationId xmlns:a16="http://schemas.microsoft.com/office/drawing/2014/main" id="{CBE613E8-C173-4FC9-B1C9-401B2DB933F6}"/>
              </a:ext>
            </a:extLst>
          </p:cNvPr>
          <p:cNvGraphicFramePr/>
          <p:nvPr/>
        </p:nvGraphicFramePr>
        <p:xfrm>
          <a:off x="4749655" y="3650512"/>
          <a:ext cx="4006008" cy="804798"/>
        </p:xfrm>
        <a:graphic>
          <a:graphicData uri="http://schemas.openxmlformats.org/drawingml/2006/table">
            <a:tbl>
              <a:tblPr firstRow="1" bandRow="1">
                <a:noFill/>
              </a:tblPr>
              <a:tblGrid>
                <a:gridCol w="741600">
                  <a:extLst>
                    <a:ext uri="{9D8B030D-6E8A-4147-A177-3AD203B41FA5}">
                      <a16:colId xmlns:a16="http://schemas.microsoft.com/office/drawing/2014/main" val="20000"/>
                    </a:ext>
                  </a:extLst>
                </a:gridCol>
                <a:gridCol w="466344">
                  <a:extLst>
                    <a:ext uri="{9D8B030D-6E8A-4147-A177-3AD203B41FA5}">
                      <a16:colId xmlns:a16="http://schemas.microsoft.com/office/drawing/2014/main" val="20001"/>
                    </a:ext>
                  </a:extLst>
                </a:gridCol>
                <a:gridCol w="466344">
                  <a:extLst>
                    <a:ext uri="{9D8B030D-6E8A-4147-A177-3AD203B41FA5}">
                      <a16:colId xmlns:a16="http://schemas.microsoft.com/office/drawing/2014/main" val="20002"/>
                    </a:ext>
                  </a:extLst>
                </a:gridCol>
                <a:gridCol w="466344">
                  <a:extLst>
                    <a:ext uri="{9D8B030D-6E8A-4147-A177-3AD203B41FA5}">
                      <a16:colId xmlns:a16="http://schemas.microsoft.com/office/drawing/2014/main" val="20003"/>
                    </a:ext>
                  </a:extLst>
                </a:gridCol>
                <a:gridCol w="466344">
                  <a:extLst>
                    <a:ext uri="{9D8B030D-6E8A-4147-A177-3AD203B41FA5}">
                      <a16:colId xmlns:a16="http://schemas.microsoft.com/office/drawing/2014/main" val="20004"/>
                    </a:ext>
                  </a:extLst>
                </a:gridCol>
                <a:gridCol w="466344">
                  <a:extLst>
                    <a:ext uri="{9D8B030D-6E8A-4147-A177-3AD203B41FA5}">
                      <a16:colId xmlns:a16="http://schemas.microsoft.com/office/drawing/2014/main" val="20005"/>
                    </a:ext>
                  </a:extLst>
                </a:gridCol>
                <a:gridCol w="466344">
                  <a:extLst>
                    <a:ext uri="{9D8B030D-6E8A-4147-A177-3AD203B41FA5}">
                      <a16:colId xmlns:a16="http://schemas.microsoft.com/office/drawing/2014/main" val="20006"/>
                    </a:ext>
                  </a:extLst>
                </a:gridCol>
                <a:gridCol w="466344">
                  <a:extLst>
                    <a:ext uri="{9D8B030D-6E8A-4147-A177-3AD203B41FA5}">
                      <a16:colId xmlns:a16="http://schemas.microsoft.com/office/drawing/2014/main" val="4164935142"/>
                    </a:ext>
                  </a:extLst>
                </a:gridCol>
              </a:tblGrid>
              <a:tr h="256158">
                <a:tc>
                  <a:txBody>
                    <a:bodyPr/>
                    <a:lstStyle/>
                    <a:p>
                      <a:pPr marL="0" marR="0" lvl="0" indent="0" algn="l" rtl="0">
                        <a:lnSpc>
                          <a:spcPct val="100000"/>
                        </a:lnSpc>
                        <a:spcBef>
                          <a:spcPts val="0"/>
                        </a:spcBef>
                        <a:spcAft>
                          <a:spcPts val="0"/>
                        </a:spcAft>
                        <a:buClr>
                          <a:schemeClr val="accent1"/>
                        </a:buClr>
                        <a:buSzPts val="900"/>
                        <a:buFont typeface="Arial"/>
                        <a:buNone/>
                      </a:pPr>
                      <a:r>
                        <a:rPr lang="en-US" sz="600" b="1" dirty="0">
                          <a:solidFill>
                            <a:schemeClr val="accent4"/>
                          </a:solidFill>
                          <a:latin typeface="Gene Sans Light" panose="00000400000000000000" pitchFamily="2" charset="0"/>
                        </a:rPr>
                        <a:t>Prednisone </a:t>
                      </a:r>
                      <a:br>
                        <a:rPr lang="en-US" sz="600" b="1" dirty="0">
                          <a:solidFill>
                            <a:schemeClr val="accent4"/>
                          </a:solidFill>
                          <a:latin typeface="Gene Sans Light" panose="00000400000000000000" pitchFamily="2" charset="0"/>
                        </a:rPr>
                      </a:br>
                      <a:r>
                        <a:rPr lang="en-US" sz="600" b="1" dirty="0">
                          <a:solidFill>
                            <a:schemeClr val="accent4"/>
                          </a:solidFill>
                          <a:latin typeface="Gene Sans Light" panose="00000400000000000000" pitchFamily="2" charset="0"/>
                        </a:rPr>
                        <a:t>0 to &lt; 10 mg</a:t>
                      </a:r>
                      <a:endParaRPr sz="600" dirty="0">
                        <a:solidFill>
                          <a:schemeClr val="accent4"/>
                        </a:solidFill>
                        <a:latin typeface="Gene Sans Light" panose="00000400000000000000" pitchFamily="2" charset="0"/>
                      </a:endParaRPr>
                    </a:p>
                  </a:txBody>
                  <a:tcPr marL="0" marR="72000" marT="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4"/>
                          </a:solidFill>
                          <a:latin typeface="Gene Sans Light" panose="00000400000000000000" pitchFamily="2" charset="0"/>
                        </a:rPr>
                        <a:t>557</a:t>
                      </a:r>
                      <a:endParaRPr sz="11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4"/>
                          </a:solidFill>
                          <a:latin typeface="Gene Sans Light" panose="00000400000000000000" pitchFamily="2" charset="0"/>
                        </a:rPr>
                        <a:t>213</a:t>
                      </a:r>
                      <a:endParaRPr sz="11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4"/>
                          </a:solidFill>
                          <a:latin typeface="Gene Sans Light" panose="00000400000000000000" pitchFamily="2" charset="0"/>
                        </a:rPr>
                        <a:t>75</a:t>
                      </a:r>
                      <a:endParaRPr sz="11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a:solidFill>
                            <a:schemeClr val="accent4"/>
                          </a:solidFill>
                          <a:latin typeface="Gene Sans Light" panose="00000400000000000000" pitchFamily="2" charset="0"/>
                        </a:rPr>
                        <a:t>17</a:t>
                      </a:r>
                      <a:endParaRPr sz="110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4"/>
                          </a:solidFill>
                          <a:latin typeface="Gene Sans Light" panose="00000400000000000000" pitchFamily="2" charset="0"/>
                        </a:rPr>
                        <a:t>7</a:t>
                      </a:r>
                      <a:endParaRPr sz="11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4"/>
                          </a:solidFill>
                          <a:latin typeface="Gene Sans Light" panose="00000400000000000000" pitchFamily="2" charset="0"/>
                        </a:rPr>
                        <a:t>1</a:t>
                      </a:r>
                      <a:endParaRPr sz="11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4"/>
                          </a:solidFill>
                          <a:latin typeface="Gene Sans Light" panose="00000400000000000000" pitchFamily="2" charset="0"/>
                        </a:rPr>
                        <a:t>0</a:t>
                      </a:r>
                      <a:endParaRPr sz="1100" dirty="0">
                        <a:solidFill>
                          <a:schemeClr val="accent4"/>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0"/>
                  </a:ext>
                </a:extLst>
              </a:tr>
              <a:tr h="256158">
                <a:tc>
                  <a:txBody>
                    <a:bodyPr/>
                    <a:lstStyle/>
                    <a:p>
                      <a:pPr marL="0" marR="0" lvl="0" indent="0" algn="l" rtl="0">
                        <a:lnSpc>
                          <a:spcPct val="100000"/>
                        </a:lnSpc>
                        <a:spcBef>
                          <a:spcPts val="0"/>
                        </a:spcBef>
                        <a:spcAft>
                          <a:spcPts val="0"/>
                        </a:spcAft>
                        <a:buClr>
                          <a:schemeClr val="dk2"/>
                        </a:buClr>
                        <a:buSzPts val="900"/>
                        <a:buFont typeface="Arial"/>
                        <a:buNone/>
                      </a:pPr>
                      <a:r>
                        <a:rPr lang="en-US" sz="600" b="1" dirty="0">
                          <a:solidFill>
                            <a:schemeClr val="tx1"/>
                          </a:solidFill>
                          <a:latin typeface="Gene Sans Light" panose="00000400000000000000" pitchFamily="2" charset="0"/>
                        </a:rPr>
                        <a:t>Prednisone ≥ 10 mg (cancer-related)</a:t>
                      </a:r>
                      <a:endParaRPr sz="600" dirty="0">
                        <a:solidFill>
                          <a:schemeClr val="tx1"/>
                        </a:solidFill>
                        <a:latin typeface="Gene Sans Light" panose="00000400000000000000" pitchFamily="2" charset="0"/>
                      </a:endParaRPr>
                    </a:p>
                  </a:txBody>
                  <a:tcPr marL="0" marR="72000" marT="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tx1"/>
                          </a:solidFill>
                          <a:latin typeface="Gene Sans Light" panose="00000400000000000000" pitchFamily="2" charset="0"/>
                        </a:rPr>
                        <a:t>66</a:t>
                      </a:r>
                      <a:endParaRPr sz="11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tx1"/>
                          </a:solidFill>
                          <a:latin typeface="Gene Sans Light" panose="00000400000000000000" pitchFamily="2" charset="0"/>
                        </a:rPr>
                        <a:t>8</a:t>
                      </a:r>
                      <a:endParaRPr sz="11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tx1"/>
                          </a:solidFill>
                          <a:latin typeface="Gene Sans Light" panose="00000400000000000000" pitchFamily="2" charset="0"/>
                        </a:rPr>
                        <a:t>3</a:t>
                      </a:r>
                      <a:endParaRPr sz="11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tx1"/>
                          </a:solidFill>
                          <a:latin typeface="Gene Sans Light" panose="00000400000000000000" pitchFamily="2" charset="0"/>
                        </a:rPr>
                        <a:t>1</a:t>
                      </a:r>
                      <a:endParaRPr sz="11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tx1"/>
                          </a:solidFill>
                          <a:latin typeface="Gene Sans Light" panose="00000400000000000000" pitchFamily="2" charset="0"/>
                        </a:rPr>
                        <a:t>0</a:t>
                      </a:r>
                      <a:endParaRPr sz="11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tx1"/>
                          </a:solidFill>
                          <a:latin typeface="Gene Sans Light" panose="00000400000000000000" pitchFamily="2" charset="0"/>
                        </a:rPr>
                        <a:t>0</a:t>
                      </a:r>
                      <a:endParaRPr sz="11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tx1"/>
                          </a:solidFill>
                          <a:latin typeface="Gene Sans Light" panose="00000400000000000000" pitchFamily="2" charset="0"/>
                        </a:rPr>
                        <a:t>0</a:t>
                      </a:r>
                      <a:endParaRPr sz="1100" dirty="0">
                        <a:solidFill>
                          <a:schemeClr val="tx1"/>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1"/>
                  </a:ext>
                </a:extLst>
              </a:tr>
              <a:tr h="256158">
                <a:tc>
                  <a:txBody>
                    <a:bodyPr/>
                    <a:lstStyle/>
                    <a:p>
                      <a:pPr marL="0" marR="0" lvl="0" indent="0" algn="l" rtl="0">
                        <a:lnSpc>
                          <a:spcPct val="100000"/>
                        </a:lnSpc>
                        <a:spcBef>
                          <a:spcPts val="0"/>
                        </a:spcBef>
                        <a:spcAft>
                          <a:spcPts val="0"/>
                        </a:spcAft>
                        <a:buClr>
                          <a:schemeClr val="accent2"/>
                        </a:buClr>
                        <a:buSzPts val="900"/>
                        <a:buFont typeface="Arial"/>
                        <a:buNone/>
                      </a:pPr>
                      <a:r>
                        <a:rPr lang="en-US" sz="600" b="1" dirty="0">
                          <a:solidFill>
                            <a:schemeClr val="accent5"/>
                          </a:solidFill>
                          <a:latin typeface="Gene Sans Light" panose="00000400000000000000" pitchFamily="2" charset="0"/>
                        </a:rPr>
                        <a:t>Prednisone ≥ 10 mg (cancer-unrelated)</a:t>
                      </a:r>
                      <a:endParaRPr sz="600" dirty="0">
                        <a:solidFill>
                          <a:schemeClr val="accent5"/>
                        </a:solidFill>
                        <a:latin typeface="Gene Sans Light" panose="00000400000000000000" pitchFamily="2" charset="0"/>
                      </a:endParaRPr>
                    </a:p>
                  </a:txBody>
                  <a:tcPr marL="0" marR="72000" marT="0" marB="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5"/>
                          </a:solidFill>
                          <a:latin typeface="Gene Sans Light" panose="00000400000000000000" pitchFamily="2" charset="0"/>
                        </a:rPr>
                        <a:t>27</a:t>
                      </a:r>
                      <a:endParaRPr sz="1100" dirty="0">
                        <a:solidFill>
                          <a:schemeClr val="accent5"/>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5"/>
                          </a:solidFill>
                          <a:latin typeface="Gene Sans Light" panose="00000400000000000000" pitchFamily="2" charset="0"/>
                        </a:rPr>
                        <a:t>11</a:t>
                      </a:r>
                      <a:endParaRPr sz="1100" dirty="0">
                        <a:solidFill>
                          <a:schemeClr val="accent5"/>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5"/>
                          </a:solidFill>
                          <a:latin typeface="Gene Sans Light" panose="00000400000000000000" pitchFamily="2" charset="0"/>
                        </a:rPr>
                        <a:t>4</a:t>
                      </a:r>
                      <a:endParaRPr sz="1100" dirty="0">
                        <a:solidFill>
                          <a:schemeClr val="accent5"/>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5"/>
                          </a:solidFill>
                          <a:latin typeface="Gene Sans Light" panose="00000400000000000000" pitchFamily="2" charset="0"/>
                        </a:rPr>
                        <a:t>2</a:t>
                      </a:r>
                      <a:endParaRPr sz="1100" dirty="0">
                        <a:solidFill>
                          <a:schemeClr val="accent5"/>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5"/>
                          </a:solidFill>
                          <a:latin typeface="Gene Sans Light" panose="00000400000000000000" pitchFamily="2" charset="0"/>
                        </a:rPr>
                        <a:t>0</a:t>
                      </a:r>
                      <a:endParaRPr sz="1100" dirty="0">
                        <a:solidFill>
                          <a:schemeClr val="accent5"/>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5"/>
                          </a:solidFill>
                          <a:latin typeface="Gene Sans Light" panose="00000400000000000000" pitchFamily="2" charset="0"/>
                        </a:rPr>
                        <a:t>0</a:t>
                      </a:r>
                      <a:endParaRPr sz="1100" dirty="0">
                        <a:solidFill>
                          <a:schemeClr val="accent5"/>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700" dirty="0">
                          <a:solidFill>
                            <a:schemeClr val="accent5"/>
                          </a:solidFill>
                          <a:latin typeface="Gene Sans Light" panose="00000400000000000000" pitchFamily="2" charset="0"/>
                        </a:rPr>
                        <a:t>0</a:t>
                      </a:r>
                      <a:endParaRPr sz="1100" dirty="0">
                        <a:solidFill>
                          <a:schemeClr val="accent5"/>
                        </a:solidFill>
                        <a:latin typeface="Gene Sans Light" panose="00000400000000000000" pitchFamily="2" charset="0"/>
                      </a:endParaRPr>
                    </a:p>
                  </a:txBody>
                  <a:tcPr marL="91450" marR="91450" marT="18300" marB="1830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1177" name="Google Shape;3434;p24">
            <a:extLst>
              <a:ext uri="{FF2B5EF4-FFF2-40B4-BE49-F238E27FC236}">
                <a16:creationId xmlns:a16="http://schemas.microsoft.com/office/drawing/2014/main" id="{941804A3-21F4-4F3C-AB5A-D6C984EBAA4B}"/>
              </a:ext>
            </a:extLst>
          </p:cNvPr>
          <p:cNvSpPr txBox="1"/>
          <p:nvPr/>
        </p:nvSpPr>
        <p:spPr>
          <a:xfrm>
            <a:off x="4736956" y="3456594"/>
            <a:ext cx="871147" cy="138499"/>
          </a:xfrm>
          <a:prstGeom prst="rect">
            <a:avLst/>
          </a:prstGeom>
          <a:noFill/>
          <a:ln>
            <a:noFill/>
          </a:ln>
        </p:spPr>
        <p:txBody>
          <a:bodyPr spcFirstLastPara="1" wrap="square" lIns="0" tIns="0" rIns="0" bIns="0" anchor="t" anchorCtr="0">
            <a:spAutoFit/>
          </a:bodyPr>
          <a:lstStyle/>
          <a:p>
            <a:pPr marL="127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1" i="0" u="none" strike="noStrike" kern="0" cap="none" spc="0" normalizeH="0" baseline="0" noProof="0" dirty="0">
                <a:ln>
                  <a:noFill/>
                </a:ln>
                <a:solidFill>
                  <a:srgbClr val="004677"/>
                </a:solidFill>
                <a:effectLst/>
                <a:uLnTx/>
                <a:uFillTx/>
                <a:latin typeface="Gene Sans Light" panose="00000400000000000000" pitchFamily="2" charset="0"/>
                <a:cs typeface="Arial"/>
                <a:sym typeface="Arial"/>
              </a:rPr>
              <a:t>No. at risk:</a:t>
            </a:r>
            <a:endParaRPr kumimoji="0" sz="900" b="1" i="0" u="none" strike="noStrike" kern="0" cap="none" spc="0" normalizeH="0" baseline="0" noProof="0" dirty="0">
              <a:ln>
                <a:noFill/>
              </a:ln>
              <a:solidFill>
                <a:srgbClr val="004677"/>
              </a:solidFill>
              <a:effectLst/>
              <a:uLnTx/>
              <a:uFillTx/>
              <a:latin typeface="Gene Sans Light" panose="00000400000000000000" pitchFamily="2" charset="0"/>
              <a:cs typeface="Arial"/>
              <a:sym typeface="Arial"/>
            </a:endParaRPr>
          </a:p>
        </p:txBody>
      </p:sp>
      <p:graphicFrame>
        <p:nvGraphicFramePr>
          <p:cNvPr id="1168" name="Shape1_20200925_154825">
            <a:extLst>
              <a:ext uri="{FF2B5EF4-FFF2-40B4-BE49-F238E27FC236}">
                <a16:creationId xmlns:a16="http://schemas.microsoft.com/office/drawing/2014/main" id="{28BFEDDA-DACB-4B23-969A-B2FC82319231}"/>
              </a:ext>
            </a:extLst>
          </p:cNvPr>
          <p:cNvGraphicFramePr/>
          <p:nvPr/>
        </p:nvGraphicFramePr>
        <p:xfrm>
          <a:off x="5043949" y="1430008"/>
          <a:ext cx="3657600" cy="2233326"/>
        </p:xfrm>
        <a:graphic>
          <a:graphicData uri="http://schemas.openxmlformats.org/drawingml/2006/chart">
            <c:chart xmlns:c="http://schemas.openxmlformats.org/drawingml/2006/chart" xmlns:r="http://schemas.openxmlformats.org/officeDocument/2006/relationships" r:id="rId4"/>
          </a:graphicData>
        </a:graphic>
      </p:graphicFrame>
      <p:grpSp>
        <p:nvGrpSpPr>
          <p:cNvPr id="1179" name="Group 1178">
            <a:extLst>
              <a:ext uri="{FF2B5EF4-FFF2-40B4-BE49-F238E27FC236}">
                <a16:creationId xmlns:a16="http://schemas.microsoft.com/office/drawing/2014/main" id="{CDB64501-3569-4F11-B24F-AFCB67DA822E}"/>
              </a:ext>
            </a:extLst>
          </p:cNvPr>
          <p:cNvGrpSpPr/>
          <p:nvPr/>
        </p:nvGrpSpPr>
        <p:grpSpPr>
          <a:xfrm>
            <a:off x="5725986" y="1567432"/>
            <a:ext cx="2606040" cy="1591346"/>
            <a:chOff x="9521650" y="1499929"/>
            <a:chExt cx="4527921" cy="3135966"/>
          </a:xfrm>
        </p:grpSpPr>
        <p:grpSp>
          <p:nvGrpSpPr>
            <p:cNvPr id="1180" name="Group 1179">
              <a:extLst>
                <a:ext uri="{FF2B5EF4-FFF2-40B4-BE49-F238E27FC236}">
                  <a16:creationId xmlns:a16="http://schemas.microsoft.com/office/drawing/2014/main" id="{5E66396C-8C41-4146-88CA-4B42E8D46FC2}"/>
                </a:ext>
              </a:extLst>
            </p:cNvPr>
            <p:cNvGrpSpPr/>
            <p:nvPr/>
          </p:nvGrpSpPr>
          <p:grpSpPr>
            <a:xfrm>
              <a:off x="9521650" y="1499929"/>
              <a:ext cx="4527921" cy="3135966"/>
              <a:chOff x="9521650" y="1499929"/>
              <a:chExt cx="4527921" cy="3135966"/>
            </a:xfrm>
          </p:grpSpPr>
          <p:sp>
            <p:nvSpPr>
              <p:cNvPr id="1226" name="Google Shape;3460;p25">
                <a:extLst>
                  <a:ext uri="{FF2B5EF4-FFF2-40B4-BE49-F238E27FC236}">
                    <a16:creationId xmlns:a16="http://schemas.microsoft.com/office/drawing/2014/main" id="{D18E2A9D-45EF-486E-98D1-333AE2857BC5}"/>
                  </a:ext>
                </a:extLst>
              </p:cNvPr>
              <p:cNvSpPr/>
              <p:nvPr/>
            </p:nvSpPr>
            <p:spPr>
              <a:xfrm>
                <a:off x="9605536" y="1971457"/>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27" name="Google Shape;3461;p25">
                <a:extLst>
                  <a:ext uri="{FF2B5EF4-FFF2-40B4-BE49-F238E27FC236}">
                    <a16:creationId xmlns:a16="http://schemas.microsoft.com/office/drawing/2014/main" id="{68E90ACC-B671-40F5-BD15-677EACBF3C86}"/>
                  </a:ext>
                </a:extLst>
              </p:cNvPr>
              <p:cNvSpPr/>
              <p:nvPr/>
            </p:nvSpPr>
            <p:spPr>
              <a:xfrm>
                <a:off x="9645467" y="1931397"/>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28" name="Google Shape;3462;p25">
                <a:extLst>
                  <a:ext uri="{FF2B5EF4-FFF2-40B4-BE49-F238E27FC236}">
                    <a16:creationId xmlns:a16="http://schemas.microsoft.com/office/drawing/2014/main" id="{2F7748DD-604D-465E-B5FC-FE0E348F6E92}"/>
                  </a:ext>
                </a:extLst>
              </p:cNvPr>
              <p:cNvSpPr/>
              <p:nvPr/>
            </p:nvSpPr>
            <p:spPr>
              <a:xfrm>
                <a:off x="9614332" y="1988889"/>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29" name="Google Shape;3463;p25">
                <a:extLst>
                  <a:ext uri="{FF2B5EF4-FFF2-40B4-BE49-F238E27FC236}">
                    <a16:creationId xmlns:a16="http://schemas.microsoft.com/office/drawing/2014/main" id="{2102298E-15E4-4EC6-BB26-FF1ED7B869C0}"/>
                  </a:ext>
                </a:extLst>
              </p:cNvPr>
              <p:cNvSpPr/>
              <p:nvPr/>
            </p:nvSpPr>
            <p:spPr>
              <a:xfrm>
                <a:off x="9654263" y="1948724"/>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30" name="Google Shape;3464;p25">
                <a:extLst>
                  <a:ext uri="{FF2B5EF4-FFF2-40B4-BE49-F238E27FC236}">
                    <a16:creationId xmlns:a16="http://schemas.microsoft.com/office/drawing/2014/main" id="{DCD21F42-60D9-4EB9-9556-DF70F06D1BC0}"/>
                  </a:ext>
                </a:extLst>
              </p:cNvPr>
              <p:cNvSpPr/>
              <p:nvPr/>
            </p:nvSpPr>
            <p:spPr>
              <a:xfrm>
                <a:off x="9662726" y="2145731"/>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31" name="Google Shape;3465;p25">
                <a:extLst>
                  <a:ext uri="{FF2B5EF4-FFF2-40B4-BE49-F238E27FC236}">
                    <a16:creationId xmlns:a16="http://schemas.microsoft.com/office/drawing/2014/main" id="{09BDA136-A7C4-4ECA-92DF-D2C3A4C8D583}"/>
                  </a:ext>
                </a:extLst>
              </p:cNvPr>
              <p:cNvSpPr/>
              <p:nvPr/>
            </p:nvSpPr>
            <p:spPr>
              <a:xfrm>
                <a:off x="9702657" y="2105672"/>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32" name="Google Shape;3466;p25">
                <a:extLst>
                  <a:ext uri="{FF2B5EF4-FFF2-40B4-BE49-F238E27FC236}">
                    <a16:creationId xmlns:a16="http://schemas.microsoft.com/office/drawing/2014/main" id="{E54B9A5B-4B1E-423B-8DF4-E279E6826CE3}"/>
                  </a:ext>
                </a:extLst>
              </p:cNvPr>
              <p:cNvSpPr/>
              <p:nvPr/>
            </p:nvSpPr>
            <p:spPr>
              <a:xfrm>
                <a:off x="9678141" y="2180754"/>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33" name="Google Shape;3467;p25">
                <a:extLst>
                  <a:ext uri="{FF2B5EF4-FFF2-40B4-BE49-F238E27FC236}">
                    <a16:creationId xmlns:a16="http://schemas.microsoft.com/office/drawing/2014/main" id="{D6C114CB-9703-400B-AE9C-90A8696E82AE}"/>
                  </a:ext>
                </a:extLst>
              </p:cNvPr>
              <p:cNvSpPr/>
              <p:nvPr/>
            </p:nvSpPr>
            <p:spPr>
              <a:xfrm>
                <a:off x="9718071" y="2140669"/>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34" name="Google Shape;3468;p25">
                <a:extLst>
                  <a:ext uri="{FF2B5EF4-FFF2-40B4-BE49-F238E27FC236}">
                    <a16:creationId xmlns:a16="http://schemas.microsoft.com/office/drawing/2014/main" id="{127EB85B-297F-4AE4-AFA4-4036108893AF}"/>
                  </a:ext>
                </a:extLst>
              </p:cNvPr>
              <p:cNvSpPr/>
              <p:nvPr/>
            </p:nvSpPr>
            <p:spPr>
              <a:xfrm>
                <a:off x="9726535" y="2327348"/>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35" name="Google Shape;3469;p25">
                <a:extLst>
                  <a:ext uri="{FF2B5EF4-FFF2-40B4-BE49-F238E27FC236}">
                    <a16:creationId xmlns:a16="http://schemas.microsoft.com/office/drawing/2014/main" id="{FE21453D-7DD9-4B94-A796-ED2FA89AE570}"/>
                  </a:ext>
                </a:extLst>
              </p:cNvPr>
              <p:cNvSpPr/>
              <p:nvPr/>
            </p:nvSpPr>
            <p:spPr>
              <a:xfrm>
                <a:off x="9766465" y="2287182"/>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36" name="Google Shape;3470;p25">
                <a:extLst>
                  <a:ext uri="{FF2B5EF4-FFF2-40B4-BE49-F238E27FC236}">
                    <a16:creationId xmlns:a16="http://schemas.microsoft.com/office/drawing/2014/main" id="{67273074-CE1D-4A50-95FC-50A12291D345}"/>
                  </a:ext>
                </a:extLst>
              </p:cNvPr>
              <p:cNvSpPr/>
              <p:nvPr/>
            </p:nvSpPr>
            <p:spPr>
              <a:xfrm>
                <a:off x="9746362" y="2380465"/>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37" name="Google Shape;3471;p25">
                <a:extLst>
                  <a:ext uri="{FF2B5EF4-FFF2-40B4-BE49-F238E27FC236}">
                    <a16:creationId xmlns:a16="http://schemas.microsoft.com/office/drawing/2014/main" id="{6132EA32-F993-4D23-AB29-B350F452CEE2}"/>
                  </a:ext>
                </a:extLst>
              </p:cNvPr>
              <p:cNvSpPr/>
              <p:nvPr/>
            </p:nvSpPr>
            <p:spPr>
              <a:xfrm>
                <a:off x="9786213" y="2340325"/>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38" name="Google Shape;3472;p25">
                <a:extLst>
                  <a:ext uri="{FF2B5EF4-FFF2-40B4-BE49-F238E27FC236}">
                    <a16:creationId xmlns:a16="http://schemas.microsoft.com/office/drawing/2014/main" id="{6D1FB61E-8361-4147-A5F4-3EC643488845}"/>
                  </a:ext>
                </a:extLst>
              </p:cNvPr>
              <p:cNvSpPr/>
              <p:nvPr/>
            </p:nvSpPr>
            <p:spPr>
              <a:xfrm>
                <a:off x="9759516" y="2404183"/>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39" name="Google Shape;3473;p25">
                <a:extLst>
                  <a:ext uri="{FF2B5EF4-FFF2-40B4-BE49-F238E27FC236}">
                    <a16:creationId xmlns:a16="http://schemas.microsoft.com/office/drawing/2014/main" id="{97AD0C6B-63E7-4B0E-BD94-841FBF347EC4}"/>
                  </a:ext>
                </a:extLst>
              </p:cNvPr>
              <p:cNvSpPr/>
              <p:nvPr/>
            </p:nvSpPr>
            <p:spPr>
              <a:xfrm>
                <a:off x="9799445" y="2364045"/>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40" name="Google Shape;3474;p25">
                <a:extLst>
                  <a:ext uri="{FF2B5EF4-FFF2-40B4-BE49-F238E27FC236}">
                    <a16:creationId xmlns:a16="http://schemas.microsoft.com/office/drawing/2014/main" id="{6F9B4844-95CB-4392-BB6A-E3A3179D283E}"/>
                  </a:ext>
                </a:extLst>
              </p:cNvPr>
              <p:cNvSpPr/>
              <p:nvPr/>
            </p:nvSpPr>
            <p:spPr>
              <a:xfrm>
                <a:off x="9783700" y="2475525"/>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41" name="Google Shape;3475;p25">
                <a:extLst>
                  <a:ext uri="{FF2B5EF4-FFF2-40B4-BE49-F238E27FC236}">
                    <a16:creationId xmlns:a16="http://schemas.microsoft.com/office/drawing/2014/main" id="{8CC0FCF3-6655-4818-91DA-3C3AF320324B}"/>
                  </a:ext>
                </a:extLst>
              </p:cNvPr>
              <p:cNvSpPr/>
              <p:nvPr/>
            </p:nvSpPr>
            <p:spPr>
              <a:xfrm>
                <a:off x="9823631" y="2435467"/>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42" name="Google Shape;3476;p25">
                <a:extLst>
                  <a:ext uri="{FF2B5EF4-FFF2-40B4-BE49-F238E27FC236}">
                    <a16:creationId xmlns:a16="http://schemas.microsoft.com/office/drawing/2014/main" id="{6E7C7B77-66F5-4751-A94D-784EE18FB821}"/>
                  </a:ext>
                </a:extLst>
              </p:cNvPr>
              <p:cNvSpPr/>
              <p:nvPr/>
            </p:nvSpPr>
            <p:spPr>
              <a:xfrm>
                <a:off x="9792576" y="2481494"/>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43" name="Google Shape;3477;p25">
                <a:extLst>
                  <a:ext uri="{FF2B5EF4-FFF2-40B4-BE49-F238E27FC236}">
                    <a16:creationId xmlns:a16="http://schemas.microsoft.com/office/drawing/2014/main" id="{44F1BA6C-59A7-4197-98A3-BD15F1CEA41A}"/>
                  </a:ext>
                </a:extLst>
              </p:cNvPr>
              <p:cNvSpPr/>
              <p:nvPr/>
            </p:nvSpPr>
            <p:spPr>
              <a:xfrm>
                <a:off x="9832428" y="2441409"/>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44" name="Google Shape;3478;p25">
                <a:extLst>
                  <a:ext uri="{FF2B5EF4-FFF2-40B4-BE49-F238E27FC236}">
                    <a16:creationId xmlns:a16="http://schemas.microsoft.com/office/drawing/2014/main" id="{5ED8484A-9A1D-441F-AC97-6BD6C5E1BA4E}"/>
                  </a:ext>
                </a:extLst>
              </p:cNvPr>
              <p:cNvSpPr/>
              <p:nvPr/>
            </p:nvSpPr>
            <p:spPr>
              <a:xfrm>
                <a:off x="9801372" y="2487517"/>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45" name="Google Shape;3479;p25">
                <a:extLst>
                  <a:ext uri="{FF2B5EF4-FFF2-40B4-BE49-F238E27FC236}">
                    <a16:creationId xmlns:a16="http://schemas.microsoft.com/office/drawing/2014/main" id="{762A4541-6932-4657-9DF2-8CC70D54623D}"/>
                  </a:ext>
                </a:extLst>
              </p:cNvPr>
              <p:cNvSpPr/>
              <p:nvPr/>
            </p:nvSpPr>
            <p:spPr>
              <a:xfrm>
                <a:off x="9841197" y="2447352"/>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46" name="Google Shape;3480;p25">
                <a:extLst>
                  <a:ext uri="{FF2B5EF4-FFF2-40B4-BE49-F238E27FC236}">
                    <a16:creationId xmlns:a16="http://schemas.microsoft.com/office/drawing/2014/main" id="{6B07DE15-B62B-48D2-B83C-F5B802972F31}"/>
                  </a:ext>
                </a:extLst>
              </p:cNvPr>
              <p:cNvSpPr/>
              <p:nvPr/>
            </p:nvSpPr>
            <p:spPr>
              <a:xfrm>
                <a:off x="9878283" y="2627031"/>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47" name="Google Shape;3481;p25">
                <a:extLst>
                  <a:ext uri="{FF2B5EF4-FFF2-40B4-BE49-F238E27FC236}">
                    <a16:creationId xmlns:a16="http://schemas.microsoft.com/office/drawing/2014/main" id="{15CC2688-A7DC-4AAC-BE55-AB62A04858BE}"/>
                  </a:ext>
                </a:extLst>
              </p:cNvPr>
              <p:cNvSpPr/>
              <p:nvPr/>
            </p:nvSpPr>
            <p:spPr>
              <a:xfrm>
                <a:off x="9918213" y="2586972"/>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48" name="Google Shape;3482;p25">
                <a:extLst>
                  <a:ext uri="{FF2B5EF4-FFF2-40B4-BE49-F238E27FC236}">
                    <a16:creationId xmlns:a16="http://schemas.microsoft.com/office/drawing/2014/main" id="{EE351D6A-0FA8-4A90-9983-CD27BCF02C37}"/>
                  </a:ext>
                </a:extLst>
              </p:cNvPr>
              <p:cNvSpPr/>
              <p:nvPr/>
            </p:nvSpPr>
            <p:spPr>
              <a:xfrm>
                <a:off x="9911266" y="2657749"/>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49" name="Google Shape;3483;p25">
                <a:extLst>
                  <a:ext uri="{FF2B5EF4-FFF2-40B4-BE49-F238E27FC236}">
                    <a16:creationId xmlns:a16="http://schemas.microsoft.com/office/drawing/2014/main" id="{72D36516-444C-4D23-BB3F-000546026EE8}"/>
                  </a:ext>
                </a:extLst>
              </p:cNvPr>
              <p:cNvSpPr/>
              <p:nvPr/>
            </p:nvSpPr>
            <p:spPr>
              <a:xfrm>
                <a:off x="9951196" y="2617584"/>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50" name="Google Shape;3484;p25">
                <a:extLst>
                  <a:ext uri="{FF2B5EF4-FFF2-40B4-BE49-F238E27FC236}">
                    <a16:creationId xmlns:a16="http://schemas.microsoft.com/office/drawing/2014/main" id="{3CC3DDBD-FDC5-483A-9FBB-5615A9EEBA08}"/>
                  </a:ext>
                </a:extLst>
              </p:cNvPr>
              <p:cNvSpPr/>
              <p:nvPr/>
            </p:nvSpPr>
            <p:spPr>
              <a:xfrm>
                <a:off x="9917882" y="2676238"/>
                <a:ext cx="80383" cy="0"/>
              </a:xfrm>
              <a:custGeom>
                <a:avLst/>
                <a:gdLst/>
                <a:ahLst/>
                <a:cxnLst/>
                <a:rect l="l" t="t" r="r" b="b"/>
                <a:pathLst>
                  <a:path w="29210" h="120000" extrusionOk="0">
                    <a:moveTo>
                      <a:pt x="0" y="0"/>
                    </a:moveTo>
                    <a:lnTo>
                      <a:pt x="28943"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51" name="Google Shape;3485;p25">
                <a:extLst>
                  <a:ext uri="{FF2B5EF4-FFF2-40B4-BE49-F238E27FC236}">
                    <a16:creationId xmlns:a16="http://schemas.microsoft.com/office/drawing/2014/main" id="{99C80434-FBD8-430D-88B0-7FDCEA80FD55}"/>
                  </a:ext>
                </a:extLst>
              </p:cNvPr>
              <p:cNvSpPr/>
              <p:nvPr/>
            </p:nvSpPr>
            <p:spPr>
              <a:xfrm>
                <a:off x="9957813" y="2636155"/>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52" name="Google Shape;3486;p25">
                <a:extLst>
                  <a:ext uri="{FF2B5EF4-FFF2-40B4-BE49-F238E27FC236}">
                    <a16:creationId xmlns:a16="http://schemas.microsoft.com/office/drawing/2014/main" id="{81CB551D-A629-4325-B3FB-6A4594494B48}"/>
                  </a:ext>
                </a:extLst>
              </p:cNvPr>
              <p:cNvSpPr/>
              <p:nvPr/>
            </p:nvSpPr>
            <p:spPr>
              <a:xfrm>
                <a:off x="9926680" y="2688653"/>
                <a:ext cx="80383" cy="0"/>
              </a:xfrm>
              <a:custGeom>
                <a:avLst/>
                <a:gdLst/>
                <a:ahLst/>
                <a:cxnLst/>
                <a:rect l="l" t="t" r="r" b="b"/>
                <a:pathLst>
                  <a:path w="29210" h="120000" extrusionOk="0">
                    <a:moveTo>
                      <a:pt x="0" y="0"/>
                    </a:moveTo>
                    <a:lnTo>
                      <a:pt x="28943"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53" name="Google Shape;3487;p25">
                <a:extLst>
                  <a:ext uri="{FF2B5EF4-FFF2-40B4-BE49-F238E27FC236}">
                    <a16:creationId xmlns:a16="http://schemas.microsoft.com/office/drawing/2014/main" id="{A00D53DE-F5B7-45EF-80D4-82163FB69CF5}"/>
                  </a:ext>
                </a:extLst>
              </p:cNvPr>
              <p:cNvSpPr/>
              <p:nvPr/>
            </p:nvSpPr>
            <p:spPr>
              <a:xfrm>
                <a:off x="9966583" y="2648487"/>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54" name="Google Shape;3488;p25">
                <a:extLst>
                  <a:ext uri="{FF2B5EF4-FFF2-40B4-BE49-F238E27FC236}">
                    <a16:creationId xmlns:a16="http://schemas.microsoft.com/office/drawing/2014/main" id="{442E68B1-E4E7-4E47-8D72-526C4FAD9A40}"/>
                  </a:ext>
                </a:extLst>
              </p:cNvPr>
              <p:cNvSpPr/>
              <p:nvPr/>
            </p:nvSpPr>
            <p:spPr>
              <a:xfrm>
                <a:off x="9937733" y="2701094"/>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55" name="Google Shape;3489;p25">
                <a:extLst>
                  <a:ext uri="{FF2B5EF4-FFF2-40B4-BE49-F238E27FC236}">
                    <a16:creationId xmlns:a16="http://schemas.microsoft.com/office/drawing/2014/main" id="{74AC0700-8DD1-4D50-8FA8-9E4B25E19785}"/>
                  </a:ext>
                </a:extLst>
              </p:cNvPr>
              <p:cNvSpPr/>
              <p:nvPr/>
            </p:nvSpPr>
            <p:spPr>
              <a:xfrm>
                <a:off x="9939887" y="2701094"/>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56" name="Google Shape;3490;p25">
                <a:extLst>
                  <a:ext uri="{FF2B5EF4-FFF2-40B4-BE49-F238E27FC236}">
                    <a16:creationId xmlns:a16="http://schemas.microsoft.com/office/drawing/2014/main" id="{2C91733E-4787-4780-878D-1B1F117D69BC}"/>
                  </a:ext>
                </a:extLst>
              </p:cNvPr>
              <p:cNvSpPr/>
              <p:nvPr/>
            </p:nvSpPr>
            <p:spPr>
              <a:xfrm>
                <a:off x="9978688" y="2660929"/>
                <a:ext cx="0" cy="80856"/>
              </a:xfrm>
              <a:custGeom>
                <a:avLst/>
                <a:gdLst/>
                <a:ahLst/>
                <a:cxnLst/>
                <a:rect l="l" t="t" r="r" b="b"/>
                <a:pathLst>
                  <a:path w="120000" h="29210" extrusionOk="0">
                    <a:moveTo>
                      <a:pt x="0" y="0"/>
                    </a:moveTo>
                    <a:lnTo>
                      <a:pt x="0" y="28905"/>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57" name="Google Shape;3491;p25">
                <a:extLst>
                  <a:ext uri="{FF2B5EF4-FFF2-40B4-BE49-F238E27FC236}">
                    <a16:creationId xmlns:a16="http://schemas.microsoft.com/office/drawing/2014/main" id="{F5A07169-2881-4D36-BA4A-9F3A7DE2EDDC}"/>
                  </a:ext>
                </a:extLst>
              </p:cNvPr>
              <p:cNvSpPr/>
              <p:nvPr/>
            </p:nvSpPr>
            <p:spPr>
              <a:xfrm>
                <a:off x="9955302" y="2726213"/>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58" name="Google Shape;3492;p25">
                <a:extLst>
                  <a:ext uri="{FF2B5EF4-FFF2-40B4-BE49-F238E27FC236}">
                    <a16:creationId xmlns:a16="http://schemas.microsoft.com/office/drawing/2014/main" id="{088D0412-90BB-49EA-AA86-D919A206A36C}"/>
                  </a:ext>
                </a:extLst>
              </p:cNvPr>
              <p:cNvSpPr/>
              <p:nvPr/>
            </p:nvSpPr>
            <p:spPr>
              <a:xfrm>
                <a:off x="9995232" y="2686128"/>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59" name="Google Shape;3493;p25">
                <a:extLst>
                  <a:ext uri="{FF2B5EF4-FFF2-40B4-BE49-F238E27FC236}">
                    <a16:creationId xmlns:a16="http://schemas.microsoft.com/office/drawing/2014/main" id="{3535C52B-7045-4285-987E-9F37F917C74C}"/>
                  </a:ext>
                </a:extLst>
              </p:cNvPr>
              <p:cNvSpPr/>
              <p:nvPr/>
            </p:nvSpPr>
            <p:spPr>
              <a:xfrm>
                <a:off x="9972867" y="2764194"/>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60" name="Google Shape;3494;p25">
                <a:extLst>
                  <a:ext uri="{FF2B5EF4-FFF2-40B4-BE49-F238E27FC236}">
                    <a16:creationId xmlns:a16="http://schemas.microsoft.com/office/drawing/2014/main" id="{50CC3900-6785-46E2-ACDC-0453D1808358}"/>
                  </a:ext>
                </a:extLst>
              </p:cNvPr>
              <p:cNvSpPr/>
              <p:nvPr/>
            </p:nvSpPr>
            <p:spPr>
              <a:xfrm>
                <a:off x="10012798" y="2724029"/>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61" name="Google Shape;3495;p25">
                <a:extLst>
                  <a:ext uri="{FF2B5EF4-FFF2-40B4-BE49-F238E27FC236}">
                    <a16:creationId xmlns:a16="http://schemas.microsoft.com/office/drawing/2014/main" id="{DE0770DD-822C-4499-B23F-F3D41A1A8E76}"/>
                  </a:ext>
                </a:extLst>
              </p:cNvPr>
              <p:cNvSpPr/>
              <p:nvPr/>
            </p:nvSpPr>
            <p:spPr>
              <a:xfrm>
                <a:off x="10001490" y="2783266"/>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62" name="Google Shape;3496;p25">
                <a:extLst>
                  <a:ext uri="{FF2B5EF4-FFF2-40B4-BE49-F238E27FC236}">
                    <a16:creationId xmlns:a16="http://schemas.microsoft.com/office/drawing/2014/main" id="{704F8EFC-2FCC-402F-B243-9859A0290E67}"/>
                  </a:ext>
                </a:extLst>
              </p:cNvPr>
              <p:cNvSpPr/>
              <p:nvPr/>
            </p:nvSpPr>
            <p:spPr>
              <a:xfrm>
                <a:off x="10041341" y="2743100"/>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63" name="Google Shape;3497;p25">
                <a:extLst>
                  <a:ext uri="{FF2B5EF4-FFF2-40B4-BE49-F238E27FC236}">
                    <a16:creationId xmlns:a16="http://schemas.microsoft.com/office/drawing/2014/main" id="{EC1D66AF-DD30-42C1-BC92-A07893523C2F}"/>
                  </a:ext>
                </a:extLst>
              </p:cNvPr>
              <p:cNvSpPr/>
              <p:nvPr/>
            </p:nvSpPr>
            <p:spPr>
              <a:xfrm>
                <a:off x="10008106" y="2783266"/>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64" name="Google Shape;3498;p25">
                <a:extLst>
                  <a:ext uri="{FF2B5EF4-FFF2-40B4-BE49-F238E27FC236}">
                    <a16:creationId xmlns:a16="http://schemas.microsoft.com/office/drawing/2014/main" id="{23EBDF1A-F95F-4E40-924C-34B2546CA689}"/>
                  </a:ext>
                </a:extLst>
              </p:cNvPr>
              <p:cNvSpPr/>
              <p:nvPr/>
            </p:nvSpPr>
            <p:spPr>
              <a:xfrm>
                <a:off x="10047932" y="2743100"/>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65" name="Google Shape;3499;p25">
                <a:extLst>
                  <a:ext uri="{FF2B5EF4-FFF2-40B4-BE49-F238E27FC236}">
                    <a16:creationId xmlns:a16="http://schemas.microsoft.com/office/drawing/2014/main" id="{A6827CA3-79EF-4B85-A44B-0792E58E441B}"/>
                  </a:ext>
                </a:extLst>
              </p:cNvPr>
              <p:cNvSpPr/>
              <p:nvPr/>
            </p:nvSpPr>
            <p:spPr>
              <a:xfrm>
                <a:off x="10010285" y="2783266"/>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66" name="Google Shape;3500;p25">
                <a:extLst>
                  <a:ext uri="{FF2B5EF4-FFF2-40B4-BE49-F238E27FC236}">
                    <a16:creationId xmlns:a16="http://schemas.microsoft.com/office/drawing/2014/main" id="{604F0280-A5D4-4EA4-96C0-7FA3FB3FD91F}"/>
                  </a:ext>
                </a:extLst>
              </p:cNvPr>
              <p:cNvSpPr/>
              <p:nvPr/>
            </p:nvSpPr>
            <p:spPr>
              <a:xfrm>
                <a:off x="10050112" y="2743100"/>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67" name="Google Shape;3501;p25">
                <a:extLst>
                  <a:ext uri="{FF2B5EF4-FFF2-40B4-BE49-F238E27FC236}">
                    <a16:creationId xmlns:a16="http://schemas.microsoft.com/office/drawing/2014/main" id="{B446345F-FA7F-4E0F-9CB0-2D524A67EA12}"/>
                  </a:ext>
                </a:extLst>
              </p:cNvPr>
              <p:cNvSpPr/>
              <p:nvPr/>
            </p:nvSpPr>
            <p:spPr>
              <a:xfrm>
                <a:off x="10021263" y="2783266"/>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68" name="Google Shape;3502;p25">
                <a:extLst>
                  <a:ext uri="{FF2B5EF4-FFF2-40B4-BE49-F238E27FC236}">
                    <a16:creationId xmlns:a16="http://schemas.microsoft.com/office/drawing/2014/main" id="{BABA5A3D-D69D-49EF-8D46-6D84578146D3}"/>
                  </a:ext>
                </a:extLst>
              </p:cNvPr>
              <p:cNvSpPr/>
              <p:nvPr/>
            </p:nvSpPr>
            <p:spPr>
              <a:xfrm>
                <a:off x="10061166" y="2743100"/>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69" name="Google Shape;3503;p25">
                <a:extLst>
                  <a:ext uri="{FF2B5EF4-FFF2-40B4-BE49-F238E27FC236}">
                    <a16:creationId xmlns:a16="http://schemas.microsoft.com/office/drawing/2014/main" id="{0AD8C337-CF95-47BB-9FD0-B2B3A62B69D3}"/>
                  </a:ext>
                </a:extLst>
              </p:cNvPr>
              <p:cNvSpPr/>
              <p:nvPr/>
            </p:nvSpPr>
            <p:spPr>
              <a:xfrm>
                <a:off x="10027854" y="2789736"/>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70" name="Google Shape;3504;p25">
                <a:extLst>
                  <a:ext uri="{FF2B5EF4-FFF2-40B4-BE49-F238E27FC236}">
                    <a16:creationId xmlns:a16="http://schemas.microsoft.com/office/drawing/2014/main" id="{114A0352-ACD0-47BB-8250-5FD361F61D09}"/>
                  </a:ext>
                </a:extLst>
              </p:cNvPr>
              <p:cNvSpPr/>
              <p:nvPr/>
            </p:nvSpPr>
            <p:spPr>
              <a:xfrm>
                <a:off x="10067784" y="2749571"/>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71" name="Google Shape;3505;p25">
                <a:extLst>
                  <a:ext uri="{FF2B5EF4-FFF2-40B4-BE49-F238E27FC236}">
                    <a16:creationId xmlns:a16="http://schemas.microsoft.com/office/drawing/2014/main" id="{C090AF3E-62EC-4805-BFDC-5902E53E503B}"/>
                  </a:ext>
                </a:extLst>
              </p:cNvPr>
              <p:cNvSpPr/>
              <p:nvPr/>
            </p:nvSpPr>
            <p:spPr>
              <a:xfrm>
                <a:off x="10045447" y="2809175"/>
                <a:ext cx="80383" cy="0"/>
              </a:xfrm>
              <a:custGeom>
                <a:avLst/>
                <a:gdLst/>
                <a:ahLst/>
                <a:cxnLst/>
                <a:rect l="l" t="t" r="r" b="b"/>
                <a:pathLst>
                  <a:path w="29210" h="120000" extrusionOk="0">
                    <a:moveTo>
                      <a:pt x="0" y="0"/>
                    </a:moveTo>
                    <a:lnTo>
                      <a:pt x="28943"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72" name="Google Shape;3506;p25">
                <a:extLst>
                  <a:ext uri="{FF2B5EF4-FFF2-40B4-BE49-F238E27FC236}">
                    <a16:creationId xmlns:a16="http://schemas.microsoft.com/office/drawing/2014/main" id="{ED571838-EE7E-4F6B-A617-38BF8A4ED210}"/>
                  </a:ext>
                </a:extLst>
              </p:cNvPr>
              <p:cNvSpPr/>
              <p:nvPr/>
            </p:nvSpPr>
            <p:spPr>
              <a:xfrm>
                <a:off x="10085377" y="2769013"/>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73" name="Google Shape;3507;p25">
                <a:extLst>
                  <a:ext uri="{FF2B5EF4-FFF2-40B4-BE49-F238E27FC236}">
                    <a16:creationId xmlns:a16="http://schemas.microsoft.com/office/drawing/2014/main" id="{9E8831CC-2DEA-42F6-AF9E-3078DC7C4051}"/>
                  </a:ext>
                </a:extLst>
              </p:cNvPr>
              <p:cNvSpPr/>
              <p:nvPr/>
            </p:nvSpPr>
            <p:spPr>
              <a:xfrm>
                <a:off x="10065271" y="2822303"/>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74" name="Google Shape;3508;p25">
                <a:extLst>
                  <a:ext uri="{FF2B5EF4-FFF2-40B4-BE49-F238E27FC236}">
                    <a16:creationId xmlns:a16="http://schemas.microsoft.com/office/drawing/2014/main" id="{A313C293-B3E2-4377-9413-29FCBAEF2056}"/>
                  </a:ext>
                </a:extLst>
              </p:cNvPr>
              <p:cNvSpPr/>
              <p:nvPr/>
            </p:nvSpPr>
            <p:spPr>
              <a:xfrm>
                <a:off x="10105123" y="2782138"/>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75" name="Google Shape;3509;p25">
                <a:extLst>
                  <a:ext uri="{FF2B5EF4-FFF2-40B4-BE49-F238E27FC236}">
                    <a16:creationId xmlns:a16="http://schemas.microsoft.com/office/drawing/2014/main" id="{66D7C048-2D0E-4432-8CF2-E5BAACF86037}"/>
                  </a:ext>
                </a:extLst>
              </p:cNvPr>
              <p:cNvSpPr/>
              <p:nvPr/>
            </p:nvSpPr>
            <p:spPr>
              <a:xfrm>
                <a:off x="10074068" y="2848637"/>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76" name="Google Shape;3510;p25">
                <a:extLst>
                  <a:ext uri="{FF2B5EF4-FFF2-40B4-BE49-F238E27FC236}">
                    <a16:creationId xmlns:a16="http://schemas.microsoft.com/office/drawing/2014/main" id="{ACEA9360-69A5-4147-B426-8DD9A45010E0}"/>
                  </a:ext>
                </a:extLst>
              </p:cNvPr>
              <p:cNvSpPr/>
              <p:nvPr/>
            </p:nvSpPr>
            <p:spPr>
              <a:xfrm>
                <a:off x="10113921" y="2808579"/>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77" name="Google Shape;3511;p25">
                <a:extLst>
                  <a:ext uri="{FF2B5EF4-FFF2-40B4-BE49-F238E27FC236}">
                    <a16:creationId xmlns:a16="http://schemas.microsoft.com/office/drawing/2014/main" id="{B80D2723-754C-4AEE-9AD7-55CDD21E7189}"/>
                  </a:ext>
                </a:extLst>
              </p:cNvPr>
              <p:cNvSpPr/>
              <p:nvPr/>
            </p:nvSpPr>
            <p:spPr>
              <a:xfrm>
                <a:off x="10076248" y="2848637"/>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78" name="Google Shape;3512;p25">
                <a:extLst>
                  <a:ext uri="{FF2B5EF4-FFF2-40B4-BE49-F238E27FC236}">
                    <a16:creationId xmlns:a16="http://schemas.microsoft.com/office/drawing/2014/main" id="{6040F52B-238D-4EAF-98A8-D0C4696A2EC9}"/>
                  </a:ext>
                </a:extLst>
              </p:cNvPr>
              <p:cNvSpPr/>
              <p:nvPr/>
            </p:nvSpPr>
            <p:spPr>
              <a:xfrm>
                <a:off x="10116179" y="2808579"/>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79" name="Google Shape;3513;p25">
                <a:extLst>
                  <a:ext uri="{FF2B5EF4-FFF2-40B4-BE49-F238E27FC236}">
                    <a16:creationId xmlns:a16="http://schemas.microsoft.com/office/drawing/2014/main" id="{44482783-075A-475E-8313-CC667B50260B}"/>
                  </a:ext>
                </a:extLst>
              </p:cNvPr>
              <p:cNvSpPr/>
              <p:nvPr/>
            </p:nvSpPr>
            <p:spPr>
              <a:xfrm>
                <a:off x="10085019" y="2861950"/>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80" name="Google Shape;3514;p25">
                <a:extLst>
                  <a:ext uri="{FF2B5EF4-FFF2-40B4-BE49-F238E27FC236}">
                    <a16:creationId xmlns:a16="http://schemas.microsoft.com/office/drawing/2014/main" id="{AE049508-215E-44EA-A41C-033FA41C1F13}"/>
                  </a:ext>
                </a:extLst>
              </p:cNvPr>
              <p:cNvSpPr/>
              <p:nvPr/>
            </p:nvSpPr>
            <p:spPr>
              <a:xfrm>
                <a:off x="10124949" y="2821785"/>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81" name="Google Shape;3515;p25">
                <a:extLst>
                  <a:ext uri="{FF2B5EF4-FFF2-40B4-BE49-F238E27FC236}">
                    <a16:creationId xmlns:a16="http://schemas.microsoft.com/office/drawing/2014/main" id="{66B59D03-53CE-448C-B832-56FD593FCFE7}"/>
                  </a:ext>
                </a:extLst>
              </p:cNvPr>
              <p:cNvSpPr/>
              <p:nvPr/>
            </p:nvSpPr>
            <p:spPr>
              <a:xfrm>
                <a:off x="10120284" y="2928724"/>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82" name="Google Shape;3516;p25">
                <a:extLst>
                  <a:ext uri="{FF2B5EF4-FFF2-40B4-BE49-F238E27FC236}">
                    <a16:creationId xmlns:a16="http://schemas.microsoft.com/office/drawing/2014/main" id="{7E46AFBF-3EAE-4DC4-87F7-6CE9877504CD}"/>
                  </a:ext>
                </a:extLst>
              </p:cNvPr>
              <p:cNvSpPr/>
              <p:nvPr/>
            </p:nvSpPr>
            <p:spPr>
              <a:xfrm>
                <a:off x="10160109" y="2888583"/>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83" name="Google Shape;3517;p25">
                <a:extLst>
                  <a:ext uri="{FF2B5EF4-FFF2-40B4-BE49-F238E27FC236}">
                    <a16:creationId xmlns:a16="http://schemas.microsoft.com/office/drawing/2014/main" id="{3A20A61F-5F15-4F51-BBD5-BC748DF79DEE}"/>
                  </a:ext>
                </a:extLst>
              </p:cNvPr>
              <p:cNvSpPr/>
              <p:nvPr/>
            </p:nvSpPr>
            <p:spPr>
              <a:xfrm>
                <a:off x="10122436" y="2928724"/>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84" name="Google Shape;3518;p25">
                <a:extLst>
                  <a:ext uri="{FF2B5EF4-FFF2-40B4-BE49-F238E27FC236}">
                    <a16:creationId xmlns:a16="http://schemas.microsoft.com/office/drawing/2014/main" id="{C80DA133-650D-4958-AF00-5B59AB2513C6}"/>
                  </a:ext>
                </a:extLst>
              </p:cNvPr>
              <p:cNvSpPr/>
              <p:nvPr/>
            </p:nvSpPr>
            <p:spPr>
              <a:xfrm>
                <a:off x="10162289" y="2888583"/>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85" name="Google Shape;3519;p25">
                <a:extLst>
                  <a:ext uri="{FF2B5EF4-FFF2-40B4-BE49-F238E27FC236}">
                    <a16:creationId xmlns:a16="http://schemas.microsoft.com/office/drawing/2014/main" id="{C2AE8EE3-8419-49F6-9E24-BB1E59CB8F83}"/>
                  </a:ext>
                </a:extLst>
              </p:cNvPr>
              <p:cNvSpPr/>
              <p:nvPr/>
            </p:nvSpPr>
            <p:spPr>
              <a:xfrm>
                <a:off x="10155416" y="2955771"/>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86" name="Google Shape;3520;p25">
                <a:extLst>
                  <a:ext uri="{FF2B5EF4-FFF2-40B4-BE49-F238E27FC236}">
                    <a16:creationId xmlns:a16="http://schemas.microsoft.com/office/drawing/2014/main" id="{54F4F7A8-F87B-433C-9A87-C28D51207249}"/>
                  </a:ext>
                </a:extLst>
              </p:cNvPr>
              <p:cNvSpPr/>
              <p:nvPr/>
            </p:nvSpPr>
            <p:spPr>
              <a:xfrm>
                <a:off x="10195347" y="2915683"/>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87" name="Google Shape;3521;p25">
                <a:extLst>
                  <a:ext uri="{FF2B5EF4-FFF2-40B4-BE49-F238E27FC236}">
                    <a16:creationId xmlns:a16="http://schemas.microsoft.com/office/drawing/2014/main" id="{16103AC3-A150-4201-9F45-FD23D018E760}"/>
                  </a:ext>
                </a:extLst>
              </p:cNvPr>
              <p:cNvSpPr/>
              <p:nvPr/>
            </p:nvSpPr>
            <p:spPr>
              <a:xfrm>
                <a:off x="10159856" y="2962690"/>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88" name="Google Shape;3522;p25">
                <a:extLst>
                  <a:ext uri="{FF2B5EF4-FFF2-40B4-BE49-F238E27FC236}">
                    <a16:creationId xmlns:a16="http://schemas.microsoft.com/office/drawing/2014/main" id="{839D8CB1-723B-40D3-BDE5-768ECF85B18D}"/>
                  </a:ext>
                </a:extLst>
              </p:cNvPr>
              <p:cNvSpPr/>
              <p:nvPr/>
            </p:nvSpPr>
            <p:spPr>
              <a:xfrm>
                <a:off x="10199705" y="2922525"/>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89" name="Google Shape;3523;p25">
                <a:extLst>
                  <a:ext uri="{FF2B5EF4-FFF2-40B4-BE49-F238E27FC236}">
                    <a16:creationId xmlns:a16="http://schemas.microsoft.com/office/drawing/2014/main" id="{1E30ECFE-0704-447B-87A2-6DFAD633F17D}"/>
                  </a:ext>
                </a:extLst>
              </p:cNvPr>
              <p:cNvSpPr/>
              <p:nvPr/>
            </p:nvSpPr>
            <p:spPr>
              <a:xfrm>
                <a:off x="10217021" y="3100804"/>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90" name="Google Shape;3524;p25">
                <a:extLst>
                  <a:ext uri="{FF2B5EF4-FFF2-40B4-BE49-F238E27FC236}">
                    <a16:creationId xmlns:a16="http://schemas.microsoft.com/office/drawing/2014/main" id="{263C5006-99FE-4C56-AC40-CCA63860656E}"/>
                  </a:ext>
                </a:extLst>
              </p:cNvPr>
              <p:cNvSpPr/>
              <p:nvPr/>
            </p:nvSpPr>
            <p:spPr>
              <a:xfrm>
                <a:off x="10256871" y="3060639"/>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91" name="Google Shape;3525;p25">
                <a:extLst>
                  <a:ext uri="{FF2B5EF4-FFF2-40B4-BE49-F238E27FC236}">
                    <a16:creationId xmlns:a16="http://schemas.microsoft.com/office/drawing/2014/main" id="{4694B10A-7F56-4660-87D5-ECC5BA85FD83}"/>
                  </a:ext>
                </a:extLst>
              </p:cNvPr>
              <p:cNvSpPr/>
              <p:nvPr/>
            </p:nvSpPr>
            <p:spPr>
              <a:xfrm>
                <a:off x="10225817" y="3107726"/>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92" name="Google Shape;3526;p25">
                <a:extLst>
                  <a:ext uri="{FF2B5EF4-FFF2-40B4-BE49-F238E27FC236}">
                    <a16:creationId xmlns:a16="http://schemas.microsoft.com/office/drawing/2014/main" id="{58ED5C98-1BD2-4ED7-B9E5-ED40F2FDD546}"/>
                  </a:ext>
                </a:extLst>
              </p:cNvPr>
              <p:cNvSpPr/>
              <p:nvPr/>
            </p:nvSpPr>
            <p:spPr>
              <a:xfrm>
                <a:off x="10265642" y="3067558"/>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93" name="Google Shape;3527;p25">
                <a:extLst>
                  <a:ext uri="{FF2B5EF4-FFF2-40B4-BE49-F238E27FC236}">
                    <a16:creationId xmlns:a16="http://schemas.microsoft.com/office/drawing/2014/main" id="{16102D93-C74F-4075-8AEB-F73E39487CA7}"/>
                  </a:ext>
                </a:extLst>
              </p:cNvPr>
              <p:cNvSpPr/>
              <p:nvPr/>
            </p:nvSpPr>
            <p:spPr>
              <a:xfrm>
                <a:off x="10232433" y="3107726"/>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94" name="Google Shape;3528;p25">
                <a:extLst>
                  <a:ext uri="{FF2B5EF4-FFF2-40B4-BE49-F238E27FC236}">
                    <a16:creationId xmlns:a16="http://schemas.microsoft.com/office/drawing/2014/main" id="{8757FA6F-3972-4888-9159-95E7EF2C7024}"/>
                  </a:ext>
                </a:extLst>
              </p:cNvPr>
              <p:cNvSpPr/>
              <p:nvPr/>
            </p:nvSpPr>
            <p:spPr>
              <a:xfrm>
                <a:off x="10272261" y="3067558"/>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95" name="Google Shape;3529;p25">
                <a:extLst>
                  <a:ext uri="{FF2B5EF4-FFF2-40B4-BE49-F238E27FC236}">
                    <a16:creationId xmlns:a16="http://schemas.microsoft.com/office/drawing/2014/main" id="{B03BD28F-EFAC-48D5-AC23-4FA2E0BCD43D}"/>
                  </a:ext>
                </a:extLst>
              </p:cNvPr>
              <p:cNvSpPr/>
              <p:nvPr/>
            </p:nvSpPr>
            <p:spPr>
              <a:xfrm>
                <a:off x="10250001" y="3135722"/>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96" name="Google Shape;3530;p25">
                <a:extLst>
                  <a:ext uri="{FF2B5EF4-FFF2-40B4-BE49-F238E27FC236}">
                    <a16:creationId xmlns:a16="http://schemas.microsoft.com/office/drawing/2014/main" id="{E833E06A-38EB-4CB4-97DF-9C14BC512172}"/>
                  </a:ext>
                </a:extLst>
              </p:cNvPr>
              <p:cNvSpPr/>
              <p:nvPr/>
            </p:nvSpPr>
            <p:spPr>
              <a:xfrm>
                <a:off x="10289853" y="3095556"/>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97" name="Google Shape;3531;p25">
                <a:extLst>
                  <a:ext uri="{FF2B5EF4-FFF2-40B4-BE49-F238E27FC236}">
                    <a16:creationId xmlns:a16="http://schemas.microsoft.com/office/drawing/2014/main" id="{482B5C67-60E5-4A17-A1F7-BED3DF72819B}"/>
                  </a:ext>
                </a:extLst>
              </p:cNvPr>
              <p:cNvSpPr/>
              <p:nvPr/>
            </p:nvSpPr>
            <p:spPr>
              <a:xfrm>
                <a:off x="10278545" y="3163985"/>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98" name="Google Shape;3532;p25">
                <a:extLst>
                  <a:ext uri="{FF2B5EF4-FFF2-40B4-BE49-F238E27FC236}">
                    <a16:creationId xmlns:a16="http://schemas.microsoft.com/office/drawing/2014/main" id="{7CDD0EFB-067B-4D0E-9F5F-173DE65D7851}"/>
                  </a:ext>
                </a:extLst>
              </p:cNvPr>
              <p:cNvSpPr/>
              <p:nvPr/>
            </p:nvSpPr>
            <p:spPr>
              <a:xfrm>
                <a:off x="10318475" y="3123845"/>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99" name="Google Shape;3533;p25">
                <a:extLst>
                  <a:ext uri="{FF2B5EF4-FFF2-40B4-BE49-F238E27FC236}">
                    <a16:creationId xmlns:a16="http://schemas.microsoft.com/office/drawing/2014/main" id="{468BF954-281D-432D-8DDD-E9FB08627716}"/>
                  </a:ext>
                </a:extLst>
              </p:cNvPr>
              <p:cNvSpPr/>
              <p:nvPr/>
            </p:nvSpPr>
            <p:spPr>
              <a:xfrm>
                <a:off x="10300548" y="3185274"/>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00" name="Google Shape;3534;p25">
                <a:extLst>
                  <a:ext uri="{FF2B5EF4-FFF2-40B4-BE49-F238E27FC236}">
                    <a16:creationId xmlns:a16="http://schemas.microsoft.com/office/drawing/2014/main" id="{7B0E1C20-2BEE-4AF0-B371-E9E8955BCE48}"/>
                  </a:ext>
                </a:extLst>
              </p:cNvPr>
              <p:cNvSpPr/>
              <p:nvPr/>
            </p:nvSpPr>
            <p:spPr>
              <a:xfrm>
                <a:off x="10340479" y="3145109"/>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01" name="Google Shape;3535;p25">
                <a:extLst>
                  <a:ext uri="{FF2B5EF4-FFF2-40B4-BE49-F238E27FC236}">
                    <a16:creationId xmlns:a16="http://schemas.microsoft.com/office/drawing/2014/main" id="{E36A43DD-F77A-4342-91CC-71FE49225693}"/>
                  </a:ext>
                </a:extLst>
              </p:cNvPr>
              <p:cNvSpPr/>
              <p:nvPr/>
            </p:nvSpPr>
            <p:spPr>
              <a:xfrm>
                <a:off x="10331349" y="3199695"/>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02" name="Google Shape;3536;p25">
                <a:extLst>
                  <a:ext uri="{FF2B5EF4-FFF2-40B4-BE49-F238E27FC236}">
                    <a16:creationId xmlns:a16="http://schemas.microsoft.com/office/drawing/2014/main" id="{7AFE803F-66E3-4DA9-9C4C-668500EC0E07}"/>
                  </a:ext>
                </a:extLst>
              </p:cNvPr>
              <p:cNvSpPr/>
              <p:nvPr/>
            </p:nvSpPr>
            <p:spPr>
              <a:xfrm>
                <a:off x="10371280" y="3159530"/>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03" name="Google Shape;3537;p25">
                <a:extLst>
                  <a:ext uri="{FF2B5EF4-FFF2-40B4-BE49-F238E27FC236}">
                    <a16:creationId xmlns:a16="http://schemas.microsoft.com/office/drawing/2014/main" id="{E8B05471-B1BF-4B7E-8CF7-4D70E66E1202}"/>
                  </a:ext>
                </a:extLst>
              </p:cNvPr>
              <p:cNvSpPr/>
              <p:nvPr/>
            </p:nvSpPr>
            <p:spPr>
              <a:xfrm>
                <a:off x="10337968" y="3199695"/>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04" name="Google Shape;3538;p25">
                <a:extLst>
                  <a:ext uri="{FF2B5EF4-FFF2-40B4-BE49-F238E27FC236}">
                    <a16:creationId xmlns:a16="http://schemas.microsoft.com/office/drawing/2014/main" id="{DF480EC5-63E4-49D4-8199-9FC96EB2C5F3}"/>
                  </a:ext>
                </a:extLst>
              </p:cNvPr>
              <p:cNvSpPr/>
              <p:nvPr/>
            </p:nvSpPr>
            <p:spPr>
              <a:xfrm>
                <a:off x="10377820" y="3159530"/>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05" name="Google Shape;3539;p25">
                <a:extLst>
                  <a:ext uri="{FF2B5EF4-FFF2-40B4-BE49-F238E27FC236}">
                    <a16:creationId xmlns:a16="http://schemas.microsoft.com/office/drawing/2014/main" id="{60CE0E2B-ECC3-4551-AA1A-CB725BF8BE36}"/>
                  </a:ext>
                </a:extLst>
              </p:cNvPr>
              <p:cNvSpPr/>
              <p:nvPr/>
            </p:nvSpPr>
            <p:spPr>
              <a:xfrm>
                <a:off x="10344584" y="3199695"/>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06" name="Google Shape;3540;p25">
                <a:extLst>
                  <a:ext uri="{FF2B5EF4-FFF2-40B4-BE49-F238E27FC236}">
                    <a16:creationId xmlns:a16="http://schemas.microsoft.com/office/drawing/2014/main" id="{3389E1AA-DC95-4A5B-A159-FCAAC718DA0D}"/>
                  </a:ext>
                </a:extLst>
              </p:cNvPr>
              <p:cNvSpPr/>
              <p:nvPr/>
            </p:nvSpPr>
            <p:spPr>
              <a:xfrm>
                <a:off x="10384436" y="3159530"/>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07" name="Google Shape;3541;p25">
                <a:extLst>
                  <a:ext uri="{FF2B5EF4-FFF2-40B4-BE49-F238E27FC236}">
                    <a16:creationId xmlns:a16="http://schemas.microsoft.com/office/drawing/2014/main" id="{13D0C925-524B-4886-8757-ED4950D68D6A}"/>
                  </a:ext>
                </a:extLst>
              </p:cNvPr>
              <p:cNvSpPr/>
              <p:nvPr/>
            </p:nvSpPr>
            <p:spPr>
              <a:xfrm>
                <a:off x="10357740" y="3214329"/>
                <a:ext cx="80383" cy="0"/>
              </a:xfrm>
              <a:custGeom>
                <a:avLst/>
                <a:gdLst/>
                <a:ahLst/>
                <a:cxnLst/>
                <a:rect l="l" t="t" r="r" b="b"/>
                <a:pathLst>
                  <a:path w="29210" h="120000" extrusionOk="0">
                    <a:moveTo>
                      <a:pt x="0" y="0"/>
                    </a:moveTo>
                    <a:lnTo>
                      <a:pt x="28943"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08" name="Google Shape;3542;p25">
                <a:extLst>
                  <a:ext uri="{FF2B5EF4-FFF2-40B4-BE49-F238E27FC236}">
                    <a16:creationId xmlns:a16="http://schemas.microsoft.com/office/drawing/2014/main" id="{1ECAB981-A5DF-48CE-8B26-D20930333654}"/>
                  </a:ext>
                </a:extLst>
              </p:cNvPr>
              <p:cNvSpPr/>
              <p:nvPr/>
            </p:nvSpPr>
            <p:spPr>
              <a:xfrm>
                <a:off x="10397644" y="3174164"/>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09" name="Google Shape;3543;p25">
                <a:extLst>
                  <a:ext uri="{FF2B5EF4-FFF2-40B4-BE49-F238E27FC236}">
                    <a16:creationId xmlns:a16="http://schemas.microsoft.com/office/drawing/2014/main" id="{550668DB-0483-4980-9E04-517C3753B032}"/>
                  </a:ext>
                </a:extLst>
              </p:cNvPr>
              <p:cNvSpPr/>
              <p:nvPr/>
            </p:nvSpPr>
            <p:spPr>
              <a:xfrm>
                <a:off x="10364332" y="3214329"/>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10" name="Google Shape;3544;p25">
                <a:extLst>
                  <a:ext uri="{FF2B5EF4-FFF2-40B4-BE49-F238E27FC236}">
                    <a16:creationId xmlns:a16="http://schemas.microsoft.com/office/drawing/2014/main" id="{0AC5FCB9-6A17-44E1-AC1E-B552549B9D93}"/>
                  </a:ext>
                </a:extLst>
              </p:cNvPr>
              <p:cNvSpPr/>
              <p:nvPr/>
            </p:nvSpPr>
            <p:spPr>
              <a:xfrm>
                <a:off x="10404263" y="3174164"/>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11" name="Google Shape;3545;p25">
                <a:extLst>
                  <a:ext uri="{FF2B5EF4-FFF2-40B4-BE49-F238E27FC236}">
                    <a16:creationId xmlns:a16="http://schemas.microsoft.com/office/drawing/2014/main" id="{79A29787-9E08-43D9-AEB9-8BC88CD2E84B}"/>
                  </a:ext>
                </a:extLst>
              </p:cNvPr>
              <p:cNvSpPr/>
              <p:nvPr/>
            </p:nvSpPr>
            <p:spPr>
              <a:xfrm>
                <a:off x="10375307" y="3229199"/>
                <a:ext cx="80383" cy="0"/>
              </a:xfrm>
              <a:custGeom>
                <a:avLst/>
                <a:gdLst/>
                <a:ahLst/>
                <a:cxnLst/>
                <a:rect l="l" t="t" r="r" b="b"/>
                <a:pathLst>
                  <a:path w="29210" h="120000" extrusionOk="0">
                    <a:moveTo>
                      <a:pt x="0" y="0"/>
                    </a:moveTo>
                    <a:lnTo>
                      <a:pt x="28943"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12" name="Google Shape;3546;p25">
                <a:extLst>
                  <a:ext uri="{FF2B5EF4-FFF2-40B4-BE49-F238E27FC236}">
                    <a16:creationId xmlns:a16="http://schemas.microsoft.com/office/drawing/2014/main" id="{7DAFE5F9-1634-4170-98C9-07ACFB969CC5}"/>
                  </a:ext>
                </a:extLst>
              </p:cNvPr>
              <p:cNvSpPr/>
              <p:nvPr/>
            </p:nvSpPr>
            <p:spPr>
              <a:xfrm>
                <a:off x="10415238" y="3189034"/>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13" name="Google Shape;3547;p25">
                <a:extLst>
                  <a:ext uri="{FF2B5EF4-FFF2-40B4-BE49-F238E27FC236}">
                    <a16:creationId xmlns:a16="http://schemas.microsoft.com/office/drawing/2014/main" id="{8898DAAB-6C36-4A95-BB1D-A833DB74F515}"/>
                  </a:ext>
                </a:extLst>
              </p:cNvPr>
              <p:cNvSpPr/>
              <p:nvPr/>
            </p:nvSpPr>
            <p:spPr>
              <a:xfrm>
                <a:off x="10377565" y="3229199"/>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14" name="Google Shape;3548;p25">
                <a:extLst>
                  <a:ext uri="{FF2B5EF4-FFF2-40B4-BE49-F238E27FC236}">
                    <a16:creationId xmlns:a16="http://schemas.microsoft.com/office/drawing/2014/main" id="{80C52DC2-FBF6-4E31-886F-66BB3771433C}"/>
                  </a:ext>
                </a:extLst>
              </p:cNvPr>
              <p:cNvSpPr/>
              <p:nvPr/>
            </p:nvSpPr>
            <p:spPr>
              <a:xfrm>
                <a:off x="10417416" y="3189034"/>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15" name="Google Shape;3549;p25">
                <a:extLst>
                  <a:ext uri="{FF2B5EF4-FFF2-40B4-BE49-F238E27FC236}">
                    <a16:creationId xmlns:a16="http://schemas.microsoft.com/office/drawing/2014/main" id="{6D2D2D9F-6DA3-4398-AB0D-15AB875A6070}"/>
                  </a:ext>
                </a:extLst>
              </p:cNvPr>
              <p:cNvSpPr/>
              <p:nvPr/>
            </p:nvSpPr>
            <p:spPr>
              <a:xfrm>
                <a:off x="10397312" y="3259389"/>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16" name="Google Shape;3550;p25">
                <a:extLst>
                  <a:ext uri="{FF2B5EF4-FFF2-40B4-BE49-F238E27FC236}">
                    <a16:creationId xmlns:a16="http://schemas.microsoft.com/office/drawing/2014/main" id="{F8E770EF-4EAC-4021-8ABC-933046E9B4A5}"/>
                  </a:ext>
                </a:extLst>
              </p:cNvPr>
              <p:cNvSpPr/>
              <p:nvPr/>
            </p:nvSpPr>
            <p:spPr>
              <a:xfrm>
                <a:off x="10437243" y="3219251"/>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17" name="Google Shape;3551;p25">
                <a:extLst>
                  <a:ext uri="{FF2B5EF4-FFF2-40B4-BE49-F238E27FC236}">
                    <a16:creationId xmlns:a16="http://schemas.microsoft.com/office/drawing/2014/main" id="{E7CC7B84-6573-41F9-AA4D-A5B6922CB211}"/>
                  </a:ext>
                </a:extLst>
              </p:cNvPr>
              <p:cNvSpPr/>
              <p:nvPr/>
            </p:nvSpPr>
            <p:spPr>
              <a:xfrm>
                <a:off x="10414879" y="3266918"/>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18" name="Google Shape;3552;p25">
                <a:extLst>
                  <a:ext uri="{FF2B5EF4-FFF2-40B4-BE49-F238E27FC236}">
                    <a16:creationId xmlns:a16="http://schemas.microsoft.com/office/drawing/2014/main" id="{4A7AF365-7AE1-4C8C-BEBA-E18AF2D1ED62}"/>
                  </a:ext>
                </a:extLst>
              </p:cNvPr>
              <p:cNvSpPr/>
              <p:nvPr/>
            </p:nvSpPr>
            <p:spPr>
              <a:xfrm>
                <a:off x="10454836" y="3226856"/>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19" name="Google Shape;3553;p25">
                <a:extLst>
                  <a:ext uri="{FF2B5EF4-FFF2-40B4-BE49-F238E27FC236}">
                    <a16:creationId xmlns:a16="http://schemas.microsoft.com/office/drawing/2014/main" id="{90E8B3E1-7032-4062-9402-C3AC6D25DD87}"/>
                  </a:ext>
                </a:extLst>
              </p:cNvPr>
              <p:cNvSpPr/>
              <p:nvPr/>
            </p:nvSpPr>
            <p:spPr>
              <a:xfrm>
                <a:off x="10419316" y="3266918"/>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20" name="Google Shape;3554;p25">
                <a:extLst>
                  <a:ext uri="{FF2B5EF4-FFF2-40B4-BE49-F238E27FC236}">
                    <a16:creationId xmlns:a16="http://schemas.microsoft.com/office/drawing/2014/main" id="{1CA2F9E0-A769-4690-A18F-ECADC2C0AD95}"/>
                  </a:ext>
                </a:extLst>
              </p:cNvPr>
              <p:cNvSpPr/>
              <p:nvPr/>
            </p:nvSpPr>
            <p:spPr>
              <a:xfrm>
                <a:off x="10459246" y="3226856"/>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21" name="Google Shape;3555;p25">
                <a:extLst>
                  <a:ext uri="{FF2B5EF4-FFF2-40B4-BE49-F238E27FC236}">
                    <a16:creationId xmlns:a16="http://schemas.microsoft.com/office/drawing/2014/main" id="{140A2821-D614-40A1-83DE-BED8B5C2E513}"/>
                  </a:ext>
                </a:extLst>
              </p:cNvPr>
              <p:cNvSpPr/>
              <p:nvPr/>
            </p:nvSpPr>
            <p:spPr>
              <a:xfrm>
                <a:off x="10430292" y="3282314"/>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22" name="Google Shape;3556;p25">
                <a:extLst>
                  <a:ext uri="{FF2B5EF4-FFF2-40B4-BE49-F238E27FC236}">
                    <a16:creationId xmlns:a16="http://schemas.microsoft.com/office/drawing/2014/main" id="{50ABF570-AF71-4C6D-9F7D-61A05B94068C}"/>
                  </a:ext>
                </a:extLst>
              </p:cNvPr>
              <p:cNvSpPr/>
              <p:nvPr/>
            </p:nvSpPr>
            <p:spPr>
              <a:xfrm>
                <a:off x="10470223" y="3242177"/>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23" name="Google Shape;3557;p25">
                <a:extLst>
                  <a:ext uri="{FF2B5EF4-FFF2-40B4-BE49-F238E27FC236}">
                    <a16:creationId xmlns:a16="http://schemas.microsoft.com/office/drawing/2014/main" id="{7E7F6525-0C03-42EF-8F45-801B44A11A70}"/>
                  </a:ext>
                </a:extLst>
              </p:cNvPr>
              <p:cNvSpPr/>
              <p:nvPr/>
            </p:nvSpPr>
            <p:spPr>
              <a:xfrm>
                <a:off x="10443528" y="3297819"/>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24" name="Google Shape;3558;p25">
                <a:extLst>
                  <a:ext uri="{FF2B5EF4-FFF2-40B4-BE49-F238E27FC236}">
                    <a16:creationId xmlns:a16="http://schemas.microsoft.com/office/drawing/2014/main" id="{3430BB85-A0A2-4DFA-933C-F2717E543341}"/>
                  </a:ext>
                </a:extLst>
              </p:cNvPr>
              <p:cNvSpPr/>
              <p:nvPr/>
            </p:nvSpPr>
            <p:spPr>
              <a:xfrm>
                <a:off x="10483431" y="3257656"/>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25" name="Google Shape;3559;p25">
                <a:extLst>
                  <a:ext uri="{FF2B5EF4-FFF2-40B4-BE49-F238E27FC236}">
                    <a16:creationId xmlns:a16="http://schemas.microsoft.com/office/drawing/2014/main" id="{885EE6F7-DDFD-4589-B06B-52530EFD6A34}"/>
                  </a:ext>
                </a:extLst>
              </p:cNvPr>
              <p:cNvSpPr/>
              <p:nvPr/>
            </p:nvSpPr>
            <p:spPr>
              <a:xfrm>
                <a:off x="10454477" y="3305691"/>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26" name="Google Shape;3560;p25">
                <a:extLst>
                  <a:ext uri="{FF2B5EF4-FFF2-40B4-BE49-F238E27FC236}">
                    <a16:creationId xmlns:a16="http://schemas.microsoft.com/office/drawing/2014/main" id="{FD2804B2-A52C-4D36-88C5-2AED851889F2}"/>
                  </a:ext>
                </a:extLst>
              </p:cNvPr>
              <p:cNvSpPr/>
              <p:nvPr/>
            </p:nvSpPr>
            <p:spPr>
              <a:xfrm>
                <a:off x="10494408" y="3265526"/>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27" name="Google Shape;3561;p25">
                <a:extLst>
                  <a:ext uri="{FF2B5EF4-FFF2-40B4-BE49-F238E27FC236}">
                    <a16:creationId xmlns:a16="http://schemas.microsoft.com/office/drawing/2014/main" id="{4850A2A4-7F30-46F9-AD45-51E89F83BAB1}"/>
                  </a:ext>
                </a:extLst>
              </p:cNvPr>
              <p:cNvSpPr/>
              <p:nvPr/>
            </p:nvSpPr>
            <p:spPr>
              <a:xfrm>
                <a:off x="10467710" y="3313667"/>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28" name="Google Shape;3562;p25">
                <a:extLst>
                  <a:ext uri="{FF2B5EF4-FFF2-40B4-BE49-F238E27FC236}">
                    <a16:creationId xmlns:a16="http://schemas.microsoft.com/office/drawing/2014/main" id="{F5110EE9-AB97-41BE-B867-461DF0412F13}"/>
                  </a:ext>
                </a:extLst>
              </p:cNvPr>
              <p:cNvSpPr/>
              <p:nvPr/>
            </p:nvSpPr>
            <p:spPr>
              <a:xfrm>
                <a:off x="10507641" y="3273502"/>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29" name="Google Shape;3563;p25">
                <a:extLst>
                  <a:ext uri="{FF2B5EF4-FFF2-40B4-BE49-F238E27FC236}">
                    <a16:creationId xmlns:a16="http://schemas.microsoft.com/office/drawing/2014/main" id="{76A11006-E594-4E33-9CD8-EE8D94080E4C}"/>
                  </a:ext>
                </a:extLst>
              </p:cNvPr>
              <p:cNvSpPr/>
              <p:nvPr/>
            </p:nvSpPr>
            <p:spPr>
              <a:xfrm>
                <a:off x="10469890" y="3313667"/>
                <a:ext cx="80383" cy="0"/>
              </a:xfrm>
              <a:custGeom>
                <a:avLst/>
                <a:gdLst/>
                <a:ahLst/>
                <a:cxnLst/>
                <a:rect l="l" t="t" r="r" b="b"/>
                <a:pathLst>
                  <a:path w="29210" h="120000" extrusionOk="0">
                    <a:moveTo>
                      <a:pt x="0" y="0"/>
                    </a:moveTo>
                    <a:lnTo>
                      <a:pt x="28943"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30" name="Google Shape;3564;p25">
                <a:extLst>
                  <a:ext uri="{FF2B5EF4-FFF2-40B4-BE49-F238E27FC236}">
                    <a16:creationId xmlns:a16="http://schemas.microsoft.com/office/drawing/2014/main" id="{795D095C-623D-487A-A110-1C3D2757EAAF}"/>
                  </a:ext>
                </a:extLst>
              </p:cNvPr>
              <p:cNvSpPr/>
              <p:nvPr/>
            </p:nvSpPr>
            <p:spPr>
              <a:xfrm>
                <a:off x="10509820" y="3273502"/>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31" name="Google Shape;3565;p25">
                <a:extLst>
                  <a:ext uri="{FF2B5EF4-FFF2-40B4-BE49-F238E27FC236}">
                    <a16:creationId xmlns:a16="http://schemas.microsoft.com/office/drawing/2014/main" id="{83907B75-2611-4577-8EB2-B1B08628F658}"/>
                  </a:ext>
                </a:extLst>
              </p:cNvPr>
              <p:cNvSpPr/>
              <p:nvPr/>
            </p:nvSpPr>
            <p:spPr>
              <a:xfrm>
                <a:off x="10483124" y="3313667"/>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32" name="Google Shape;3566;p25">
                <a:extLst>
                  <a:ext uri="{FF2B5EF4-FFF2-40B4-BE49-F238E27FC236}">
                    <a16:creationId xmlns:a16="http://schemas.microsoft.com/office/drawing/2014/main" id="{DBEC0265-B1F9-4219-B9DE-DB99737EEDF3}"/>
                  </a:ext>
                </a:extLst>
              </p:cNvPr>
              <p:cNvSpPr/>
              <p:nvPr/>
            </p:nvSpPr>
            <p:spPr>
              <a:xfrm>
                <a:off x="10523030" y="3273502"/>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33" name="Google Shape;3567;p25">
                <a:extLst>
                  <a:ext uri="{FF2B5EF4-FFF2-40B4-BE49-F238E27FC236}">
                    <a16:creationId xmlns:a16="http://schemas.microsoft.com/office/drawing/2014/main" id="{3E7EEDF0-8FE1-4354-8378-D3B686502084}"/>
                  </a:ext>
                </a:extLst>
              </p:cNvPr>
              <p:cNvSpPr/>
              <p:nvPr/>
            </p:nvSpPr>
            <p:spPr>
              <a:xfrm>
                <a:off x="10487537" y="3321803"/>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34" name="Google Shape;3568;p25">
                <a:extLst>
                  <a:ext uri="{FF2B5EF4-FFF2-40B4-BE49-F238E27FC236}">
                    <a16:creationId xmlns:a16="http://schemas.microsoft.com/office/drawing/2014/main" id="{E8EE7403-71E2-49FD-8630-CEA0D910B610}"/>
                  </a:ext>
                </a:extLst>
              </p:cNvPr>
              <p:cNvSpPr/>
              <p:nvPr/>
            </p:nvSpPr>
            <p:spPr>
              <a:xfrm>
                <a:off x="10527388" y="3281638"/>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35" name="Google Shape;3569;p25">
                <a:extLst>
                  <a:ext uri="{FF2B5EF4-FFF2-40B4-BE49-F238E27FC236}">
                    <a16:creationId xmlns:a16="http://schemas.microsoft.com/office/drawing/2014/main" id="{7620A67F-675D-4528-B674-941BFD2A6738}"/>
                  </a:ext>
                </a:extLst>
              </p:cNvPr>
              <p:cNvSpPr/>
              <p:nvPr/>
            </p:nvSpPr>
            <p:spPr>
              <a:xfrm>
                <a:off x="10505130" y="3346580"/>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36" name="Google Shape;3570;p25">
                <a:extLst>
                  <a:ext uri="{FF2B5EF4-FFF2-40B4-BE49-F238E27FC236}">
                    <a16:creationId xmlns:a16="http://schemas.microsoft.com/office/drawing/2014/main" id="{D6E1F285-CBAA-4EAE-AA79-686627BE0C41}"/>
                  </a:ext>
                </a:extLst>
              </p:cNvPr>
              <p:cNvSpPr/>
              <p:nvPr/>
            </p:nvSpPr>
            <p:spPr>
              <a:xfrm>
                <a:off x="10544955" y="3306412"/>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37" name="Google Shape;3571;p25">
                <a:extLst>
                  <a:ext uri="{FF2B5EF4-FFF2-40B4-BE49-F238E27FC236}">
                    <a16:creationId xmlns:a16="http://schemas.microsoft.com/office/drawing/2014/main" id="{C28838F3-0073-4D8E-AEAE-2CA292891D2C}"/>
                  </a:ext>
                </a:extLst>
              </p:cNvPr>
              <p:cNvSpPr/>
              <p:nvPr/>
            </p:nvSpPr>
            <p:spPr>
              <a:xfrm>
                <a:off x="10509462" y="3354792"/>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38" name="Google Shape;3572;p25">
                <a:extLst>
                  <a:ext uri="{FF2B5EF4-FFF2-40B4-BE49-F238E27FC236}">
                    <a16:creationId xmlns:a16="http://schemas.microsoft.com/office/drawing/2014/main" id="{ED5D6F61-46C8-4A2E-9F34-9F50A0318EC5}"/>
                  </a:ext>
                </a:extLst>
              </p:cNvPr>
              <p:cNvSpPr/>
              <p:nvPr/>
            </p:nvSpPr>
            <p:spPr>
              <a:xfrm>
                <a:off x="10549419" y="3314734"/>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39" name="Google Shape;3573;p25">
                <a:extLst>
                  <a:ext uri="{FF2B5EF4-FFF2-40B4-BE49-F238E27FC236}">
                    <a16:creationId xmlns:a16="http://schemas.microsoft.com/office/drawing/2014/main" id="{A367B203-FEA2-4101-A2D1-ADDC184DC13F}"/>
                  </a:ext>
                </a:extLst>
              </p:cNvPr>
              <p:cNvSpPr/>
              <p:nvPr/>
            </p:nvSpPr>
            <p:spPr>
              <a:xfrm>
                <a:off x="10522696" y="3380018"/>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40" name="Google Shape;3574;p25">
                <a:extLst>
                  <a:ext uri="{FF2B5EF4-FFF2-40B4-BE49-F238E27FC236}">
                    <a16:creationId xmlns:a16="http://schemas.microsoft.com/office/drawing/2014/main" id="{12235CF6-6001-400E-A31A-50B679925EE0}"/>
                  </a:ext>
                </a:extLst>
              </p:cNvPr>
              <p:cNvSpPr/>
              <p:nvPr/>
            </p:nvSpPr>
            <p:spPr>
              <a:xfrm>
                <a:off x="10562627" y="3339932"/>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41" name="Google Shape;3575;p25">
                <a:extLst>
                  <a:ext uri="{FF2B5EF4-FFF2-40B4-BE49-F238E27FC236}">
                    <a16:creationId xmlns:a16="http://schemas.microsoft.com/office/drawing/2014/main" id="{F566DFF5-4554-4121-BF69-3807BA3C09BF}"/>
                  </a:ext>
                </a:extLst>
              </p:cNvPr>
              <p:cNvSpPr/>
              <p:nvPr/>
            </p:nvSpPr>
            <p:spPr>
              <a:xfrm>
                <a:off x="10527055" y="3380018"/>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42" name="Google Shape;3576;p25">
                <a:extLst>
                  <a:ext uri="{FF2B5EF4-FFF2-40B4-BE49-F238E27FC236}">
                    <a16:creationId xmlns:a16="http://schemas.microsoft.com/office/drawing/2014/main" id="{B962F452-6895-4189-BFFA-12CAC50A6C58}"/>
                  </a:ext>
                </a:extLst>
              </p:cNvPr>
              <p:cNvSpPr/>
              <p:nvPr/>
            </p:nvSpPr>
            <p:spPr>
              <a:xfrm>
                <a:off x="10566985" y="3339932"/>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43" name="Google Shape;3577;p25">
                <a:extLst>
                  <a:ext uri="{FF2B5EF4-FFF2-40B4-BE49-F238E27FC236}">
                    <a16:creationId xmlns:a16="http://schemas.microsoft.com/office/drawing/2014/main" id="{34C55F07-CDCD-41D0-B5D8-284A6C38DBB9}"/>
                  </a:ext>
                </a:extLst>
              </p:cNvPr>
              <p:cNvSpPr/>
              <p:nvPr/>
            </p:nvSpPr>
            <p:spPr>
              <a:xfrm>
                <a:off x="10555676" y="3414143"/>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44" name="Google Shape;3578;p25">
                <a:extLst>
                  <a:ext uri="{FF2B5EF4-FFF2-40B4-BE49-F238E27FC236}">
                    <a16:creationId xmlns:a16="http://schemas.microsoft.com/office/drawing/2014/main" id="{6F95D048-8C15-4CBD-BDA2-65EC0748A42B}"/>
                  </a:ext>
                </a:extLst>
              </p:cNvPr>
              <p:cNvSpPr/>
              <p:nvPr/>
            </p:nvSpPr>
            <p:spPr>
              <a:xfrm>
                <a:off x="10595607" y="3373978"/>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45" name="Google Shape;3579;p25">
                <a:extLst>
                  <a:ext uri="{FF2B5EF4-FFF2-40B4-BE49-F238E27FC236}">
                    <a16:creationId xmlns:a16="http://schemas.microsoft.com/office/drawing/2014/main" id="{D3D4123A-0F32-4BD2-9567-87F912A3F78D}"/>
                  </a:ext>
                </a:extLst>
              </p:cNvPr>
              <p:cNvSpPr/>
              <p:nvPr/>
            </p:nvSpPr>
            <p:spPr>
              <a:xfrm>
                <a:off x="10560116" y="3414143"/>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46" name="Google Shape;3580;p25">
                <a:extLst>
                  <a:ext uri="{FF2B5EF4-FFF2-40B4-BE49-F238E27FC236}">
                    <a16:creationId xmlns:a16="http://schemas.microsoft.com/office/drawing/2014/main" id="{DACC3468-CFB0-48C0-A2A9-968C61E90B15}"/>
                  </a:ext>
                </a:extLst>
              </p:cNvPr>
              <p:cNvSpPr/>
              <p:nvPr/>
            </p:nvSpPr>
            <p:spPr>
              <a:xfrm>
                <a:off x="10599941" y="3373978"/>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47" name="Google Shape;3581;p25">
                <a:extLst>
                  <a:ext uri="{FF2B5EF4-FFF2-40B4-BE49-F238E27FC236}">
                    <a16:creationId xmlns:a16="http://schemas.microsoft.com/office/drawing/2014/main" id="{1AD138DA-4359-4348-9A89-F644D6447808}"/>
                  </a:ext>
                </a:extLst>
              </p:cNvPr>
              <p:cNvSpPr/>
              <p:nvPr/>
            </p:nvSpPr>
            <p:spPr>
              <a:xfrm>
                <a:off x="10568911" y="3422728"/>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48" name="Google Shape;3582;p25">
                <a:extLst>
                  <a:ext uri="{FF2B5EF4-FFF2-40B4-BE49-F238E27FC236}">
                    <a16:creationId xmlns:a16="http://schemas.microsoft.com/office/drawing/2014/main" id="{BDD1205D-F216-4023-9F16-2DCAE2322307}"/>
                  </a:ext>
                </a:extLst>
              </p:cNvPr>
              <p:cNvSpPr/>
              <p:nvPr/>
            </p:nvSpPr>
            <p:spPr>
              <a:xfrm>
                <a:off x="10608736" y="3382642"/>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49" name="Google Shape;3583;p25">
                <a:extLst>
                  <a:ext uri="{FF2B5EF4-FFF2-40B4-BE49-F238E27FC236}">
                    <a16:creationId xmlns:a16="http://schemas.microsoft.com/office/drawing/2014/main" id="{A879F900-D200-4379-A6DD-7A40D5FBCB90}"/>
                  </a:ext>
                </a:extLst>
              </p:cNvPr>
              <p:cNvSpPr/>
              <p:nvPr/>
            </p:nvSpPr>
            <p:spPr>
              <a:xfrm>
                <a:off x="10571091" y="3422728"/>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50" name="Google Shape;3584;p25">
                <a:extLst>
                  <a:ext uri="{FF2B5EF4-FFF2-40B4-BE49-F238E27FC236}">
                    <a16:creationId xmlns:a16="http://schemas.microsoft.com/office/drawing/2014/main" id="{F4C956A0-A816-4F7F-AC82-B5B1C6D2CFD5}"/>
                  </a:ext>
                </a:extLst>
              </p:cNvPr>
              <p:cNvSpPr/>
              <p:nvPr/>
            </p:nvSpPr>
            <p:spPr>
              <a:xfrm>
                <a:off x="10610996" y="3382642"/>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51" name="Google Shape;3585;p25">
                <a:extLst>
                  <a:ext uri="{FF2B5EF4-FFF2-40B4-BE49-F238E27FC236}">
                    <a16:creationId xmlns:a16="http://schemas.microsoft.com/office/drawing/2014/main" id="{630CA268-6FE0-4182-8A14-EC752647A998}"/>
                  </a:ext>
                </a:extLst>
              </p:cNvPr>
              <p:cNvSpPr/>
              <p:nvPr/>
            </p:nvSpPr>
            <p:spPr>
              <a:xfrm>
                <a:off x="10599712" y="3449324"/>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52" name="Google Shape;3586;p25">
                <a:extLst>
                  <a:ext uri="{FF2B5EF4-FFF2-40B4-BE49-F238E27FC236}">
                    <a16:creationId xmlns:a16="http://schemas.microsoft.com/office/drawing/2014/main" id="{1760B233-66EF-428C-954E-F753BBDB85B4}"/>
                  </a:ext>
                </a:extLst>
              </p:cNvPr>
              <p:cNvSpPr/>
              <p:nvPr/>
            </p:nvSpPr>
            <p:spPr>
              <a:xfrm>
                <a:off x="10639538" y="3409240"/>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53" name="Google Shape;3587;p25">
                <a:extLst>
                  <a:ext uri="{FF2B5EF4-FFF2-40B4-BE49-F238E27FC236}">
                    <a16:creationId xmlns:a16="http://schemas.microsoft.com/office/drawing/2014/main" id="{D9AE5734-D206-4ECA-94E6-F554AC6F58D3}"/>
                  </a:ext>
                </a:extLst>
              </p:cNvPr>
              <p:cNvSpPr/>
              <p:nvPr/>
            </p:nvSpPr>
            <p:spPr>
              <a:xfrm>
                <a:off x="10606225" y="3449324"/>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54" name="Google Shape;3588;p25">
                <a:extLst>
                  <a:ext uri="{FF2B5EF4-FFF2-40B4-BE49-F238E27FC236}">
                    <a16:creationId xmlns:a16="http://schemas.microsoft.com/office/drawing/2014/main" id="{01DBED02-AD6A-41BE-B3FE-A17B39286297}"/>
                  </a:ext>
                </a:extLst>
              </p:cNvPr>
              <p:cNvSpPr/>
              <p:nvPr/>
            </p:nvSpPr>
            <p:spPr>
              <a:xfrm>
                <a:off x="10646156" y="3409240"/>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55" name="Google Shape;3589;p25">
                <a:extLst>
                  <a:ext uri="{FF2B5EF4-FFF2-40B4-BE49-F238E27FC236}">
                    <a16:creationId xmlns:a16="http://schemas.microsoft.com/office/drawing/2014/main" id="{049A102D-290D-4B62-A9C7-F178C8F1A134}"/>
                  </a:ext>
                </a:extLst>
              </p:cNvPr>
              <p:cNvSpPr/>
              <p:nvPr/>
            </p:nvSpPr>
            <p:spPr>
              <a:xfrm>
                <a:off x="10667828" y="3458333"/>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56" name="Google Shape;3590;p25">
                <a:extLst>
                  <a:ext uri="{FF2B5EF4-FFF2-40B4-BE49-F238E27FC236}">
                    <a16:creationId xmlns:a16="http://schemas.microsoft.com/office/drawing/2014/main" id="{ABA52E40-7740-4182-8F27-B8F2800B5BC2}"/>
                  </a:ext>
                </a:extLst>
              </p:cNvPr>
              <p:cNvSpPr/>
              <p:nvPr/>
            </p:nvSpPr>
            <p:spPr>
              <a:xfrm>
                <a:off x="10707759" y="3418273"/>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57" name="Google Shape;3591;p25">
                <a:extLst>
                  <a:ext uri="{FF2B5EF4-FFF2-40B4-BE49-F238E27FC236}">
                    <a16:creationId xmlns:a16="http://schemas.microsoft.com/office/drawing/2014/main" id="{2C3F01A0-D1E4-4877-919F-CF5DB6F88462}"/>
                  </a:ext>
                </a:extLst>
              </p:cNvPr>
              <p:cNvSpPr/>
              <p:nvPr/>
            </p:nvSpPr>
            <p:spPr>
              <a:xfrm>
                <a:off x="10714042" y="3504026"/>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58" name="Google Shape;3592;p25">
                <a:extLst>
                  <a:ext uri="{FF2B5EF4-FFF2-40B4-BE49-F238E27FC236}">
                    <a16:creationId xmlns:a16="http://schemas.microsoft.com/office/drawing/2014/main" id="{E396090F-A84A-4562-BE81-EE1179D3BCD3}"/>
                  </a:ext>
                </a:extLst>
              </p:cNvPr>
              <p:cNvSpPr/>
              <p:nvPr/>
            </p:nvSpPr>
            <p:spPr>
              <a:xfrm>
                <a:off x="10753973" y="3463968"/>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59" name="Google Shape;3593;p25">
                <a:extLst>
                  <a:ext uri="{FF2B5EF4-FFF2-40B4-BE49-F238E27FC236}">
                    <a16:creationId xmlns:a16="http://schemas.microsoft.com/office/drawing/2014/main" id="{7CE63B6B-C0ED-4B8D-AECC-035C19597B3C}"/>
                  </a:ext>
                </a:extLst>
              </p:cNvPr>
              <p:cNvSpPr/>
              <p:nvPr/>
            </p:nvSpPr>
            <p:spPr>
              <a:xfrm>
                <a:off x="10716222" y="3504026"/>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60" name="Google Shape;3594;p25">
                <a:extLst>
                  <a:ext uri="{FF2B5EF4-FFF2-40B4-BE49-F238E27FC236}">
                    <a16:creationId xmlns:a16="http://schemas.microsoft.com/office/drawing/2014/main" id="{05760499-A5FD-4C36-AD3D-72CFB03743AC}"/>
                  </a:ext>
                </a:extLst>
              </p:cNvPr>
              <p:cNvSpPr/>
              <p:nvPr/>
            </p:nvSpPr>
            <p:spPr>
              <a:xfrm>
                <a:off x="10756153" y="3463968"/>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61" name="Google Shape;3595;p25">
                <a:extLst>
                  <a:ext uri="{FF2B5EF4-FFF2-40B4-BE49-F238E27FC236}">
                    <a16:creationId xmlns:a16="http://schemas.microsoft.com/office/drawing/2014/main" id="{F549CBC6-CAA3-4162-901F-491B372A1240}"/>
                  </a:ext>
                </a:extLst>
              </p:cNvPr>
              <p:cNvSpPr/>
              <p:nvPr/>
            </p:nvSpPr>
            <p:spPr>
              <a:xfrm>
                <a:off x="10720660" y="3513563"/>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62" name="Google Shape;3596;p25">
                <a:extLst>
                  <a:ext uri="{FF2B5EF4-FFF2-40B4-BE49-F238E27FC236}">
                    <a16:creationId xmlns:a16="http://schemas.microsoft.com/office/drawing/2014/main" id="{37760B65-EB17-4EAA-8858-99E59AC83C10}"/>
                  </a:ext>
                </a:extLst>
              </p:cNvPr>
              <p:cNvSpPr/>
              <p:nvPr/>
            </p:nvSpPr>
            <p:spPr>
              <a:xfrm>
                <a:off x="10760486" y="3473398"/>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63" name="Google Shape;3597;p25">
                <a:extLst>
                  <a:ext uri="{FF2B5EF4-FFF2-40B4-BE49-F238E27FC236}">
                    <a16:creationId xmlns:a16="http://schemas.microsoft.com/office/drawing/2014/main" id="{6F5CBAE6-ED54-4956-B767-5B3497B77D61}"/>
                  </a:ext>
                </a:extLst>
              </p:cNvPr>
              <p:cNvSpPr/>
              <p:nvPr/>
            </p:nvSpPr>
            <p:spPr>
              <a:xfrm>
                <a:off x="10731609" y="3513563"/>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64" name="Google Shape;3598;p25">
                <a:extLst>
                  <a:ext uri="{FF2B5EF4-FFF2-40B4-BE49-F238E27FC236}">
                    <a16:creationId xmlns:a16="http://schemas.microsoft.com/office/drawing/2014/main" id="{658C7831-E9F8-4EE6-B589-B8D6767C5061}"/>
                  </a:ext>
                </a:extLst>
              </p:cNvPr>
              <p:cNvSpPr/>
              <p:nvPr/>
            </p:nvSpPr>
            <p:spPr>
              <a:xfrm>
                <a:off x="10771540" y="3473398"/>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65" name="Google Shape;3599;p25">
                <a:extLst>
                  <a:ext uri="{FF2B5EF4-FFF2-40B4-BE49-F238E27FC236}">
                    <a16:creationId xmlns:a16="http://schemas.microsoft.com/office/drawing/2014/main" id="{BCAED432-2E52-4E6F-8105-2EF717F24E68}"/>
                  </a:ext>
                </a:extLst>
              </p:cNvPr>
              <p:cNvSpPr/>
              <p:nvPr/>
            </p:nvSpPr>
            <p:spPr>
              <a:xfrm>
                <a:off x="10740407" y="3532923"/>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66" name="Google Shape;3600;p25">
                <a:extLst>
                  <a:ext uri="{FF2B5EF4-FFF2-40B4-BE49-F238E27FC236}">
                    <a16:creationId xmlns:a16="http://schemas.microsoft.com/office/drawing/2014/main" id="{A316E27C-A7BE-4975-947E-E2C8CBB62656}"/>
                  </a:ext>
                </a:extLst>
              </p:cNvPr>
              <p:cNvSpPr/>
              <p:nvPr/>
            </p:nvSpPr>
            <p:spPr>
              <a:xfrm>
                <a:off x="10780338" y="3492758"/>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67" name="Google Shape;3601;p25">
                <a:extLst>
                  <a:ext uri="{FF2B5EF4-FFF2-40B4-BE49-F238E27FC236}">
                    <a16:creationId xmlns:a16="http://schemas.microsoft.com/office/drawing/2014/main" id="{B7B5CDAC-58AC-4037-A7E7-BDDCD8987547}"/>
                  </a:ext>
                </a:extLst>
              </p:cNvPr>
              <p:cNvSpPr/>
              <p:nvPr/>
            </p:nvSpPr>
            <p:spPr>
              <a:xfrm>
                <a:off x="10755794" y="3552521"/>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68" name="Google Shape;3602;p25">
                <a:extLst>
                  <a:ext uri="{FF2B5EF4-FFF2-40B4-BE49-F238E27FC236}">
                    <a16:creationId xmlns:a16="http://schemas.microsoft.com/office/drawing/2014/main" id="{791EEA7F-53AF-48C5-AFFC-6A37DC7CCAB7}"/>
                  </a:ext>
                </a:extLst>
              </p:cNvPr>
              <p:cNvSpPr/>
              <p:nvPr/>
            </p:nvSpPr>
            <p:spPr>
              <a:xfrm>
                <a:off x="10795725" y="3512358"/>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69" name="Google Shape;3603;p25">
                <a:extLst>
                  <a:ext uri="{FF2B5EF4-FFF2-40B4-BE49-F238E27FC236}">
                    <a16:creationId xmlns:a16="http://schemas.microsoft.com/office/drawing/2014/main" id="{406F4504-C055-4138-A874-6E5AB8180626}"/>
                  </a:ext>
                </a:extLst>
              </p:cNvPr>
              <p:cNvSpPr/>
              <p:nvPr/>
            </p:nvSpPr>
            <p:spPr>
              <a:xfrm>
                <a:off x="10797572" y="3582369"/>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70" name="Google Shape;3604;p25">
                <a:extLst>
                  <a:ext uri="{FF2B5EF4-FFF2-40B4-BE49-F238E27FC236}">
                    <a16:creationId xmlns:a16="http://schemas.microsoft.com/office/drawing/2014/main" id="{C52817C6-750D-468F-B638-BA1ED7232DB0}"/>
                  </a:ext>
                </a:extLst>
              </p:cNvPr>
              <p:cNvSpPr/>
              <p:nvPr/>
            </p:nvSpPr>
            <p:spPr>
              <a:xfrm>
                <a:off x="10837503" y="3542203"/>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71" name="Google Shape;3605;p25">
                <a:extLst>
                  <a:ext uri="{FF2B5EF4-FFF2-40B4-BE49-F238E27FC236}">
                    <a16:creationId xmlns:a16="http://schemas.microsoft.com/office/drawing/2014/main" id="{0D9F8128-07C1-4473-883B-38DBF0F3F55A}"/>
                  </a:ext>
                </a:extLst>
              </p:cNvPr>
              <p:cNvSpPr/>
              <p:nvPr/>
            </p:nvSpPr>
            <p:spPr>
              <a:xfrm>
                <a:off x="10817396" y="3592510"/>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72" name="Google Shape;3606;p25">
                <a:extLst>
                  <a:ext uri="{FF2B5EF4-FFF2-40B4-BE49-F238E27FC236}">
                    <a16:creationId xmlns:a16="http://schemas.microsoft.com/office/drawing/2014/main" id="{A2C9D498-B714-424C-A651-C895AA6D66CA}"/>
                  </a:ext>
                </a:extLst>
              </p:cNvPr>
              <p:cNvSpPr/>
              <p:nvPr/>
            </p:nvSpPr>
            <p:spPr>
              <a:xfrm>
                <a:off x="10857248" y="3552452"/>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73" name="Google Shape;3607;p25">
                <a:extLst>
                  <a:ext uri="{FF2B5EF4-FFF2-40B4-BE49-F238E27FC236}">
                    <a16:creationId xmlns:a16="http://schemas.microsoft.com/office/drawing/2014/main" id="{753AA11C-4A9B-4AB5-B4D6-7EC481319103}"/>
                  </a:ext>
                </a:extLst>
              </p:cNvPr>
              <p:cNvSpPr/>
              <p:nvPr/>
            </p:nvSpPr>
            <p:spPr>
              <a:xfrm>
                <a:off x="10834990" y="3592510"/>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74" name="Google Shape;3608;p25">
                <a:extLst>
                  <a:ext uri="{FF2B5EF4-FFF2-40B4-BE49-F238E27FC236}">
                    <a16:creationId xmlns:a16="http://schemas.microsoft.com/office/drawing/2014/main" id="{F9AC9882-ED13-4BE6-8AB9-DE09C6D4B4B6}"/>
                  </a:ext>
                </a:extLst>
              </p:cNvPr>
              <p:cNvSpPr/>
              <p:nvPr/>
            </p:nvSpPr>
            <p:spPr>
              <a:xfrm>
                <a:off x="10874921" y="3552452"/>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75" name="Google Shape;3609;p25">
                <a:extLst>
                  <a:ext uri="{FF2B5EF4-FFF2-40B4-BE49-F238E27FC236}">
                    <a16:creationId xmlns:a16="http://schemas.microsoft.com/office/drawing/2014/main" id="{4726AA84-8CB8-4FBD-A01B-E415C30853B8}"/>
                  </a:ext>
                </a:extLst>
              </p:cNvPr>
              <p:cNvSpPr/>
              <p:nvPr/>
            </p:nvSpPr>
            <p:spPr>
              <a:xfrm>
                <a:off x="10863612" y="3623678"/>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76" name="Google Shape;3610;p25">
                <a:extLst>
                  <a:ext uri="{FF2B5EF4-FFF2-40B4-BE49-F238E27FC236}">
                    <a16:creationId xmlns:a16="http://schemas.microsoft.com/office/drawing/2014/main" id="{30373882-250F-4313-8E18-A7FF2707D6AA}"/>
                  </a:ext>
                </a:extLst>
              </p:cNvPr>
              <p:cNvSpPr/>
              <p:nvPr/>
            </p:nvSpPr>
            <p:spPr>
              <a:xfrm>
                <a:off x="10903437" y="3583513"/>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77" name="Google Shape;3611;p25">
                <a:extLst>
                  <a:ext uri="{FF2B5EF4-FFF2-40B4-BE49-F238E27FC236}">
                    <a16:creationId xmlns:a16="http://schemas.microsoft.com/office/drawing/2014/main" id="{4C47F990-80B7-46A1-9047-4B6227A2650A}"/>
                  </a:ext>
                </a:extLst>
              </p:cNvPr>
              <p:cNvSpPr/>
              <p:nvPr/>
            </p:nvSpPr>
            <p:spPr>
              <a:xfrm>
                <a:off x="10881204" y="3623678"/>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78" name="Google Shape;3612;p25">
                <a:extLst>
                  <a:ext uri="{FF2B5EF4-FFF2-40B4-BE49-F238E27FC236}">
                    <a16:creationId xmlns:a16="http://schemas.microsoft.com/office/drawing/2014/main" id="{35C98F97-5B74-4ACD-8F4C-CBE09B453076}"/>
                  </a:ext>
                </a:extLst>
              </p:cNvPr>
              <p:cNvSpPr/>
              <p:nvPr/>
            </p:nvSpPr>
            <p:spPr>
              <a:xfrm>
                <a:off x="10921030" y="3583513"/>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79" name="Google Shape;3613;p25">
                <a:extLst>
                  <a:ext uri="{FF2B5EF4-FFF2-40B4-BE49-F238E27FC236}">
                    <a16:creationId xmlns:a16="http://schemas.microsoft.com/office/drawing/2014/main" id="{988829F9-0B88-4338-A4A7-4F03BFEDAAB8}"/>
                  </a:ext>
                </a:extLst>
              </p:cNvPr>
              <p:cNvSpPr/>
              <p:nvPr/>
            </p:nvSpPr>
            <p:spPr>
              <a:xfrm>
                <a:off x="10914187" y="3655798"/>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80" name="Google Shape;3614;p25">
                <a:extLst>
                  <a:ext uri="{FF2B5EF4-FFF2-40B4-BE49-F238E27FC236}">
                    <a16:creationId xmlns:a16="http://schemas.microsoft.com/office/drawing/2014/main" id="{3ED13D6B-4B60-4D0D-A476-5BFD564F7E92}"/>
                  </a:ext>
                </a:extLst>
              </p:cNvPr>
              <p:cNvSpPr/>
              <p:nvPr/>
            </p:nvSpPr>
            <p:spPr>
              <a:xfrm>
                <a:off x="10954091" y="3615631"/>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81" name="Google Shape;3615;p25">
                <a:extLst>
                  <a:ext uri="{FF2B5EF4-FFF2-40B4-BE49-F238E27FC236}">
                    <a16:creationId xmlns:a16="http://schemas.microsoft.com/office/drawing/2014/main" id="{2404F5EA-92FA-4752-AF1A-11C421506CCE}"/>
                  </a:ext>
                </a:extLst>
              </p:cNvPr>
              <p:cNvSpPr/>
              <p:nvPr/>
            </p:nvSpPr>
            <p:spPr>
              <a:xfrm>
                <a:off x="10916340" y="3655798"/>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82" name="Google Shape;3616;p25">
                <a:extLst>
                  <a:ext uri="{FF2B5EF4-FFF2-40B4-BE49-F238E27FC236}">
                    <a16:creationId xmlns:a16="http://schemas.microsoft.com/office/drawing/2014/main" id="{A3A0DB86-0383-4511-9B21-42507D0622FF}"/>
                  </a:ext>
                </a:extLst>
              </p:cNvPr>
              <p:cNvSpPr/>
              <p:nvPr/>
            </p:nvSpPr>
            <p:spPr>
              <a:xfrm>
                <a:off x="10956271" y="3615631"/>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83" name="Google Shape;3617;p25">
                <a:extLst>
                  <a:ext uri="{FF2B5EF4-FFF2-40B4-BE49-F238E27FC236}">
                    <a16:creationId xmlns:a16="http://schemas.microsoft.com/office/drawing/2014/main" id="{04061156-0F88-4A02-9CF6-8C36F867782E}"/>
                  </a:ext>
                </a:extLst>
              </p:cNvPr>
              <p:cNvSpPr/>
              <p:nvPr/>
            </p:nvSpPr>
            <p:spPr>
              <a:xfrm>
                <a:off x="10938345" y="3655798"/>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84" name="Google Shape;3618;p25">
                <a:extLst>
                  <a:ext uri="{FF2B5EF4-FFF2-40B4-BE49-F238E27FC236}">
                    <a16:creationId xmlns:a16="http://schemas.microsoft.com/office/drawing/2014/main" id="{811E9CB3-DC01-449D-85BB-7DDDB4B32901}"/>
                  </a:ext>
                </a:extLst>
              </p:cNvPr>
              <p:cNvSpPr/>
              <p:nvPr/>
            </p:nvSpPr>
            <p:spPr>
              <a:xfrm>
                <a:off x="10978300" y="3615631"/>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85" name="Google Shape;3619;p25">
                <a:extLst>
                  <a:ext uri="{FF2B5EF4-FFF2-40B4-BE49-F238E27FC236}">
                    <a16:creationId xmlns:a16="http://schemas.microsoft.com/office/drawing/2014/main" id="{02E31697-5112-411C-881E-06C2FA8C13F3}"/>
                  </a:ext>
                </a:extLst>
              </p:cNvPr>
              <p:cNvSpPr/>
              <p:nvPr/>
            </p:nvSpPr>
            <p:spPr>
              <a:xfrm>
                <a:off x="10949320" y="3655798"/>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86" name="Google Shape;3620;p25">
                <a:extLst>
                  <a:ext uri="{FF2B5EF4-FFF2-40B4-BE49-F238E27FC236}">
                    <a16:creationId xmlns:a16="http://schemas.microsoft.com/office/drawing/2014/main" id="{D8928F3E-E128-46B3-B1F5-C7C8491AC6B7}"/>
                  </a:ext>
                </a:extLst>
              </p:cNvPr>
              <p:cNvSpPr/>
              <p:nvPr/>
            </p:nvSpPr>
            <p:spPr>
              <a:xfrm>
                <a:off x="10989251" y="3615631"/>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87" name="Google Shape;3621;p25">
                <a:extLst>
                  <a:ext uri="{FF2B5EF4-FFF2-40B4-BE49-F238E27FC236}">
                    <a16:creationId xmlns:a16="http://schemas.microsoft.com/office/drawing/2014/main" id="{BD929362-C615-404C-BB1E-3F090287B332}"/>
                  </a:ext>
                </a:extLst>
              </p:cNvPr>
              <p:cNvSpPr/>
              <p:nvPr/>
            </p:nvSpPr>
            <p:spPr>
              <a:xfrm>
                <a:off x="10955938" y="3655798"/>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88" name="Google Shape;3622;p25">
                <a:extLst>
                  <a:ext uri="{FF2B5EF4-FFF2-40B4-BE49-F238E27FC236}">
                    <a16:creationId xmlns:a16="http://schemas.microsoft.com/office/drawing/2014/main" id="{F76BA1E1-E153-485E-9E33-CAEDE26D877A}"/>
                  </a:ext>
                </a:extLst>
              </p:cNvPr>
              <p:cNvSpPr/>
              <p:nvPr/>
            </p:nvSpPr>
            <p:spPr>
              <a:xfrm>
                <a:off x="10995869" y="3615631"/>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89" name="Google Shape;3623;p25">
                <a:extLst>
                  <a:ext uri="{FF2B5EF4-FFF2-40B4-BE49-F238E27FC236}">
                    <a16:creationId xmlns:a16="http://schemas.microsoft.com/office/drawing/2014/main" id="{CCC44106-A24C-45E9-9C72-E805087F1912}"/>
                  </a:ext>
                </a:extLst>
              </p:cNvPr>
              <p:cNvSpPr/>
              <p:nvPr/>
            </p:nvSpPr>
            <p:spPr>
              <a:xfrm>
                <a:off x="10969147" y="3667075"/>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90" name="Google Shape;3624;p25">
                <a:extLst>
                  <a:ext uri="{FF2B5EF4-FFF2-40B4-BE49-F238E27FC236}">
                    <a16:creationId xmlns:a16="http://schemas.microsoft.com/office/drawing/2014/main" id="{94C8EB3E-A92A-4F89-9844-C82F1F22973D}"/>
                  </a:ext>
                </a:extLst>
              </p:cNvPr>
              <p:cNvSpPr/>
              <p:nvPr/>
            </p:nvSpPr>
            <p:spPr>
              <a:xfrm>
                <a:off x="11008998" y="3627016"/>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91" name="Google Shape;3625;p25">
                <a:extLst>
                  <a:ext uri="{FF2B5EF4-FFF2-40B4-BE49-F238E27FC236}">
                    <a16:creationId xmlns:a16="http://schemas.microsoft.com/office/drawing/2014/main" id="{5C05A6A1-F681-4ABF-B966-F2B856F7ED6A}"/>
                  </a:ext>
                </a:extLst>
              </p:cNvPr>
              <p:cNvSpPr/>
              <p:nvPr/>
            </p:nvSpPr>
            <p:spPr>
              <a:xfrm>
                <a:off x="10971325" y="3667075"/>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92" name="Google Shape;3626;p25">
                <a:extLst>
                  <a:ext uri="{FF2B5EF4-FFF2-40B4-BE49-F238E27FC236}">
                    <a16:creationId xmlns:a16="http://schemas.microsoft.com/office/drawing/2014/main" id="{57E1F8CE-2157-4148-A8FD-599345AB7213}"/>
                  </a:ext>
                </a:extLst>
              </p:cNvPr>
              <p:cNvSpPr/>
              <p:nvPr/>
            </p:nvSpPr>
            <p:spPr>
              <a:xfrm>
                <a:off x="11011256" y="3627016"/>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93" name="Google Shape;3627;p25">
                <a:extLst>
                  <a:ext uri="{FF2B5EF4-FFF2-40B4-BE49-F238E27FC236}">
                    <a16:creationId xmlns:a16="http://schemas.microsoft.com/office/drawing/2014/main" id="{753DF94A-23EA-4828-B583-56B4E32DAD3D}"/>
                  </a:ext>
                </a:extLst>
              </p:cNvPr>
              <p:cNvSpPr/>
              <p:nvPr/>
            </p:nvSpPr>
            <p:spPr>
              <a:xfrm>
                <a:off x="10977942" y="3667075"/>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94" name="Google Shape;3628;p25">
                <a:extLst>
                  <a:ext uri="{FF2B5EF4-FFF2-40B4-BE49-F238E27FC236}">
                    <a16:creationId xmlns:a16="http://schemas.microsoft.com/office/drawing/2014/main" id="{8B6B8BC3-D112-4F5B-B606-27EC1BA82169}"/>
                  </a:ext>
                </a:extLst>
              </p:cNvPr>
              <p:cNvSpPr/>
              <p:nvPr/>
            </p:nvSpPr>
            <p:spPr>
              <a:xfrm>
                <a:off x="11017872" y="3627016"/>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95" name="Google Shape;3629;p25">
                <a:extLst>
                  <a:ext uri="{FF2B5EF4-FFF2-40B4-BE49-F238E27FC236}">
                    <a16:creationId xmlns:a16="http://schemas.microsoft.com/office/drawing/2014/main" id="{5BC5CA3E-1BD1-464C-8838-D2879FAAAAEE}"/>
                  </a:ext>
                </a:extLst>
              </p:cNvPr>
              <p:cNvSpPr/>
              <p:nvPr/>
            </p:nvSpPr>
            <p:spPr>
              <a:xfrm>
                <a:off x="10984558" y="3667075"/>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96" name="Google Shape;3630;p25">
                <a:extLst>
                  <a:ext uri="{FF2B5EF4-FFF2-40B4-BE49-F238E27FC236}">
                    <a16:creationId xmlns:a16="http://schemas.microsoft.com/office/drawing/2014/main" id="{31C70AF8-0DBF-48E3-9516-F8FF6E158EF0}"/>
                  </a:ext>
                </a:extLst>
              </p:cNvPr>
              <p:cNvSpPr/>
              <p:nvPr/>
            </p:nvSpPr>
            <p:spPr>
              <a:xfrm>
                <a:off x="11024385" y="3627016"/>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97" name="Google Shape;3631;p25">
                <a:extLst>
                  <a:ext uri="{FF2B5EF4-FFF2-40B4-BE49-F238E27FC236}">
                    <a16:creationId xmlns:a16="http://schemas.microsoft.com/office/drawing/2014/main" id="{7E5D79A1-9E9F-4C55-9028-F358493B0DA7}"/>
                  </a:ext>
                </a:extLst>
              </p:cNvPr>
              <p:cNvSpPr/>
              <p:nvPr/>
            </p:nvSpPr>
            <p:spPr>
              <a:xfrm>
                <a:off x="10986740" y="3667075"/>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98" name="Google Shape;3632;p25">
                <a:extLst>
                  <a:ext uri="{FF2B5EF4-FFF2-40B4-BE49-F238E27FC236}">
                    <a16:creationId xmlns:a16="http://schemas.microsoft.com/office/drawing/2014/main" id="{07049B5F-5BC8-4804-81A5-CB46B204A127}"/>
                  </a:ext>
                </a:extLst>
              </p:cNvPr>
              <p:cNvSpPr/>
              <p:nvPr/>
            </p:nvSpPr>
            <p:spPr>
              <a:xfrm>
                <a:off x="11026670" y="3627016"/>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399" name="Google Shape;3633;p25">
                <a:extLst>
                  <a:ext uri="{FF2B5EF4-FFF2-40B4-BE49-F238E27FC236}">
                    <a16:creationId xmlns:a16="http://schemas.microsoft.com/office/drawing/2014/main" id="{ADFDFC8D-E00F-4025-9C38-C098C5614F93}"/>
                  </a:ext>
                </a:extLst>
              </p:cNvPr>
              <p:cNvSpPr/>
              <p:nvPr/>
            </p:nvSpPr>
            <p:spPr>
              <a:xfrm>
                <a:off x="10988919" y="3667075"/>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00" name="Google Shape;3634;p25">
                <a:extLst>
                  <a:ext uri="{FF2B5EF4-FFF2-40B4-BE49-F238E27FC236}">
                    <a16:creationId xmlns:a16="http://schemas.microsoft.com/office/drawing/2014/main" id="{4E36DA89-0A01-45ED-8B7C-C2FB9E790DD8}"/>
                  </a:ext>
                </a:extLst>
              </p:cNvPr>
              <p:cNvSpPr/>
              <p:nvPr/>
            </p:nvSpPr>
            <p:spPr>
              <a:xfrm>
                <a:off x="11028850" y="3627016"/>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01" name="Google Shape;3635;p25">
                <a:extLst>
                  <a:ext uri="{FF2B5EF4-FFF2-40B4-BE49-F238E27FC236}">
                    <a16:creationId xmlns:a16="http://schemas.microsoft.com/office/drawing/2014/main" id="{09F2EC47-244A-4C68-A6DB-DE3FEB2D488B}"/>
                  </a:ext>
                </a:extLst>
              </p:cNvPr>
              <p:cNvSpPr/>
              <p:nvPr/>
            </p:nvSpPr>
            <p:spPr>
              <a:xfrm>
                <a:off x="11002152" y="3667075"/>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02" name="Google Shape;3636;p25">
                <a:extLst>
                  <a:ext uri="{FF2B5EF4-FFF2-40B4-BE49-F238E27FC236}">
                    <a16:creationId xmlns:a16="http://schemas.microsoft.com/office/drawing/2014/main" id="{ADA542BC-5EF5-4E93-9F34-2E44169497AD}"/>
                  </a:ext>
                </a:extLst>
              </p:cNvPr>
              <p:cNvSpPr/>
              <p:nvPr/>
            </p:nvSpPr>
            <p:spPr>
              <a:xfrm>
                <a:off x="11042057" y="3627016"/>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03" name="Google Shape;3637;p25">
                <a:extLst>
                  <a:ext uri="{FF2B5EF4-FFF2-40B4-BE49-F238E27FC236}">
                    <a16:creationId xmlns:a16="http://schemas.microsoft.com/office/drawing/2014/main" id="{B93C86CC-002B-4D34-8954-329EA6A92598}"/>
                  </a:ext>
                </a:extLst>
              </p:cNvPr>
              <p:cNvSpPr/>
              <p:nvPr/>
            </p:nvSpPr>
            <p:spPr>
              <a:xfrm>
                <a:off x="11017541" y="3679595"/>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04" name="Google Shape;3638;p25">
                <a:extLst>
                  <a:ext uri="{FF2B5EF4-FFF2-40B4-BE49-F238E27FC236}">
                    <a16:creationId xmlns:a16="http://schemas.microsoft.com/office/drawing/2014/main" id="{D7D2102A-4375-4D4D-9F00-1F671AD25EA4}"/>
                  </a:ext>
                </a:extLst>
              </p:cNvPr>
              <p:cNvSpPr/>
              <p:nvPr/>
            </p:nvSpPr>
            <p:spPr>
              <a:xfrm>
                <a:off x="11057472" y="3639430"/>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05" name="Google Shape;3639;p25">
                <a:extLst>
                  <a:ext uri="{FF2B5EF4-FFF2-40B4-BE49-F238E27FC236}">
                    <a16:creationId xmlns:a16="http://schemas.microsoft.com/office/drawing/2014/main" id="{FD77A023-EBB7-4144-A5B3-51878293BD8F}"/>
                  </a:ext>
                </a:extLst>
              </p:cNvPr>
              <p:cNvSpPr/>
              <p:nvPr/>
            </p:nvSpPr>
            <p:spPr>
              <a:xfrm>
                <a:off x="11061472" y="3704900"/>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06" name="Google Shape;3640;p25">
                <a:extLst>
                  <a:ext uri="{FF2B5EF4-FFF2-40B4-BE49-F238E27FC236}">
                    <a16:creationId xmlns:a16="http://schemas.microsoft.com/office/drawing/2014/main" id="{9B1A6FF8-660E-4C45-B281-2BFE93159AFE}"/>
                  </a:ext>
                </a:extLst>
              </p:cNvPr>
              <p:cNvSpPr/>
              <p:nvPr/>
            </p:nvSpPr>
            <p:spPr>
              <a:xfrm>
                <a:off x="11101402" y="3664735"/>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07" name="Google Shape;3641;p25">
                <a:extLst>
                  <a:ext uri="{FF2B5EF4-FFF2-40B4-BE49-F238E27FC236}">
                    <a16:creationId xmlns:a16="http://schemas.microsoft.com/office/drawing/2014/main" id="{1A3CB302-7EF2-4B83-91E5-902A48F7DF48}"/>
                  </a:ext>
                </a:extLst>
              </p:cNvPr>
              <p:cNvSpPr/>
              <p:nvPr/>
            </p:nvSpPr>
            <p:spPr>
              <a:xfrm>
                <a:off x="11065908" y="3704900"/>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08" name="Google Shape;3642;p25">
                <a:extLst>
                  <a:ext uri="{FF2B5EF4-FFF2-40B4-BE49-F238E27FC236}">
                    <a16:creationId xmlns:a16="http://schemas.microsoft.com/office/drawing/2014/main" id="{7A287595-DC1A-460F-8845-54D9D8634787}"/>
                  </a:ext>
                </a:extLst>
              </p:cNvPr>
              <p:cNvSpPr/>
              <p:nvPr/>
            </p:nvSpPr>
            <p:spPr>
              <a:xfrm>
                <a:off x="11105839" y="3664735"/>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09" name="Google Shape;3643;p25">
                <a:extLst>
                  <a:ext uri="{FF2B5EF4-FFF2-40B4-BE49-F238E27FC236}">
                    <a16:creationId xmlns:a16="http://schemas.microsoft.com/office/drawing/2014/main" id="{EFF457B8-C470-4266-81C5-BE443FAC63CD}"/>
                  </a:ext>
                </a:extLst>
              </p:cNvPr>
              <p:cNvSpPr/>
              <p:nvPr/>
            </p:nvSpPr>
            <p:spPr>
              <a:xfrm>
                <a:off x="11074706" y="3704900"/>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10" name="Google Shape;3644;p25">
                <a:extLst>
                  <a:ext uri="{FF2B5EF4-FFF2-40B4-BE49-F238E27FC236}">
                    <a16:creationId xmlns:a16="http://schemas.microsoft.com/office/drawing/2014/main" id="{A4238FD4-EC29-44CA-AB61-D1F1B4263F5A}"/>
                  </a:ext>
                </a:extLst>
              </p:cNvPr>
              <p:cNvSpPr/>
              <p:nvPr/>
            </p:nvSpPr>
            <p:spPr>
              <a:xfrm>
                <a:off x="11114637" y="3664735"/>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11" name="Google Shape;3645;p25">
                <a:extLst>
                  <a:ext uri="{FF2B5EF4-FFF2-40B4-BE49-F238E27FC236}">
                    <a16:creationId xmlns:a16="http://schemas.microsoft.com/office/drawing/2014/main" id="{1752F291-0632-42C2-9D7D-070E709CF67F}"/>
                  </a:ext>
                </a:extLst>
              </p:cNvPr>
              <p:cNvSpPr/>
              <p:nvPr/>
            </p:nvSpPr>
            <p:spPr>
              <a:xfrm>
                <a:off x="11079143" y="3731234"/>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12" name="Google Shape;3646;p25">
                <a:extLst>
                  <a:ext uri="{FF2B5EF4-FFF2-40B4-BE49-F238E27FC236}">
                    <a16:creationId xmlns:a16="http://schemas.microsoft.com/office/drawing/2014/main" id="{2A52F7D1-011A-405E-ADCB-857D220EE14F}"/>
                  </a:ext>
                </a:extLst>
              </p:cNvPr>
              <p:cNvSpPr/>
              <p:nvPr/>
            </p:nvSpPr>
            <p:spPr>
              <a:xfrm>
                <a:off x="11118995" y="3691069"/>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13" name="Google Shape;3647;p25">
                <a:extLst>
                  <a:ext uri="{FF2B5EF4-FFF2-40B4-BE49-F238E27FC236}">
                    <a16:creationId xmlns:a16="http://schemas.microsoft.com/office/drawing/2014/main" id="{CC86CC83-9099-452C-B0D3-3C95C5D2970E}"/>
                  </a:ext>
                </a:extLst>
              </p:cNvPr>
              <p:cNvSpPr/>
              <p:nvPr/>
            </p:nvSpPr>
            <p:spPr>
              <a:xfrm>
                <a:off x="11090120" y="3731234"/>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14" name="Google Shape;3648;p25">
                <a:extLst>
                  <a:ext uri="{FF2B5EF4-FFF2-40B4-BE49-F238E27FC236}">
                    <a16:creationId xmlns:a16="http://schemas.microsoft.com/office/drawing/2014/main" id="{24376226-602B-4A81-975E-681131A3EBC1}"/>
                  </a:ext>
                </a:extLst>
              </p:cNvPr>
              <p:cNvSpPr/>
              <p:nvPr/>
            </p:nvSpPr>
            <p:spPr>
              <a:xfrm>
                <a:off x="11130024" y="3691069"/>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15" name="Google Shape;3649;p25">
                <a:extLst>
                  <a:ext uri="{FF2B5EF4-FFF2-40B4-BE49-F238E27FC236}">
                    <a16:creationId xmlns:a16="http://schemas.microsoft.com/office/drawing/2014/main" id="{CE58FBD9-4522-422B-9AD7-72FAA8804705}"/>
                  </a:ext>
                </a:extLst>
              </p:cNvPr>
              <p:cNvSpPr/>
              <p:nvPr/>
            </p:nvSpPr>
            <p:spPr>
              <a:xfrm>
                <a:off x="11096710" y="3731234"/>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16" name="Google Shape;3650;p25">
                <a:extLst>
                  <a:ext uri="{FF2B5EF4-FFF2-40B4-BE49-F238E27FC236}">
                    <a16:creationId xmlns:a16="http://schemas.microsoft.com/office/drawing/2014/main" id="{EA027B0F-CE18-41F3-B641-5F73652DBF14}"/>
                  </a:ext>
                </a:extLst>
              </p:cNvPr>
              <p:cNvSpPr/>
              <p:nvPr/>
            </p:nvSpPr>
            <p:spPr>
              <a:xfrm>
                <a:off x="11136562" y="3691069"/>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17" name="Google Shape;3651;p25">
                <a:extLst>
                  <a:ext uri="{FF2B5EF4-FFF2-40B4-BE49-F238E27FC236}">
                    <a16:creationId xmlns:a16="http://schemas.microsoft.com/office/drawing/2014/main" id="{C9F73124-05D4-4D15-80FC-138AA7D5C9C8}"/>
                  </a:ext>
                </a:extLst>
              </p:cNvPr>
              <p:cNvSpPr/>
              <p:nvPr/>
            </p:nvSpPr>
            <p:spPr>
              <a:xfrm>
                <a:off x="11101068" y="3731234"/>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18" name="Google Shape;3652;p25">
                <a:extLst>
                  <a:ext uri="{FF2B5EF4-FFF2-40B4-BE49-F238E27FC236}">
                    <a16:creationId xmlns:a16="http://schemas.microsoft.com/office/drawing/2014/main" id="{BBB78365-245C-445F-99C2-A652C6C3AB0D}"/>
                  </a:ext>
                </a:extLst>
              </p:cNvPr>
              <p:cNvSpPr/>
              <p:nvPr/>
            </p:nvSpPr>
            <p:spPr>
              <a:xfrm>
                <a:off x="11140998" y="3691069"/>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19" name="Google Shape;3653;p25">
                <a:extLst>
                  <a:ext uri="{FF2B5EF4-FFF2-40B4-BE49-F238E27FC236}">
                    <a16:creationId xmlns:a16="http://schemas.microsoft.com/office/drawing/2014/main" id="{1614C96B-1B64-4BBF-AEA2-0A8120096B81}"/>
                  </a:ext>
                </a:extLst>
              </p:cNvPr>
              <p:cNvSpPr/>
              <p:nvPr/>
            </p:nvSpPr>
            <p:spPr>
              <a:xfrm>
                <a:off x="11123100" y="3731234"/>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20" name="Google Shape;3654;p25">
                <a:extLst>
                  <a:ext uri="{FF2B5EF4-FFF2-40B4-BE49-F238E27FC236}">
                    <a16:creationId xmlns:a16="http://schemas.microsoft.com/office/drawing/2014/main" id="{5A77EE2F-3B45-4D38-9D9F-22F1DA33FB28}"/>
                  </a:ext>
                </a:extLst>
              </p:cNvPr>
              <p:cNvSpPr/>
              <p:nvPr/>
            </p:nvSpPr>
            <p:spPr>
              <a:xfrm>
                <a:off x="11163004" y="3691069"/>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21" name="Google Shape;3655;p25">
                <a:extLst>
                  <a:ext uri="{FF2B5EF4-FFF2-40B4-BE49-F238E27FC236}">
                    <a16:creationId xmlns:a16="http://schemas.microsoft.com/office/drawing/2014/main" id="{0E7D534C-2F67-464F-8C28-50E71741AE6D}"/>
                  </a:ext>
                </a:extLst>
              </p:cNvPr>
              <p:cNvSpPr/>
              <p:nvPr/>
            </p:nvSpPr>
            <p:spPr>
              <a:xfrm>
                <a:off x="11136309" y="3745418"/>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22" name="Google Shape;3656;p25">
                <a:extLst>
                  <a:ext uri="{FF2B5EF4-FFF2-40B4-BE49-F238E27FC236}">
                    <a16:creationId xmlns:a16="http://schemas.microsoft.com/office/drawing/2014/main" id="{D40CE9BF-08A9-438B-81E0-C269F26E7F0B}"/>
                  </a:ext>
                </a:extLst>
              </p:cNvPr>
              <p:cNvSpPr/>
              <p:nvPr/>
            </p:nvSpPr>
            <p:spPr>
              <a:xfrm>
                <a:off x="11176160" y="3705332"/>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23" name="Google Shape;3657;p25">
                <a:extLst>
                  <a:ext uri="{FF2B5EF4-FFF2-40B4-BE49-F238E27FC236}">
                    <a16:creationId xmlns:a16="http://schemas.microsoft.com/office/drawing/2014/main" id="{3C1427A7-9171-44A1-8D14-6C0AFB6BCD1E}"/>
                  </a:ext>
                </a:extLst>
              </p:cNvPr>
              <p:cNvSpPr/>
              <p:nvPr/>
            </p:nvSpPr>
            <p:spPr>
              <a:xfrm>
                <a:off x="11151696" y="3745418"/>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24" name="Google Shape;3658;p25">
                <a:extLst>
                  <a:ext uri="{FF2B5EF4-FFF2-40B4-BE49-F238E27FC236}">
                    <a16:creationId xmlns:a16="http://schemas.microsoft.com/office/drawing/2014/main" id="{56303362-5271-41B3-A8D5-7DE476015BB1}"/>
                  </a:ext>
                </a:extLst>
              </p:cNvPr>
              <p:cNvSpPr/>
              <p:nvPr/>
            </p:nvSpPr>
            <p:spPr>
              <a:xfrm>
                <a:off x="11191547" y="3705332"/>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25" name="Google Shape;3659;p25">
                <a:extLst>
                  <a:ext uri="{FF2B5EF4-FFF2-40B4-BE49-F238E27FC236}">
                    <a16:creationId xmlns:a16="http://schemas.microsoft.com/office/drawing/2014/main" id="{DB15607F-E6DF-4819-BFF6-358C4458DE33}"/>
                  </a:ext>
                </a:extLst>
              </p:cNvPr>
              <p:cNvSpPr/>
              <p:nvPr/>
            </p:nvSpPr>
            <p:spPr>
              <a:xfrm>
                <a:off x="11153823" y="3745418"/>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26" name="Google Shape;3660;p25">
                <a:extLst>
                  <a:ext uri="{FF2B5EF4-FFF2-40B4-BE49-F238E27FC236}">
                    <a16:creationId xmlns:a16="http://schemas.microsoft.com/office/drawing/2014/main" id="{D6A92FF3-55B8-4D21-991E-25CC62C717FD}"/>
                  </a:ext>
                </a:extLst>
              </p:cNvPr>
              <p:cNvSpPr/>
              <p:nvPr/>
            </p:nvSpPr>
            <p:spPr>
              <a:xfrm>
                <a:off x="11193754" y="3705332"/>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27" name="Google Shape;3661;p25">
                <a:extLst>
                  <a:ext uri="{FF2B5EF4-FFF2-40B4-BE49-F238E27FC236}">
                    <a16:creationId xmlns:a16="http://schemas.microsoft.com/office/drawing/2014/main" id="{7FFD6818-EA9C-4B45-AFD3-DE79649C5AAD}"/>
                  </a:ext>
                </a:extLst>
              </p:cNvPr>
              <p:cNvSpPr/>
              <p:nvPr/>
            </p:nvSpPr>
            <p:spPr>
              <a:xfrm>
                <a:off x="11156002" y="3745418"/>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28" name="Google Shape;3662;p25">
                <a:extLst>
                  <a:ext uri="{FF2B5EF4-FFF2-40B4-BE49-F238E27FC236}">
                    <a16:creationId xmlns:a16="http://schemas.microsoft.com/office/drawing/2014/main" id="{71CDE9AB-335A-4B4D-A44D-9888BD2D5D77}"/>
                  </a:ext>
                </a:extLst>
              </p:cNvPr>
              <p:cNvSpPr/>
              <p:nvPr/>
            </p:nvSpPr>
            <p:spPr>
              <a:xfrm>
                <a:off x="11195933" y="3705332"/>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29" name="Google Shape;3663;p25">
                <a:extLst>
                  <a:ext uri="{FF2B5EF4-FFF2-40B4-BE49-F238E27FC236}">
                    <a16:creationId xmlns:a16="http://schemas.microsoft.com/office/drawing/2014/main" id="{139EC09E-C42F-4FA9-A9E0-3C0C551F734F}"/>
                  </a:ext>
                </a:extLst>
              </p:cNvPr>
              <p:cNvSpPr/>
              <p:nvPr/>
            </p:nvSpPr>
            <p:spPr>
              <a:xfrm>
                <a:off x="11167056" y="3745418"/>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30" name="Google Shape;3664;p25">
                <a:extLst>
                  <a:ext uri="{FF2B5EF4-FFF2-40B4-BE49-F238E27FC236}">
                    <a16:creationId xmlns:a16="http://schemas.microsoft.com/office/drawing/2014/main" id="{8942BDAC-59DA-45D1-89F5-C32DC8A2ADAF}"/>
                  </a:ext>
                </a:extLst>
              </p:cNvPr>
              <p:cNvSpPr/>
              <p:nvPr/>
            </p:nvSpPr>
            <p:spPr>
              <a:xfrm>
                <a:off x="11206907" y="3705332"/>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31" name="Google Shape;3665;p25">
                <a:extLst>
                  <a:ext uri="{FF2B5EF4-FFF2-40B4-BE49-F238E27FC236}">
                    <a16:creationId xmlns:a16="http://schemas.microsoft.com/office/drawing/2014/main" id="{D018A9DB-560E-4791-8EE8-5F2258E690EC}"/>
                  </a:ext>
                </a:extLst>
              </p:cNvPr>
              <p:cNvSpPr/>
              <p:nvPr/>
            </p:nvSpPr>
            <p:spPr>
              <a:xfrm>
                <a:off x="11169237" y="3745418"/>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32" name="Google Shape;3666;p25">
                <a:extLst>
                  <a:ext uri="{FF2B5EF4-FFF2-40B4-BE49-F238E27FC236}">
                    <a16:creationId xmlns:a16="http://schemas.microsoft.com/office/drawing/2014/main" id="{65937DAF-AE54-483C-979B-92A0F4B4F715}"/>
                  </a:ext>
                </a:extLst>
              </p:cNvPr>
              <p:cNvSpPr/>
              <p:nvPr/>
            </p:nvSpPr>
            <p:spPr>
              <a:xfrm>
                <a:off x="11209167" y="3705332"/>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33" name="Google Shape;3667;p25">
                <a:extLst>
                  <a:ext uri="{FF2B5EF4-FFF2-40B4-BE49-F238E27FC236}">
                    <a16:creationId xmlns:a16="http://schemas.microsoft.com/office/drawing/2014/main" id="{930FD7E1-AA9F-4881-887D-6CE6654B0476}"/>
                  </a:ext>
                </a:extLst>
              </p:cNvPr>
              <p:cNvSpPr/>
              <p:nvPr/>
            </p:nvSpPr>
            <p:spPr>
              <a:xfrm>
                <a:off x="11202218" y="3761451"/>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34" name="Google Shape;3668;p25">
                <a:extLst>
                  <a:ext uri="{FF2B5EF4-FFF2-40B4-BE49-F238E27FC236}">
                    <a16:creationId xmlns:a16="http://schemas.microsoft.com/office/drawing/2014/main" id="{6FB12AC2-3BC5-4A93-A5C8-5F048A51D533}"/>
                  </a:ext>
                </a:extLst>
              </p:cNvPr>
              <p:cNvSpPr/>
              <p:nvPr/>
            </p:nvSpPr>
            <p:spPr>
              <a:xfrm>
                <a:off x="11242148" y="3721259"/>
                <a:ext cx="0" cy="80856"/>
              </a:xfrm>
              <a:custGeom>
                <a:avLst/>
                <a:gdLst/>
                <a:ahLst/>
                <a:cxnLst/>
                <a:rect l="l" t="t" r="r" b="b"/>
                <a:pathLst>
                  <a:path w="120000" h="29210" extrusionOk="0">
                    <a:moveTo>
                      <a:pt x="0" y="28968"/>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35" name="Google Shape;3669;p25">
                <a:extLst>
                  <a:ext uri="{FF2B5EF4-FFF2-40B4-BE49-F238E27FC236}">
                    <a16:creationId xmlns:a16="http://schemas.microsoft.com/office/drawing/2014/main" id="{9913F608-7992-4BFA-B4B4-928C89D92623}"/>
                  </a:ext>
                </a:extLst>
              </p:cNvPr>
              <p:cNvSpPr/>
              <p:nvPr/>
            </p:nvSpPr>
            <p:spPr>
              <a:xfrm>
                <a:off x="11219783" y="3761451"/>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36" name="Google Shape;3670;p25">
                <a:extLst>
                  <a:ext uri="{FF2B5EF4-FFF2-40B4-BE49-F238E27FC236}">
                    <a16:creationId xmlns:a16="http://schemas.microsoft.com/office/drawing/2014/main" id="{6458674A-7762-496C-BE83-C01CA05C4850}"/>
                  </a:ext>
                </a:extLst>
              </p:cNvPr>
              <p:cNvSpPr/>
              <p:nvPr/>
            </p:nvSpPr>
            <p:spPr>
              <a:xfrm>
                <a:off x="11259714" y="3721259"/>
                <a:ext cx="0" cy="80856"/>
              </a:xfrm>
              <a:custGeom>
                <a:avLst/>
                <a:gdLst/>
                <a:ahLst/>
                <a:cxnLst/>
                <a:rect l="l" t="t" r="r" b="b"/>
                <a:pathLst>
                  <a:path w="120000" h="29210" extrusionOk="0">
                    <a:moveTo>
                      <a:pt x="0" y="28968"/>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37" name="Google Shape;3671;p25">
                <a:extLst>
                  <a:ext uri="{FF2B5EF4-FFF2-40B4-BE49-F238E27FC236}">
                    <a16:creationId xmlns:a16="http://schemas.microsoft.com/office/drawing/2014/main" id="{B63ACF70-BD06-4E18-9964-97771FC77208}"/>
                  </a:ext>
                </a:extLst>
              </p:cNvPr>
              <p:cNvSpPr/>
              <p:nvPr/>
            </p:nvSpPr>
            <p:spPr>
              <a:xfrm>
                <a:off x="11228581" y="3761451"/>
                <a:ext cx="80383" cy="0"/>
              </a:xfrm>
              <a:custGeom>
                <a:avLst/>
                <a:gdLst/>
                <a:ahLst/>
                <a:cxnLst/>
                <a:rect l="l" t="t" r="r" b="b"/>
                <a:pathLst>
                  <a:path w="29210" h="120000" extrusionOk="0">
                    <a:moveTo>
                      <a:pt x="0" y="0"/>
                    </a:moveTo>
                    <a:lnTo>
                      <a:pt x="28943"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38" name="Google Shape;3672;p25">
                <a:extLst>
                  <a:ext uri="{FF2B5EF4-FFF2-40B4-BE49-F238E27FC236}">
                    <a16:creationId xmlns:a16="http://schemas.microsoft.com/office/drawing/2014/main" id="{78B83ED9-86AB-45A4-AA6D-D4F00FFB3724}"/>
                  </a:ext>
                </a:extLst>
              </p:cNvPr>
              <p:cNvSpPr/>
              <p:nvPr/>
            </p:nvSpPr>
            <p:spPr>
              <a:xfrm>
                <a:off x="11268512" y="3721259"/>
                <a:ext cx="0" cy="80856"/>
              </a:xfrm>
              <a:custGeom>
                <a:avLst/>
                <a:gdLst/>
                <a:ahLst/>
                <a:cxnLst/>
                <a:rect l="l" t="t" r="r" b="b"/>
                <a:pathLst>
                  <a:path w="120000" h="29210" extrusionOk="0">
                    <a:moveTo>
                      <a:pt x="0" y="28968"/>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39" name="Google Shape;3673;p25">
                <a:extLst>
                  <a:ext uri="{FF2B5EF4-FFF2-40B4-BE49-F238E27FC236}">
                    <a16:creationId xmlns:a16="http://schemas.microsoft.com/office/drawing/2014/main" id="{D1182B74-5419-4565-80F7-88156FB1752C}"/>
                  </a:ext>
                </a:extLst>
              </p:cNvPr>
              <p:cNvSpPr/>
              <p:nvPr/>
            </p:nvSpPr>
            <p:spPr>
              <a:xfrm>
                <a:off x="11233019" y="3761451"/>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40" name="Google Shape;3674;p25">
                <a:extLst>
                  <a:ext uri="{FF2B5EF4-FFF2-40B4-BE49-F238E27FC236}">
                    <a16:creationId xmlns:a16="http://schemas.microsoft.com/office/drawing/2014/main" id="{08026315-C6D0-449B-AEBB-D06CB2BC3FA5}"/>
                  </a:ext>
                </a:extLst>
              </p:cNvPr>
              <p:cNvSpPr/>
              <p:nvPr/>
            </p:nvSpPr>
            <p:spPr>
              <a:xfrm>
                <a:off x="11272844" y="3721259"/>
                <a:ext cx="0" cy="80856"/>
              </a:xfrm>
              <a:custGeom>
                <a:avLst/>
                <a:gdLst/>
                <a:ahLst/>
                <a:cxnLst/>
                <a:rect l="l" t="t" r="r" b="b"/>
                <a:pathLst>
                  <a:path w="120000" h="29210" extrusionOk="0">
                    <a:moveTo>
                      <a:pt x="0" y="28968"/>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41" name="Google Shape;3675;p25">
                <a:extLst>
                  <a:ext uri="{FF2B5EF4-FFF2-40B4-BE49-F238E27FC236}">
                    <a16:creationId xmlns:a16="http://schemas.microsoft.com/office/drawing/2014/main" id="{1F13EEEB-95FD-4DE8-885A-5C17EEBE473E}"/>
                  </a:ext>
                </a:extLst>
              </p:cNvPr>
              <p:cNvSpPr/>
              <p:nvPr/>
            </p:nvSpPr>
            <p:spPr>
              <a:xfrm>
                <a:off x="11237377" y="3761451"/>
                <a:ext cx="80383" cy="0"/>
              </a:xfrm>
              <a:custGeom>
                <a:avLst/>
                <a:gdLst/>
                <a:ahLst/>
                <a:cxnLst/>
                <a:rect l="l" t="t" r="r" b="b"/>
                <a:pathLst>
                  <a:path w="29210" h="120000" extrusionOk="0">
                    <a:moveTo>
                      <a:pt x="0" y="0"/>
                    </a:moveTo>
                    <a:lnTo>
                      <a:pt x="28943"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42" name="Google Shape;3676;p25">
                <a:extLst>
                  <a:ext uri="{FF2B5EF4-FFF2-40B4-BE49-F238E27FC236}">
                    <a16:creationId xmlns:a16="http://schemas.microsoft.com/office/drawing/2014/main" id="{BB082062-59C3-401D-99F2-838340131F0F}"/>
                  </a:ext>
                </a:extLst>
              </p:cNvPr>
              <p:cNvSpPr/>
              <p:nvPr/>
            </p:nvSpPr>
            <p:spPr>
              <a:xfrm>
                <a:off x="11277281" y="3721259"/>
                <a:ext cx="0" cy="80856"/>
              </a:xfrm>
              <a:custGeom>
                <a:avLst/>
                <a:gdLst/>
                <a:ahLst/>
                <a:cxnLst/>
                <a:rect l="l" t="t" r="r" b="b"/>
                <a:pathLst>
                  <a:path w="120000" h="29210" extrusionOk="0">
                    <a:moveTo>
                      <a:pt x="0" y="28968"/>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43" name="Google Shape;3677;p25">
                <a:extLst>
                  <a:ext uri="{FF2B5EF4-FFF2-40B4-BE49-F238E27FC236}">
                    <a16:creationId xmlns:a16="http://schemas.microsoft.com/office/drawing/2014/main" id="{674E45F1-1D32-457F-B25B-F92E828EA512}"/>
                  </a:ext>
                </a:extLst>
              </p:cNvPr>
              <p:cNvSpPr/>
              <p:nvPr/>
            </p:nvSpPr>
            <p:spPr>
              <a:xfrm>
                <a:off x="11274770" y="3779042"/>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44" name="Google Shape;3678;p25">
                <a:extLst>
                  <a:ext uri="{FF2B5EF4-FFF2-40B4-BE49-F238E27FC236}">
                    <a16:creationId xmlns:a16="http://schemas.microsoft.com/office/drawing/2014/main" id="{AC58FFC9-F266-4CFC-8735-CCFCB11322C9}"/>
                  </a:ext>
                </a:extLst>
              </p:cNvPr>
              <p:cNvSpPr/>
              <p:nvPr/>
            </p:nvSpPr>
            <p:spPr>
              <a:xfrm>
                <a:off x="11314728" y="3738876"/>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45" name="Google Shape;3679;p25">
                <a:extLst>
                  <a:ext uri="{FF2B5EF4-FFF2-40B4-BE49-F238E27FC236}">
                    <a16:creationId xmlns:a16="http://schemas.microsoft.com/office/drawing/2014/main" id="{569321F8-6112-4ACE-9BDC-BDF667C1C855}"/>
                  </a:ext>
                </a:extLst>
              </p:cNvPr>
              <p:cNvSpPr/>
              <p:nvPr/>
            </p:nvSpPr>
            <p:spPr>
              <a:xfrm>
                <a:off x="11292363" y="3814909"/>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46" name="Google Shape;3680;p25">
                <a:extLst>
                  <a:ext uri="{FF2B5EF4-FFF2-40B4-BE49-F238E27FC236}">
                    <a16:creationId xmlns:a16="http://schemas.microsoft.com/office/drawing/2014/main" id="{59F9A872-4E28-4B3A-9ACA-21E62C29015E}"/>
                  </a:ext>
                </a:extLst>
              </p:cNvPr>
              <p:cNvSpPr/>
              <p:nvPr/>
            </p:nvSpPr>
            <p:spPr>
              <a:xfrm>
                <a:off x="11332293" y="3774745"/>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47" name="Google Shape;3681;p25">
                <a:extLst>
                  <a:ext uri="{FF2B5EF4-FFF2-40B4-BE49-F238E27FC236}">
                    <a16:creationId xmlns:a16="http://schemas.microsoft.com/office/drawing/2014/main" id="{46A817E8-282F-4F04-AF3F-2AB6D1217A66}"/>
                  </a:ext>
                </a:extLst>
              </p:cNvPr>
              <p:cNvSpPr/>
              <p:nvPr/>
            </p:nvSpPr>
            <p:spPr>
              <a:xfrm>
                <a:off x="11345169" y="3833295"/>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48" name="Google Shape;3682;p25">
                <a:extLst>
                  <a:ext uri="{FF2B5EF4-FFF2-40B4-BE49-F238E27FC236}">
                    <a16:creationId xmlns:a16="http://schemas.microsoft.com/office/drawing/2014/main" id="{8EC5FCB3-2DFE-4BB6-AEC3-A5CC60442786}"/>
                  </a:ext>
                </a:extLst>
              </p:cNvPr>
              <p:cNvSpPr/>
              <p:nvPr/>
            </p:nvSpPr>
            <p:spPr>
              <a:xfrm>
                <a:off x="11385100" y="3793128"/>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49" name="Google Shape;3683;p25">
                <a:extLst>
                  <a:ext uri="{FF2B5EF4-FFF2-40B4-BE49-F238E27FC236}">
                    <a16:creationId xmlns:a16="http://schemas.microsoft.com/office/drawing/2014/main" id="{B5834B6F-A93C-45FD-8D56-3C20AB494AA9}"/>
                  </a:ext>
                </a:extLst>
              </p:cNvPr>
              <p:cNvSpPr/>
              <p:nvPr/>
            </p:nvSpPr>
            <p:spPr>
              <a:xfrm>
                <a:off x="11360584" y="3833295"/>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50" name="Google Shape;3684;p25">
                <a:extLst>
                  <a:ext uri="{FF2B5EF4-FFF2-40B4-BE49-F238E27FC236}">
                    <a16:creationId xmlns:a16="http://schemas.microsoft.com/office/drawing/2014/main" id="{BCED64B8-6B02-4796-BAAA-1DA7805D47DB}"/>
                  </a:ext>
                </a:extLst>
              </p:cNvPr>
              <p:cNvSpPr/>
              <p:nvPr/>
            </p:nvSpPr>
            <p:spPr>
              <a:xfrm>
                <a:off x="11400409" y="3793128"/>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51" name="Google Shape;3685;p25">
                <a:extLst>
                  <a:ext uri="{FF2B5EF4-FFF2-40B4-BE49-F238E27FC236}">
                    <a16:creationId xmlns:a16="http://schemas.microsoft.com/office/drawing/2014/main" id="{86485697-3A90-4FA5-AF92-8DAE26BAFF93}"/>
                  </a:ext>
                </a:extLst>
              </p:cNvPr>
              <p:cNvSpPr/>
              <p:nvPr/>
            </p:nvSpPr>
            <p:spPr>
              <a:xfrm>
                <a:off x="11384767" y="3833295"/>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52" name="Google Shape;3686;p25">
                <a:extLst>
                  <a:ext uri="{FF2B5EF4-FFF2-40B4-BE49-F238E27FC236}">
                    <a16:creationId xmlns:a16="http://schemas.microsoft.com/office/drawing/2014/main" id="{0CF81FA2-1D71-4A19-A3DF-D6F8CF5EA24C}"/>
                  </a:ext>
                </a:extLst>
              </p:cNvPr>
              <p:cNvSpPr/>
              <p:nvPr/>
            </p:nvSpPr>
            <p:spPr>
              <a:xfrm>
                <a:off x="11424618" y="3793128"/>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53" name="Google Shape;3687;p25">
                <a:extLst>
                  <a:ext uri="{FF2B5EF4-FFF2-40B4-BE49-F238E27FC236}">
                    <a16:creationId xmlns:a16="http://schemas.microsoft.com/office/drawing/2014/main" id="{DBD0C24C-98C3-44AC-91E9-FA86EAB1360F}"/>
                  </a:ext>
                </a:extLst>
              </p:cNvPr>
              <p:cNvSpPr/>
              <p:nvPr/>
            </p:nvSpPr>
            <p:spPr>
              <a:xfrm>
                <a:off x="11391385" y="3833295"/>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54" name="Google Shape;3688;p25">
                <a:extLst>
                  <a:ext uri="{FF2B5EF4-FFF2-40B4-BE49-F238E27FC236}">
                    <a16:creationId xmlns:a16="http://schemas.microsoft.com/office/drawing/2014/main" id="{C3FC4B6B-1214-4A40-9748-6680F83ECAAC}"/>
                  </a:ext>
                </a:extLst>
              </p:cNvPr>
              <p:cNvSpPr/>
              <p:nvPr/>
            </p:nvSpPr>
            <p:spPr>
              <a:xfrm>
                <a:off x="11431237" y="3793128"/>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55" name="Google Shape;3689;p25">
                <a:extLst>
                  <a:ext uri="{FF2B5EF4-FFF2-40B4-BE49-F238E27FC236}">
                    <a16:creationId xmlns:a16="http://schemas.microsoft.com/office/drawing/2014/main" id="{C238C2EE-0E14-44DE-BE5C-FAC05C62959F}"/>
                  </a:ext>
                </a:extLst>
              </p:cNvPr>
              <p:cNvSpPr/>
              <p:nvPr/>
            </p:nvSpPr>
            <p:spPr>
              <a:xfrm>
                <a:off x="11393565" y="3833295"/>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56" name="Google Shape;3690;p25">
                <a:extLst>
                  <a:ext uri="{FF2B5EF4-FFF2-40B4-BE49-F238E27FC236}">
                    <a16:creationId xmlns:a16="http://schemas.microsoft.com/office/drawing/2014/main" id="{03198979-5971-4773-8F53-81337C51E28E}"/>
                  </a:ext>
                </a:extLst>
              </p:cNvPr>
              <p:cNvSpPr/>
              <p:nvPr/>
            </p:nvSpPr>
            <p:spPr>
              <a:xfrm>
                <a:off x="11433494" y="3793128"/>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57" name="Google Shape;3691;p25">
                <a:extLst>
                  <a:ext uri="{FF2B5EF4-FFF2-40B4-BE49-F238E27FC236}">
                    <a16:creationId xmlns:a16="http://schemas.microsoft.com/office/drawing/2014/main" id="{8A0C9859-CC87-4583-86A9-B387F4D740A8}"/>
                  </a:ext>
                </a:extLst>
              </p:cNvPr>
              <p:cNvSpPr/>
              <p:nvPr/>
            </p:nvSpPr>
            <p:spPr>
              <a:xfrm>
                <a:off x="11415568" y="3833295"/>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58" name="Google Shape;3692;p25">
                <a:extLst>
                  <a:ext uri="{FF2B5EF4-FFF2-40B4-BE49-F238E27FC236}">
                    <a16:creationId xmlns:a16="http://schemas.microsoft.com/office/drawing/2014/main" id="{D1FA4BC6-5B47-4380-A880-44B13F720F71}"/>
                  </a:ext>
                </a:extLst>
              </p:cNvPr>
              <p:cNvSpPr/>
              <p:nvPr/>
            </p:nvSpPr>
            <p:spPr>
              <a:xfrm>
                <a:off x="11455395" y="3793128"/>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59" name="Google Shape;3693;p25">
                <a:extLst>
                  <a:ext uri="{FF2B5EF4-FFF2-40B4-BE49-F238E27FC236}">
                    <a16:creationId xmlns:a16="http://schemas.microsoft.com/office/drawing/2014/main" id="{66F418BF-F74E-4064-99E7-5A3EC651B7E6}"/>
                  </a:ext>
                </a:extLst>
              </p:cNvPr>
              <p:cNvSpPr/>
              <p:nvPr/>
            </p:nvSpPr>
            <p:spPr>
              <a:xfrm>
                <a:off x="11433136" y="3833295"/>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60" name="Google Shape;3694;p25">
                <a:extLst>
                  <a:ext uri="{FF2B5EF4-FFF2-40B4-BE49-F238E27FC236}">
                    <a16:creationId xmlns:a16="http://schemas.microsoft.com/office/drawing/2014/main" id="{67F53242-FFD1-448E-B24D-9C9FE118E393}"/>
                  </a:ext>
                </a:extLst>
              </p:cNvPr>
              <p:cNvSpPr/>
              <p:nvPr/>
            </p:nvSpPr>
            <p:spPr>
              <a:xfrm>
                <a:off x="11473066" y="3793128"/>
                <a:ext cx="0" cy="80856"/>
              </a:xfrm>
              <a:custGeom>
                <a:avLst/>
                <a:gdLst/>
                <a:ahLst/>
                <a:cxnLst/>
                <a:rect l="l" t="t" r="r" b="b"/>
                <a:pathLst>
                  <a:path w="120000" h="29210" extrusionOk="0">
                    <a:moveTo>
                      <a:pt x="0" y="2890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61" name="Google Shape;3695;p25">
                <a:extLst>
                  <a:ext uri="{FF2B5EF4-FFF2-40B4-BE49-F238E27FC236}">
                    <a16:creationId xmlns:a16="http://schemas.microsoft.com/office/drawing/2014/main" id="{8F6CD285-B72D-4845-BE04-2EF53215E257}"/>
                  </a:ext>
                </a:extLst>
              </p:cNvPr>
              <p:cNvSpPr/>
              <p:nvPr/>
            </p:nvSpPr>
            <p:spPr>
              <a:xfrm>
                <a:off x="11446368" y="3855084"/>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62" name="Google Shape;3696;p25">
                <a:extLst>
                  <a:ext uri="{FF2B5EF4-FFF2-40B4-BE49-F238E27FC236}">
                    <a16:creationId xmlns:a16="http://schemas.microsoft.com/office/drawing/2014/main" id="{22835EF7-F0EB-46FE-85C1-692AD141FE10}"/>
                  </a:ext>
                </a:extLst>
              </p:cNvPr>
              <p:cNvSpPr/>
              <p:nvPr/>
            </p:nvSpPr>
            <p:spPr>
              <a:xfrm>
                <a:off x="11486196" y="3814920"/>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63" name="Google Shape;3697;p25">
                <a:extLst>
                  <a:ext uri="{FF2B5EF4-FFF2-40B4-BE49-F238E27FC236}">
                    <a16:creationId xmlns:a16="http://schemas.microsoft.com/office/drawing/2014/main" id="{A2572D3D-0D4A-43C8-94D2-94D0EC820239}"/>
                  </a:ext>
                </a:extLst>
              </p:cNvPr>
              <p:cNvSpPr/>
              <p:nvPr/>
            </p:nvSpPr>
            <p:spPr>
              <a:xfrm>
                <a:off x="11448548" y="3855084"/>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64" name="Google Shape;3698;p25">
                <a:extLst>
                  <a:ext uri="{FF2B5EF4-FFF2-40B4-BE49-F238E27FC236}">
                    <a16:creationId xmlns:a16="http://schemas.microsoft.com/office/drawing/2014/main" id="{2B5F53ED-F2DE-4E29-B29C-92B9EA945CB4}"/>
                  </a:ext>
                </a:extLst>
              </p:cNvPr>
              <p:cNvSpPr/>
              <p:nvPr/>
            </p:nvSpPr>
            <p:spPr>
              <a:xfrm>
                <a:off x="11488375" y="3814920"/>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65" name="Google Shape;3699;p25">
                <a:extLst>
                  <a:ext uri="{FF2B5EF4-FFF2-40B4-BE49-F238E27FC236}">
                    <a16:creationId xmlns:a16="http://schemas.microsoft.com/office/drawing/2014/main" id="{8A60452F-CA03-454F-A41F-0C6ED1904DA7}"/>
                  </a:ext>
                </a:extLst>
              </p:cNvPr>
              <p:cNvSpPr/>
              <p:nvPr/>
            </p:nvSpPr>
            <p:spPr>
              <a:xfrm>
                <a:off x="11461677" y="3855084"/>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66" name="Google Shape;3700;p25">
                <a:extLst>
                  <a:ext uri="{FF2B5EF4-FFF2-40B4-BE49-F238E27FC236}">
                    <a16:creationId xmlns:a16="http://schemas.microsoft.com/office/drawing/2014/main" id="{4E56EEF3-2A4F-457C-9F93-EBF9A25531B9}"/>
                  </a:ext>
                </a:extLst>
              </p:cNvPr>
              <p:cNvSpPr/>
              <p:nvPr/>
            </p:nvSpPr>
            <p:spPr>
              <a:xfrm>
                <a:off x="11501608" y="3814920"/>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67" name="Google Shape;3701;p25">
                <a:extLst>
                  <a:ext uri="{FF2B5EF4-FFF2-40B4-BE49-F238E27FC236}">
                    <a16:creationId xmlns:a16="http://schemas.microsoft.com/office/drawing/2014/main" id="{CA31E76F-0508-450D-8E9E-19471FD0DE1B}"/>
                  </a:ext>
                </a:extLst>
              </p:cNvPr>
              <p:cNvSpPr/>
              <p:nvPr/>
            </p:nvSpPr>
            <p:spPr>
              <a:xfrm>
                <a:off x="11470554" y="3855084"/>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68" name="Google Shape;3702;p25">
                <a:extLst>
                  <a:ext uri="{FF2B5EF4-FFF2-40B4-BE49-F238E27FC236}">
                    <a16:creationId xmlns:a16="http://schemas.microsoft.com/office/drawing/2014/main" id="{CCB11A67-ABE2-4BBC-9424-04D0F93F3AEC}"/>
                  </a:ext>
                </a:extLst>
              </p:cNvPr>
              <p:cNvSpPr/>
              <p:nvPr/>
            </p:nvSpPr>
            <p:spPr>
              <a:xfrm>
                <a:off x="11510406" y="3814920"/>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69" name="Google Shape;3703;p25">
                <a:extLst>
                  <a:ext uri="{FF2B5EF4-FFF2-40B4-BE49-F238E27FC236}">
                    <a16:creationId xmlns:a16="http://schemas.microsoft.com/office/drawing/2014/main" id="{0C7DBD61-8DD8-45FF-AA6E-66242D92E5FD}"/>
                  </a:ext>
                </a:extLst>
              </p:cNvPr>
              <p:cNvSpPr/>
              <p:nvPr/>
            </p:nvSpPr>
            <p:spPr>
              <a:xfrm>
                <a:off x="11510153" y="3932026"/>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70" name="Google Shape;3704;p25">
                <a:extLst>
                  <a:ext uri="{FF2B5EF4-FFF2-40B4-BE49-F238E27FC236}">
                    <a16:creationId xmlns:a16="http://schemas.microsoft.com/office/drawing/2014/main" id="{AF31AA6B-D20F-4228-B070-554C2738938D}"/>
                  </a:ext>
                </a:extLst>
              </p:cNvPr>
              <p:cNvSpPr/>
              <p:nvPr/>
            </p:nvSpPr>
            <p:spPr>
              <a:xfrm>
                <a:off x="11550004" y="3891861"/>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71" name="Google Shape;3705;p25">
                <a:extLst>
                  <a:ext uri="{FF2B5EF4-FFF2-40B4-BE49-F238E27FC236}">
                    <a16:creationId xmlns:a16="http://schemas.microsoft.com/office/drawing/2014/main" id="{E9B8DA34-A611-40D4-AB77-A55A831DF2E4}"/>
                  </a:ext>
                </a:extLst>
              </p:cNvPr>
              <p:cNvSpPr/>
              <p:nvPr/>
            </p:nvSpPr>
            <p:spPr>
              <a:xfrm>
                <a:off x="11512331" y="3932026"/>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72" name="Google Shape;3706;p25">
                <a:extLst>
                  <a:ext uri="{FF2B5EF4-FFF2-40B4-BE49-F238E27FC236}">
                    <a16:creationId xmlns:a16="http://schemas.microsoft.com/office/drawing/2014/main" id="{28EE9EE9-8B65-401C-A7AF-0D981A4361C8}"/>
                  </a:ext>
                </a:extLst>
              </p:cNvPr>
              <p:cNvSpPr/>
              <p:nvPr/>
            </p:nvSpPr>
            <p:spPr>
              <a:xfrm>
                <a:off x="11552184" y="3891861"/>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73" name="Google Shape;3707;p25">
                <a:extLst>
                  <a:ext uri="{FF2B5EF4-FFF2-40B4-BE49-F238E27FC236}">
                    <a16:creationId xmlns:a16="http://schemas.microsoft.com/office/drawing/2014/main" id="{D0B2607A-E00B-4D80-A822-16563978BBDA}"/>
                  </a:ext>
                </a:extLst>
              </p:cNvPr>
              <p:cNvSpPr/>
              <p:nvPr/>
            </p:nvSpPr>
            <p:spPr>
              <a:xfrm>
                <a:off x="11549646" y="3932026"/>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74" name="Google Shape;3708;p25">
                <a:extLst>
                  <a:ext uri="{FF2B5EF4-FFF2-40B4-BE49-F238E27FC236}">
                    <a16:creationId xmlns:a16="http://schemas.microsoft.com/office/drawing/2014/main" id="{7B14B06E-6F89-4EE1-B86F-1B316C98EF09}"/>
                  </a:ext>
                </a:extLst>
              </p:cNvPr>
              <p:cNvSpPr/>
              <p:nvPr/>
            </p:nvSpPr>
            <p:spPr>
              <a:xfrm>
                <a:off x="11589576" y="3891861"/>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75" name="Google Shape;3709;p25">
                <a:extLst>
                  <a:ext uri="{FF2B5EF4-FFF2-40B4-BE49-F238E27FC236}">
                    <a16:creationId xmlns:a16="http://schemas.microsoft.com/office/drawing/2014/main" id="{3BFBE573-1589-4B59-A3BF-AE586B6802D2}"/>
                  </a:ext>
                </a:extLst>
              </p:cNvPr>
              <p:cNvSpPr/>
              <p:nvPr/>
            </p:nvSpPr>
            <p:spPr>
              <a:xfrm>
                <a:off x="11582705" y="3932026"/>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76" name="Google Shape;3710;p25">
                <a:extLst>
                  <a:ext uri="{FF2B5EF4-FFF2-40B4-BE49-F238E27FC236}">
                    <a16:creationId xmlns:a16="http://schemas.microsoft.com/office/drawing/2014/main" id="{0F865216-D407-4F76-95A0-001D576CD208}"/>
                  </a:ext>
                </a:extLst>
              </p:cNvPr>
              <p:cNvSpPr/>
              <p:nvPr/>
            </p:nvSpPr>
            <p:spPr>
              <a:xfrm>
                <a:off x="11622556" y="3891861"/>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77" name="Google Shape;3711;p25">
                <a:extLst>
                  <a:ext uri="{FF2B5EF4-FFF2-40B4-BE49-F238E27FC236}">
                    <a16:creationId xmlns:a16="http://schemas.microsoft.com/office/drawing/2014/main" id="{81DD6EA0-852A-4E16-A038-03352F9A8E73}"/>
                  </a:ext>
                </a:extLst>
              </p:cNvPr>
              <p:cNvSpPr/>
              <p:nvPr/>
            </p:nvSpPr>
            <p:spPr>
              <a:xfrm>
                <a:off x="11628841" y="3962850"/>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78" name="Google Shape;3712;p25">
                <a:extLst>
                  <a:ext uri="{FF2B5EF4-FFF2-40B4-BE49-F238E27FC236}">
                    <a16:creationId xmlns:a16="http://schemas.microsoft.com/office/drawing/2014/main" id="{438E58F0-274E-4F67-A383-C0BA7B2428D3}"/>
                  </a:ext>
                </a:extLst>
              </p:cNvPr>
              <p:cNvSpPr/>
              <p:nvPr/>
            </p:nvSpPr>
            <p:spPr>
              <a:xfrm>
                <a:off x="11668745" y="3922658"/>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79" name="Google Shape;3713;p25">
                <a:extLst>
                  <a:ext uri="{FF2B5EF4-FFF2-40B4-BE49-F238E27FC236}">
                    <a16:creationId xmlns:a16="http://schemas.microsoft.com/office/drawing/2014/main" id="{43D32D56-E7A7-486A-8720-BD575F3E9FF4}"/>
                  </a:ext>
                </a:extLst>
              </p:cNvPr>
              <p:cNvSpPr/>
              <p:nvPr/>
            </p:nvSpPr>
            <p:spPr>
              <a:xfrm>
                <a:off x="11710268" y="3995126"/>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80" name="Google Shape;3714;p25">
                <a:extLst>
                  <a:ext uri="{FF2B5EF4-FFF2-40B4-BE49-F238E27FC236}">
                    <a16:creationId xmlns:a16="http://schemas.microsoft.com/office/drawing/2014/main" id="{A70E22B4-79D1-4121-92B1-2705B2EA0735}"/>
                  </a:ext>
                </a:extLst>
              </p:cNvPr>
              <p:cNvSpPr/>
              <p:nvPr/>
            </p:nvSpPr>
            <p:spPr>
              <a:xfrm>
                <a:off x="11750120" y="3954961"/>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81" name="Google Shape;3715;p25">
                <a:extLst>
                  <a:ext uri="{FF2B5EF4-FFF2-40B4-BE49-F238E27FC236}">
                    <a16:creationId xmlns:a16="http://schemas.microsoft.com/office/drawing/2014/main" id="{2C1C3801-6C0A-44A5-B0B7-EB4E704ADEF2}"/>
                  </a:ext>
                </a:extLst>
              </p:cNvPr>
              <p:cNvSpPr/>
              <p:nvPr/>
            </p:nvSpPr>
            <p:spPr>
              <a:xfrm>
                <a:off x="11763023" y="3995126"/>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82" name="Google Shape;3716;p25">
                <a:extLst>
                  <a:ext uri="{FF2B5EF4-FFF2-40B4-BE49-F238E27FC236}">
                    <a16:creationId xmlns:a16="http://schemas.microsoft.com/office/drawing/2014/main" id="{29680F6F-0DA9-40F6-AF25-661694295908}"/>
                  </a:ext>
                </a:extLst>
              </p:cNvPr>
              <p:cNvSpPr/>
              <p:nvPr/>
            </p:nvSpPr>
            <p:spPr>
              <a:xfrm>
                <a:off x="11802927" y="3954961"/>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83" name="Google Shape;3717;p25">
                <a:extLst>
                  <a:ext uri="{FF2B5EF4-FFF2-40B4-BE49-F238E27FC236}">
                    <a16:creationId xmlns:a16="http://schemas.microsoft.com/office/drawing/2014/main" id="{16C90108-20D7-400B-854C-49D78894EDB8}"/>
                  </a:ext>
                </a:extLst>
              </p:cNvPr>
              <p:cNvSpPr/>
              <p:nvPr/>
            </p:nvSpPr>
            <p:spPr>
              <a:xfrm>
                <a:off x="11840012" y="3995126"/>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84" name="Google Shape;3718;p25">
                <a:extLst>
                  <a:ext uri="{FF2B5EF4-FFF2-40B4-BE49-F238E27FC236}">
                    <a16:creationId xmlns:a16="http://schemas.microsoft.com/office/drawing/2014/main" id="{8698D428-8ADB-43BE-9FF0-D31335725A1D}"/>
                  </a:ext>
                </a:extLst>
              </p:cNvPr>
              <p:cNvSpPr/>
              <p:nvPr/>
            </p:nvSpPr>
            <p:spPr>
              <a:xfrm>
                <a:off x="11879864" y="3954961"/>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85" name="Google Shape;3719;p25">
                <a:extLst>
                  <a:ext uri="{FF2B5EF4-FFF2-40B4-BE49-F238E27FC236}">
                    <a16:creationId xmlns:a16="http://schemas.microsoft.com/office/drawing/2014/main" id="{8C6B0878-BE42-4CB7-846D-3B235047741F}"/>
                  </a:ext>
                </a:extLst>
              </p:cNvPr>
              <p:cNvSpPr/>
              <p:nvPr/>
            </p:nvSpPr>
            <p:spPr>
              <a:xfrm>
                <a:off x="11927979" y="3995126"/>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86" name="Google Shape;3720;p25">
                <a:extLst>
                  <a:ext uri="{FF2B5EF4-FFF2-40B4-BE49-F238E27FC236}">
                    <a16:creationId xmlns:a16="http://schemas.microsoft.com/office/drawing/2014/main" id="{E486C285-D2BE-4C2D-86F1-8C800C8D86AF}"/>
                  </a:ext>
                </a:extLst>
              </p:cNvPr>
              <p:cNvSpPr/>
              <p:nvPr/>
            </p:nvSpPr>
            <p:spPr>
              <a:xfrm>
                <a:off x="11967831" y="3954961"/>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87" name="Google Shape;3721;p25">
                <a:extLst>
                  <a:ext uri="{FF2B5EF4-FFF2-40B4-BE49-F238E27FC236}">
                    <a16:creationId xmlns:a16="http://schemas.microsoft.com/office/drawing/2014/main" id="{32447C49-FDCE-4FCE-9443-1D93F3484136}"/>
                  </a:ext>
                </a:extLst>
              </p:cNvPr>
              <p:cNvSpPr/>
              <p:nvPr/>
            </p:nvSpPr>
            <p:spPr>
              <a:xfrm>
                <a:off x="11954343" y="3995126"/>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88" name="Google Shape;3722;p25">
                <a:extLst>
                  <a:ext uri="{FF2B5EF4-FFF2-40B4-BE49-F238E27FC236}">
                    <a16:creationId xmlns:a16="http://schemas.microsoft.com/office/drawing/2014/main" id="{43A77C65-ADB6-49C8-B7F5-E90B7E68EEAC}"/>
                  </a:ext>
                </a:extLst>
              </p:cNvPr>
              <p:cNvSpPr/>
              <p:nvPr/>
            </p:nvSpPr>
            <p:spPr>
              <a:xfrm>
                <a:off x="11994273" y="3954961"/>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89" name="Google Shape;3723;p25">
                <a:extLst>
                  <a:ext uri="{FF2B5EF4-FFF2-40B4-BE49-F238E27FC236}">
                    <a16:creationId xmlns:a16="http://schemas.microsoft.com/office/drawing/2014/main" id="{7732F2B9-0D66-44E3-B3F9-B278996BCE2E}"/>
                  </a:ext>
                </a:extLst>
              </p:cNvPr>
              <p:cNvSpPr/>
              <p:nvPr/>
            </p:nvSpPr>
            <p:spPr>
              <a:xfrm>
                <a:off x="11969756" y="3995126"/>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90" name="Google Shape;3724;p25">
                <a:extLst>
                  <a:ext uri="{FF2B5EF4-FFF2-40B4-BE49-F238E27FC236}">
                    <a16:creationId xmlns:a16="http://schemas.microsoft.com/office/drawing/2014/main" id="{2175F3FB-338D-474B-8E47-6B76843563B1}"/>
                  </a:ext>
                </a:extLst>
              </p:cNvPr>
              <p:cNvSpPr/>
              <p:nvPr/>
            </p:nvSpPr>
            <p:spPr>
              <a:xfrm>
                <a:off x="12009687" y="3954961"/>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91" name="Google Shape;3725;p25">
                <a:extLst>
                  <a:ext uri="{FF2B5EF4-FFF2-40B4-BE49-F238E27FC236}">
                    <a16:creationId xmlns:a16="http://schemas.microsoft.com/office/drawing/2014/main" id="{0F7CA074-AF2B-4CBE-9B80-559A40D7715F}"/>
                  </a:ext>
                </a:extLst>
              </p:cNvPr>
              <p:cNvSpPr/>
              <p:nvPr/>
            </p:nvSpPr>
            <p:spPr>
              <a:xfrm>
                <a:off x="12062161" y="3995126"/>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92" name="Google Shape;3726;p25">
                <a:extLst>
                  <a:ext uri="{FF2B5EF4-FFF2-40B4-BE49-F238E27FC236}">
                    <a16:creationId xmlns:a16="http://schemas.microsoft.com/office/drawing/2014/main" id="{A3544D2E-01E6-446B-B98E-D3AEBA18AF66}"/>
                  </a:ext>
                </a:extLst>
              </p:cNvPr>
              <p:cNvSpPr/>
              <p:nvPr/>
            </p:nvSpPr>
            <p:spPr>
              <a:xfrm>
                <a:off x="12101986" y="3954961"/>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93" name="Google Shape;3727;p25">
                <a:extLst>
                  <a:ext uri="{FF2B5EF4-FFF2-40B4-BE49-F238E27FC236}">
                    <a16:creationId xmlns:a16="http://schemas.microsoft.com/office/drawing/2014/main" id="{7B4DBDB5-CA37-4CF2-9C5C-6DE374BA062E}"/>
                  </a:ext>
                </a:extLst>
              </p:cNvPr>
              <p:cNvSpPr/>
              <p:nvPr/>
            </p:nvSpPr>
            <p:spPr>
              <a:xfrm>
                <a:off x="12114888" y="4044758"/>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94" name="Google Shape;3728;p25">
                <a:extLst>
                  <a:ext uri="{FF2B5EF4-FFF2-40B4-BE49-F238E27FC236}">
                    <a16:creationId xmlns:a16="http://schemas.microsoft.com/office/drawing/2014/main" id="{5A4169D2-DA76-44EB-B028-1F646455E998}"/>
                  </a:ext>
                </a:extLst>
              </p:cNvPr>
              <p:cNvSpPr/>
              <p:nvPr/>
            </p:nvSpPr>
            <p:spPr>
              <a:xfrm>
                <a:off x="12154819" y="4004672"/>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95" name="Google Shape;3729;p25">
                <a:extLst>
                  <a:ext uri="{FF2B5EF4-FFF2-40B4-BE49-F238E27FC236}">
                    <a16:creationId xmlns:a16="http://schemas.microsoft.com/office/drawing/2014/main" id="{E46F7A11-1559-4478-BB4A-33D5C7A9D386}"/>
                  </a:ext>
                </a:extLst>
              </p:cNvPr>
              <p:cNvSpPr/>
              <p:nvPr/>
            </p:nvSpPr>
            <p:spPr>
              <a:xfrm>
                <a:off x="12187441" y="4044758"/>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96" name="Google Shape;3730;p25">
                <a:extLst>
                  <a:ext uri="{FF2B5EF4-FFF2-40B4-BE49-F238E27FC236}">
                    <a16:creationId xmlns:a16="http://schemas.microsoft.com/office/drawing/2014/main" id="{BF028491-3981-4827-AFDC-0B9173491977}"/>
                  </a:ext>
                </a:extLst>
              </p:cNvPr>
              <p:cNvSpPr/>
              <p:nvPr/>
            </p:nvSpPr>
            <p:spPr>
              <a:xfrm>
                <a:off x="12227371" y="4004672"/>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97" name="Google Shape;3731;p25">
                <a:extLst>
                  <a:ext uri="{FF2B5EF4-FFF2-40B4-BE49-F238E27FC236}">
                    <a16:creationId xmlns:a16="http://schemas.microsoft.com/office/drawing/2014/main" id="{599B849B-4825-4D5A-B314-E316257C2AF1}"/>
                  </a:ext>
                </a:extLst>
              </p:cNvPr>
              <p:cNvSpPr/>
              <p:nvPr/>
            </p:nvSpPr>
            <p:spPr>
              <a:xfrm>
                <a:off x="12249043" y="4044758"/>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98" name="Google Shape;3732;p25">
                <a:extLst>
                  <a:ext uri="{FF2B5EF4-FFF2-40B4-BE49-F238E27FC236}">
                    <a16:creationId xmlns:a16="http://schemas.microsoft.com/office/drawing/2014/main" id="{CC7C4ADC-E1D0-4356-91E1-B3521877010E}"/>
                  </a:ext>
                </a:extLst>
              </p:cNvPr>
              <p:cNvSpPr/>
              <p:nvPr/>
            </p:nvSpPr>
            <p:spPr>
              <a:xfrm>
                <a:off x="12289001" y="4004672"/>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499" name="Google Shape;3733;p25">
                <a:extLst>
                  <a:ext uri="{FF2B5EF4-FFF2-40B4-BE49-F238E27FC236}">
                    <a16:creationId xmlns:a16="http://schemas.microsoft.com/office/drawing/2014/main" id="{5A3AF80C-9360-4DF5-B456-4013D4BA035E}"/>
                  </a:ext>
                </a:extLst>
              </p:cNvPr>
              <p:cNvSpPr/>
              <p:nvPr/>
            </p:nvSpPr>
            <p:spPr>
              <a:xfrm>
                <a:off x="12614168" y="4044758"/>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00" name="Google Shape;3734;p25">
                <a:extLst>
                  <a:ext uri="{FF2B5EF4-FFF2-40B4-BE49-F238E27FC236}">
                    <a16:creationId xmlns:a16="http://schemas.microsoft.com/office/drawing/2014/main" id="{2F0C7751-6B94-44DD-9B3C-4378498DBC0A}"/>
                  </a:ext>
                </a:extLst>
              </p:cNvPr>
              <p:cNvSpPr/>
              <p:nvPr/>
            </p:nvSpPr>
            <p:spPr>
              <a:xfrm>
                <a:off x="12653995" y="4004672"/>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01" name="Google Shape;3735;p25">
                <a:extLst>
                  <a:ext uri="{FF2B5EF4-FFF2-40B4-BE49-F238E27FC236}">
                    <a16:creationId xmlns:a16="http://schemas.microsoft.com/office/drawing/2014/main" id="{A412451A-5211-4DF8-9118-D16576455F91}"/>
                  </a:ext>
                </a:extLst>
              </p:cNvPr>
              <p:cNvSpPr/>
              <p:nvPr/>
            </p:nvSpPr>
            <p:spPr>
              <a:xfrm>
                <a:off x="12631736" y="4044758"/>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02" name="Google Shape;3736;p25">
                <a:extLst>
                  <a:ext uri="{FF2B5EF4-FFF2-40B4-BE49-F238E27FC236}">
                    <a16:creationId xmlns:a16="http://schemas.microsoft.com/office/drawing/2014/main" id="{29E7910A-19F5-4345-A61E-14FF4200CF7B}"/>
                  </a:ext>
                </a:extLst>
              </p:cNvPr>
              <p:cNvSpPr/>
              <p:nvPr/>
            </p:nvSpPr>
            <p:spPr>
              <a:xfrm>
                <a:off x="12671667" y="4004672"/>
                <a:ext cx="0" cy="80856"/>
              </a:xfrm>
              <a:custGeom>
                <a:avLst/>
                <a:gdLst/>
                <a:ahLst/>
                <a:cxnLst/>
                <a:rect l="l" t="t" r="r" b="b"/>
                <a:pathLst>
                  <a:path w="120000" h="29210" extrusionOk="0">
                    <a:moveTo>
                      <a:pt x="0" y="28917"/>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03" name="Google Shape;3737;p25">
                <a:extLst>
                  <a:ext uri="{FF2B5EF4-FFF2-40B4-BE49-F238E27FC236}">
                    <a16:creationId xmlns:a16="http://schemas.microsoft.com/office/drawing/2014/main" id="{CFD65A4B-1FB4-4235-A7BB-EF8F3B02E15E}"/>
                  </a:ext>
                </a:extLst>
              </p:cNvPr>
              <p:cNvSpPr/>
              <p:nvPr/>
            </p:nvSpPr>
            <p:spPr>
              <a:xfrm>
                <a:off x="13108986" y="4129915"/>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04" name="Google Shape;3738;p25">
                <a:extLst>
                  <a:ext uri="{FF2B5EF4-FFF2-40B4-BE49-F238E27FC236}">
                    <a16:creationId xmlns:a16="http://schemas.microsoft.com/office/drawing/2014/main" id="{FB59E6B8-0F8E-4F34-B227-E3459E20C62B}"/>
                  </a:ext>
                </a:extLst>
              </p:cNvPr>
              <p:cNvSpPr/>
              <p:nvPr/>
            </p:nvSpPr>
            <p:spPr>
              <a:xfrm>
                <a:off x="13148838" y="4089747"/>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05" name="Google Shape;3739;p25">
                <a:extLst>
                  <a:ext uri="{FF2B5EF4-FFF2-40B4-BE49-F238E27FC236}">
                    <a16:creationId xmlns:a16="http://schemas.microsoft.com/office/drawing/2014/main" id="{B94CE34E-6264-47EC-AFFE-EF8CA54B5F21}"/>
                  </a:ext>
                </a:extLst>
              </p:cNvPr>
              <p:cNvSpPr/>
              <p:nvPr/>
            </p:nvSpPr>
            <p:spPr>
              <a:xfrm>
                <a:off x="13251965" y="4129915"/>
                <a:ext cx="80383" cy="0"/>
              </a:xfrm>
              <a:custGeom>
                <a:avLst/>
                <a:gdLst/>
                <a:ahLst/>
                <a:cxnLst/>
                <a:rect l="l" t="t" r="r" b="b"/>
                <a:pathLst>
                  <a:path w="29210" h="120000" extrusionOk="0">
                    <a:moveTo>
                      <a:pt x="0" y="0"/>
                    </a:moveTo>
                    <a:lnTo>
                      <a:pt x="28905"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06" name="Google Shape;3740;p25">
                <a:extLst>
                  <a:ext uri="{FF2B5EF4-FFF2-40B4-BE49-F238E27FC236}">
                    <a16:creationId xmlns:a16="http://schemas.microsoft.com/office/drawing/2014/main" id="{69B053FD-C4BB-4E50-BDAE-CC2942FECD56}"/>
                  </a:ext>
                </a:extLst>
              </p:cNvPr>
              <p:cNvSpPr/>
              <p:nvPr/>
            </p:nvSpPr>
            <p:spPr>
              <a:xfrm>
                <a:off x="13291817" y="4089747"/>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07" name="Google Shape;3741;p25">
                <a:extLst>
                  <a:ext uri="{FF2B5EF4-FFF2-40B4-BE49-F238E27FC236}">
                    <a16:creationId xmlns:a16="http://schemas.microsoft.com/office/drawing/2014/main" id="{C90D17C2-A2CB-4127-86CE-B4D0B9A9CBCB}"/>
                  </a:ext>
                </a:extLst>
              </p:cNvPr>
              <p:cNvSpPr/>
              <p:nvPr/>
            </p:nvSpPr>
            <p:spPr>
              <a:xfrm>
                <a:off x="13258476" y="4129915"/>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08" name="Google Shape;3742;p25">
                <a:extLst>
                  <a:ext uri="{FF2B5EF4-FFF2-40B4-BE49-F238E27FC236}">
                    <a16:creationId xmlns:a16="http://schemas.microsoft.com/office/drawing/2014/main" id="{785BD6F2-E280-4198-8770-5DFF86855425}"/>
                  </a:ext>
                </a:extLst>
              </p:cNvPr>
              <p:cNvSpPr/>
              <p:nvPr/>
            </p:nvSpPr>
            <p:spPr>
              <a:xfrm>
                <a:off x="13298408" y="4089747"/>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09" name="Google Shape;3743;p25">
                <a:extLst>
                  <a:ext uri="{FF2B5EF4-FFF2-40B4-BE49-F238E27FC236}">
                    <a16:creationId xmlns:a16="http://schemas.microsoft.com/office/drawing/2014/main" id="{B59152FB-DB25-4EC1-A7C6-9481206F8B2E}"/>
                  </a:ext>
                </a:extLst>
              </p:cNvPr>
              <p:cNvSpPr/>
              <p:nvPr/>
            </p:nvSpPr>
            <p:spPr>
              <a:xfrm>
                <a:off x="13267274" y="4129915"/>
                <a:ext cx="80383" cy="0"/>
              </a:xfrm>
              <a:custGeom>
                <a:avLst/>
                <a:gdLst/>
                <a:ahLst/>
                <a:cxnLst/>
                <a:rect l="l" t="t" r="r" b="b"/>
                <a:pathLst>
                  <a:path w="29210" h="120000" extrusionOk="0">
                    <a:moveTo>
                      <a:pt x="0" y="0"/>
                    </a:moveTo>
                    <a:lnTo>
                      <a:pt x="28956"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10" name="Google Shape;3744;p25">
                <a:extLst>
                  <a:ext uri="{FF2B5EF4-FFF2-40B4-BE49-F238E27FC236}">
                    <a16:creationId xmlns:a16="http://schemas.microsoft.com/office/drawing/2014/main" id="{9B28A3C8-820B-47DA-B8EC-D20F22D5923B}"/>
                  </a:ext>
                </a:extLst>
              </p:cNvPr>
              <p:cNvSpPr/>
              <p:nvPr/>
            </p:nvSpPr>
            <p:spPr>
              <a:xfrm>
                <a:off x="13307204" y="4089747"/>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11" name="Google Shape;3745;p25">
                <a:extLst>
                  <a:ext uri="{FF2B5EF4-FFF2-40B4-BE49-F238E27FC236}">
                    <a16:creationId xmlns:a16="http://schemas.microsoft.com/office/drawing/2014/main" id="{6D0B4914-0713-4826-9A54-4750BAC34A6A}"/>
                  </a:ext>
                </a:extLst>
              </p:cNvPr>
              <p:cNvSpPr/>
              <p:nvPr/>
            </p:nvSpPr>
            <p:spPr>
              <a:xfrm>
                <a:off x="13366293" y="4129915"/>
                <a:ext cx="80383" cy="0"/>
              </a:xfrm>
              <a:custGeom>
                <a:avLst/>
                <a:gdLst/>
                <a:ahLst/>
                <a:cxnLst/>
                <a:rect l="l" t="t" r="r" b="b"/>
                <a:pathLst>
                  <a:path w="29210" h="120000" extrusionOk="0">
                    <a:moveTo>
                      <a:pt x="0" y="0"/>
                    </a:moveTo>
                    <a:lnTo>
                      <a:pt x="28917"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12" name="Google Shape;3746;p25">
                <a:extLst>
                  <a:ext uri="{FF2B5EF4-FFF2-40B4-BE49-F238E27FC236}">
                    <a16:creationId xmlns:a16="http://schemas.microsoft.com/office/drawing/2014/main" id="{D7E71586-C957-47A4-948D-00DDB041B72A}"/>
                  </a:ext>
                </a:extLst>
              </p:cNvPr>
              <p:cNvSpPr/>
              <p:nvPr/>
            </p:nvSpPr>
            <p:spPr>
              <a:xfrm>
                <a:off x="13406147" y="4089747"/>
                <a:ext cx="0" cy="80856"/>
              </a:xfrm>
              <a:custGeom>
                <a:avLst/>
                <a:gdLst/>
                <a:ahLst/>
                <a:cxnLst/>
                <a:rect l="l" t="t" r="r" b="b"/>
                <a:pathLst>
                  <a:path w="120000" h="29210" extrusionOk="0">
                    <a:moveTo>
                      <a:pt x="0" y="28955"/>
                    </a:moveTo>
                    <a:lnTo>
                      <a:pt x="0" y="0"/>
                    </a:lnTo>
                  </a:path>
                </a:pathLst>
              </a:custGeom>
              <a:noFill/>
              <a:ln w="1270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513" name="Google Shape;3747;p25">
                <a:extLst>
                  <a:ext uri="{FF2B5EF4-FFF2-40B4-BE49-F238E27FC236}">
                    <a16:creationId xmlns:a16="http://schemas.microsoft.com/office/drawing/2014/main" id="{14313276-8BA3-4C3D-99B9-19073D632753}"/>
                  </a:ext>
                </a:extLst>
              </p:cNvPr>
              <p:cNvSpPr/>
              <p:nvPr/>
            </p:nvSpPr>
            <p:spPr>
              <a:xfrm>
                <a:off x="9521650" y="1499929"/>
                <a:ext cx="4527921" cy="3135966"/>
              </a:xfrm>
              <a:custGeom>
                <a:avLst/>
                <a:gdLst/>
                <a:ahLst/>
                <a:cxnLst/>
                <a:rect l="l" t="t" r="r" b="b"/>
                <a:pathLst>
                  <a:path w="1590675" h="1256029" extrusionOk="0">
                    <a:moveTo>
                      <a:pt x="0" y="0"/>
                    </a:moveTo>
                    <a:lnTo>
                      <a:pt x="1536" y="0"/>
                    </a:lnTo>
                    <a:lnTo>
                      <a:pt x="1536" y="2260"/>
                    </a:lnTo>
                    <a:lnTo>
                      <a:pt x="3848" y="2260"/>
                    </a:lnTo>
                    <a:lnTo>
                      <a:pt x="3848" y="4546"/>
                    </a:lnTo>
                    <a:lnTo>
                      <a:pt x="6146" y="4546"/>
                    </a:lnTo>
                    <a:lnTo>
                      <a:pt x="6146" y="6781"/>
                    </a:lnTo>
                    <a:lnTo>
                      <a:pt x="6908" y="6781"/>
                    </a:lnTo>
                    <a:lnTo>
                      <a:pt x="6908" y="9042"/>
                    </a:lnTo>
                    <a:lnTo>
                      <a:pt x="7696" y="9042"/>
                    </a:lnTo>
                    <a:lnTo>
                      <a:pt x="7696" y="13538"/>
                    </a:lnTo>
                    <a:lnTo>
                      <a:pt x="9220" y="13538"/>
                    </a:lnTo>
                    <a:lnTo>
                      <a:pt x="9220" y="18046"/>
                    </a:lnTo>
                    <a:lnTo>
                      <a:pt x="10007" y="18046"/>
                    </a:lnTo>
                    <a:lnTo>
                      <a:pt x="10007" y="20307"/>
                    </a:lnTo>
                    <a:lnTo>
                      <a:pt x="10756" y="20307"/>
                    </a:lnTo>
                    <a:lnTo>
                      <a:pt x="10756" y="22555"/>
                    </a:lnTo>
                    <a:lnTo>
                      <a:pt x="11518" y="22555"/>
                    </a:lnTo>
                    <a:lnTo>
                      <a:pt x="11518" y="29324"/>
                    </a:lnTo>
                    <a:lnTo>
                      <a:pt x="12306" y="29324"/>
                    </a:lnTo>
                    <a:lnTo>
                      <a:pt x="12306" y="31584"/>
                    </a:lnTo>
                    <a:lnTo>
                      <a:pt x="13068" y="31584"/>
                    </a:lnTo>
                    <a:lnTo>
                      <a:pt x="13068" y="36093"/>
                    </a:lnTo>
                    <a:lnTo>
                      <a:pt x="13830" y="36093"/>
                    </a:lnTo>
                    <a:lnTo>
                      <a:pt x="13830" y="42862"/>
                    </a:lnTo>
                    <a:lnTo>
                      <a:pt x="14604" y="42862"/>
                    </a:lnTo>
                    <a:lnTo>
                      <a:pt x="14604" y="47358"/>
                    </a:lnTo>
                    <a:lnTo>
                      <a:pt x="15354" y="47358"/>
                    </a:lnTo>
                    <a:lnTo>
                      <a:pt x="15354" y="49593"/>
                    </a:lnTo>
                    <a:lnTo>
                      <a:pt x="18453" y="49593"/>
                    </a:lnTo>
                    <a:lnTo>
                      <a:pt x="18453" y="56362"/>
                    </a:lnTo>
                    <a:lnTo>
                      <a:pt x="19215" y="56362"/>
                    </a:lnTo>
                    <a:lnTo>
                      <a:pt x="19215" y="60871"/>
                    </a:lnTo>
                    <a:lnTo>
                      <a:pt x="19977" y="60871"/>
                    </a:lnTo>
                    <a:lnTo>
                      <a:pt x="19977" y="67640"/>
                    </a:lnTo>
                    <a:lnTo>
                      <a:pt x="20764" y="67640"/>
                    </a:lnTo>
                    <a:lnTo>
                      <a:pt x="20764" y="69900"/>
                    </a:lnTo>
                    <a:lnTo>
                      <a:pt x="21513" y="69900"/>
                    </a:lnTo>
                    <a:lnTo>
                      <a:pt x="21513" y="76644"/>
                    </a:lnTo>
                    <a:lnTo>
                      <a:pt x="22263" y="76644"/>
                    </a:lnTo>
                    <a:lnTo>
                      <a:pt x="22263" y="81178"/>
                    </a:lnTo>
                    <a:lnTo>
                      <a:pt x="23063" y="81178"/>
                    </a:lnTo>
                    <a:lnTo>
                      <a:pt x="23063" y="83413"/>
                    </a:lnTo>
                    <a:lnTo>
                      <a:pt x="23825" y="83413"/>
                    </a:lnTo>
                    <a:lnTo>
                      <a:pt x="23825" y="90182"/>
                    </a:lnTo>
                    <a:lnTo>
                      <a:pt x="24561" y="90182"/>
                    </a:lnTo>
                    <a:lnTo>
                      <a:pt x="24561" y="96951"/>
                    </a:lnTo>
                    <a:lnTo>
                      <a:pt x="25361" y="96951"/>
                    </a:lnTo>
                    <a:lnTo>
                      <a:pt x="25361" y="101460"/>
                    </a:lnTo>
                    <a:lnTo>
                      <a:pt x="26123" y="101460"/>
                    </a:lnTo>
                    <a:lnTo>
                      <a:pt x="26123" y="108216"/>
                    </a:lnTo>
                    <a:lnTo>
                      <a:pt x="26924" y="108216"/>
                    </a:lnTo>
                    <a:lnTo>
                      <a:pt x="26924" y="112725"/>
                    </a:lnTo>
                    <a:lnTo>
                      <a:pt x="27660" y="112725"/>
                    </a:lnTo>
                    <a:lnTo>
                      <a:pt x="27660" y="117221"/>
                    </a:lnTo>
                    <a:lnTo>
                      <a:pt x="28435" y="117221"/>
                    </a:lnTo>
                    <a:lnTo>
                      <a:pt x="28435" y="119494"/>
                    </a:lnTo>
                    <a:lnTo>
                      <a:pt x="29959" y="119494"/>
                    </a:lnTo>
                    <a:lnTo>
                      <a:pt x="29959" y="121729"/>
                    </a:lnTo>
                    <a:lnTo>
                      <a:pt x="30721" y="121729"/>
                    </a:lnTo>
                    <a:lnTo>
                      <a:pt x="30721" y="126238"/>
                    </a:lnTo>
                    <a:lnTo>
                      <a:pt x="31508" y="126238"/>
                    </a:lnTo>
                    <a:lnTo>
                      <a:pt x="31508" y="130771"/>
                    </a:lnTo>
                    <a:lnTo>
                      <a:pt x="32270" y="130771"/>
                    </a:lnTo>
                    <a:lnTo>
                      <a:pt x="32270" y="139776"/>
                    </a:lnTo>
                    <a:lnTo>
                      <a:pt x="34582" y="139776"/>
                    </a:lnTo>
                    <a:lnTo>
                      <a:pt x="34582" y="142011"/>
                    </a:lnTo>
                    <a:lnTo>
                      <a:pt x="36880" y="142011"/>
                    </a:lnTo>
                    <a:lnTo>
                      <a:pt x="36880" y="144284"/>
                    </a:lnTo>
                    <a:lnTo>
                      <a:pt x="38430" y="144284"/>
                    </a:lnTo>
                    <a:lnTo>
                      <a:pt x="38430" y="146545"/>
                    </a:lnTo>
                    <a:lnTo>
                      <a:pt x="39179" y="146545"/>
                    </a:lnTo>
                    <a:lnTo>
                      <a:pt x="39179" y="151053"/>
                    </a:lnTo>
                    <a:lnTo>
                      <a:pt x="39979" y="151053"/>
                    </a:lnTo>
                    <a:lnTo>
                      <a:pt x="39979" y="153289"/>
                    </a:lnTo>
                    <a:lnTo>
                      <a:pt x="42265" y="153289"/>
                    </a:lnTo>
                    <a:lnTo>
                      <a:pt x="42265" y="157810"/>
                    </a:lnTo>
                    <a:lnTo>
                      <a:pt x="43027" y="157810"/>
                    </a:lnTo>
                    <a:lnTo>
                      <a:pt x="43027" y="164553"/>
                    </a:lnTo>
                    <a:lnTo>
                      <a:pt x="45326" y="164553"/>
                    </a:lnTo>
                    <a:lnTo>
                      <a:pt x="45326" y="166827"/>
                    </a:lnTo>
                    <a:lnTo>
                      <a:pt x="46875" y="166827"/>
                    </a:lnTo>
                    <a:lnTo>
                      <a:pt x="46875" y="173596"/>
                    </a:lnTo>
                    <a:lnTo>
                      <a:pt x="47637" y="173596"/>
                    </a:lnTo>
                    <a:lnTo>
                      <a:pt x="47637" y="175818"/>
                    </a:lnTo>
                    <a:lnTo>
                      <a:pt x="48425" y="175818"/>
                    </a:lnTo>
                    <a:lnTo>
                      <a:pt x="48425" y="180352"/>
                    </a:lnTo>
                    <a:lnTo>
                      <a:pt x="49174" y="180352"/>
                    </a:lnTo>
                    <a:lnTo>
                      <a:pt x="49174" y="182600"/>
                    </a:lnTo>
                    <a:lnTo>
                      <a:pt x="49936" y="182600"/>
                    </a:lnTo>
                    <a:lnTo>
                      <a:pt x="49936" y="184861"/>
                    </a:lnTo>
                    <a:lnTo>
                      <a:pt x="50736" y="184861"/>
                    </a:lnTo>
                    <a:lnTo>
                      <a:pt x="50736" y="191643"/>
                    </a:lnTo>
                    <a:lnTo>
                      <a:pt x="51485" y="191643"/>
                    </a:lnTo>
                    <a:lnTo>
                      <a:pt x="51485" y="198437"/>
                    </a:lnTo>
                    <a:lnTo>
                      <a:pt x="52247" y="198437"/>
                    </a:lnTo>
                    <a:lnTo>
                      <a:pt x="52247" y="202984"/>
                    </a:lnTo>
                    <a:lnTo>
                      <a:pt x="53047" y="202984"/>
                    </a:lnTo>
                    <a:lnTo>
                      <a:pt x="53047" y="205244"/>
                    </a:lnTo>
                    <a:lnTo>
                      <a:pt x="53784" y="205244"/>
                    </a:lnTo>
                    <a:lnTo>
                      <a:pt x="53784" y="207479"/>
                    </a:lnTo>
                    <a:lnTo>
                      <a:pt x="56870" y="207479"/>
                    </a:lnTo>
                    <a:lnTo>
                      <a:pt x="56870" y="209778"/>
                    </a:lnTo>
                    <a:lnTo>
                      <a:pt x="57632" y="209778"/>
                    </a:lnTo>
                    <a:lnTo>
                      <a:pt x="57632" y="214312"/>
                    </a:lnTo>
                    <a:lnTo>
                      <a:pt x="59182" y="214312"/>
                    </a:lnTo>
                    <a:lnTo>
                      <a:pt x="59182" y="216585"/>
                    </a:lnTo>
                    <a:lnTo>
                      <a:pt x="60693" y="216585"/>
                    </a:lnTo>
                    <a:lnTo>
                      <a:pt x="60693" y="223418"/>
                    </a:lnTo>
                    <a:lnTo>
                      <a:pt x="61480" y="223418"/>
                    </a:lnTo>
                    <a:lnTo>
                      <a:pt x="61480" y="225691"/>
                    </a:lnTo>
                    <a:lnTo>
                      <a:pt x="62230" y="225691"/>
                    </a:lnTo>
                    <a:lnTo>
                      <a:pt x="62230" y="227990"/>
                    </a:lnTo>
                    <a:lnTo>
                      <a:pt x="62992" y="227990"/>
                    </a:lnTo>
                    <a:lnTo>
                      <a:pt x="62992" y="232524"/>
                    </a:lnTo>
                    <a:lnTo>
                      <a:pt x="63779" y="232524"/>
                    </a:lnTo>
                    <a:lnTo>
                      <a:pt x="63779" y="234835"/>
                    </a:lnTo>
                    <a:lnTo>
                      <a:pt x="64541" y="234835"/>
                    </a:lnTo>
                    <a:lnTo>
                      <a:pt x="64541" y="237096"/>
                    </a:lnTo>
                    <a:lnTo>
                      <a:pt x="65341" y="237096"/>
                    </a:lnTo>
                    <a:lnTo>
                      <a:pt x="65341" y="243928"/>
                    </a:lnTo>
                    <a:lnTo>
                      <a:pt x="66078" y="243928"/>
                    </a:lnTo>
                    <a:lnTo>
                      <a:pt x="66078" y="246227"/>
                    </a:lnTo>
                    <a:lnTo>
                      <a:pt x="66840" y="246227"/>
                    </a:lnTo>
                    <a:lnTo>
                      <a:pt x="66840" y="248513"/>
                    </a:lnTo>
                    <a:lnTo>
                      <a:pt x="69151" y="248513"/>
                    </a:lnTo>
                    <a:lnTo>
                      <a:pt x="69151" y="255346"/>
                    </a:lnTo>
                    <a:lnTo>
                      <a:pt x="69938" y="255346"/>
                    </a:lnTo>
                    <a:lnTo>
                      <a:pt x="69938" y="257644"/>
                    </a:lnTo>
                    <a:lnTo>
                      <a:pt x="71450" y="257644"/>
                    </a:lnTo>
                    <a:lnTo>
                      <a:pt x="71450" y="262216"/>
                    </a:lnTo>
                    <a:lnTo>
                      <a:pt x="72237" y="262216"/>
                    </a:lnTo>
                    <a:lnTo>
                      <a:pt x="72237" y="264490"/>
                    </a:lnTo>
                    <a:lnTo>
                      <a:pt x="72986" y="264490"/>
                    </a:lnTo>
                    <a:lnTo>
                      <a:pt x="72986" y="266788"/>
                    </a:lnTo>
                    <a:lnTo>
                      <a:pt x="73748" y="266788"/>
                    </a:lnTo>
                    <a:lnTo>
                      <a:pt x="73748" y="273634"/>
                    </a:lnTo>
                    <a:lnTo>
                      <a:pt x="74549" y="273634"/>
                    </a:lnTo>
                    <a:lnTo>
                      <a:pt x="74549" y="275907"/>
                    </a:lnTo>
                    <a:lnTo>
                      <a:pt x="77597" y="275907"/>
                    </a:lnTo>
                    <a:lnTo>
                      <a:pt x="77597" y="278206"/>
                    </a:lnTo>
                    <a:lnTo>
                      <a:pt x="78397" y="278206"/>
                    </a:lnTo>
                    <a:lnTo>
                      <a:pt x="78397" y="285076"/>
                    </a:lnTo>
                    <a:lnTo>
                      <a:pt x="79146" y="285076"/>
                    </a:lnTo>
                    <a:lnTo>
                      <a:pt x="79146" y="287375"/>
                    </a:lnTo>
                    <a:lnTo>
                      <a:pt x="79908" y="287375"/>
                    </a:lnTo>
                    <a:lnTo>
                      <a:pt x="79908" y="289648"/>
                    </a:lnTo>
                    <a:lnTo>
                      <a:pt x="81445" y="289648"/>
                    </a:lnTo>
                    <a:lnTo>
                      <a:pt x="81445" y="291960"/>
                    </a:lnTo>
                    <a:lnTo>
                      <a:pt x="82219" y="291960"/>
                    </a:lnTo>
                    <a:lnTo>
                      <a:pt x="82219" y="294259"/>
                    </a:lnTo>
                    <a:lnTo>
                      <a:pt x="83007" y="294259"/>
                    </a:lnTo>
                    <a:lnTo>
                      <a:pt x="83007" y="296545"/>
                    </a:lnTo>
                    <a:lnTo>
                      <a:pt x="84518" y="296545"/>
                    </a:lnTo>
                    <a:lnTo>
                      <a:pt x="84518" y="298856"/>
                    </a:lnTo>
                    <a:lnTo>
                      <a:pt x="85293" y="298856"/>
                    </a:lnTo>
                    <a:lnTo>
                      <a:pt x="85293" y="301155"/>
                    </a:lnTo>
                    <a:lnTo>
                      <a:pt x="87604" y="301155"/>
                    </a:lnTo>
                    <a:lnTo>
                      <a:pt x="87604" y="310375"/>
                    </a:lnTo>
                    <a:lnTo>
                      <a:pt x="88353" y="310375"/>
                    </a:lnTo>
                    <a:lnTo>
                      <a:pt x="88353" y="312661"/>
                    </a:lnTo>
                    <a:lnTo>
                      <a:pt x="89903" y="312661"/>
                    </a:lnTo>
                    <a:lnTo>
                      <a:pt x="89903" y="314934"/>
                    </a:lnTo>
                    <a:lnTo>
                      <a:pt x="90652" y="314934"/>
                    </a:lnTo>
                    <a:lnTo>
                      <a:pt x="90652" y="319544"/>
                    </a:lnTo>
                    <a:lnTo>
                      <a:pt x="91452" y="319544"/>
                    </a:lnTo>
                    <a:lnTo>
                      <a:pt x="91452" y="326453"/>
                    </a:lnTo>
                    <a:lnTo>
                      <a:pt x="92214" y="326453"/>
                    </a:lnTo>
                    <a:lnTo>
                      <a:pt x="92214" y="328752"/>
                    </a:lnTo>
                    <a:lnTo>
                      <a:pt x="92964" y="328752"/>
                    </a:lnTo>
                    <a:lnTo>
                      <a:pt x="92964" y="333362"/>
                    </a:lnTo>
                    <a:lnTo>
                      <a:pt x="93751" y="333362"/>
                    </a:lnTo>
                    <a:lnTo>
                      <a:pt x="93751" y="337959"/>
                    </a:lnTo>
                    <a:lnTo>
                      <a:pt x="95275" y="337959"/>
                    </a:lnTo>
                    <a:lnTo>
                      <a:pt x="95275" y="340309"/>
                    </a:lnTo>
                    <a:lnTo>
                      <a:pt x="96824" y="340309"/>
                    </a:lnTo>
                    <a:lnTo>
                      <a:pt x="96824" y="347218"/>
                    </a:lnTo>
                    <a:lnTo>
                      <a:pt x="98361" y="347218"/>
                    </a:lnTo>
                    <a:lnTo>
                      <a:pt x="98361" y="349529"/>
                    </a:lnTo>
                    <a:lnTo>
                      <a:pt x="99123" y="349529"/>
                    </a:lnTo>
                    <a:lnTo>
                      <a:pt x="99123" y="351853"/>
                    </a:lnTo>
                    <a:lnTo>
                      <a:pt x="100660" y="351853"/>
                    </a:lnTo>
                    <a:lnTo>
                      <a:pt x="100660" y="358787"/>
                    </a:lnTo>
                    <a:lnTo>
                      <a:pt x="101422" y="358787"/>
                    </a:lnTo>
                    <a:lnTo>
                      <a:pt x="101422" y="363423"/>
                    </a:lnTo>
                    <a:lnTo>
                      <a:pt x="102971" y="363423"/>
                    </a:lnTo>
                    <a:lnTo>
                      <a:pt x="102971" y="365734"/>
                    </a:lnTo>
                    <a:lnTo>
                      <a:pt x="103720" y="365734"/>
                    </a:lnTo>
                    <a:lnTo>
                      <a:pt x="103720" y="368071"/>
                    </a:lnTo>
                    <a:lnTo>
                      <a:pt x="106819" y="368071"/>
                    </a:lnTo>
                    <a:lnTo>
                      <a:pt x="106819" y="372719"/>
                    </a:lnTo>
                    <a:lnTo>
                      <a:pt x="107569" y="372719"/>
                    </a:lnTo>
                    <a:lnTo>
                      <a:pt x="107569" y="375056"/>
                    </a:lnTo>
                    <a:lnTo>
                      <a:pt x="108356" y="375056"/>
                    </a:lnTo>
                    <a:lnTo>
                      <a:pt x="108356" y="377393"/>
                    </a:lnTo>
                    <a:lnTo>
                      <a:pt x="109880" y="377393"/>
                    </a:lnTo>
                    <a:lnTo>
                      <a:pt x="109880" y="379717"/>
                    </a:lnTo>
                    <a:lnTo>
                      <a:pt x="112179" y="379717"/>
                    </a:lnTo>
                    <a:lnTo>
                      <a:pt x="112179" y="386727"/>
                    </a:lnTo>
                    <a:lnTo>
                      <a:pt x="112966" y="386727"/>
                    </a:lnTo>
                    <a:lnTo>
                      <a:pt x="112966" y="393712"/>
                    </a:lnTo>
                    <a:lnTo>
                      <a:pt x="113728" y="393712"/>
                    </a:lnTo>
                    <a:lnTo>
                      <a:pt x="113728" y="396049"/>
                    </a:lnTo>
                    <a:lnTo>
                      <a:pt x="115265" y="396049"/>
                    </a:lnTo>
                    <a:lnTo>
                      <a:pt x="115265" y="398373"/>
                    </a:lnTo>
                    <a:lnTo>
                      <a:pt x="116814" y="398373"/>
                    </a:lnTo>
                    <a:lnTo>
                      <a:pt x="116814" y="405396"/>
                    </a:lnTo>
                    <a:lnTo>
                      <a:pt x="119126" y="405396"/>
                    </a:lnTo>
                    <a:lnTo>
                      <a:pt x="119126" y="407746"/>
                    </a:lnTo>
                    <a:lnTo>
                      <a:pt x="121412" y="407746"/>
                    </a:lnTo>
                    <a:lnTo>
                      <a:pt x="121412" y="410108"/>
                    </a:lnTo>
                    <a:lnTo>
                      <a:pt x="124472" y="410108"/>
                    </a:lnTo>
                    <a:lnTo>
                      <a:pt x="124472" y="412432"/>
                    </a:lnTo>
                    <a:lnTo>
                      <a:pt x="126034" y="412432"/>
                    </a:lnTo>
                    <a:lnTo>
                      <a:pt x="126034" y="414820"/>
                    </a:lnTo>
                    <a:lnTo>
                      <a:pt x="128333" y="414820"/>
                    </a:lnTo>
                    <a:lnTo>
                      <a:pt x="128333" y="417156"/>
                    </a:lnTo>
                    <a:lnTo>
                      <a:pt x="129082" y="417156"/>
                    </a:lnTo>
                    <a:lnTo>
                      <a:pt x="129082" y="421906"/>
                    </a:lnTo>
                    <a:lnTo>
                      <a:pt x="135242" y="421906"/>
                    </a:lnTo>
                    <a:lnTo>
                      <a:pt x="135242" y="429044"/>
                    </a:lnTo>
                    <a:lnTo>
                      <a:pt x="136029" y="429044"/>
                    </a:lnTo>
                    <a:lnTo>
                      <a:pt x="136029" y="436181"/>
                    </a:lnTo>
                    <a:lnTo>
                      <a:pt x="139090" y="436181"/>
                    </a:lnTo>
                    <a:lnTo>
                      <a:pt x="139090" y="438594"/>
                    </a:lnTo>
                    <a:lnTo>
                      <a:pt x="139839" y="438594"/>
                    </a:lnTo>
                    <a:lnTo>
                      <a:pt x="139839" y="440969"/>
                    </a:lnTo>
                    <a:lnTo>
                      <a:pt x="142138" y="440969"/>
                    </a:lnTo>
                    <a:lnTo>
                      <a:pt x="142138" y="445744"/>
                    </a:lnTo>
                    <a:lnTo>
                      <a:pt x="143687" y="445744"/>
                    </a:lnTo>
                    <a:lnTo>
                      <a:pt x="143687" y="452932"/>
                    </a:lnTo>
                    <a:lnTo>
                      <a:pt x="144437" y="452932"/>
                    </a:lnTo>
                    <a:lnTo>
                      <a:pt x="144437" y="455333"/>
                    </a:lnTo>
                    <a:lnTo>
                      <a:pt x="145986" y="455333"/>
                    </a:lnTo>
                    <a:lnTo>
                      <a:pt x="145986" y="457695"/>
                    </a:lnTo>
                    <a:lnTo>
                      <a:pt x="146773" y="457695"/>
                    </a:lnTo>
                    <a:lnTo>
                      <a:pt x="146773" y="462521"/>
                    </a:lnTo>
                    <a:lnTo>
                      <a:pt x="147548" y="462521"/>
                    </a:lnTo>
                    <a:lnTo>
                      <a:pt x="147548" y="464896"/>
                    </a:lnTo>
                    <a:lnTo>
                      <a:pt x="151384" y="464896"/>
                    </a:lnTo>
                    <a:lnTo>
                      <a:pt x="151384" y="469696"/>
                    </a:lnTo>
                    <a:lnTo>
                      <a:pt x="155206" y="469696"/>
                    </a:lnTo>
                    <a:lnTo>
                      <a:pt x="155206" y="472097"/>
                    </a:lnTo>
                    <a:lnTo>
                      <a:pt x="157543" y="472097"/>
                    </a:lnTo>
                    <a:lnTo>
                      <a:pt x="157543" y="474535"/>
                    </a:lnTo>
                    <a:lnTo>
                      <a:pt x="159842" y="474535"/>
                    </a:lnTo>
                    <a:lnTo>
                      <a:pt x="159842" y="476935"/>
                    </a:lnTo>
                    <a:lnTo>
                      <a:pt x="162902" y="476935"/>
                    </a:lnTo>
                    <a:lnTo>
                      <a:pt x="162902" y="479361"/>
                    </a:lnTo>
                    <a:lnTo>
                      <a:pt x="163652" y="479361"/>
                    </a:lnTo>
                    <a:lnTo>
                      <a:pt x="163652" y="484200"/>
                    </a:lnTo>
                    <a:lnTo>
                      <a:pt x="166001" y="484200"/>
                    </a:lnTo>
                    <a:lnTo>
                      <a:pt x="166001" y="486651"/>
                    </a:lnTo>
                    <a:lnTo>
                      <a:pt x="166751" y="486651"/>
                    </a:lnTo>
                    <a:lnTo>
                      <a:pt x="166751" y="489077"/>
                    </a:lnTo>
                    <a:lnTo>
                      <a:pt x="169062" y="489077"/>
                    </a:lnTo>
                    <a:lnTo>
                      <a:pt x="169062" y="491528"/>
                    </a:lnTo>
                    <a:lnTo>
                      <a:pt x="170599" y="491528"/>
                    </a:lnTo>
                    <a:lnTo>
                      <a:pt x="170599" y="493966"/>
                    </a:lnTo>
                    <a:lnTo>
                      <a:pt x="172897" y="493966"/>
                    </a:lnTo>
                    <a:lnTo>
                      <a:pt x="172897" y="496443"/>
                    </a:lnTo>
                    <a:lnTo>
                      <a:pt x="173659" y="496443"/>
                    </a:lnTo>
                    <a:lnTo>
                      <a:pt x="173659" y="498919"/>
                    </a:lnTo>
                    <a:lnTo>
                      <a:pt x="174409" y="498919"/>
                    </a:lnTo>
                    <a:lnTo>
                      <a:pt x="174409" y="501357"/>
                    </a:lnTo>
                    <a:lnTo>
                      <a:pt x="175196" y="501357"/>
                    </a:lnTo>
                    <a:lnTo>
                      <a:pt x="175196" y="503834"/>
                    </a:lnTo>
                    <a:lnTo>
                      <a:pt x="178269" y="503834"/>
                    </a:lnTo>
                    <a:lnTo>
                      <a:pt x="178269" y="508800"/>
                    </a:lnTo>
                    <a:lnTo>
                      <a:pt x="179819" y="508800"/>
                    </a:lnTo>
                    <a:lnTo>
                      <a:pt x="179819" y="511289"/>
                    </a:lnTo>
                    <a:lnTo>
                      <a:pt x="181356" y="511289"/>
                    </a:lnTo>
                    <a:lnTo>
                      <a:pt x="181356" y="513753"/>
                    </a:lnTo>
                    <a:lnTo>
                      <a:pt x="182867" y="513753"/>
                    </a:lnTo>
                    <a:lnTo>
                      <a:pt x="182867" y="518744"/>
                    </a:lnTo>
                    <a:lnTo>
                      <a:pt x="186728" y="518744"/>
                    </a:lnTo>
                    <a:lnTo>
                      <a:pt x="186728" y="521220"/>
                    </a:lnTo>
                    <a:lnTo>
                      <a:pt x="191325" y="521220"/>
                    </a:lnTo>
                    <a:lnTo>
                      <a:pt x="191325" y="523722"/>
                    </a:lnTo>
                    <a:lnTo>
                      <a:pt x="192874" y="523722"/>
                    </a:lnTo>
                    <a:lnTo>
                      <a:pt x="192874" y="526237"/>
                    </a:lnTo>
                    <a:lnTo>
                      <a:pt x="202082" y="526237"/>
                    </a:lnTo>
                    <a:lnTo>
                      <a:pt x="202082" y="528777"/>
                    </a:lnTo>
                    <a:lnTo>
                      <a:pt x="204381" y="528777"/>
                    </a:lnTo>
                    <a:lnTo>
                      <a:pt x="204381" y="533857"/>
                    </a:lnTo>
                    <a:lnTo>
                      <a:pt x="208229" y="533857"/>
                    </a:lnTo>
                    <a:lnTo>
                      <a:pt x="208229" y="536397"/>
                    </a:lnTo>
                    <a:lnTo>
                      <a:pt x="210540" y="536397"/>
                    </a:lnTo>
                    <a:lnTo>
                      <a:pt x="210540" y="538988"/>
                    </a:lnTo>
                    <a:lnTo>
                      <a:pt x="214376" y="538988"/>
                    </a:lnTo>
                    <a:lnTo>
                      <a:pt x="214376" y="541553"/>
                    </a:lnTo>
                    <a:lnTo>
                      <a:pt x="216687" y="541553"/>
                    </a:lnTo>
                    <a:lnTo>
                      <a:pt x="216687" y="544131"/>
                    </a:lnTo>
                    <a:lnTo>
                      <a:pt x="217474" y="544131"/>
                    </a:lnTo>
                    <a:lnTo>
                      <a:pt x="217474" y="549325"/>
                    </a:lnTo>
                    <a:lnTo>
                      <a:pt x="218224" y="549325"/>
                    </a:lnTo>
                    <a:lnTo>
                      <a:pt x="218224" y="551903"/>
                    </a:lnTo>
                    <a:lnTo>
                      <a:pt x="221284" y="551903"/>
                    </a:lnTo>
                    <a:lnTo>
                      <a:pt x="221284" y="554507"/>
                    </a:lnTo>
                    <a:lnTo>
                      <a:pt x="222084" y="554507"/>
                    </a:lnTo>
                    <a:lnTo>
                      <a:pt x="222084" y="557123"/>
                    </a:lnTo>
                    <a:lnTo>
                      <a:pt x="223596" y="557123"/>
                    </a:lnTo>
                    <a:lnTo>
                      <a:pt x="223596" y="559739"/>
                    </a:lnTo>
                    <a:lnTo>
                      <a:pt x="226682" y="559739"/>
                    </a:lnTo>
                    <a:lnTo>
                      <a:pt x="226682" y="562368"/>
                    </a:lnTo>
                    <a:lnTo>
                      <a:pt x="227444" y="562368"/>
                    </a:lnTo>
                    <a:lnTo>
                      <a:pt x="227444" y="564959"/>
                    </a:lnTo>
                    <a:lnTo>
                      <a:pt x="228231" y="564959"/>
                    </a:lnTo>
                    <a:lnTo>
                      <a:pt x="228231" y="567588"/>
                    </a:lnTo>
                    <a:lnTo>
                      <a:pt x="231292" y="567588"/>
                    </a:lnTo>
                    <a:lnTo>
                      <a:pt x="231292" y="575449"/>
                    </a:lnTo>
                    <a:lnTo>
                      <a:pt x="232054" y="575449"/>
                    </a:lnTo>
                    <a:lnTo>
                      <a:pt x="232054" y="578065"/>
                    </a:lnTo>
                    <a:lnTo>
                      <a:pt x="232841" y="578065"/>
                    </a:lnTo>
                    <a:lnTo>
                      <a:pt x="232841" y="580707"/>
                    </a:lnTo>
                    <a:lnTo>
                      <a:pt x="233591" y="580707"/>
                    </a:lnTo>
                    <a:lnTo>
                      <a:pt x="233591" y="583349"/>
                    </a:lnTo>
                    <a:lnTo>
                      <a:pt x="238988" y="583349"/>
                    </a:lnTo>
                    <a:lnTo>
                      <a:pt x="238988" y="585990"/>
                    </a:lnTo>
                    <a:lnTo>
                      <a:pt x="240512" y="585990"/>
                    </a:lnTo>
                    <a:lnTo>
                      <a:pt x="240512" y="588645"/>
                    </a:lnTo>
                    <a:lnTo>
                      <a:pt x="241300" y="588645"/>
                    </a:lnTo>
                    <a:lnTo>
                      <a:pt x="241300" y="591324"/>
                    </a:lnTo>
                    <a:lnTo>
                      <a:pt x="242798" y="591324"/>
                    </a:lnTo>
                    <a:lnTo>
                      <a:pt x="242798" y="593966"/>
                    </a:lnTo>
                    <a:lnTo>
                      <a:pt x="248208" y="593966"/>
                    </a:lnTo>
                    <a:lnTo>
                      <a:pt x="248208" y="596684"/>
                    </a:lnTo>
                    <a:lnTo>
                      <a:pt x="252806" y="596684"/>
                    </a:lnTo>
                    <a:lnTo>
                      <a:pt x="252806" y="599401"/>
                    </a:lnTo>
                    <a:lnTo>
                      <a:pt x="253568" y="599401"/>
                    </a:lnTo>
                    <a:lnTo>
                      <a:pt x="253568" y="602068"/>
                    </a:lnTo>
                    <a:lnTo>
                      <a:pt x="254355" y="602068"/>
                    </a:lnTo>
                    <a:lnTo>
                      <a:pt x="254355" y="604786"/>
                    </a:lnTo>
                    <a:lnTo>
                      <a:pt x="255892" y="604786"/>
                    </a:lnTo>
                    <a:lnTo>
                      <a:pt x="255892" y="612940"/>
                    </a:lnTo>
                    <a:lnTo>
                      <a:pt x="256654" y="612940"/>
                    </a:lnTo>
                    <a:lnTo>
                      <a:pt x="256654" y="615657"/>
                    </a:lnTo>
                    <a:lnTo>
                      <a:pt x="257403" y="615657"/>
                    </a:lnTo>
                    <a:lnTo>
                      <a:pt x="257403" y="618375"/>
                    </a:lnTo>
                    <a:lnTo>
                      <a:pt x="258953" y="618375"/>
                    </a:lnTo>
                    <a:lnTo>
                      <a:pt x="258953" y="621080"/>
                    </a:lnTo>
                    <a:lnTo>
                      <a:pt x="260502" y="621080"/>
                    </a:lnTo>
                    <a:lnTo>
                      <a:pt x="260502" y="626529"/>
                    </a:lnTo>
                    <a:lnTo>
                      <a:pt x="261264" y="626529"/>
                    </a:lnTo>
                    <a:lnTo>
                      <a:pt x="261264" y="631913"/>
                    </a:lnTo>
                    <a:lnTo>
                      <a:pt x="262013" y="631913"/>
                    </a:lnTo>
                    <a:lnTo>
                      <a:pt x="262013" y="640054"/>
                    </a:lnTo>
                    <a:lnTo>
                      <a:pt x="262801" y="640054"/>
                    </a:lnTo>
                    <a:lnTo>
                      <a:pt x="262801" y="642772"/>
                    </a:lnTo>
                    <a:lnTo>
                      <a:pt x="264325" y="642772"/>
                    </a:lnTo>
                    <a:lnTo>
                      <a:pt x="264325" y="648195"/>
                    </a:lnTo>
                    <a:lnTo>
                      <a:pt x="265112" y="648195"/>
                    </a:lnTo>
                    <a:lnTo>
                      <a:pt x="265112" y="650913"/>
                    </a:lnTo>
                    <a:lnTo>
                      <a:pt x="271259" y="650913"/>
                    </a:lnTo>
                    <a:lnTo>
                      <a:pt x="271259" y="653630"/>
                    </a:lnTo>
                    <a:lnTo>
                      <a:pt x="275869" y="653630"/>
                    </a:lnTo>
                    <a:lnTo>
                      <a:pt x="275869" y="656386"/>
                    </a:lnTo>
                    <a:lnTo>
                      <a:pt x="277406" y="656386"/>
                    </a:lnTo>
                    <a:lnTo>
                      <a:pt x="277406" y="659142"/>
                    </a:lnTo>
                    <a:lnTo>
                      <a:pt x="278930" y="659142"/>
                    </a:lnTo>
                    <a:lnTo>
                      <a:pt x="278930" y="661873"/>
                    </a:lnTo>
                    <a:lnTo>
                      <a:pt x="279717" y="661873"/>
                    </a:lnTo>
                    <a:lnTo>
                      <a:pt x="279717" y="664629"/>
                    </a:lnTo>
                    <a:lnTo>
                      <a:pt x="281228" y="664629"/>
                    </a:lnTo>
                    <a:lnTo>
                      <a:pt x="281228" y="667385"/>
                    </a:lnTo>
                    <a:lnTo>
                      <a:pt x="282016" y="667385"/>
                    </a:lnTo>
                    <a:lnTo>
                      <a:pt x="282016" y="670166"/>
                    </a:lnTo>
                    <a:lnTo>
                      <a:pt x="283527" y="670166"/>
                    </a:lnTo>
                    <a:lnTo>
                      <a:pt x="283527" y="672934"/>
                    </a:lnTo>
                    <a:lnTo>
                      <a:pt x="285076" y="672934"/>
                    </a:lnTo>
                    <a:lnTo>
                      <a:pt x="285076" y="675728"/>
                    </a:lnTo>
                    <a:lnTo>
                      <a:pt x="293535" y="675728"/>
                    </a:lnTo>
                    <a:lnTo>
                      <a:pt x="293535" y="678522"/>
                    </a:lnTo>
                    <a:lnTo>
                      <a:pt x="295084" y="678522"/>
                    </a:lnTo>
                    <a:lnTo>
                      <a:pt x="295084" y="681291"/>
                    </a:lnTo>
                    <a:lnTo>
                      <a:pt x="296621" y="681291"/>
                    </a:lnTo>
                    <a:lnTo>
                      <a:pt x="296621" y="684085"/>
                    </a:lnTo>
                    <a:lnTo>
                      <a:pt x="301980" y="684085"/>
                    </a:lnTo>
                    <a:lnTo>
                      <a:pt x="301980" y="686904"/>
                    </a:lnTo>
                    <a:lnTo>
                      <a:pt x="308140" y="686904"/>
                    </a:lnTo>
                    <a:lnTo>
                      <a:pt x="308140" y="689749"/>
                    </a:lnTo>
                    <a:lnTo>
                      <a:pt x="314274" y="689749"/>
                    </a:lnTo>
                    <a:lnTo>
                      <a:pt x="314274" y="692607"/>
                    </a:lnTo>
                    <a:lnTo>
                      <a:pt x="317347" y="692607"/>
                    </a:lnTo>
                    <a:lnTo>
                      <a:pt x="317347" y="695477"/>
                    </a:lnTo>
                    <a:lnTo>
                      <a:pt x="323507" y="695477"/>
                    </a:lnTo>
                    <a:lnTo>
                      <a:pt x="323507" y="701319"/>
                    </a:lnTo>
                    <a:lnTo>
                      <a:pt x="328104" y="701319"/>
                    </a:lnTo>
                    <a:lnTo>
                      <a:pt x="328104" y="704291"/>
                    </a:lnTo>
                    <a:lnTo>
                      <a:pt x="329653" y="704291"/>
                    </a:lnTo>
                    <a:lnTo>
                      <a:pt x="329653" y="707250"/>
                    </a:lnTo>
                    <a:lnTo>
                      <a:pt x="330403" y="707250"/>
                    </a:lnTo>
                    <a:lnTo>
                      <a:pt x="330403" y="710196"/>
                    </a:lnTo>
                    <a:lnTo>
                      <a:pt x="331203" y="710196"/>
                    </a:lnTo>
                    <a:lnTo>
                      <a:pt x="331203" y="713193"/>
                    </a:lnTo>
                    <a:lnTo>
                      <a:pt x="337362" y="713193"/>
                    </a:lnTo>
                    <a:lnTo>
                      <a:pt x="337362" y="716140"/>
                    </a:lnTo>
                    <a:lnTo>
                      <a:pt x="340410" y="716140"/>
                    </a:lnTo>
                    <a:lnTo>
                      <a:pt x="340410" y="719162"/>
                    </a:lnTo>
                    <a:lnTo>
                      <a:pt x="342709" y="719162"/>
                    </a:lnTo>
                    <a:lnTo>
                      <a:pt x="342709" y="722198"/>
                    </a:lnTo>
                    <a:lnTo>
                      <a:pt x="345008" y="722198"/>
                    </a:lnTo>
                    <a:lnTo>
                      <a:pt x="345008" y="725208"/>
                    </a:lnTo>
                    <a:lnTo>
                      <a:pt x="345757" y="725208"/>
                    </a:lnTo>
                    <a:lnTo>
                      <a:pt x="345757" y="728281"/>
                    </a:lnTo>
                    <a:lnTo>
                      <a:pt x="349618" y="728281"/>
                    </a:lnTo>
                    <a:lnTo>
                      <a:pt x="349618" y="731367"/>
                    </a:lnTo>
                    <a:lnTo>
                      <a:pt x="353466" y="731367"/>
                    </a:lnTo>
                    <a:lnTo>
                      <a:pt x="353466" y="734504"/>
                    </a:lnTo>
                    <a:lnTo>
                      <a:pt x="362686" y="734504"/>
                    </a:lnTo>
                    <a:lnTo>
                      <a:pt x="362686" y="737692"/>
                    </a:lnTo>
                    <a:lnTo>
                      <a:pt x="364223" y="737692"/>
                    </a:lnTo>
                    <a:lnTo>
                      <a:pt x="364223" y="740918"/>
                    </a:lnTo>
                    <a:lnTo>
                      <a:pt x="366522" y="740918"/>
                    </a:lnTo>
                    <a:lnTo>
                      <a:pt x="366522" y="744143"/>
                    </a:lnTo>
                    <a:lnTo>
                      <a:pt x="367322" y="744143"/>
                    </a:lnTo>
                    <a:lnTo>
                      <a:pt x="367322" y="747407"/>
                    </a:lnTo>
                    <a:lnTo>
                      <a:pt x="370370" y="747407"/>
                    </a:lnTo>
                    <a:lnTo>
                      <a:pt x="370370" y="750658"/>
                    </a:lnTo>
                    <a:lnTo>
                      <a:pt x="372681" y="750658"/>
                    </a:lnTo>
                    <a:lnTo>
                      <a:pt x="372681" y="753935"/>
                    </a:lnTo>
                    <a:lnTo>
                      <a:pt x="373443" y="753935"/>
                    </a:lnTo>
                    <a:lnTo>
                      <a:pt x="373443" y="760552"/>
                    </a:lnTo>
                    <a:lnTo>
                      <a:pt x="378828" y="760552"/>
                    </a:lnTo>
                    <a:lnTo>
                      <a:pt x="378828" y="763917"/>
                    </a:lnTo>
                    <a:lnTo>
                      <a:pt x="379590" y="763917"/>
                    </a:lnTo>
                    <a:lnTo>
                      <a:pt x="379590" y="770572"/>
                    </a:lnTo>
                    <a:lnTo>
                      <a:pt x="382689" y="770572"/>
                    </a:lnTo>
                    <a:lnTo>
                      <a:pt x="382689" y="773950"/>
                    </a:lnTo>
                    <a:lnTo>
                      <a:pt x="391134" y="773950"/>
                    </a:lnTo>
                    <a:lnTo>
                      <a:pt x="391134" y="777316"/>
                    </a:lnTo>
                    <a:lnTo>
                      <a:pt x="393433" y="777316"/>
                    </a:lnTo>
                    <a:lnTo>
                      <a:pt x="393433" y="780783"/>
                    </a:lnTo>
                    <a:lnTo>
                      <a:pt x="395732" y="780783"/>
                    </a:lnTo>
                    <a:lnTo>
                      <a:pt x="395732" y="784288"/>
                    </a:lnTo>
                    <a:lnTo>
                      <a:pt x="401104" y="784288"/>
                    </a:lnTo>
                    <a:lnTo>
                      <a:pt x="401104" y="787768"/>
                    </a:lnTo>
                    <a:lnTo>
                      <a:pt x="408800" y="787768"/>
                    </a:lnTo>
                    <a:lnTo>
                      <a:pt x="408800" y="791298"/>
                    </a:lnTo>
                    <a:lnTo>
                      <a:pt x="430314" y="791298"/>
                    </a:lnTo>
                    <a:lnTo>
                      <a:pt x="430314" y="794893"/>
                    </a:lnTo>
                    <a:lnTo>
                      <a:pt x="436460" y="794893"/>
                    </a:lnTo>
                    <a:lnTo>
                      <a:pt x="436460" y="798449"/>
                    </a:lnTo>
                    <a:lnTo>
                      <a:pt x="438759" y="798449"/>
                    </a:lnTo>
                    <a:lnTo>
                      <a:pt x="438759" y="802068"/>
                    </a:lnTo>
                    <a:lnTo>
                      <a:pt x="439521" y="802068"/>
                    </a:lnTo>
                    <a:lnTo>
                      <a:pt x="439521" y="809244"/>
                    </a:lnTo>
                    <a:lnTo>
                      <a:pt x="444131" y="809244"/>
                    </a:lnTo>
                    <a:lnTo>
                      <a:pt x="444131" y="812990"/>
                    </a:lnTo>
                    <a:lnTo>
                      <a:pt x="450278" y="812990"/>
                    </a:lnTo>
                    <a:lnTo>
                      <a:pt x="450278" y="816775"/>
                    </a:lnTo>
                    <a:lnTo>
                      <a:pt x="451065" y="816775"/>
                    </a:lnTo>
                    <a:lnTo>
                      <a:pt x="451065" y="820572"/>
                    </a:lnTo>
                    <a:lnTo>
                      <a:pt x="452589" y="820572"/>
                    </a:lnTo>
                    <a:lnTo>
                      <a:pt x="452589" y="824433"/>
                    </a:lnTo>
                    <a:lnTo>
                      <a:pt x="454888" y="824433"/>
                    </a:lnTo>
                    <a:lnTo>
                      <a:pt x="454888" y="828281"/>
                    </a:lnTo>
                    <a:lnTo>
                      <a:pt x="463334" y="828281"/>
                    </a:lnTo>
                    <a:lnTo>
                      <a:pt x="463334" y="832167"/>
                    </a:lnTo>
                    <a:lnTo>
                      <a:pt x="468744" y="832167"/>
                    </a:lnTo>
                    <a:lnTo>
                      <a:pt x="468744" y="836053"/>
                    </a:lnTo>
                    <a:lnTo>
                      <a:pt x="471030" y="836053"/>
                    </a:lnTo>
                    <a:lnTo>
                      <a:pt x="471030" y="840003"/>
                    </a:lnTo>
                    <a:lnTo>
                      <a:pt x="473341" y="840003"/>
                    </a:lnTo>
                    <a:lnTo>
                      <a:pt x="473341" y="843991"/>
                    </a:lnTo>
                    <a:lnTo>
                      <a:pt x="489483" y="843991"/>
                    </a:lnTo>
                    <a:lnTo>
                      <a:pt x="489483" y="848093"/>
                    </a:lnTo>
                    <a:lnTo>
                      <a:pt x="490245" y="848093"/>
                    </a:lnTo>
                    <a:lnTo>
                      <a:pt x="490245" y="852131"/>
                    </a:lnTo>
                    <a:lnTo>
                      <a:pt x="491007" y="852131"/>
                    </a:lnTo>
                    <a:lnTo>
                      <a:pt x="491007" y="856221"/>
                    </a:lnTo>
                    <a:lnTo>
                      <a:pt x="504063" y="856221"/>
                    </a:lnTo>
                    <a:lnTo>
                      <a:pt x="504063" y="860412"/>
                    </a:lnTo>
                    <a:lnTo>
                      <a:pt x="507911" y="860412"/>
                    </a:lnTo>
                    <a:lnTo>
                      <a:pt x="507911" y="864641"/>
                    </a:lnTo>
                    <a:lnTo>
                      <a:pt x="511759" y="864641"/>
                    </a:lnTo>
                    <a:lnTo>
                      <a:pt x="511759" y="868832"/>
                    </a:lnTo>
                    <a:lnTo>
                      <a:pt x="529424" y="868832"/>
                    </a:lnTo>
                    <a:lnTo>
                      <a:pt x="529424" y="873264"/>
                    </a:lnTo>
                    <a:lnTo>
                      <a:pt x="547878" y="873264"/>
                    </a:lnTo>
                    <a:lnTo>
                      <a:pt x="547878" y="878192"/>
                    </a:lnTo>
                    <a:lnTo>
                      <a:pt x="560184" y="878192"/>
                    </a:lnTo>
                    <a:lnTo>
                      <a:pt x="560184" y="883132"/>
                    </a:lnTo>
                    <a:lnTo>
                      <a:pt x="561695" y="883132"/>
                    </a:lnTo>
                    <a:lnTo>
                      <a:pt x="561695" y="888111"/>
                    </a:lnTo>
                    <a:lnTo>
                      <a:pt x="569391" y="888111"/>
                    </a:lnTo>
                    <a:lnTo>
                      <a:pt x="569391" y="898461"/>
                    </a:lnTo>
                    <a:lnTo>
                      <a:pt x="589356" y="898461"/>
                    </a:lnTo>
                    <a:lnTo>
                      <a:pt x="589356" y="904036"/>
                    </a:lnTo>
                    <a:lnTo>
                      <a:pt x="603973" y="904036"/>
                    </a:lnTo>
                    <a:lnTo>
                      <a:pt x="603973" y="910323"/>
                    </a:lnTo>
                    <a:lnTo>
                      <a:pt x="628586" y="910323"/>
                    </a:lnTo>
                    <a:lnTo>
                      <a:pt x="628586" y="917219"/>
                    </a:lnTo>
                    <a:lnTo>
                      <a:pt x="640092" y="917219"/>
                    </a:lnTo>
                    <a:lnTo>
                      <a:pt x="640092" y="924280"/>
                    </a:lnTo>
                    <a:lnTo>
                      <a:pt x="642391" y="924280"/>
                    </a:lnTo>
                    <a:lnTo>
                      <a:pt x="642391" y="931329"/>
                    </a:lnTo>
                    <a:lnTo>
                      <a:pt x="659295" y="931329"/>
                    </a:lnTo>
                    <a:lnTo>
                      <a:pt x="659295" y="938542"/>
                    </a:lnTo>
                    <a:lnTo>
                      <a:pt x="696937" y="938542"/>
                    </a:lnTo>
                    <a:lnTo>
                      <a:pt x="696937" y="947102"/>
                    </a:lnTo>
                    <a:lnTo>
                      <a:pt x="713841" y="947102"/>
                    </a:lnTo>
                    <a:lnTo>
                      <a:pt x="713841" y="957059"/>
                    </a:lnTo>
                    <a:lnTo>
                      <a:pt x="715391" y="957059"/>
                    </a:lnTo>
                    <a:lnTo>
                      <a:pt x="715391" y="967003"/>
                    </a:lnTo>
                    <a:lnTo>
                      <a:pt x="719988" y="967003"/>
                    </a:lnTo>
                    <a:lnTo>
                      <a:pt x="719988" y="977303"/>
                    </a:lnTo>
                    <a:lnTo>
                      <a:pt x="749960" y="977303"/>
                    </a:lnTo>
                    <a:lnTo>
                      <a:pt x="749960" y="989406"/>
                    </a:lnTo>
                    <a:lnTo>
                      <a:pt x="788390" y="989406"/>
                    </a:lnTo>
                    <a:lnTo>
                      <a:pt x="788390" y="1002093"/>
                    </a:lnTo>
                    <a:lnTo>
                      <a:pt x="914400" y="1002093"/>
                    </a:lnTo>
                    <a:lnTo>
                      <a:pt x="914400" y="1021562"/>
                    </a:lnTo>
                    <a:lnTo>
                      <a:pt x="1144155" y="1021562"/>
                    </a:lnTo>
                    <a:lnTo>
                      <a:pt x="1144155" y="1055001"/>
                    </a:lnTo>
                    <a:lnTo>
                      <a:pt x="1590598" y="1055001"/>
                    </a:lnTo>
                    <a:lnTo>
                      <a:pt x="1590598" y="1255560"/>
                    </a:lnTo>
                  </a:path>
                </a:pathLst>
              </a:custGeom>
              <a:noFill/>
              <a:ln w="19050" cap="flat" cmpd="sng">
                <a:solidFill>
                  <a:schemeClr val="accent4"/>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grpSp>
          <p:nvGrpSpPr>
            <p:cNvPr id="1181" name="Google Shape;3748;p25">
              <a:extLst>
                <a:ext uri="{FF2B5EF4-FFF2-40B4-BE49-F238E27FC236}">
                  <a16:creationId xmlns:a16="http://schemas.microsoft.com/office/drawing/2014/main" id="{373E5D68-D182-4AD3-B56A-DF4D8CB867BC}"/>
                </a:ext>
              </a:extLst>
            </p:cNvPr>
            <p:cNvGrpSpPr/>
            <p:nvPr/>
          </p:nvGrpSpPr>
          <p:grpSpPr>
            <a:xfrm>
              <a:off x="9521650" y="1499929"/>
              <a:ext cx="2538007" cy="2756379"/>
              <a:chOff x="6914086" y="1654516"/>
              <a:chExt cx="2527925" cy="2725382"/>
            </a:xfrm>
          </p:grpSpPr>
          <p:sp>
            <p:nvSpPr>
              <p:cNvPr id="1199" name="Google Shape;3749;p25">
                <a:extLst>
                  <a:ext uri="{FF2B5EF4-FFF2-40B4-BE49-F238E27FC236}">
                    <a16:creationId xmlns:a16="http://schemas.microsoft.com/office/drawing/2014/main" id="{E7B97B59-1A56-445C-90C3-D40BDF4E928C}"/>
                  </a:ext>
                </a:extLst>
              </p:cNvPr>
              <p:cNvSpPr/>
              <p:nvPr/>
            </p:nvSpPr>
            <p:spPr>
              <a:xfrm>
                <a:off x="6914086" y="1654516"/>
                <a:ext cx="2486316" cy="2682152"/>
              </a:xfrm>
              <a:custGeom>
                <a:avLst/>
                <a:gdLst/>
                <a:ahLst/>
                <a:cxnLst/>
                <a:rect l="l" t="t" r="r" b="b"/>
                <a:pathLst>
                  <a:path w="876935" h="1086485" extrusionOk="0">
                    <a:moveTo>
                      <a:pt x="0" y="0"/>
                    </a:moveTo>
                    <a:lnTo>
                      <a:pt x="3848" y="0"/>
                    </a:lnTo>
                    <a:lnTo>
                      <a:pt x="3848" y="19037"/>
                    </a:lnTo>
                    <a:lnTo>
                      <a:pt x="6908" y="19037"/>
                    </a:lnTo>
                    <a:lnTo>
                      <a:pt x="6908" y="38049"/>
                    </a:lnTo>
                    <a:lnTo>
                      <a:pt x="9220" y="38049"/>
                    </a:lnTo>
                    <a:lnTo>
                      <a:pt x="9220" y="76085"/>
                    </a:lnTo>
                    <a:lnTo>
                      <a:pt x="10756" y="76085"/>
                    </a:lnTo>
                    <a:lnTo>
                      <a:pt x="10756" y="95123"/>
                    </a:lnTo>
                    <a:lnTo>
                      <a:pt x="12306" y="95123"/>
                    </a:lnTo>
                    <a:lnTo>
                      <a:pt x="12306" y="133184"/>
                    </a:lnTo>
                    <a:lnTo>
                      <a:pt x="13068" y="133184"/>
                    </a:lnTo>
                    <a:lnTo>
                      <a:pt x="13068" y="152222"/>
                    </a:lnTo>
                    <a:lnTo>
                      <a:pt x="13830" y="152222"/>
                    </a:lnTo>
                    <a:lnTo>
                      <a:pt x="13830" y="171221"/>
                    </a:lnTo>
                    <a:lnTo>
                      <a:pt x="15354" y="171221"/>
                    </a:lnTo>
                    <a:lnTo>
                      <a:pt x="15354" y="190246"/>
                    </a:lnTo>
                    <a:lnTo>
                      <a:pt x="16154" y="190246"/>
                    </a:lnTo>
                    <a:lnTo>
                      <a:pt x="16154" y="209270"/>
                    </a:lnTo>
                    <a:lnTo>
                      <a:pt x="16903" y="209270"/>
                    </a:lnTo>
                    <a:lnTo>
                      <a:pt x="16903" y="228295"/>
                    </a:lnTo>
                    <a:lnTo>
                      <a:pt x="18453" y="228295"/>
                    </a:lnTo>
                    <a:lnTo>
                      <a:pt x="18453" y="247307"/>
                    </a:lnTo>
                    <a:lnTo>
                      <a:pt x="19215" y="247307"/>
                    </a:lnTo>
                    <a:lnTo>
                      <a:pt x="19215" y="285343"/>
                    </a:lnTo>
                    <a:lnTo>
                      <a:pt x="20764" y="285343"/>
                    </a:lnTo>
                    <a:lnTo>
                      <a:pt x="20764" y="304380"/>
                    </a:lnTo>
                    <a:lnTo>
                      <a:pt x="26123" y="304380"/>
                    </a:lnTo>
                    <a:lnTo>
                      <a:pt x="26123" y="361467"/>
                    </a:lnTo>
                    <a:lnTo>
                      <a:pt x="26924" y="361467"/>
                    </a:lnTo>
                    <a:lnTo>
                      <a:pt x="26924" y="380466"/>
                    </a:lnTo>
                    <a:lnTo>
                      <a:pt x="29209" y="380466"/>
                    </a:lnTo>
                    <a:lnTo>
                      <a:pt x="29209" y="418515"/>
                    </a:lnTo>
                    <a:lnTo>
                      <a:pt x="29959" y="418515"/>
                    </a:lnTo>
                    <a:lnTo>
                      <a:pt x="29959" y="475589"/>
                    </a:lnTo>
                    <a:lnTo>
                      <a:pt x="35356" y="475589"/>
                    </a:lnTo>
                    <a:lnTo>
                      <a:pt x="35356" y="494601"/>
                    </a:lnTo>
                    <a:lnTo>
                      <a:pt x="36131" y="494601"/>
                    </a:lnTo>
                    <a:lnTo>
                      <a:pt x="36131" y="513638"/>
                    </a:lnTo>
                    <a:lnTo>
                      <a:pt x="38430" y="513638"/>
                    </a:lnTo>
                    <a:lnTo>
                      <a:pt x="38430" y="532650"/>
                    </a:lnTo>
                    <a:lnTo>
                      <a:pt x="46126" y="532650"/>
                    </a:lnTo>
                    <a:lnTo>
                      <a:pt x="46126" y="570687"/>
                    </a:lnTo>
                    <a:lnTo>
                      <a:pt x="49936" y="570687"/>
                    </a:lnTo>
                    <a:lnTo>
                      <a:pt x="49936" y="609828"/>
                    </a:lnTo>
                    <a:lnTo>
                      <a:pt x="50736" y="609828"/>
                    </a:lnTo>
                    <a:lnTo>
                      <a:pt x="50736" y="629386"/>
                    </a:lnTo>
                    <a:lnTo>
                      <a:pt x="53784" y="629386"/>
                    </a:lnTo>
                    <a:lnTo>
                      <a:pt x="53784" y="668540"/>
                    </a:lnTo>
                    <a:lnTo>
                      <a:pt x="59181" y="668540"/>
                    </a:lnTo>
                    <a:lnTo>
                      <a:pt x="59181" y="688771"/>
                    </a:lnTo>
                    <a:lnTo>
                      <a:pt x="61480" y="688771"/>
                    </a:lnTo>
                    <a:lnTo>
                      <a:pt x="61480" y="709015"/>
                    </a:lnTo>
                    <a:lnTo>
                      <a:pt x="62230" y="709015"/>
                    </a:lnTo>
                    <a:lnTo>
                      <a:pt x="62230" y="729259"/>
                    </a:lnTo>
                    <a:lnTo>
                      <a:pt x="64541" y="729259"/>
                    </a:lnTo>
                    <a:lnTo>
                      <a:pt x="64541" y="749490"/>
                    </a:lnTo>
                    <a:lnTo>
                      <a:pt x="87604" y="749490"/>
                    </a:lnTo>
                    <a:lnTo>
                      <a:pt x="87604" y="769747"/>
                    </a:lnTo>
                    <a:lnTo>
                      <a:pt x="91452" y="769747"/>
                    </a:lnTo>
                    <a:lnTo>
                      <a:pt x="91452" y="789978"/>
                    </a:lnTo>
                    <a:lnTo>
                      <a:pt x="136778" y="789978"/>
                    </a:lnTo>
                    <a:lnTo>
                      <a:pt x="136778" y="811149"/>
                    </a:lnTo>
                    <a:lnTo>
                      <a:pt x="139090" y="811149"/>
                    </a:lnTo>
                    <a:lnTo>
                      <a:pt x="139090" y="832332"/>
                    </a:lnTo>
                    <a:lnTo>
                      <a:pt x="149085" y="832332"/>
                    </a:lnTo>
                    <a:lnTo>
                      <a:pt x="149085" y="853465"/>
                    </a:lnTo>
                    <a:lnTo>
                      <a:pt x="157543" y="853465"/>
                    </a:lnTo>
                    <a:lnTo>
                      <a:pt x="157543" y="874636"/>
                    </a:lnTo>
                    <a:lnTo>
                      <a:pt x="181356" y="874636"/>
                    </a:lnTo>
                    <a:lnTo>
                      <a:pt x="181356" y="900023"/>
                    </a:lnTo>
                    <a:lnTo>
                      <a:pt x="192112" y="900023"/>
                    </a:lnTo>
                    <a:lnTo>
                      <a:pt x="192112" y="925436"/>
                    </a:lnTo>
                    <a:lnTo>
                      <a:pt x="229743" y="925436"/>
                    </a:lnTo>
                    <a:lnTo>
                      <a:pt x="229743" y="952919"/>
                    </a:lnTo>
                    <a:lnTo>
                      <a:pt x="256654" y="952919"/>
                    </a:lnTo>
                    <a:lnTo>
                      <a:pt x="256654" y="983208"/>
                    </a:lnTo>
                    <a:lnTo>
                      <a:pt x="268173" y="983208"/>
                    </a:lnTo>
                    <a:lnTo>
                      <a:pt x="268173" y="1013447"/>
                    </a:lnTo>
                    <a:lnTo>
                      <a:pt x="318134" y="1013447"/>
                    </a:lnTo>
                    <a:lnTo>
                      <a:pt x="318134" y="1043711"/>
                    </a:lnTo>
                    <a:lnTo>
                      <a:pt x="464134" y="1043711"/>
                    </a:lnTo>
                    <a:lnTo>
                      <a:pt x="464134" y="1086091"/>
                    </a:lnTo>
                    <a:lnTo>
                      <a:pt x="876744" y="1086091"/>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00" name="Google Shape;3750;p25">
                <a:extLst>
                  <a:ext uri="{FF2B5EF4-FFF2-40B4-BE49-F238E27FC236}">
                    <a16:creationId xmlns:a16="http://schemas.microsoft.com/office/drawing/2014/main" id="{9B36A26F-C527-4A1E-959F-F54135398E1E}"/>
                  </a:ext>
                </a:extLst>
              </p:cNvPr>
              <p:cNvSpPr/>
              <p:nvPr/>
            </p:nvSpPr>
            <p:spPr>
              <a:xfrm>
                <a:off x="7134796" y="3604696"/>
                <a:ext cx="82781" cy="0"/>
              </a:xfrm>
              <a:custGeom>
                <a:avLst/>
                <a:gdLst/>
                <a:ahLst/>
                <a:cxnLst/>
                <a:rect l="l" t="t" r="r" b="b"/>
                <a:pathLst>
                  <a:path w="24130" h="120000" extrusionOk="0">
                    <a:moveTo>
                      <a:pt x="0" y="0"/>
                    </a:moveTo>
                    <a:lnTo>
                      <a:pt x="23660"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01" name="Google Shape;3751;p25">
                <a:extLst>
                  <a:ext uri="{FF2B5EF4-FFF2-40B4-BE49-F238E27FC236}">
                    <a16:creationId xmlns:a16="http://schemas.microsoft.com/office/drawing/2014/main" id="{85992E29-906A-4EC2-AB25-4B2A43205AB2}"/>
                  </a:ext>
                </a:extLst>
              </p:cNvPr>
              <p:cNvSpPr/>
              <p:nvPr/>
            </p:nvSpPr>
            <p:spPr>
              <a:xfrm>
                <a:off x="7175500" y="3561747"/>
                <a:ext cx="0" cy="87216"/>
              </a:xfrm>
              <a:custGeom>
                <a:avLst/>
                <a:gdLst/>
                <a:ahLst/>
                <a:cxnLst/>
                <a:rect l="l" t="t" r="r" b="b"/>
                <a:pathLst>
                  <a:path w="120000" h="24129" extrusionOk="0">
                    <a:moveTo>
                      <a:pt x="0" y="23634"/>
                    </a:moveTo>
                    <a:lnTo>
                      <a:pt x="0"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02" name="Google Shape;3752;p25">
                <a:extLst>
                  <a:ext uri="{FF2B5EF4-FFF2-40B4-BE49-F238E27FC236}">
                    <a16:creationId xmlns:a16="http://schemas.microsoft.com/office/drawing/2014/main" id="{50C5DAEF-4FE7-4949-A032-33053458B486}"/>
                  </a:ext>
                </a:extLst>
              </p:cNvPr>
              <p:cNvSpPr/>
              <p:nvPr/>
            </p:nvSpPr>
            <p:spPr>
              <a:xfrm>
                <a:off x="7010641" y="3063343"/>
                <a:ext cx="82781" cy="0"/>
              </a:xfrm>
              <a:custGeom>
                <a:avLst/>
                <a:gdLst/>
                <a:ahLst/>
                <a:cxnLst/>
                <a:rect l="l" t="t" r="r" b="b"/>
                <a:pathLst>
                  <a:path w="24130" h="120000" extrusionOk="0">
                    <a:moveTo>
                      <a:pt x="0" y="0"/>
                    </a:moveTo>
                    <a:lnTo>
                      <a:pt x="23622"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03" name="Google Shape;3753;p25">
                <a:extLst>
                  <a:ext uri="{FF2B5EF4-FFF2-40B4-BE49-F238E27FC236}">
                    <a16:creationId xmlns:a16="http://schemas.microsoft.com/office/drawing/2014/main" id="{57AE8E6B-00D7-4ACB-A215-C336DD74D394}"/>
                  </a:ext>
                </a:extLst>
              </p:cNvPr>
              <p:cNvSpPr/>
              <p:nvPr/>
            </p:nvSpPr>
            <p:spPr>
              <a:xfrm>
                <a:off x="7051382" y="3020426"/>
                <a:ext cx="0" cy="87216"/>
              </a:xfrm>
              <a:custGeom>
                <a:avLst/>
                <a:gdLst/>
                <a:ahLst/>
                <a:cxnLst/>
                <a:rect l="l" t="t" r="r" b="b"/>
                <a:pathLst>
                  <a:path w="120000" h="24129" extrusionOk="0">
                    <a:moveTo>
                      <a:pt x="0" y="23609"/>
                    </a:moveTo>
                    <a:lnTo>
                      <a:pt x="0"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04" name="Google Shape;3754;p25">
                <a:extLst>
                  <a:ext uri="{FF2B5EF4-FFF2-40B4-BE49-F238E27FC236}">
                    <a16:creationId xmlns:a16="http://schemas.microsoft.com/office/drawing/2014/main" id="{749004A9-1132-47E9-B8C7-6243572B3E3D}"/>
                  </a:ext>
                </a:extLst>
              </p:cNvPr>
              <p:cNvSpPr/>
              <p:nvPr/>
            </p:nvSpPr>
            <p:spPr>
              <a:xfrm>
                <a:off x="7330963" y="3813687"/>
                <a:ext cx="82781" cy="0"/>
              </a:xfrm>
              <a:custGeom>
                <a:avLst/>
                <a:gdLst/>
                <a:ahLst/>
                <a:cxnLst/>
                <a:rect l="l" t="t" r="r" b="b"/>
                <a:pathLst>
                  <a:path w="24130" h="120000" extrusionOk="0">
                    <a:moveTo>
                      <a:pt x="0" y="0"/>
                    </a:moveTo>
                    <a:lnTo>
                      <a:pt x="23609"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05" name="Google Shape;3755;p25">
                <a:extLst>
                  <a:ext uri="{FF2B5EF4-FFF2-40B4-BE49-F238E27FC236}">
                    <a16:creationId xmlns:a16="http://schemas.microsoft.com/office/drawing/2014/main" id="{5B196B07-3A7C-44B3-B8D0-FBD5E728BD0B}"/>
                  </a:ext>
                </a:extLst>
              </p:cNvPr>
              <p:cNvSpPr/>
              <p:nvPr/>
            </p:nvSpPr>
            <p:spPr>
              <a:xfrm>
                <a:off x="7371525" y="3770676"/>
                <a:ext cx="0" cy="87216"/>
              </a:xfrm>
              <a:custGeom>
                <a:avLst/>
                <a:gdLst/>
                <a:ahLst/>
                <a:cxnLst/>
                <a:rect l="l" t="t" r="r" b="b"/>
                <a:pathLst>
                  <a:path w="120000" h="24129" extrusionOk="0">
                    <a:moveTo>
                      <a:pt x="0" y="23647"/>
                    </a:moveTo>
                    <a:lnTo>
                      <a:pt x="0"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06" name="Google Shape;3756;p25">
                <a:extLst>
                  <a:ext uri="{FF2B5EF4-FFF2-40B4-BE49-F238E27FC236}">
                    <a16:creationId xmlns:a16="http://schemas.microsoft.com/office/drawing/2014/main" id="{D645A62E-8991-4347-869A-B70B2BB68B01}"/>
                  </a:ext>
                </a:extLst>
              </p:cNvPr>
              <p:cNvSpPr/>
              <p:nvPr/>
            </p:nvSpPr>
            <p:spPr>
              <a:xfrm>
                <a:off x="7335247" y="3813687"/>
                <a:ext cx="82781" cy="0"/>
              </a:xfrm>
              <a:custGeom>
                <a:avLst/>
                <a:gdLst/>
                <a:ahLst/>
                <a:cxnLst/>
                <a:rect l="l" t="t" r="r" b="b"/>
                <a:pathLst>
                  <a:path w="24130" h="120000" extrusionOk="0">
                    <a:moveTo>
                      <a:pt x="0" y="0"/>
                    </a:moveTo>
                    <a:lnTo>
                      <a:pt x="23634"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07" name="Google Shape;3757;p25">
                <a:extLst>
                  <a:ext uri="{FF2B5EF4-FFF2-40B4-BE49-F238E27FC236}">
                    <a16:creationId xmlns:a16="http://schemas.microsoft.com/office/drawing/2014/main" id="{45CF232E-F0BC-46DB-B272-E573DEFDF388}"/>
                  </a:ext>
                </a:extLst>
              </p:cNvPr>
              <p:cNvSpPr/>
              <p:nvPr/>
            </p:nvSpPr>
            <p:spPr>
              <a:xfrm>
                <a:off x="7375954" y="3770676"/>
                <a:ext cx="0" cy="87216"/>
              </a:xfrm>
              <a:custGeom>
                <a:avLst/>
                <a:gdLst/>
                <a:ahLst/>
                <a:cxnLst/>
                <a:rect l="l" t="t" r="r" b="b"/>
                <a:pathLst>
                  <a:path w="120000" h="24129" extrusionOk="0">
                    <a:moveTo>
                      <a:pt x="0" y="23647"/>
                    </a:moveTo>
                    <a:lnTo>
                      <a:pt x="0"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08" name="Google Shape;3758;p25">
                <a:extLst>
                  <a:ext uri="{FF2B5EF4-FFF2-40B4-BE49-F238E27FC236}">
                    <a16:creationId xmlns:a16="http://schemas.microsoft.com/office/drawing/2014/main" id="{83B9DFD8-426E-43C2-BDEC-3C75AFC77762}"/>
                  </a:ext>
                </a:extLst>
              </p:cNvPr>
              <p:cNvSpPr/>
              <p:nvPr/>
            </p:nvSpPr>
            <p:spPr>
              <a:xfrm>
                <a:off x="7352712" y="3813687"/>
                <a:ext cx="82781" cy="0"/>
              </a:xfrm>
              <a:custGeom>
                <a:avLst/>
                <a:gdLst/>
                <a:ahLst/>
                <a:cxnLst/>
                <a:rect l="l" t="t" r="r" b="b"/>
                <a:pathLst>
                  <a:path w="24130" h="120000" extrusionOk="0">
                    <a:moveTo>
                      <a:pt x="0" y="0"/>
                    </a:moveTo>
                    <a:lnTo>
                      <a:pt x="23634"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09" name="Google Shape;3759;p25">
                <a:extLst>
                  <a:ext uri="{FF2B5EF4-FFF2-40B4-BE49-F238E27FC236}">
                    <a16:creationId xmlns:a16="http://schemas.microsoft.com/office/drawing/2014/main" id="{3C4C9ED9-14DD-4465-B2B3-076B577BB2E5}"/>
                  </a:ext>
                </a:extLst>
              </p:cNvPr>
              <p:cNvSpPr/>
              <p:nvPr/>
            </p:nvSpPr>
            <p:spPr>
              <a:xfrm>
                <a:off x="7393419" y="3770676"/>
                <a:ext cx="0" cy="87216"/>
              </a:xfrm>
              <a:custGeom>
                <a:avLst/>
                <a:gdLst/>
                <a:ahLst/>
                <a:cxnLst/>
                <a:rect l="l" t="t" r="r" b="b"/>
                <a:pathLst>
                  <a:path w="120000" h="24129" extrusionOk="0">
                    <a:moveTo>
                      <a:pt x="0" y="23647"/>
                    </a:moveTo>
                    <a:lnTo>
                      <a:pt x="0"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10" name="Google Shape;3760;p25">
                <a:extLst>
                  <a:ext uri="{FF2B5EF4-FFF2-40B4-BE49-F238E27FC236}">
                    <a16:creationId xmlns:a16="http://schemas.microsoft.com/office/drawing/2014/main" id="{D50ED3B7-E447-4824-836D-04D9CA5E616A}"/>
                  </a:ext>
                </a:extLst>
              </p:cNvPr>
              <p:cNvSpPr/>
              <p:nvPr/>
            </p:nvSpPr>
            <p:spPr>
              <a:xfrm>
                <a:off x="7516078" y="3939095"/>
                <a:ext cx="82781" cy="0"/>
              </a:xfrm>
              <a:custGeom>
                <a:avLst/>
                <a:gdLst/>
                <a:ahLst/>
                <a:cxnLst/>
                <a:rect l="l" t="t" r="r" b="b"/>
                <a:pathLst>
                  <a:path w="24130" h="120000" extrusionOk="0">
                    <a:moveTo>
                      <a:pt x="0" y="0"/>
                    </a:moveTo>
                    <a:lnTo>
                      <a:pt x="23647"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11" name="Google Shape;3761;p25">
                <a:extLst>
                  <a:ext uri="{FF2B5EF4-FFF2-40B4-BE49-F238E27FC236}">
                    <a16:creationId xmlns:a16="http://schemas.microsoft.com/office/drawing/2014/main" id="{53B41EFC-5C53-41FC-9DB3-9CEA79D04209}"/>
                  </a:ext>
                </a:extLst>
              </p:cNvPr>
              <p:cNvSpPr/>
              <p:nvPr/>
            </p:nvSpPr>
            <p:spPr>
              <a:xfrm>
                <a:off x="7556785" y="3896084"/>
                <a:ext cx="0" cy="87216"/>
              </a:xfrm>
              <a:custGeom>
                <a:avLst/>
                <a:gdLst/>
                <a:ahLst/>
                <a:cxnLst/>
                <a:rect l="l" t="t" r="r" b="b"/>
                <a:pathLst>
                  <a:path w="120000" h="24129" extrusionOk="0">
                    <a:moveTo>
                      <a:pt x="0" y="23634"/>
                    </a:moveTo>
                    <a:lnTo>
                      <a:pt x="0"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12" name="Google Shape;3762;p25">
                <a:extLst>
                  <a:ext uri="{FF2B5EF4-FFF2-40B4-BE49-F238E27FC236}">
                    <a16:creationId xmlns:a16="http://schemas.microsoft.com/office/drawing/2014/main" id="{A8DDBAFC-D6E1-49A7-803B-4CAE0C9AC364}"/>
                  </a:ext>
                </a:extLst>
              </p:cNvPr>
              <p:cNvSpPr/>
              <p:nvPr/>
            </p:nvSpPr>
            <p:spPr>
              <a:xfrm>
                <a:off x="7544417" y="4006941"/>
                <a:ext cx="82781" cy="0"/>
              </a:xfrm>
              <a:custGeom>
                <a:avLst/>
                <a:gdLst/>
                <a:ahLst/>
                <a:cxnLst/>
                <a:rect l="l" t="t" r="r" b="b"/>
                <a:pathLst>
                  <a:path w="24130" h="120000" extrusionOk="0">
                    <a:moveTo>
                      <a:pt x="0" y="0"/>
                    </a:moveTo>
                    <a:lnTo>
                      <a:pt x="23622"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13" name="Google Shape;3763;p25">
                <a:extLst>
                  <a:ext uri="{FF2B5EF4-FFF2-40B4-BE49-F238E27FC236}">
                    <a16:creationId xmlns:a16="http://schemas.microsoft.com/office/drawing/2014/main" id="{0A6BE755-C1E1-4DD4-A93D-8443EBA49FC5}"/>
                  </a:ext>
                </a:extLst>
              </p:cNvPr>
              <p:cNvSpPr/>
              <p:nvPr/>
            </p:nvSpPr>
            <p:spPr>
              <a:xfrm>
                <a:off x="7585123" y="3964021"/>
                <a:ext cx="0" cy="87216"/>
              </a:xfrm>
              <a:custGeom>
                <a:avLst/>
                <a:gdLst/>
                <a:ahLst/>
                <a:cxnLst/>
                <a:rect l="l" t="t" r="r" b="b"/>
                <a:pathLst>
                  <a:path w="120000" h="24129" extrusionOk="0">
                    <a:moveTo>
                      <a:pt x="0" y="23622"/>
                    </a:moveTo>
                    <a:lnTo>
                      <a:pt x="0"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14" name="Google Shape;3764;p25">
                <a:extLst>
                  <a:ext uri="{FF2B5EF4-FFF2-40B4-BE49-F238E27FC236}">
                    <a16:creationId xmlns:a16="http://schemas.microsoft.com/office/drawing/2014/main" id="{F42CF3F1-35BB-4725-81AA-EB315EFBCAB6}"/>
                  </a:ext>
                </a:extLst>
              </p:cNvPr>
              <p:cNvSpPr/>
              <p:nvPr/>
            </p:nvSpPr>
            <p:spPr>
              <a:xfrm>
                <a:off x="7794955" y="4231074"/>
                <a:ext cx="82781" cy="0"/>
              </a:xfrm>
              <a:custGeom>
                <a:avLst/>
                <a:gdLst/>
                <a:ahLst/>
                <a:cxnLst/>
                <a:rect l="l" t="t" r="r" b="b"/>
                <a:pathLst>
                  <a:path w="24130" h="120000" extrusionOk="0">
                    <a:moveTo>
                      <a:pt x="0" y="0"/>
                    </a:moveTo>
                    <a:lnTo>
                      <a:pt x="23609"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15" name="Google Shape;3765;p25">
                <a:extLst>
                  <a:ext uri="{FF2B5EF4-FFF2-40B4-BE49-F238E27FC236}">
                    <a16:creationId xmlns:a16="http://schemas.microsoft.com/office/drawing/2014/main" id="{07F6D0B7-C38F-4D2D-A63A-3F2AAC56F82A}"/>
                  </a:ext>
                </a:extLst>
              </p:cNvPr>
              <p:cNvSpPr/>
              <p:nvPr/>
            </p:nvSpPr>
            <p:spPr>
              <a:xfrm>
                <a:off x="7835699" y="4188125"/>
                <a:ext cx="0" cy="87216"/>
              </a:xfrm>
              <a:custGeom>
                <a:avLst/>
                <a:gdLst/>
                <a:ahLst/>
                <a:cxnLst/>
                <a:rect l="l" t="t" r="r" b="b"/>
                <a:pathLst>
                  <a:path w="120000" h="24129" extrusionOk="0">
                    <a:moveTo>
                      <a:pt x="0" y="23634"/>
                    </a:moveTo>
                    <a:lnTo>
                      <a:pt x="0"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16" name="Google Shape;3766;p25">
                <a:extLst>
                  <a:ext uri="{FF2B5EF4-FFF2-40B4-BE49-F238E27FC236}">
                    <a16:creationId xmlns:a16="http://schemas.microsoft.com/office/drawing/2014/main" id="{46A368EE-2158-4313-AA6C-BBE52134E0AA}"/>
                  </a:ext>
                </a:extLst>
              </p:cNvPr>
              <p:cNvSpPr/>
              <p:nvPr/>
            </p:nvSpPr>
            <p:spPr>
              <a:xfrm>
                <a:off x="7899521" y="4231074"/>
                <a:ext cx="82781" cy="0"/>
              </a:xfrm>
              <a:custGeom>
                <a:avLst/>
                <a:gdLst/>
                <a:ahLst/>
                <a:cxnLst/>
                <a:rect l="l" t="t" r="r" b="b"/>
                <a:pathLst>
                  <a:path w="24130" h="120000" extrusionOk="0">
                    <a:moveTo>
                      <a:pt x="0" y="0"/>
                    </a:moveTo>
                    <a:lnTo>
                      <a:pt x="23634"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17" name="Google Shape;3767;p25">
                <a:extLst>
                  <a:ext uri="{FF2B5EF4-FFF2-40B4-BE49-F238E27FC236}">
                    <a16:creationId xmlns:a16="http://schemas.microsoft.com/office/drawing/2014/main" id="{9A9CA2B9-7EBD-4AB9-8878-D85695A25157}"/>
                  </a:ext>
                </a:extLst>
              </p:cNvPr>
              <p:cNvSpPr/>
              <p:nvPr/>
            </p:nvSpPr>
            <p:spPr>
              <a:xfrm>
                <a:off x="7940191" y="4188125"/>
                <a:ext cx="0" cy="87216"/>
              </a:xfrm>
              <a:custGeom>
                <a:avLst/>
                <a:gdLst/>
                <a:ahLst/>
                <a:cxnLst/>
                <a:rect l="l" t="t" r="r" b="b"/>
                <a:pathLst>
                  <a:path w="120000" h="24129" extrusionOk="0">
                    <a:moveTo>
                      <a:pt x="0" y="23634"/>
                    </a:moveTo>
                    <a:lnTo>
                      <a:pt x="0"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18" name="Google Shape;3768;p25">
                <a:extLst>
                  <a:ext uri="{FF2B5EF4-FFF2-40B4-BE49-F238E27FC236}">
                    <a16:creationId xmlns:a16="http://schemas.microsoft.com/office/drawing/2014/main" id="{B17BCA7E-5856-4E11-B149-41CF58B1D889}"/>
                  </a:ext>
                </a:extLst>
              </p:cNvPr>
              <p:cNvSpPr/>
              <p:nvPr/>
            </p:nvSpPr>
            <p:spPr>
              <a:xfrm>
                <a:off x="8213291" y="4335696"/>
                <a:ext cx="82781" cy="0"/>
              </a:xfrm>
              <a:custGeom>
                <a:avLst/>
                <a:gdLst/>
                <a:ahLst/>
                <a:cxnLst/>
                <a:rect l="l" t="t" r="r" b="b"/>
                <a:pathLst>
                  <a:path w="24130" h="120000" extrusionOk="0">
                    <a:moveTo>
                      <a:pt x="0" y="0"/>
                    </a:moveTo>
                    <a:lnTo>
                      <a:pt x="23609"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19" name="Google Shape;3769;p25">
                <a:extLst>
                  <a:ext uri="{FF2B5EF4-FFF2-40B4-BE49-F238E27FC236}">
                    <a16:creationId xmlns:a16="http://schemas.microsoft.com/office/drawing/2014/main" id="{205C4D99-7642-4992-893F-BE3883C1AC4F}"/>
                  </a:ext>
                </a:extLst>
              </p:cNvPr>
              <p:cNvSpPr/>
              <p:nvPr/>
            </p:nvSpPr>
            <p:spPr>
              <a:xfrm>
                <a:off x="8253961" y="4292682"/>
                <a:ext cx="0" cy="87216"/>
              </a:xfrm>
              <a:custGeom>
                <a:avLst/>
                <a:gdLst/>
                <a:ahLst/>
                <a:cxnLst/>
                <a:rect l="l" t="t" r="r" b="b"/>
                <a:pathLst>
                  <a:path w="120000" h="24129" extrusionOk="0">
                    <a:moveTo>
                      <a:pt x="0" y="23609"/>
                    </a:moveTo>
                    <a:lnTo>
                      <a:pt x="0"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20" name="Google Shape;3770;p25">
                <a:extLst>
                  <a:ext uri="{FF2B5EF4-FFF2-40B4-BE49-F238E27FC236}">
                    <a16:creationId xmlns:a16="http://schemas.microsoft.com/office/drawing/2014/main" id="{6D742663-1D39-4E84-9F7B-C0E36B7B4788}"/>
                  </a:ext>
                </a:extLst>
              </p:cNvPr>
              <p:cNvSpPr/>
              <p:nvPr/>
            </p:nvSpPr>
            <p:spPr>
              <a:xfrm>
                <a:off x="8644660" y="4335696"/>
                <a:ext cx="82781" cy="0"/>
              </a:xfrm>
              <a:custGeom>
                <a:avLst/>
                <a:gdLst/>
                <a:ahLst/>
                <a:cxnLst/>
                <a:rect l="l" t="t" r="r" b="b"/>
                <a:pathLst>
                  <a:path w="24130" h="120000" extrusionOk="0">
                    <a:moveTo>
                      <a:pt x="0" y="0"/>
                    </a:moveTo>
                    <a:lnTo>
                      <a:pt x="23609"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21" name="Google Shape;3771;p25">
                <a:extLst>
                  <a:ext uri="{FF2B5EF4-FFF2-40B4-BE49-F238E27FC236}">
                    <a16:creationId xmlns:a16="http://schemas.microsoft.com/office/drawing/2014/main" id="{81E033F7-CB54-4351-BE25-73C1D3DB4E69}"/>
                  </a:ext>
                </a:extLst>
              </p:cNvPr>
              <p:cNvSpPr/>
              <p:nvPr/>
            </p:nvSpPr>
            <p:spPr>
              <a:xfrm>
                <a:off x="8685330" y="4292682"/>
                <a:ext cx="0" cy="87216"/>
              </a:xfrm>
              <a:custGeom>
                <a:avLst/>
                <a:gdLst/>
                <a:ahLst/>
                <a:cxnLst/>
                <a:rect l="l" t="t" r="r" b="b"/>
                <a:pathLst>
                  <a:path w="120000" h="24129" extrusionOk="0">
                    <a:moveTo>
                      <a:pt x="0" y="23609"/>
                    </a:moveTo>
                    <a:lnTo>
                      <a:pt x="0"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22" name="Google Shape;3772;p25">
                <a:extLst>
                  <a:ext uri="{FF2B5EF4-FFF2-40B4-BE49-F238E27FC236}">
                    <a16:creationId xmlns:a16="http://schemas.microsoft.com/office/drawing/2014/main" id="{D5694352-8E0C-45CD-8987-C4BF5D81F798}"/>
                  </a:ext>
                </a:extLst>
              </p:cNvPr>
              <p:cNvSpPr/>
              <p:nvPr/>
            </p:nvSpPr>
            <p:spPr>
              <a:xfrm>
                <a:off x="8866897" y="4335696"/>
                <a:ext cx="82781" cy="0"/>
              </a:xfrm>
              <a:custGeom>
                <a:avLst/>
                <a:gdLst/>
                <a:ahLst/>
                <a:cxnLst/>
                <a:rect l="l" t="t" r="r" b="b"/>
                <a:pathLst>
                  <a:path w="24130" h="120000" extrusionOk="0">
                    <a:moveTo>
                      <a:pt x="0" y="0"/>
                    </a:moveTo>
                    <a:lnTo>
                      <a:pt x="23609"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23" name="Google Shape;3773;p25">
                <a:extLst>
                  <a:ext uri="{FF2B5EF4-FFF2-40B4-BE49-F238E27FC236}">
                    <a16:creationId xmlns:a16="http://schemas.microsoft.com/office/drawing/2014/main" id="{79740F1D-81B1-4D8C-AA8B-C36054C2AC21}"/>
                  </a:ext>
                </a:extLst>
              </p:cNvPr>
              <p:cNvSpPr/>
              <p:nvPr/>
            </p:nvSpPr>
            <p:spPr>
              <a:xfrm>
                <a:off x="8907496" y="4292682"/>
                <a:ext cx="0" cy="87216"/>
              </a:xfrm>
              <a:custGeom>
                <a:avLst/>
                <a:gdLst/>
                <a:ahLst/>
                <a:cxnLst/>
                <a:rect l="l" t="t" r="r" b="b"/>
                <a:pathLst>
                  <a:path w="120000" h="24129" extrusionOk="0">
                    <a:moveTo>
                      <a:pt x="0" y="23609"/>
                    </a:moveTo>
                    <a:lnTo>
                      <a:pt x="0"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24" name="Google Shape;3774;p25">
                <a:extLst>
                  <a:ext uri="{FF2B5EF4-FFF2-40B4-BE49-F238E27FC236}">
                    <a16:creationId xmlns:a16="http://schemas.microsoft.com/office/drawing/2014/main" id="{92F6435B-4F1D-4C83-959F-86092C51B81A}"/>
                  </a:ext>
                </a:extLst>
              </p:cNvPr>
              <p:cNvSpPr/>
              <p:nvPr/>
            </p:nvSpPr>
            <p:spPr>
              <a:xfrm>
                <a:off x="9359230" y="4335696"/>
                <a:ext cx="82781" cy="0"/>
              </a:xfrm>
              <a:custGeom>
                <a:avLst/>
                <a:gdLst/>
                <a:ahLst/>
                <a:cxnLst/>
                <a:rect l="l" t="t" r="r" b="b"/>
                <a:pathLst>
                  <a:path w="24130" h="120000" extrusionOk="0">
                    <a:moveTo>
                      <a:pt x="0" y="0"/>
                    </a:moveTo>
                    <a:lnTo>
                      <a:pt x="23609"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225" name="Google Shape;3775;p25">
                <a:extLst>
                  <a:ext uri="{FF2B5EF4-FFF2-40B4-BE49-F238E27FC236}">
                    <a16:creationId xmlns:a16="http://schemas.microsoft.com/office/drawing/2014/main" id="{4ACD5A99-1AF5-40B3-94AF-0ACF42933227}"/>
                  </a:ext>
                </a:extLst>
              </p:cNvPr>
              <p:cNvSpPr/>
              <p:nvPr/>
            </p:nvSpPr>
            <p:spPr>
              <a:xfrm>
                <a:off x="9399863" y="4292682"/>
                <a:ext cx="0" cy="87216"/>
              </a:xfrm>
              <a:custGeom>
                <a:avLst/>
                <a:gdLst/>
                <a:ahLst/>
                <a:cxnLst/>
                <a:rect l="l" t="t" r="r" b="b"/>
                <a:pathLst>
                  <a:path w="120000" h="24129" extrusionOk="0">
                    <a:moveTo>
                      <a:pt x="0" y="23609"/>
                    </a:moveTo>
                    <a:lnTo>
                      <a:pt x="0" y="0"/>
                    </a:lnTo>
                  </a:path>
                </a:pathLst>
              </a:custGeom>
              <a:noFill/>
              <a:ln w="19050" cap="flat" cmpd="sng">
                <a:solidFill>
                  <a:schemeClr val="tx1"/>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grpSp>
          <p:nvGrpSpPr>
            <p:cNvPr id="1182" name="Group 1181">
              <a:extLst>
                <a:ext uri="{FF2B5EF4-FFF2-40B4-BE49-F238E27FC236}">
                  <a16:creationId xmlns:a16="http://schemas.microsoft.com/office/drawing/2014/main" id="{B35C974E-6089-475C-A3E0-FA4125194C9C}"/>
                </a:ext>
              </a:extLst>
            </p:cNvPr>
            <p:cNvGrpSpPr/>
            <p:nvPr/>
          </p:nvGrpSpPr>
          <p:grpSpPr>
            <a:xfrm>
              <a:off x="9521650" y="1499929"/>
              <a:ext cx="3027705" cy="2591660"/>
              <a:chOff x="9521650" y="1499929"/>
              <a:chExt cx="3027705" cy="2591660"/>
            </a:xfrm>
          </p:grpSpPr>
          <p:sp>
            <p:nvSpPr>
              <p:cNvPr id="1183" name="Google Shape;3776;p25">
                <a:extLst>
                  <a:ext uri="{FF2B5EF4-FFF2-40B4-BE49-F238E27FC236}">
                    <a16:creationId xmlns:a16="http://schemas.microsoft.com/office/drawing/2014/main" id="{25288060-7790-413D-85C4-5DA59876E72E}"/>
                  </a:ext>
                </a:extLst>
              </p:cNvPr>
              <p:cNvSpPr/>
              <p:nvPr/>
            </p:nvSpPr>
            <p:spPr>
              <a:xfrm>
                <a:off x="9521650" y="1499929"/>
                <a:ext cx="2982463" cy="2538262"/>
              </a:xfrm>
              <a:custGeom>
                <a:avLst/>
                <a:gdLst/>
                <a:ahLst/>
                <a:cxnLst/>
                <a:rect l="l" t="t" r="r" b="b"/>
                <a:pathLst>
                  <a:path w="1047750" h="1016635" extrusionOk="0">
                    <a:moveTo>
                      <a:pt x="0" y="0"/>
                    </a:moveTo>
                    <a:lnTo>
                      <a:pt x="15354" y="0"/>
                    </a:lnTo>
                    <a:lnTo>
                      <a:pt x="15354" y="46494"/>
                    </a:lnTo>
                    <a:lnTo>
                      <a:pt x="46126" y="46494"/>
                    </a:lnTo>
                    <a:lnTo>
                      <a:pt x="46126" y="93014"/>
                    </a:lnTo>
                    <a:lnTo>
                      <a:pt x="79146" y="93014"/>
                    </a:lnTo>
                    <a:lnTo>
                      <a:pt x="79146" y="139534"/>
                    </a:lnTo>
                    <a:lnTo>
                      <a:pt x="86067" y="139534"/>
                    </a:lnTo>
                    <a:lnTo>
                      <a:pt x="86067" y="186029"/>
                    </a:lnTo>
                    <a:lnTo>
                      <a:pt x="107568" y="186029"/>
                    </a:lnTo>
                    <a:lnTo>
                      <a:pt x="107568" y="232524"/>
                    </a:lnTo>
                    <a:lnTo>
                      <a:pt x="113728" y="232524"/>
                    </a:lnTo>
                    <a:lnTo>
                      <a:pt x="113728" y="279006"/>
                    </a:lnTo>
                    <a:lnTo>
                      <a:pt x="122936" y="279006"/>
                    </a:lnTo>
                    <a:lnTo>
                      <a:pt x="122936" y="325513"/>
                    </a:lnTo>
                    <a:lnTo>
                      <a:pt x="134480" y="325513"/>
                    </a:lnTo>
                    <a:lnTo>
                      <a:pt x="134480" y="372008"/>
                    </a:lnTo>
                    <a:lnTo>
                      <a:pt x="149847" y="372008"/>
                    </a:lnTo>
                    <a:lnTo>
                      <a:pt x="149847" y="418515"/>
                    </a:lnTo>
                    <a:lnTo>
                      <a:pt x="160591" y="418515"/>
                    </a:lnTo>
                    <a:lnTo>
                      <a:pt x="160591" y="464997"/>
                    </a:lnTo>
                    <a:lnTo>
                      <a:pt x="165214" y="464997"/>
                    </a:lnTo>
                    <a:lnTo>
                      <a:pt x="165214" y="511505"/>
                    </a:lnTo>
                    <a:lnTo>
                      <a:pt x="225145" y="511505"/>
                    </a:lnTo>
                    <a:lnTo>
                      <a:pt x="225145" y="558012"/>
                    </a:lnTo>
                    <a:lnTo>
                      <a:pt x="247446" y="558012"/>
                    </a:lnTo>
                    <a:lnTo>
                      <a:pt x="247446" y="604507"/>
                    </a:lnTo>
                    <a:lnTo>
                      <a:pt x="249745" y="604507"/>
                    </a:lnTo>
                    <a:lnTo>
                      <a:pt x="249745" y="651040"/>
                    </a:lnTo>
                    <a:lnTo>
                      <a:pt x="272770" y="651040"/>
                    </a:lnTo>
                    <a:lnTo>
                      <a:pt x="272770" y="697547"/>
                    </a:lnTo>
                    <a:lnTo>
                      <a:pt x="449516" y="697547"/>
                    </a:lnTo>
                    <a:lnTo>
                      <a:pt x="449516" y="753325"/>
                    </a:lnTo>
                    <a:lnTo>
                      <a:pt x="475640" y="753325"/>
                    </a:lnTo>
                    <a:lnTo>
                      <a:pt x="475640" y="825080"/>
                    </a:lnTo>
                    <a:lnTo>
                      <a:pt x="485648" y="825080"/>
                    </a:lnTo>
                    <a:lnTo>
                      <a:pt x="485648" y="896835"/>
                    </a:lnTo>
                    <a:lnTo>
                      <a:pt x="647001" y="896835"/>
                    </a:lnTo>
                    <a:lnTo>
                      <a:pt x="647001" y="1016393"/>
                    </a:lnTo>
                    <a:lnTo>
                      <a:pt x="1047330" y="1016393"/>
                    </a:lnTo>
                  </a:path>
                </a:pathLst>
              </a:custGeom>
              <a:noFill/>
              <a:ln w="1905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84" name="Google Shape;3777;p25">
                <a:extLst>
                  <a:ext uri="{FF2B5EF4-FFF2-40B4-BE49-F238E27FC236}">
                    <a16:creationId xmlns:a16="http://schemas.microsoft.com/office/drawing/2014/main" id="{D30D697C-1FD7-4A2E-8F8D-6B3AA23765B7}"/>
                  </a:ext>
                </a:extLst>
              </p:cNvPr>
              <p:cNvSpPr/>
              <p:nvPr/>
            </p:nvSpPr>
            <p:spPr>
              <a:xfrm>
                <a:off x="10976261" y="3686320"/>
                <a:ext cx="0" cy="106732"/>
              </a:xfrm>
              <a:custGeom>
                <a:avLst/>
                <a:gdLst/>
                <a:ahLst/>
                <a:cxnLst/>
                <a:rect l="l" t="t" r="r" b="b"/>
                <a:pathLst>
                  <a:path w="120000" h="24129" extrusionOk="0">
                    <a:moveTo>
                      <a:pt x="0" y="23622"/>
                    </a:moveTo>
                    <a:lnTo>
                      <a:pt x="0"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85" name="Google Shape;3778;p25">
                <a:extLst>
                  <a:ext uri="{FF2B5EF4-FFF2-40B4-BE49-F238E27FC236}">
                    <a16:creationId xmlns:a16="http://schemas.microsoft.com/office/drawing/2014/main" id="{6C1AF82B-28C7-4A58-8954-61FE9DE901DF}"/>
                  </a:ext>
                </a:extLst>
              </p:cNvPr>
              <p:cNvSpPr/>
              <p:nvPr/>
            </p:nvSpPr>
            <p:spPr>
              <a:xfrm>
                <a:off x="10270685" y="3241515"/>
                <a:ext cx="91422" cy="0"/>
              </a:xfrm>
              <a:custGeom>
                <a:avLst/>
                <a:gdLst/>
                <a:ahLst/>
                <a:cxnLst/>
                <a:rect l="l" t="t" r="r" b="b"/>
                <a:pathLst>
                  <a:path w="24130" h="120000" extrusionOk="0">
                    <a:moveTo>
                      <a:pt x="0" y="0"/>
                    </a:moveTo>
                    <a:lnTo>
                      <a:pt x="23622"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86" name="Google Shape;3779;p25">
                <a:extLst>
                  <a:ext uri="{FF2B5EF4-FFF2-40B4-BE49-F238E27FC236}">
                    <a16:creationId xmlns:a16="http://schemas.microsoft.com/office/drawing/2014/main" id="{C064FEF6-A3CE-4928-A6EC-48A6FD92B38C}"/>
                  </a:ext>
                </a:extLst>
              </p:cNvPr>
              <p:cNvSpPr/>
              <p:nvPr/>
            </p:nvSpPr>
            <p:spPr>
              <a:xfrm>
                <a:off x="10315636" y="3188721"/>
                <a:ext cx="0" cy="106732"/>
              </a:xfrm>
              <a:custGeom>
                <a:avLst/>
                <a:gdLst/>
                <a:ahLst/>
                <a:cxnLst/>
                <a:rect l="l" t="t" r="r" b="b"/>
                <a:pathLst>
                  <a:path w="120000" h="24129" extrusionOk="0">
                    <a:moveTo>
                      <a:pt x="0" y="23609"/>
                    </a:moveTo>
                    <a:lnTo>
                      <a:pt x="0"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87" name="Google Shape;3780;p25">
                <a:extLst>
                  <a:ext uri="{FF2B5EF4-FFF2-40B4-BE49-F238E27FC236}">
                    <a16:creationId xmlns:a16="http://schemas.microsoft.com/office/drawing/2014/main" id="{09B0BE6A-13C2-464E-B088-BCCD69617E2B}"/>
                  </a:ext>
                </a:extLst>
              </p:cNvPr>
              <p:cNvSpPr/>
              <p:nvPr/>
            </p:nvSpPr>
            <p:spPr>
              <a:xfrm>
                <a:off x="10517813" y="3241515"/>
                <a:ext cx="91422" cy="0"/>
              </a:xfrm>
              <a:custGeom>
                <a:avLst/>
                <a:gdLst/>
                <a:ahLst/>
                <a:cxnLst/>
                <a:rect l="l" t="t" r="r" b="b"/>
                <a:pathLst>
                  <a:path w="24130" h="120000" extrusionOk="0">
                    <a:moveTo>
                      <a:pt x="0" y="0"/>
                    </a:moveTo>
                    <a:lnTo>
                      <a:pt x="23622"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88" name="Google Shape;3781;p25">
                <a:extLst>
                  <a:ext uri="{FF2B5EF4-FFF2-40B4-BE49-F238E27FC236}">
                    <a16:creationId xmlns:a16="http://schemas.microsoft.com/office/drawing/2014/main" id="{C7E8EFB4-1F6B-44BE-9690-4D51DF43EA72}"/>
                  </a:ext>
                </a:extLst>
              </p:cNvPr>
              <p:cNvSpPr/>
              <p:nvPr/>
            </p:nvSpPr>
            <p:spPr>
              <a:xfrm>
                <a:off x="10562838" y="3188721"/>
                <a:ext cx="0" cy="106732"/>
              </a:xfrm>
              <a:custGeom>
                <a:avLst/>
                <a:gdLst/>
                <a:ahLst/>
                <a:cxnLst/>
                <a:rect l="l" t="t" r="r" b="b"/>
                <a:pathLst>
                  <a:path w="120000" h="24129" extrusionOk="0">
                    <a:moveTo>
                      <a:pt x="0" y="23609"/>
                    </a:moveTo>
                    <a:lnTo>
                      <a:pt x="0"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89" name="Google Shape;3782;p25">
                <a:extLst>
                  <a:ext uri="{FF2B5EF4-FFF2-40B4-BE49-F238E27FC236}">
                    <a16:creationId xmlns:a16="http://schemas.microsoft.com/office/drawing/2014/main" id="{7D3C0A21-70F7-4808-8EDF-43E210F69C79}"/>
                  </a:ext>
                </a:extLst>
              </p:cNvPr>
              <p:cNvSpPr/>
              <p:nvPr/>
            </p:nvSpPr>
            <p:spPr>
              <a:xfrm>
                <a:off x="10791223" y="3380779"/>
                <a:ext cx="91422" cy="0"/>
              </a:xfrm>
              <a:custGeom>
                <a:avLst/>
                <a:gdLst/>
                <a:ahLst/>
                <a:cxnLst/>
                <a:rect l="l" t="t" r="r" b="b"/>
                <a:pathLst>
                  <a:path w="24130" h="120000" extrusionOk="0">
                    <a:moveTo>
                      <a:pt x="0" y="0"/>
                    </a:moveTo>
                    <a:lnTo>
                      <a:pt x="23609"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90" name="Google Shape;3783;p25">
                <a:extLst>
                  <a:ext uri="{FF2B5EF4-FFF2-40B4-BE49-F238E27FC236}">
                    <a16:creationId xmlns:a16="http://schemas.microsoft.com/office/drawing/2014/main" id="{3DBFD8CE-5C9C-4503-9714-A87A2FC6143C}"/>
                  </a:ext>
                </a:extLst>
              </p:cNvPr>
              <p:cNvSpPr/>
              <p:nvPr/>
            </p:nvSpPr>
            <p:spPr>
              <a:xfrm>
                <a:off x="10836248" y="3328078"/>
                <a:ext cx="0" cy="106732"/>
              </a:xfrm>
              <a:custGeom>
                <a:avLst/>
                <a:gdLst/>
                <a:ahLst/>
                <a:cxnLst/>
                <a:rect l="l" t="t" r="r" b="b"/>
                <a:pathLst>
                  <a:path w="120000" h="24129" extrusionOk="0">
                    <a:moveTo>
                      <a:pt x="0" y="23609"/>
                    </a:moveTo>
                    <a:lnTo>
                      <a:pt x="0"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91" name="Google Shape;3784;p25">
                <a:extLst>
                  <a:ext uri="{FF2B5EF4-FFF2-40B4-BE49-F238E27FC236}">
                    <a16:creationId xmlns:a16="http://schemas.microsoft.com/office/drawing/2014/main" id="{F1A228CF-0798-461F-8F28-1109B37322F7}"/>
                  </a:ext>
                </a:extLst>
              </p:cNvPr>
              <p:cNvSpPr/>
              <p:nvPr/>
            </p:nvSpPr>
            <p:spPr>
              <a:xfrm>
                <a:off x="10828425" y="3380779"/>
                <a:ext cx="91422" cy="0"/>
              </a:xfrm>
              <a:custGeom>
                <a:avLst/>
                <a:gdLst/>
                <a:ahLst/>
                <a:cxnLst/>
                <a:rect l="l" t="t" r="r" b="b"/>
                <a:pathLst>
                  <a:path w="24130" h="120000" extrusionOk="0">
                    <a:moveTo>
                      <a:pt x="0" y="0"/>
                    </a:moveTo>
                    <a:lnTo>
                      <a:pt x="23609"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92" name="Google Shape;3785;p25">
                <a:extLst>
                  <a:ext uri="{FF2B5EF4-FFF2-40B4-BE49-F238E27FC236}">
                    <a16:creationId xmlns:a16="http://schemas.microsoft.com/office/drawing/2014/main" id="{2F4C8501-FB75-49E9-8C81-403CFE904828}"/>
                  </a:ext>
                </a:extLst>
              </p:cNvPr>
              <p:cNvSpPr/>
              <p:nvPr/>
            </p:nvSpPr>
            <p:spPr>
              <a:xfrm>
                <a:off x="10873413" y="3328078"/>
                <a:ext cx="0" cy="106732"/>
              </a:xfrm>
              <a:custGeom>
                <a:avLst/>
                <a:gdLst/>
                <a:ahLst/>
                <a:cxnLst/>
                <a:rect l="l" t="t" r="r" b="b"/>
                <a:pathLst>
                  <a:path w="120000" h="24129" extrusionOk="0">
                    <a:moveTo>
                      <a:pt x="0" y="23609"/>
                    </a:moveTo>
                    <a:lnTo>
                      <a:pt x="0"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93" name="Google Shape;3786;p25">
                <a:extLst>
                  <a:ext uri="{FF2B5EF4-FFF2-40B4-BE49-F238E27FC236}">
                    <a16:creationId xmlns:a16="http://schemas.microsoft.com/office/drawing/2014/main" id="{D39D6A35-10BA-4316-9BDF-8A8DE55A1607}"/>
                  </a:ext>
                </a:extLst>
              </p:cNvPr>
              <p:cNvSpPr/>
              <p:nvPr/>
            </p:nvSpPr>
            <p:spPr>
              <a:xfrm>
                <a:off x="10931236" y="3739086"/>
                <a:ext cx="91422" cy="0"/>
              </a:xfrm>
              <a:custGeom>
                <a:avLst/>
                <a:gdLst/>
                <a:ahLst/>
                <a:cxnLst/>
                <a:rect l="l" t="t" r="r" b="b"/>
                <a:pathLst>
                  <a:path w="24130" h="120000" extrusionOk="0">
                    <a:moveTo>
                      <a:pt x="0" y="0"/>
                    </a:moveTo>
                    <a:lnTo>
                      <a:pt x="23609"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94" name="Google Shape;3787;p25">
                <a:extLst>
                  <a:ext uri="{FF2B5EF4-FFF2-40B4-BE49-F238E27FC236}">
                    <a16:creationId xmlns:a16="http://schemas.microsoft.com/office/drawing/2014/main" id="{296DA9E5-654E-4FB3-8C61-747B6D5DA3AB}"/>
                  </a:ext>
                </a:extLst>
              </p:cNvPr>
              <p:cNvSpPr/>
              <p:nvPr/>
            </p:nvSpPr>
            <p:spPr>
              <a:xfrm>
                <a:off x="11149028" y="3686320"/>
                <a:ext cx="0" cy="106732"/>
              </a:xfrm>
              <a:custGeom>
                <a:avLst/>
                <a:gdLst/>
                <a:ahLst/>
                <a:cxnLst/>
                <a:rect l="l" t="t" r="r" b="b"/>
                <a:pathLst>
                  <a:path w="120000" h="24129" extrusionOk="0">
                    <a:moveTo>
                      <a:pt x="0" y="23622"/>
                    </a:moveTo>
                    <a:lnTo>
                      <a:pt x="0"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95" name="Google Shape;3788;p25">
                <a:extLst>
                  <a:ext uri="{FF2B5EF4-FFF2-40B4-BE49-F238E27FC236}">
                    <a16:creationId xmlns:a16="http://schemas.microsoft.com/office/drawing/2014/main" id="{046A3E94-CFD4-44BE-B041-06FB786265CD}"/>
                  </a:ext>
                </a:extLst>
              </p:cNvPr>
              <p:cNvSpPr/>
              <p:nvPr/>
            </p:nvSpPr>
            <p:spPr>
              <a:xfrm>
                <a:off x="11887073" y="4037587"/>
                <a:ext cx="91422" cy="0"/>
              </a:xfrm>
              <a:custGeom>
                <a:avLst/>
                <a:gdLst/>
                <a:ahLst/>
                <a:cxnLst/>
                <a:rect l="l" t="t" r="r" b="b"/>
                <a:pathLst>
                  <a:path w="24130" h="120000" extrusionOk="0">
                    <a:moveTo>
                      <a:pt x="0" y="0"/>
                    </a:moveTo>
                    <a:lnTo>
                      <a:pt x="23622"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96" name="Google Shape;3789;p25">
                <a:extLst>
                  <a:ext uri="{FF2B5EF4-FFF2-40B4-BE49-F238E27FC236}">
                    <a16:creationId xmlns:a16="http://schemas.microsoft.com/office/drawing/2014/main" id="{87005A81-23F5-4BFD-9D6E-46C8EDA042B6}"/>
                  </a:ext>
                </a:extLst>
              </p:cNvPr>
              <p:cNvSpPr/>
              <p:nvPr/>
            </p:nvSpPr>
            <p:spPr>
              <a:xfrm>
                <a:off x="12457933" y="4037587"/>
                <a:ext cx="91422" cy="0"/>
              </a:xfrm>
              <a:custGeom>
                <a:avLst/>
                <a:gdLst/>
                <a:ahLst/>
                <a:cxnLst/>
                <a:rect l="l" t="t" r="r" b="b"/>
                <a:pathLst>
                  <a:path w="24130" h="120000" extrusionOk="0">
                    <a:moveTo>
                      <a:pt x="0" y="0"/>
                    </a:moveTo>
                    <a:lnTo>
                      <a:pt x="23634"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97" name="Google Shape;3790;p25">
                <a:extLst>
                  <a:ext uri="{FF2B5EF4-FFF2-40B4-BE49-F238E27FC236}">
                    <a16:creationId xmlns:a16="http://schemas.microsoft.com/office/drawing/2014/main" id="{B24D1872-DDB6-4F85-B727-F28D6DD208F4}"/>
                  </a:ext>
                </a:extLst>
              </p:cNvPr>
              <p:cNvSpPr/>
              <p:nvPr/>
            </p:nvSpPr>
            <p:spPr>
              <a:xfrm>
                <a:off x="12502920" y="3984857"/>
                <a:ext cx="0" cy="106732"/>
              </a:xfrm>
              <a:custGeom>
                <a:avLst/>
                <a:gdLst/>
                <a:ahLst/>
                <a:cxnLst/>
                <a:rect l="l" t="t" r="r" b="b"/>
                <a:pathLst>
                  <a:path w="120000" h="24129" extrusionOk="0">
                    <a:moveTo>
                      <a:pt x="0" y="23634"/>
                    </a:moveTo>
                    <a:lnTo>
                      <a:pt x="0"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sp>
            <p:nvSpPr>
              <p:cNvPr id="1198" name="Google Shape;3791;p25">
                <a:extLst>
                  <a:ext uri="{FF2B5EF4-FFF2-40B4-BE49-F238E27FC236}">
                    <a16:creationId xmlns:a16="http://schemas.microsoft.com/office/drawing/2014/main" id="{98C2B904-0506-4527-82D7-814B1ACF04DB}"/>
                  </a:ext>
                </a:extLst>
              </p:cNvPr>
              <p:cNvSpPr/>
              <p:nvPr/>
            </p:nvSpPr>
            <p:spPr>
              <a:xfrm>
                <a:off x="10857168" y="3734086"/>
                <a:ext cx="91422" cy="0"/>
              </a:xfrm>
              <a:custGeom>
                <a:avLst/>
                <a:gdLst/>
                <a:ahLst/>
                <a:cxnLst/>
                <a:rect l="l" t="t" r="r" b="b"/>
                <a:pathLst>
                  <a:path w="24130" h="120000" extrusionOk="0">
                    <a:moveTo>
                      <a:pt x="0" y="0"/>
                    </a:moveTo>
                    <a:lnTo>
                      <a:pt x="23634" y="0"/>
                    </a:lnTo>
                  </a:path>
                </a:pathLst>
              </a:custGeom>
              <a:noFill/>
              <a:ln w="12700" cap="flat" cmpd="sng">
                <a:solidFill>
                  <a:schemeClr val="accent5"/>
                </a:solidFill>
                <a:prstDash val="solid"/>
                <a:round/>
                <a:headEnd type="none" w="sm" len="sm"/>
                <a:tailEnd type="none" w="sm" len="sm"/>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grpSp>
      </p:grpSp>
      <p:graphicFrame>
        <p:nvGraphicFramePr>
          <p:cNvPr id="652" name="Table 22">
            <a:extLst>
              <a:ext uri="{FF2B5EF4-FFF2-40B4-BE49-F238E27FC236}">
                <a16:creationId xmlns:a16="http://schemas.microsoft.com/office/drawing/2014/main" id="{039B62E0-7147-4563-A226-5E27CC843F7E}"/>
              </a:ext>
            </a:extLst>
          </p:cNvPr>
          <p:cNvGraphicFramePr>
            <a:graphicFrameLocks noGrp="1"/>
          </p:cNvGraphicFramePr>
          <p:nvPr/>
        </p:nvGraphicFramePr>
        <p:xfrm>
          <a:off x="1644276" y="1475647"/>
          <a:ext cx="2637181" cy="775680"/>
        </p:xfrm>
        <a:graphic>
          <a:graphicData uri="http://schemas.openxmlformats.org/drawingml/2006/table">
            <a:tbl>
              <a:tblPr firstRow="1" bandRow="1"/>
              <a:tblGrid>
                <a:gridCol w="442621">
                  <a:extLst>
                    <a:ext uri="{9D8B030D-6E8A-4147-A177-3AD203B41FA5}">
                      <a16:colId xmlns:a16="http://schemas.microsoft.com/office/drawing/2014/main" val="1306823302"/>
                    </a:ext>
                  </a:extLst>
                </a:gridCol>
                <a:gridCol w="2194560">
                  <a:extLst>
                    <a:ext uri="{9D8B030D-6E8A-4147-A177-3AD203B41FA5}">
                      <a16:colId xmlns:a16="http://schemas.microsoft.com/office/drawing/2014/main" val="3941935012"/>
                    </a:ext>
                  </a:extLst>
                </a:gridCol>
              </a:tblGrid>
              <a:tr h="135728">
                <a:tc>
                  <a:txBody>
                    <a:bodyPr/>
                    <a:lstStyle/>
                    <a:p>
                      <a:r>
                        <a:rPr lang="en-ID" sz="700" b="1" dirty="0">
                          <a:solidFill>
                            <a:schemeClr val="tx2"/>
                          </a:solidFill>
                          <a:latin typeface="Gene Sans Light" panose="00000400000000000000" pitchFamily="2" charset="0"/>
                        </a:rPr>
                        <a:t>No. of events</a:t>
                      </a:r>
                    </a:p>
                  </a:txBody>
                  <a:tcPr marL="72000" marR="72000" marT="36000" marB="3600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r>
                        <a:rPr lang="en-ID" sz="700" b="1" dirty="0">
                          <a:solidFill>
                            <a:schemeClr val="tx2"/>
                          </a:solidFill>
                          <a:latin typeface="Gene Sans Light" panose="00000400000000000000" pitchFamily="2" charset="0"/>
                        </a:rPr>
                        <a:t>Median (months, 95% CI)</a:t>
                      </a:r>
                    </a:p>
                  </a:txBody>
                  <a:tcPr marL="72000" marR="72000" marT="36000" marB="3600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354381166"/>
                  </a:ext>
                </a:extLst>
              </a:tr>
              <a:tr h="135728">
                <a:tc>
                  <a:txBody>
                    <a:bodyPr/>
                    <a:lstStyle/>
                    <a:p>
                      <a:r>
                        <a:rPr lang="en-ID" sz="600" b="1" dirty="0">
                          <a:solidFill>
                            <a:schemeClr val="accent4"/>
                          </a:solidFill>
                          <a:latin typeface="Gene Sans Light" panose="00000400000000000000" pitchFamily="2" charset="0"/>
                        </a:rPr>
                        <a:t>462/557</a:t>
                      </a:r>
                    </a:p>
                  </a:txBody>
                  <a:tcPr marL="72000" marR="72000" marT="36000" marB="3600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r>
                        <a:rPr lang="en-US" sz="600" b="1" dirty="0">
                          <a:solidFill>
                            <a:schemeClr val="accent4"/>
                          </a:solidFill>
                          <a:latin typeface="Gene Sans Light" panose="00000400000000000000" pitchFamily="2" charset="0"/>
                        </a:rPr>
                        <a:t>3.4 (2.7 to 3.9) Relative to 0 to &lt; 10 mg group</a:t>
                      </a:r>
                      <a:endParaRPr lang="en-ID" sz="600" b="1" dirty="0">
                        <a:solidFill>
                          <a:schemeClr val="accent4"/>
                        </a:solidFill>
                        <a:latin typeface="Gene Sans Light" panose="00000400000000000000" pitchFamily="2" charset="0"/>
                      </a:endParaRPr>
                    </a:p>
                  </a:txBody>
                  <a:tcPr marL="72000" marR="72000" marT="36000" marB="3600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531908404"/>
                  </a:ext>
                </a:extLst>
              </a:tr>
              <a:tr h="135728">
                <a:tc>
                  <a:txBody>
                    <a:bodyPr/>
                    <a:lstStyle/>
                    <a:p>
                      <a:r>
                        <a:rPr lang="en-ID" sz="600" b="1" dirty="0">
                          <a:solidFill>
                            <a:schemeClr val="tx1"/>
                          </a:solidFill>
                          <a:latin typeface="Gene Sans Light" panose="00000400000000000000" pitchFamily="2" charset="0"/>
                        </a:rPr>
                        <a:t>60/66</a:t>
                      </a:r>
                    </a:p>
                  </a:txBody>
                  <a:tcPr marL="72000" marR="72000" marT="36000" marB="3600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r>
                        <a:rPr lang="pl-PL" sz="600" b="1" dirty="0">
                          <a:solidFill>
                            <a:schemeClr val="tx1"/>
                          </a:solidFill>
                          <a:latin typeface="Gene Sans Light" panose="00000400000000000000" pitchFamily="2" charset="0"/>
                        </a:rPr>
                        <a:t>1.4 (1.2 to 2.1) HR, 1.87; 95% CI, 1.43 to 2.45; </a:t>
                      </a:r>
                      <a:r>
                        <a:rPr lang="pl-PL" sz="600" b="1" i="1" dirty="0">
                          <a:solidFill>
                            <a:schemeClr val="tx1"/>
                          </a:solidFill>
                          <a:latin typeface="Gene Sans Light" panose="00000400000000000000" pitchFamily="2" charset="0"/>
                        </a:rPr>
                        <a:t>P</a:t>
                      </a:r>
                      <a:r>
                        <a:rPr lang="pl-PL" sz="600" b="1" dirty="0">
                          <a:solidFill>
                            <a:schemeClr val="tx1"/>
                          </a:solidFill>
                          <a:latin typeface="Gene Sans Light" panose="00000400000000000000" pitchFamily="2" charset="0"/>
                        </a:rPr>
                        <a:t> &lt; .001</a:t>
                      </a:r>
                    </a:p>
                  </a:txBody>
                  <a:tcPr marL="72000" marR="72000" marT="36000" marB="3600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77859626"/>
                  </a:ext>
                </a:extLst>
              </a:tr>
              <a:tr h="135728">
                <a:tc>
                  <a:txBody>
                    <a:bodyPr/>
                    <a:lstStyle/>
                    <a:p>
                      <a:r>
                        <a:rPr lang="en-ID" sz="600" b="1" dirty="0">
                          <a:solidFill>
                            <a:schemeClr val="accent5"/>
                          </a:solidFill>
                          <a:latin typeface="Gene Sans Light" panose="00000400000000000000" pitchFamily="2" charset="0"/>
                        </a:rPr>
                        <a:t>21/27</a:t>
                      </a:r>
                    </a:p>
                  </a:txBody>
                  <a:tcPr marL="72000" marR="72000" marT="36000" marB="3600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r>
                        <a:rPr lang="pl-PL" sz="600" b="1" dirty="0">
                          <a:solidFill>
                            <a:schemeClr val="accent5"/>
                          </a:solidFill>
                          <a:latin typeface="Gene Sans Light" panose="00000400000000000000" pitchFamily="2" charset="0"/>
                        </a:rPr>
                        <a:t>4.6 (2.8 to 15.3) HR, 0.77; 95% CI, 0.50 to 1.19; </a:t>
                      </a:r>
                      <a:r>
                        <a:rPr lang="pl-PL" sz="600" b="1" i="1" dirty="0">
                          <a:solidFill>
                            <a:schemeClr val="accent5"/>
                          </a:solidFill>
                          <a:latin typeface="Gene Sans Light" panose="00000400000000000000" pitchFamily="2" charset="0"/>
                        </a:rPr>
                        <a:t>P</a:t>
                      </a:r>
                      <a:r>
                        <a:rPr lang="pl-PL" sz="600" b="1" dirty="0">
                          <a:solidFill>
                            <a:schemeClr val="accent5"/>
                          </a:solidFill>
                          <a:latin typeface="Gene Sans Light" panose="00000400000000000000" pitchFamily="2" charset="0"/>
                        </a:rPr>
                        <a:t> = .24</a:t>
                      </a:r>
                    </a:p>
                  </a:txBody>
                  <a:tcPr marL="72000" marR="72000" marT="36000" marB="3600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1325842209"/>
                  </a:ext>
                </a:extLst>
              </a:tr>
            </a:tbl>
          </a:graphicData>
        </a:graphic>
      </p:graphicFrame>
      <p:graphicFrame>
        <p:nvGraphicFramePr>
          <p:cNvPr id="1178" name="Table 22">
            <a:extLst>
              <a:ext uri="{FF2B5EF4-FFF2-40B4-BE49-F238E27FC236}">
                <a16:creationId xmlns:a16="http://schemas.microsoft.com/office/drawing/2014/main" id="{E132E638-877F-4CBD-9B07-DC8A972E891F}"/>
              </a:ext>
            </a:extLst>
          </p:cNvPr>
          <p:cNvGraphicFramePr>
            <a:graphicFrameLocks noGrp="1"/>
          </p:cNvGraphicFramePr>
          <p:nvPr/>
        </p:nvGraphicFramePr>
        <p:xfrm>
          <a:off x="6076079" y="1475647"/>
          <a:ext cx="2633472" cy="775680"/>
        </p:xfrm>
        <a:graphic>
          <a:graphicData uri="http://schemas.openxmlformats.org/drawingml/2006/table">
            <a:tbl>
              <a:tblPr firstRow="1" bandRow="1"/>
              <a:tblGrid>
                <a:gridCol w="438912">
                  <a:extLst>
                    <a:ext uri="{9D8B030D-6E8A-4147-A177-3AD203B41FA5}">
                      <a16:colId xmlns:a16="http://schemas.microsoft.com/office/drawing/2014/main" val="1306823302"/>
                    </a:ext>
                  </a:extLst>
                </a:gridCol>
                <a:gridCol w="2194560">
                  <a:extLst>
                    <a:ext uri="{9D8B030D-6E8A-4147-A177-3AD203B41FA5}">
                      <a16:colId xmlns:a16="http://schemas.microsoft.com/office/drawing/2014/main" val="3941935012"/>
                    </a:ext>
                  </a:extLst>
                </a:gridCol>
              </a:tblGrid>
              <a:tr h="135728">
                <a:tc>
                  <a:txBody>
                    <a:bodyPr/>
                    <a:lstStyle/>
                    <a:p>
                      <a:r>
                        <a:rPr lang="en-ID" sz="700" b="1" dirty="0">
                          <a:solidFill>
                            <a:schemeClr val="tx2"/>
                          </a:solidFill>
                          <a:latin typeface="Gene Sans Light" panose="00000400000000000000" pitchFamily="2" charset="0"/>
                        </a:rPr>
                        <a:t>No. of events</a:t>
                      </a:r>
                    </a:p>
                  </a:txBody>
                  <a:tcPr marL="72000" marR="72000" marT="36000" marB="3600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r>
                        <a:rPr lang="en-ID" sz="700" b="1" dirty="0">
                          <a:solidFill>
                            <a:schemeClr val="tx2"/>
                          </a:solidFill>
                          <a:latin typeface="Gene Sans Light" panose="00000400000000000000" pitchFamily="2" charset="0"/>
                        </a:rPr>
                        <a:t>Median (months, 95% CI)</a:t>
                      </a:r>
                    </a:p>
                  </a:txBody>
                  <a:tcPr marL="72000" marR="72000" marT="36000" marB="3600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354381166"/>
                  </a:ext>
                </a:extLst>
              </a:tr>
              <a:tr h="135728">
                <a:tc>
                  <a:txBody>
                    <a:bodyPr/>
                    <a:lstStyle/>
                    <a:p>
                      <a:r>
                        <a:rPr lang="en-ID" sz="600" b="1" dirty="0">
                          <a:solidFill>
                            <a:schemeClr val="accent4"/>
                          </a:solidFill>
                          <a:latin typeface="Gene Sans Light" panose="00000400000000000000" pitchFamily="2" charset="0"/>
                        </a:rPr>
                        <a:t>362/557</a:t>
                      </a:r>
                    </a:p>
                  </a:txBody>
                  <a:tcPr marL="72000" marR="72000" marT="36000" marB="3600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r>
                        <a:rPr lang="en-US" sz="600" b="1" dirty="0">
                          <a:solidFill>
                            <a:schemeClr val="accent4"/>
                          </a:solidFill>
                          <a:latin typeface="Gene Sans Light" panose="00000400000000000000" pitchFamily="2" charset="0"/>
                        </a:rPr>
                        <a:t>11.2 (9.9 to 12.9) Relative to 0 to &lt; 10 mg group</a:t>
                      </a:r>
                    </a:p>
                  </a:txBody>
                  <a:tcPr marL="72000" marR="72000" marT="36000" marB="3600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531908404"/>
                  </a:ext>
                </a:extLst>
              </a:tr>
              <a:tr h="135728">
                <a:tc>
                  <a:txBody>
                    <a:bodyPr/>
                    <a:lstStyle/>
                    <a:p>
                      <a:r>
                        <a:rPr lang="en-ID" sz="600" b="1" dirty="0">
                          <a:solidFill>
                            <a:schemeClr val="tx1"/>
                          </a:solidFill>
                          <a:latin typeface="Gene Sans Light" panose="00000400000000000000" pitchFamily="2" charset="0"/>
                        </a:rPr>
                        <a:t>52/66</a:t>
                      </a:r>
                    </a:p>
                  </a:txBody>
                  <a:tcPr marL="72000" marR="72000" marT="36000" marB="3600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r>
                        <a:rPr lang="pl-PL" sz="600" b="1" dirty="0">
                          <a:solidFill>
                            <a:schemeClr val="tx1"/>
                          </a:solidFill>
                          <a:latin typeface="Gene Sans Light" panose="00000400000000000000" pitchFamily="2" charset="0"/>
                        </a:rPr>
                        <a:t>2.2 (1.5 to 5.9) HR, 2.38; 95% CI, 1.78 to 3.19; P = .001</a:t>
                      </a:r>
                    </a:p>
                  </a:txBody>
                  <a:tcPr marL="72000" marR="72000" marT="36000" marB="3600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77859626"/>
                  </a:ext>
                </a:extLst>
              </a:tr>
              <a:tr h="135728">
                <a:tc>
                  <a:txBody>
                    <a:bodyPr/>
                    <a:lstStyle/>
                    <a:p>
                      <a:r>
                        <a:rPr lang="en-ID" sz="600" b="1" dirty="0">
                          <a:solidFill>
                            <a:schemeClr val="accent5"/>
                          </a:solidFill>
                          <a:latin typeface="Gene Sans Light" panose="00000400000000000000" pitchFamily="2" charset="0"/>
                        </a:rPr>
                        <a:t>19/27</a:t>
                      </a:r>
                    </a:p>
                  </a:txBody>
                  <a:tcPr marL="72000" marR="72000" marT="36000" marB="36000"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r>
                        <a:rPr lang="pl-PL" sz="600" b="1" dirty="0">
                          <a:solidFill>
                            <a:schemeClr val="accent5"/>
                          </a:solidFill>
                          <a:latin typeface="Gene Sans Light" panose="00000400000000000000" pitchFamily="2" charset="0"/>
                        </a:rPr>
                        <a:t>10.7 (6.9 to NR) HR, 0.93; 95% CI, 0.59 to 1.48; P = .77</a:t>
                      </a:r>
                    </a:p>
                  </a:txBody>
                  <a:tcPr marL="72000" marR="72000" marT="36000" marB="36000"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1325842209"/>
                  </a:ext>
                </a:extLst>
              </a:tr>
            </a:tbl>
          </a:graphicData>
        </a:graphic>
      </p:graphicFrame>
      <p:sp>
        <p:nvSpPr>
          <p:cNvPr id="1514" name="TextBox 1513">
            <a:extLst>
              <a:ext uri="{FF2B5EF4-FFF2-40B4-BE49-F238E27FC236}">
                <a16:creationId xmlns:a16="http://schemas.microsoft.com/office/drawing/2014/main" id="{CAE0D464-6187-4DA6-9DF3-A68EAF495B75}"/>
              </a:ext>
            </a:extLst>
          </p:cNvPr>
          <p:cNvSpPr txBox="1"/>
          <p:nvPr/>
        </p:nvSpPr>
        <p:spPr>
          <a:xfrm>
            <a:off x="381000" y="1179892"/>
            <a:ext cx="4114800" cy="276999"/>
          </a:xfrm>
          <a:prstGeom prst="rect">
            <a:avLst/>
          </a:prstGeom>
          <a:solidFill>
            <a:schemeClr val="tx2"/>
          </a:solid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Gene Sans" panose="00000500000000000000" pitchFamily="50" charset="0"/>
                <a:cs typeface="Arial"/>
                <a:sym typeface="Arial"/>
              </a:rPr>
              <a:t>PFS</a:t>
            </a:r>
            <a:endParaRPr kumimoji="0" lang="en-US" sz="1200" b="1" i="0" u="none" strike="noStrike" kern="0" cap="none" spc="0" normalizeH="0" baseline="30000" noProof="0" dirty="0">
              <a:ln>
                <a:noFill/>
              </a:ln>
              <a:solidFill>
                <a:srgbClr val="FFFFFF"/>
              </a:solidFill>
              <a:effectLst/>
              <a:uLnTx/>
              <a:uFillTx/>
              <a:latin typeface="Gene Sans" panose="00000500000000000000" pitchFamily="50" charset="0"/>
              <a:cs typeface="Arial"/>
              <a:sym typeface="Arial"/>
            </a:endParaRPr>
          </a:p>
        </p:txBody>
      </p:sp>
      <p:sp>
        <p:nvSpPr>
          <p:cNvPr id="1515" name="TextBox 1514">
            <a:extLst>
              <a:ext uri="{FF2B5EF4-FFF2-40B4-BE49-F238E27FC236}">
                <a16:creationId xmlns:a16="http://schemas.microsoft.com/office/drawing/2014/main" id="{C541D19F-B1D4-4CCC-AEE2-A92834EDF816}"/>
              </a:ext>
            </a:extLst>
          </p:cNvPr>
          <p:cNvSpPr txBox="1"/>
          <p:nvPr/>
        </p:nvSpPr>
        <p:spPr>
          <a:xfrm>
            <a:off x="4705410" y="1179892"/>
            <a:ext cx="4114800" cy="276999"/>
          </a:xfrm>
          <a:prstGeom prst="rect">
            <a:avLst/>
          </a:prstGeom>
          <a:solidFill>
            <a:schemeClr val="tx2"/>
          </a:solid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Gene Sans" panose="00000500000000000000" pitchFamily="50" charset="0"/>
                <a:cs typeface="Arial"/>
                <a:sym typeface="Arial"/>
              </a:rPr>
              <a:t>OS</a:t>
            </a:r>
            <a:endParaRPr kumimoji="0" lang="en-US" sz="1200" b="1" i="0" u="none" strike="noStrike" kern="0" cap="none" spc="0" normalizeH="0" baseline="30000" noProof="0" dirty="0">
              <a:ln>
                <a:noFill/>
              </a:ln>
              <a:solidFill>
                <a:srgbClr val="FFFFFF"/>
              </a:solidFill>
              <a:effectLst/>
              <a:uLnTx/>
              <a:uFillTx/>
              <a:latin typeface="Gene Sans" panose="00000500000000000000" pitchFamily="50" charset="0"/>
              <a:cs typeface="Arial"/>
              <a:sym typeface="Arial"/>
            </a:endParaRPr>
          </a:p>
        </p:txBody>
      </p:sp>
      <p:sp>
        <p:nvSpPr>
          <p:cNvPr id="11" name="Rectangle 10"/>
          <p:cNvSpPr/>
          <p:nvPr/>
        </p:nvSpPr>
        <p:spPr>
          <a:xfrm>
            <a:off x="350975" y="4604742"/>
            <a:ext cx="844140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Outcomes to immunotherapy in the group of patients treated with ≥ 10 mg of prednisone for cancer-related palliative indications or cancer-unrelated indications compared with the group of patients receiving less than 10 mg of prednisone according to overall response rate, progression-free survival (PFS), and overall survival (OS). HR, hazard ratio; NR, not reached. </a:t>
            </a:r>
            <a:r>
              <a:rPr kumimoji="0" lang="en-US" sz="8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Ricciuti</a:t>
            </a:r>
            <a:r>
              <a:rPr kumimoji="0" lang="en-US" sz="8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et al. J </a:t>
            </a:r>
            <a:r>
              <a:rPr kumimoji="0" lang="en-US" sz="8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Clin</a:t>
            </a:r>
            <a:r>
              <a:rPr kumimoji="0" lang="en-US" sz="8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a:t>
            </a:r>
            <a:r>
              <a:rPr kumimoji="0" lang="en-US" sz="8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Oncol</a:t>
            </a:r>
            <a:r>
              <a:rPr kumimoji="0" lang="en-US" sz="8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2019;37:2872-2878.</a:t>
            </a:r>
          </a:p>
        </p:txBody>
      </p:sp>
    </p:spTree>
    <p:extLst>
      <p:ext uri="{BB962C8B-B14F-4D97-AF65-F5344CB8AC3E}">
        <p14:creationId xmlns:p14="http://schemas.microsoft.com/office/powerpoint/2010/main" val="138587282"/>
      </p:ext>
    </p:extLst>
  </p:cSld>
  <p:clrMapOvr>
    <a:masterClrMapping/>
  </p:clrMapOvr>
  <p:transition spd="med">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9"/>
          <p:cNvSpPr>
            <a:spLocks noGrp="1"/>
          </p:cNvSpPr>
          <p:nvPr>
            <p:ph type="body" idx="2"/>
          </p:nvPr>
        </p:nvSpPr>
        <p:spPr/>
        <p:txBody>
          <a:bodyPr/>
          <a:lstStyle/>
          <a:p>
            <a:endParaRPr lang="en-US"/>
          </a:p>
        </p:txBody>
      </p:sp>
      <p:sp>
        <p:nvSpPr>
          <p:cNvPr id="31" name="Text Placeholder 30"/>
          <p:cNvSpPr>
            <a:spLocks noGrp="1"/>
          </p:cNvSpPr>
          <p:nvPr>
            <p:ph type="body" idx="3"/>
          </p:nvPr>
        </p:nvSpPr>
        <p:spPr/>
        <p:txBody>
          <a:bodyPr/>
          <a:lstStyle/>
          <a:p>
            <a:r>
              <a:rPr lang="en-US" dirty="0">
                <a:latin typeface="Gene Sans Light" panose="00000400000000000000" pitchFamily="2" charset="0"/>
              </a:rPr>
              <a:t>1. Maher VE, et al.</a:t>
            </a:r>
            <a:r>
              <a:rPr lang="en-US" i="1" dirty="0">
                <a:latin typeface="Gene Sans Light" panose="00000400000000000000" pitchFamily="2" charset="0"/>
              </a:rPr>
              <a:t> J </a:t>
            </a:r>
            <a:r>
              <a:rPr lang="en-US" i="1" dirty="0" err="1">
                <a:latin typeface="Gene Sans Light" panose="00000400000000000000" pitchFamily="2" charset="0"/>
              </a:rPr>
              <a:t>Clin</a:t>
            </a:r>
            <a:r>
              <a:rPr lang="en-US" i="1" dirty="0">
                <a:latin typeface="Gene Sans Light" panose="00000400000000000000" pitchFamily="2" charset="0"/>
              </a:rPr>
              <a:t> </a:t>
            </a:r>
            <a:r>
              <a:rPr lang="en-US" i="1" dirty="0" err="1">
                <a:latin typeface="Gene Sans Light" panose="00000400000000000000" pitchFamily="2" charset="0"/>
              </a:rPr>
              <a:t>Oncol</a:t>
            </a:r>
            <a:r>
              <a:rPr lang="en-US" i="1" dirty="0">
                <a:latin typeface="Gene Sans Light" panose="00000400000000000000" pitchFamily="2" charset="0"/>
              </a:rPr>
              <a:t>.</a:t>
            </a:r>
            <a:r>
              <a:rPr lang="en-US" dirty="0">
                <a:latin typeface="Gene Sans Light" panose="00000400000000000000" pitchFamily="2" charset="0"/>
              </a:rPr>
              <a:t> 2019. </a:t>
            </a:r>
            <a:r>
              <a:rPr lang="en-US" dirty="0" err="1">
                <a:latin typeface="Gene Sans Light" panose="00000400000000000000" pitchFamily="2" charset="0"/>
              </a:rPr>
              <a:t>doi</a:t>
            </a:r>
            <a:r>
              <a:rPr lang="en-US" dirty="0">
                <a:latin typeface="Gene Sans Light" panose="00000400000000000000" pitchFamily="2" charset="0"/>
              </a:rPr>
              <a:t>: 10.1200/JCO.19.00318. [</a:t>
            </a:r>
            <a:r>
              <a:rPr lang="en-US" dirty="0" err="1">
                <a:latin typeface="Gene Sans Light" panose="00000400000000000000" pitchFamily="2" charset="0"/>
              </a:rPr>
              <a:t>Epub</a:t>
            </a:r>
            <a:r>
              <a:rPr lang="en-US" dirty="0">
                <a:latin typeface="Gene Sans Light" panose="00000400000000000000" pitchFamily="2" charset="0"/>
              </a:rPr>
              <a:t> ahead of print].</a:t>
            </a:r>
          </a:p>
        </p:txBody>
      </p:sp>
      <p:sp>
        <p:nvSpPr>
          <p:cNvPr id="25" name="Title 24"/>
          <p:cNvSpPr>
            <a:spLocks noGrp="1"/>
          </p:cNvSpPr>
          <p:nvPr>
            <p:ph type="title"/>
          </p:nvPr>
        </p:nvSpPr>
        <p:spPr/>
        <p:txBody>
          <a:bodyPr/>
          <a:lstStyle/>
          <a:p>
            <a:r>
              <a:rPr lang="en-US" cap="none" dirty="0"/>
              <a:t>Association Between Use of Corticosteroids and Outcomes</a:t>
            </a:r>
          </a:p>
        </p:txBody>
      </p:sp>
      <p:sp>
        <p:nvSpPr>
          <p:cNvPr id="29" name="Google Shape;122;p3">
            <a:extLst>
              <a:ext uri="{FF2B5EF4-FFF2-40B4-BE49-F238E27FC236}">
                <a16:creationId xmlns:a16="http://schemas.microsoft.com/office/drawing/2014/main" id="{28BDC33C-8345-479C-8F69-F57AE1BA0479}"/>
              </a:ext>
            </a:extLst>
          </p:cNvPr>
          <p:cNvSpPr txBox="1">
            <a:spLocks/>
          </p:cNvSpPr>
          <p:nvPr/>
        </p:nvSpPr>
        <p:spPr>
          <a:xfrm>
            <a:off x="381000" y="94545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
        <p:nvSpPr>
          <p:cNvPr id="33" name="Rectangle 32">
            <a:extLst>
              <a:ext uri="{FF2B5EF4-FFF2-40B4-BE49-F238E27FC236}">
                <a16:creationId xmlns:a16="http://schemas.microsoft.com/office/drawing/2014/main" id="{F0735DFD-5980-499F-BBA7-6F700090D739}"/>
              </a:ext>
            </a:extLst>
          </p:cNvPr>
          <p:cNvSpPr/>
          <p:nvPr/>
        </p:nvSpPr>
        <p:spPr>
          <a:xfrm>
            <a:off x="377952" y="1352550"/>
            <a:ext cx="1809436" cy="223332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graphicFrame>
        <p:nvGraphicFramePr>
          <p:cNvPr id="34" name="Shape1_20200925_154825">
            <a:extLst>
              <a:ext uri="{FF2B5EF4-FFF2-40B4-BE49-F238E27FC236}">
                <a16:creationId xmlns:a16="http://schemas.microsoft.com/office/drawing/2014/main" id="{1CF5E4AF-289E-4CB7-B92A-7750CA9F594B}"/>
              </a:ext>
            </a:extLst>
          </p:cNvPr>
          <p:cNvGraphicFramePr/>
          <p:nvPr/>
        </p:nvGraphicFramePr>
        <p:xfrm>
          <a:off x="2289536" y="1502738"/>
          <a:ext cx="6226935" cy="2233326"/>
        </p:xfrm>
        <a:graphic>
          <a:graphicData uri="http://schemas.openxmlformats.org/drawingml/2006/chart">
            <c:chart xmlns:c="http://schemas.openxmlformats.org/drawingml/2006/chart" xmlns:r="http://schemas.openxmlformats.org/officeDocument/2006/relationships" r:id="rId2"/>
          </a:graphicData>
        </a:graphic>
      </p:graphicFrame>
      <p:sp>
        <p:nvSpPr>
          <p:cNvPr id="35" name="Google Shape;3434;p24">
            <a:extLst>
              <a:ext uri="{FF2B5EF4-FFF2-40B4-BE49-F238E27FC236}">
                <a16:creationId xmlns:a16="http://schemas.microsoft.com/office/drawing/2014/main" id="{DA81EA6C-C816-4894-9A4B-B9226089932D}"/>
              </a:ext>
            </a:extLst>
          </p:cNvPr>
          <p:cNvSpPr txBox="1"/>
          <p:nvPr/>
        </p:nvSpPr>
        <p:spPr>
          <a:xfrm>
            <a:off x="377952" y="3742532"/>
            <a:ext cx="2388108" cy="184666"/>
          </a:xfrm>
          <a:prstGeom prst="rect">
            <a:avLst/>
          </a:prstGeom>
          <a:noFill/>
          <a:ln>
            <a:noFill/>
          </a:ln>
        </p:spPr>
        <p:txBody>
          <a:bodyPr spcFirstLastPara="1" wrap="square" lIns="0" tIns="0" rIns="0" bIns="0" anchor="t" anchorCtr="0">
            <a:spAutoFit/>
          </a:bodyPr>
          <a:lstStyle/>
          <a:p>
            <a:pPr marL="127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004677"/>
                </a:solidFill>
                <a:effectLst/>
                <a:uLnTx/>
                <a:uFillTx/>
                <a:latin typeface="Gene Sans Light" panose="00000400000000000000" pitchFamily="2" charset="0"/>
                <a:cs typeface="Arial"/>
                <a:sym typeface="Arial"/>
              </a:rPr>
              <a:t>No. at risk (No. censored)</a:t>
            </a:r>
          </a:p>
        </p:txBody>
      </p:sp>
      <p:graphicFrame>
        <p:nvGraphicFramePr>
          <p:cNvPr id="36" name="Google Shape;3433;p24">
            <a:extLst>
              <a:ext uri="{FF2B5EF4-FFF2-40B4-BE49-F238E27FC236}">
                <a16:creationId xmlns:a16="http://schemas.microsoft.com/office/drawing/2014/main" id="{EFD426DF-8177-4A55-8265-7EBD74349376}"/>
              </a:ext>
            </a:extLst>
          </p:cNvPr>
          <p:cNvGraphicFramePr/>
          <p:nvPr/>
        </p:nvGraphicFramePr>
        <p:xfrm>
          <a:off x="381001" y="3974797"/>
          <a:ext cx="8381350" cy="548660"/>
        </p:xfrm>
        <a:graphic>
          <a:graphicData uri="http://schemas.openxmlformats.org/drawingml/2006/table">
            <a:tbl>
              <a:tblPr firstRow="1" bandRow="1">
                <a:noFill/>
              </a:tblPr>
              <a:tblGrid>
                <a:gridCol w="2190186">
                  <a:extLst>
                    <a:ext uri="{9D8B030D-6E8A-4147-A177-3AD203B41FA5}">
                      <a16:colId xmlns:a16="http://schemas.microsoft.com/office/drawing/2014/main" val="20000"/>
                    </a:ext>
                  </a:extLst>
                </a:gridCol>
                <a:gridCol w="884452">
                  <a:extLst>
                    <a:ext uri="{9D8B030D-6E8A-4147-A177-3AD203B41FA5}">
                      <a16:colId xmlns:a16="http://schemas.microsoft.com/office/drawing/2014/main" val="20001"/>
                    </a:ext>
                  </a:extLst>
                </a:gridCol>
                <a:gridCol w="884452">
                  <a:extLst>
                    <a:ext uri="{9D8B030D-6E8A-4147-A177-3AD203B41FA5}">
                      <a16:colId xmlns:a16="http://schemas.microsoft.com/office/drawing/2014/main" val="20002"/>
                    </a:ext>
                  </a:extLst>
                </a:gridCol>
                <a:gridCol w="884452">
                  <a:extLst>
                    <a:ext uri="{9D8B030D-6E8A-4147-A177-3AD203B41FA5}">
                      <a16:colId xmlns:a16="http://schemas.microsoft.com/office/drawing/2014/main" val="20003"/>
                    </a:ext>
                  </a:extLst>
                </a:gridCol>
                <a:gridCol w="884452">
                  <a:extLst>
                    <a:ext uri="{9D8B030D-6E8A-4147-A177-3AD203B41FA5}">
                      <a16:colId xmlns:a16="http://schemas.microsoft.com/office/drawing/2014/main" val="20004"/>
                    </a:ext>
                  </a:extLst>
                </a:gridCol>
                <a:gridCol w="884452">
                  <a:extLst>
                    <a:ext uri="{9D8B030D-6E8A-4147-A177-3AD203B41FA5}">
                      <a16:colId xmlns:a16="http://schemas.microsoft.com/office/drawing/2014/main" val="20005"/>
                    </a:ext>
                  </a:extLst>
                </a:gridCol>
                <a:gridCol w="884452">
                  <a:extLst>
                    <a:ext uri="{9D8B030D-6E8A-4147-A177-3AD203B41FA5}">
                      <a16:colId xmlns:a16="http://schemas.microsoft.com/office/drawing/2014/main" val="20006"/>
                    </a:ext>
                  </a:extLst>
                </a:gridCol>
                <a:gridCol w="884452">
                  <a:extLst>
                    <a:ext uri="{9D8B030D-6E8A-4147-A177-3AD203B41FA5}">
                      <a16:colId xmlns:a16="http://schemas.microsoft.com/office/drawing/2014/main" val="959262445"/>
                    </a:ext>
                  </a:extLst>
                </a:gridCol>
              </a:tblGrid>
              <a:tr h="256158">
                <a:tc>
                  <a:txBody>
                    <a:bodyPr/>
                    <a:lstStyle/>
                    <a:p>
                      <a:pPr marL="0" marR="0" lvl="0" indent="0" algn="l" rtl="0">
                        <a:lnSpc>
                          <a:spcPct val="100000"/>
                        </a:lnSpc>
                        <a:spcBef>
                          <a:spcPts val="0"/>
                        </a:spcBef>
                        <a:spcAft>
                          <a:spcPts val="0"/>
                        </a:spcAft>
                        <a:buClr>
                          <a:schemeClr val="accent1"/>
                        </a:buClr>
                        <a:buSzPts val="1400"/>
                        <a:buFont typeface="Arial"/>
                        <a:buNone/>
                      </a:pPr>
                      <a:r>
                        <a:rPr lang="en-US" sz="1200" b="1" dirty="0">
                          <a:solidFill>
                            <a:schemeClr val="accent4"/>
                          </a:solidFill>
                          <a:latin typeface="Gene Sans Light" panose="00000400000000000000" pitchFamily="2" charset="0"/>
                        </a:rPr>
                        <a:t>No systemic corticosteroids</a:t>
                      </a:r>
                      <a:endParaRPr sz="1200" b="1" dirty="0">
                        <a:solidFill>
                          <a:schemeClr val="accent4"/>
                        </a:solidFill>
                        <a:latin typeface="Gene Sans Light" panose="00000400000000000000" pitchFamily="2" charset="0"/>
                      </a:endParaRPr>
                    </a:p>
                  </a:txBody>
                  <a:tcPr marL="0" marR="91450" marT="45725" marB="45725"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1200" dirty="0">
                          <a:solidFill>
                            <a:schemeClr val="accent4"/>
                          </a:solidFill>
                          <a:latin typeface="Gene Sans Light" panose="00000400000000000000" pitchFamily="2" charset="0"/>
                        </a:rPr>
                        <a:t>267 (0)</a:t>
                      </a:r>
                      <a:endParaRPr sz="1200" dirty="0">
                        <a:solidFill>
                          <a:schemeClr val="accent4"/>
                        </a:solidFill>
                        <a:latin typeface="Gene Sans Light" panose="00000400000000000000" pitchFamily="2" charset="0"/>
                      </a:endParaRPr>
                    </a:p>
                  </a:txBody>
                  <a:tcPr marL="91450" marR="91450" marT="45725" marB="45725"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1200" dirty="0">
                          <a:solidFill>
                            <a:schemeClr val="accent4"/>
                          </a:solidFill>
                          <a:latin typeface="Gene Sans Light" panose="00000400000000000000" pitchFamily="2" charset="0"/>
                        </a:rPr>
                        <a:t>232 (23)</a:t>
                      </a:r>
                      <a:endParaRPr sz="1200" dirty="0">
                        <a:solidFill>
                          <a:schemeClr val="accent4"/>
                        </a:solidFill>
                        <a:latin typeface="Gene Sans Light" panose="00000400000000000000" pitchFamily="2" charset="0"/>
                      </a:endParaRPr>
                    </a:p>
                  </a:txBody>
                  <a:tcPr marL="91450" marR="91450" marT="45725" marB="45725"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1200">
                          <a:solidFill>
                            <a:schemeClr val="accent4"/>
                          </a:solidFill>
                          <a:latin typeface="Gene Sans Light" panose="00000400000000000000" pitchFamily="2" charset="0"/>
                        </a:rPr>
                        <a:t>160 (64)</a:t>
                      </a:r>
                      <a:endParaRPr sz="1200">
                        <a:solidFill>
                          <a:schemeClr val="accent4"/>
                        </a:solidFill>
                        <a:latin typeface="Gene Sans Light" panose="00000400000000000000" pitchFamily="2" charset="0"/>
                      </a:endParaRPr>
                    </a:p>
                  </a:txBody>
                  <a:tcPr marL="91450" marR="91450" marT="45725" marB="45725"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1200" dirty="0">
                          <a:solidFill>
                            <a:schemeClr val="accent4"/>
                          </a:solidFill>
                          <a:latin typeface="Gene Sans Light" panose="00000400000000000000" pitchFamily="2" charset="0"/>
                        </a:rPr>
                        <a:t>72 (121)</a:t>
                      </a:r>
                      <a:endParaRPr sz="1200" dirty="0">
                        <a:solidFill>
                          <a:schemeClr val="accent4"/>
                        </a:solidFill>
                        <a:latin typeface="Gene Sans Light" panose="00000400000000000000" pitchFamily="2" charset="0"/>
                      </a:endParaRPr>
                    </a:p>
                  </a:txBody>
                  <a:tcPr marL="91450" marR="91450" marT="45725" marB="45725"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1200">
                          <a:solidFill>
                            <a:schemeClr val="accent4"/>
                          </a:solidFill>
                          <a:latin typeface="Gene Sans Light" panose="00000400000000000000" pitchFamily="2" charset="0"/>
                        </a:rPr>
                        <a:t>20 (146)</a:t>
                      </a:r>
                      <a:endParaRPr sz="1200">
                        <a:solidFill>
                          <a:schemeClr val="accent4"/>
                        </a:solidFill>
                        <a:latin typeface="Gene Sans Light" panose="00000400000000000000" pitchFamily="2" charset="0"/>
                      </a:endParaRPr>
                    </a:p>
                  </a:txBody>
                  <a:tcPr marL="91450" marR="91450" marT="45725" marB="45725"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1200" dirty="0">
                          <a:solidFill>
                            <a:schemeClr val="accent4"/>
                          </a:solidFill>
                          <a:latin typeface="Gene Sans Light" panose="00000400000000000000" pitchFamily="2" charset="0"/>
                        </a:rPr>
                        <a:t>4 (158)</a:t>
                      </a:r>
                      <a:endParaRPr sz="1200" dirty="0">
                        <a:solidFill>
                          <a:schemeClr val="accent4"/>
                        </a:solidFill>
                        <a:latin typeface="Gene Sans Light" panose="00000400000000000000" pitchFamily="2" charset="0"/>
                      </a:endParaRPr>
                    </a:p>
                  </a:txBody>
                  <a:tcPr marL="91450" marR="91450" marT="45725" marB="45725"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tc>
                  <a:txBody>
                    <a:bodyPr/>
                    <a:lstStyle/>
                    <a:p>
                      <a:pPr marL="0" marR="0" lvl="0" indent="0" algn="ctr" rtl="0">
                        <a:spcBef>
                          <a:spcPts val="0"/>
                        </a:spcBef>
                        <a:spcAft>
                          <a:spcPts val="0"/>
                        </a:spcAft>
                        <a:buNone/>
                      </a:pPr>
                      <a:r>
                        <a:rPr lang="en-US" sz="1200" dirty="0">
                          <a:solidFill>
                            <a:schemeClr val="accent4"/>
                          </a:solidFill>
                          <a:latin typeface="Gene Sans Light" panose="00000400000000000000" pitchFamily="2" charset="0"/>
                        </a:rPr>
                        <a:t>1 (160)</a:t>
                      </a:r>
                      <a:endParaRPr sz="1200" dirty="0">
                        <a:solidFill>
                          <a:schemeClr val="accent4"/>
                        </a:solidFill>
                        <a:latin typeface="Gene Sans Light" panose="00000400000000000000" pitchFamily="2" charset="0"/>
                      </a:endParaRPr>
                    </a:p>
                  </a:txBody>
                  <a:tcPr marL="91450" marR="91450" marT="45725" marB="45725"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accent6"/>
                      </a:solidFill>
                      <a:prstDash val="solid"/>
                      <a:round/>
                      <a:headEnd type="none" w="med" len="med"/>
                      <a:tailEnd type="none" w="med" len="med"/>
                    </a:lnB>
                  </a:tcPr>
                </a:tc>
                <a:extLst>
                  <a:ext uri="{0D108BD9-81ED-4DB2-BD59-A6C34878D82A}">
                    <a16:rowId xmlns:a16="http://schemas.microsoft.com/office/drawing/2014/main" val="10000"/>
                  </a:ext>
                </a:extLst>
              </a:tr>
              <a:tr h="256158">
                <a:tc>
                  <a:txBody>
                    <a:bodyPr/>
                    <a:lstStyle/>
                    <a:p>
                      <a:pPr marL="0" marR="0" lvl="0" indent="0" algn="l" rtl="0">
                        <a:lnSpc>
                          <a:spcPct val="100000"/>
                        </a:lnSpc>
                        <a:spcBef>
                          <a:spcPts val="0"/>
                        </a:spcBef>
                        <a:spcAft>
                          <a:spcPts val="0"/>
                        </a:spcAft>
                        <a:buClr>
                          <a:schemeClr val="dk2"/>
                        </a:buClr>
                        <a:buSzPts val="1400"/>
                        <a:buFont typeface="Arial"/>
                        <a:buNone/>
                      </a:pPr>
                      <a:r>
                        <a:rPr lang="en-US" sz="1200" b="1" dirty="0">
                          <a:solidFill>
                            <a:schemeClr val="tx1"/>
                          </a:solidFill>
                          <a:latin typeface="Gene Sans Light" panose="00000400000000000000" pitchFamily="2" charset="0"/>
                        </a:rPr>
                        <a:t>Systemic corticosteroids</a:t>
                      </a:r>
                      <a:endParaRPr sz="1200" b="1" dirty="0">
                        <a:solidFill>
                          <a:schemeClr val="tx1"/>
                        </a:solidFill>
                        <a:latin typeface="Gene Sans Light" panose="00000400000000000000" pitchFamily="2" charset="0"/>
                      </a:endParaRPr>
                    </a:p>
                  </a:txBody>
                  <a:tcPr marL="0" marR="91450" marT="45725" marB="45725" anchor="ctr">
                    <a:lnL w="9525" cap="flat" cmpd="sng" algn="ctr">
                      <a:no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1200" dirty="0">
                          <a:solidFill>
                            <a:schemeClr val="tx1"/>
                          </a:solidFill>
                          <a:latin typeface="Gene Sans Light" panose="00000400000000000000" pitchFamily="2" charset="0"/>
                        </a:rPr>
                        <a:t>84 (0)</a:t>
                      </a:r>
                      <a:endParaRPr sz="1200" dirty="0">
                        <a:solidFill>
                          <a:schemeClr val="tx1"/>
                        </a:solidFill>
                        <a:latin typeface="Gene Sans Light" panose="00000400000000000000" pitchFamily="2" charset="0"/>
                      </a:endParaRPr>
                    </a:p>
                  </a:txBody>
                  <a:tcPr marL="91450" marR="91450" marT="45725" marB="45725"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1200" dirty="0">
                          <a:solidFill>
                            <a:schemeClr val="tx1"/>
                          </a:solidFill>
                          <a:latin typeface="Gene Sans Light" panose="00000400000000000000" pitchFamily="2" charset="0"/>
                        </a:rPr>
                        <a:t>76 (3)</a:t>
                      </a:r>
                      <a:endParaRPr sz="1200" dirty="0">
                        <a:solidFill>
                          <a:schemeClr val="tx1"/>
                        </a:solidFill>
                        <a:latin typeface="Gene Sans Light" panose="00000400000000000000" pitchFamily="2" charset="0"/>
                      </a:endParaRPr>
                    </a:p>
                  </a:txBody>
                  <a:tcPr marL="91450" marR="91450" marT="45725" marB="45725"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1200" dirty="0">
                          <a:solidFill>
                            <a:schemeClr val="tx1"/>
                          </a:solidFill>
                          <a:latin typeface="Gene Sans Light" panose="00000400000000000000" pitchFamily="2" charset="0"/>
                        </a:rPr>
                        <a:t>55 (13)</a:t>
                      </a:r>
                      <a:endParaRPr sz="1200" dirty="0">
                        <a:solidFill>
                          <a:schemeClr val="tx1"/>
                        </a:solidFill>
                        <a:latin typeface="Gene Sans Light" panose="00000400000000000000" pitchFamily="2" charset="0"/>
                      </a:endParaRPr>
                    </a:p>
                  </a:txBody>
                  <a:tcPr marL="91450" marR="91450" marT="45725" marB="45725"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1200" dirty="0">
                          <a:solidFill>
                            <a:schemeClr val="tx1"/>
                          </a:solidFill>
                          <a:latin typeface="Gene Sans Light" panose="00000400000000000000" pitchFamily="2" charset="0"/>
                        </a:rPr>
                        <a:t>28 (33)</a:t>
                      </a:r>
                      <a:endParaRPr sz="1200" dirty="0">
                        <a:solidFill>
                          <a:schemeClr val="tx1"/>
                        </a:solidFill>
                        <a:latin typeface="Gene Sans Light" panose="00000400000000000000" pitchFamily="2" charset="0"/>
                      </a:endParaRPr>
                    </a:p>
                  </a:txBody>
                  <a:tcPr marL="91450" marR="91450" marT="45725" marB="45725"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lnSpc>
                          <a:spcPct val="100000"/>
                        </a:lnSpc>
                        <a:spcBef>
                          <a:spcPts val="0"/>
                        </a:spcBef>
                        <a:spcAft>
                          <a:spcPts val="0"/>
                        </a:spcAft>
                        <a:buClr>
                          <a:schemeClr val="dk2"/>
                        </a:buClr>
                        <a:buSzPts val="1400"/>
                        <a:buFont typeface="Arial"/>
                        <a:buNone/>
                      </a:pPr>
                      <a:r>
                        <a:rPr lang="en-US" sz="1200" dirty="0">
                          <a:solidFill>
                            <a:schemeClr val="tx1"/>
                          </a:solidFill>
                          <a:latin typeface="Gene Sans Light" panose="00000400000000000000" pitchFamily="2" charset="0"/>
                        </a:rPr>
                        <a:t>8 (46)</a:t>
                      </a:r>
                      <a:endParaRPr sz="1200" dirty="0">
                        <a:solidFill>
                          <a:schemeClr val="tx1"/>
                        </a:solidFill>
                        <a:latin typeface="Gene Sans Light" panose="00000400000000000000" pitchFamily="2" charset="0"/>
                      </a:endParaRPr>
                    </a:p>
                  </a:txBody>
                  <a:tcPr marL="91450" marR="91450" marT="45725" marB="45725"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1200" dirty="0">
                          <a:solidFill>
                            <a:schemeClr val="tx1"/>
                          </a:solidFill>
                          <a:latin typeface="Gene Sans Light" panose="00000400000000000000" pitchFamily="2" charset="0"/>
                        </a:rPr>
                        <a:t>1 (53)</a:t>
                      </a:r>
                      <a:endParaRPr sz="1200" dirty="0">
                        <a:solidFill>
                          <a:schemeClr val="tx1"/>
                        </a:solidFill>
                        <a:latin typeface="Gene Sans Light" panose="00000400000000000000" pitchFamily="2" charset="0"/>
                      </a:endParaRPr>
                    </a:p>
                  </a:txBody>
                  <a:tcPr marL="91450" marR="91450" marT="45725" marB="45725" anchor="ctr">
                    <a:lnL w="9525" cap="flat" cmpd="sng" algn="ctr">
                      <a:solidFill>
                        <a:schemeClr val="accent6"/>
                      </a:solidFill>
                      <a:prstDash val="solid"/>
                      <a:round/>
                      <a:headEnd type="none" w="med" len="med"/>
                      <a:tailEnd type="none" w="med" len="med"/>
                    </a:lnL>
                    <a:lnR w="952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tc>
                  <a:txBody>
                    <a:bodyPr/>
                    <a:lstStyle/>
                    <a:p>
                      <a:pPr marL="0" marR="0" lvl="0" indent="0" algn="ctr" rtl="0">
                        <a:spcBef>
                          <a:spcPts val="0"/>
                        </a:spcBef>
                        <a:spcAft>
                          <a:spcPts val="0"/>
                        </a:spcAft>
                        <a:buNone/>
                      </a:pPr>
                      <a:r>
                        <a:rPr lang="en-US" sz="1200" dirty="0">
                          <a:solidFill>
                            <a:schemeClr val="tx1"/>
                          </a:solidFill>
                          <a:latin typeface="Gene Sans Light" panose="00000400000000000000" pitchFamily="2" charset="0"/>
                        </a:rPr>
                        <a:t>0 (53)</a:t>
                      </a:r>
                      <a:endParaRPr sz="1200" dirty="0">
                        <a:solidFill>
                          <a:schemeClr val="tx1"/>
                        </a:solidFill>
                        <a:latin typeface="Gene Sans Light" panose="00000400000000000000" pitchFamily="2" charset="0"/>
                      </a:endParaRPr>
                    </a:p>
                  </a:txBody>
                  <a:tcPr marL="91450" marR="91450" marT="45725" marB="45725" anchor="ctr">
                    <a:lnL w="9525" cap="flat" cmpd="sng" algn="ctr">
                      <a:solidFill>
                        <a:schemeClr val="accent6"/>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no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7" name="TextBox 36">
            <a:extLst>
              <a:ext uri="{FF2B5EF4-FFF2-40B4-BE49-F238E27FC236}">
                <a16:creationId xmlns:a16="http://schemas.microsoft.com/office/drawing/2014/main" id="{FDDA19AE-14A1-4CD0-A849-24D2C3C58F24}"/>
              </a:ext>
            </a:extLst>
          </p:cNvPr>
          <p:cNvSpPr txBox="1"/>
          <p:nvPr/>
        </p:nvSpPr>
        <p:spPr>
          <a:xfrm>
            <a:off x="479387" y="1436145"/>
            <a:ext cx="1608023" cy="203132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Anti–PD-1/PD-L1 therapy in urothelial cancer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7 trials, n =1747)</a:t>
            </a:r>
            <a:r>
              <a:rPr kumimoji="0" lang="en-US" sz="1200" b="1" i="0" u="none" strike="noStrike" kern="0" cap="none" spc="0" normalizeH="0" baseline="30000" noProof="0" dirty="0">
                <a:ln>
                  <a:noFill/>
                </a:ln>
                <a:solidFill>
                  <a:srgbClr val="545859"/>
                </a:solidFill>
                <a:effectLst/>
                <a:uLnTx/>
                <a:uFillTx/>
                <a:latin typeface="Gene Sans Light" panose="00000400000000000000" pitchFamily="2" charset="0"/>
                <a:cs typeface="Arial"/>
                <a:sym typeface="Arial"/>
              </a:rPr>
              <a:t>1</a:t>
            </a:r>
            <a:r>
              <a:rPr kumimoji="0" lang="en-US" sz="12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Responding patients were observed to have a similar duration of response, regardless of corticosteroid use</a:t>
            </a:r>
            <a:endParaRPr kumimoji="0" lang="en-US" sz="1200" b="0" i="0" u="none" strike="noStrike" kern="0" cap="none" spc="0" normalizeH="0" baseline="0" noProof="0" dirty="0">
              <a:ln>
                <a:noFill/>
              </a:ln>
              <a:solidFill>
                <a:srgbClr val="000000"/>
              </a:solidFill>
              <a:effectLst/>
              <a:uLnTx/>
              <a:uFillTx/>
              <a:latin typeface="Gene Sans Light" panose="00000400000000000000" pitchFamily="2" charset="0"/>
              <a:cs typeface="Arial"/>
              <a:sym typeface="Arial"/>
            </a:endParaRPr>
          </a:p>
        </p:txBody>
      </p:sp>
      <p:grpSp>
        <p:nvGrpSpPr>
          <p:cNvPr id="38" name="Group 37">
            <a:extLst>
              <a:ext uri="{FF2B5EF4-FFF2-40B4-BE49-F238E27FC236}">
                <a16:creationId xmlns:a16="http://schemas.microsoft.com/office/drawing/2014/main" id="{0818185B-7854-48CF-BDB9-89092AF709E8}"/>
              </a:ext>
            </a:extLst>
          </p:cNvPr>
          <p:cNvGrpSpPr/>
          <p:nvPr/>
        </p:nvGrpSpPr>
        <p:grpSpPr>
          <a:xfrm>
            <a:off x="6624924" y="1333917"/>
            <a:ext cx="2577945" cy="384769"/>
            <a:chOff x="6287322" y="1411749"/>
            <a:chExt cx="2577945" cy="384769"/>
          </a:xfrm>
        </p:grpSpPr>
        <p:grpSp>
          <p:nvGrpSpPr>
            <p:cNvPr id="39" name="Group 38">
              <a:extLst>
                <a:ext uri="{FF2B5EF4-FFF2-40B4-BE49-F238E27FC236}">
                  <a16:creationId xmlns:a16="http://schemas.microsoft.com/office/drawing/2014/main" id="{48235472-206C-4975-A4E1-E3E9BD066294}"/>
                </a:ext>
              </a:extLst>
            </p:cNvPr>
            <p:cNvGrpSpPr/>
            <p:nvPr/>
          </p:nvGrpSpPr>
          <p:grpSpPr>
            <a:xfrm>
              <a:off x="6290107" y="1411749"/>
              <a:ext cx="2575160" cy="169277"/>
              <a:chOff x="6290107" y="1411749"/>
              <a:chExt cx="2575160" cy="169277"/>
            </a:xfrm>
          </p:grpSpPr>
          <p:sp>
            <p:nvSpPr>
              <p:cNvPr id="47" name="Google Shape;4171;p26">
                <a:extLst>
                  <a:ext uri="{FF2B5EF4-FFF2-40B4-BE49-F238E27FC236}">
                    <a16:creationId xmlns:a16="http://schemas.microsoft.com/office/drawing/2014/main" id="{F5D41C84-0E1D-4E14-956F-42ABFFF8D53C}"/>
                  </a:ext>
                </a:extLst>
              </p:cNvPr>
              <p:cNvSpPr txBox="1"/>
              <p:nvPr/>
            </p:nvSpPr>
            <p:spPr>
              <a:xfrm>
                <a:off x="6685183" y="1411749"/>
                <a:ext cx="2180084" cy="169277"/>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No systemic corticosteroids</a:t>
                </a:r>
                <a:endParaRPr kumimoji="0" sz="1100" b="0" i="0" u="none" strike="noStrike" kern="0" cap="none" spc="0" normalizeH="0" baseline="0" noProof="0" dirty="0">
                  <a:ln>
                    <a:noFill/>
                  </a:ln>
                  <a:solidFill>
                    <a:srgbClr val="000000"/>
                  </a:solidFill>
                  <a:effectLst/>
                  <a:uLnTx/>
                  <a:uFillTx/>
                  <a:latin typeface="Gene Sans Light" panose="00000400000000000000" pitchFamily="2" charset="0"/>
                  <a:cs typeface="Arial"/>
                  <a:sym typeface="Arial"/>
                </a:endParaRPr>
              </a:p>
            </p:txBody>
          </p:sp>
          <p:grpSp>
            <p:nvGrpSpPr>
              <p:cNvPr id="48" name="Google Shape;4172;p26">
                <a:extLst>
                  <a:ext uri="{FF2B5EF4-FFF2-40B4-BE49-F238E27FC236}">
                    <a16:creationId xmlns:a16="http://schemas.microsoft.com/office/drawing/2014/main" id="{456A243F-EBBF-4470-97A0-7D46B5EB9E0D}"/>
                  </a:ext>
                </a:extLst>
              </p:cNvPr>
              <p:cNvGrpSpPr/>
              <p:nvPr/>
            </p:nvGrpSpPr>
            <p:grpSpPr>
              <a:xfrm>
                <a:off x="6290107" y="1433958"/>
                <a:ext cx="274320" cy="124858"/>
                <a:chOff x="8305800" y="1750783"/>
                <a:chExt cx="274320" cy="124858"/>
              </a:xfrm>
            </p:grpSpPr>
            <p:cxnSp>
              <p:nvCxnSpPr>
                <p:cNvPr id="49" name="Google Shape;4173;p26">
                  <a:extLst>
                    <a:ext uri="{FF2B5EF4-FFF2-40B4-BE49-F238E27FC236}">
                      <a16:creationId xmlns:a16="http://schemas.microsoft.com/office/drawing/2014/main" id="{38F883F3-8C6A-403B-A9AE-9ECC8AE42287}"/>
                    </a:ext>
                  </a:extLst>
                </p:cNvPr>
                <p:cNvCxnSpPr/>
                <p:nvPr/>
              </p:nvCxnSpPr>
              <p:spPr>
                <a:xfrm>
                  <a:off x="8305800" y="1811086"/>
                  <a:ext cx="274320" cy="0"/>
                </a:xfrm>
                <a:prstGeom prst="straightConnector1">
                  <a:avLst/>
                </a:prstGeom>
                <a:noFill/>
                <a:ln w="25400" cap="flat" cmpd="sng">
                  <a:solidFill>
                    <a:schemeClr val="accent4"/>
                  </a:solidFill>
                  <a:prstDash val="solid"/>
                  <a:round/>
                  <a:headEnd type="none" w="med" len="med"/>
                  <a:tailEnd type="none" w="med" len="med"/>
                </a:ln>
              </p:spPr>
            </p:cxnSp>
            <p:grpSp>
              <p:nvGrpSpPr>
                <p:cNvPr id="50" name="Google Shape;4174;p26">
                  <a:extLst>
                    <a:ext uri="{FF2B5EF4-FFF2-40B4-BE49-F238E27FC236}">
                      <a16:creationId xmlns:a16="http://schemas.microsoft.com/office/drawing/2014/main" id="{73C1D6C4-29B0-4DE0-B493-89E63AF171BF}"/>
                    </a:ext>
                  </a:extLst>
                </p:cNvPr>
                <p:cNvGrpSpPr/>
                <p:nvPr/>
              </p:nvGrpSpPr>
              <p:grpSpPr>
                <a:xfrm>
                  <a:off x="8364193" y="1750783"/>
                  <a:ext cx="142439" cy="124858"/>
                  <a:chOff x="8380015" y="2362200"/>
                  <a:chExt cx="113900" cy="113900"/>
                </a:xfrm>
              </p:grpSpPr>
              <p:cxnSp>
                <p:nvCxnSpPr>
                  <p:cNvPr id="51" name="Google Shape;4175;p26">
                    <a:extLst>
                      <a:ext uri="{FF2B5EF4-FFF2-40B4-BE49-F238E27FC236}">
                        <a16:creationId xmlns:a16="http://schemas.microsoft.com/office/drawing/2014/main" id="{28B3C2E0-5D4E-4961-9073-B3D1CD8A48FC}"/>
                      </a:ext>
                    </a:extLst>
                  </p:cNvPr>
                  <p:cNvCxnSpPr/>
                  <p:nvPr/>
                </p:nvCxnSpPr>
                <p:spPr>
                  <a:xfrm>
                    <a:off x="8436965" y="2362200"/>
                    <a:ext cx="0" cy="113900"/>
                  </a:xfrm>
                  <a:prstGeom prst="straightConnector1">
                    <a:avLst/>
                  </a:prstGeom>
                  <a:noFill/>
                  <a:ln w="19050" cap="flat" cmpd="sng">
                    <a:solidFill>
                      <a:schemeClr val="accent4"/>
                    </a:solidFill>
                    <a:prstDash val="solid"/>
                    <a:miter lim="800000"/>
                    <a:headEnd type="none" w="med" len="med"/>
                    <a:tailEnd type="none" w="med" len="med"/>
                  </a:ln>
                </p:spPr>
              </p:cxnSp>
              <p:cxnSp>
                <p:nvCxnSpPr>
                  <p:cNvPr id="52" name="Google Shape;4176;p26">
                    <a:extLst>
                      <a:ext uri="{FF2B5EF4-FFF2-40B4-BE49-F238E27FC236}">
                        <a16:creationId xmlns:a16="http://schemas.microsoft.com/office/drawing/2014/main" id="{0C41A3F7-034A-46FB-A7B2-9122C84438C3}"/>
                      </a:ext>
                    </a:extLst>
                  </p:cNvPr>
                  <p:cNvCxnSpPr/>
                  <p:nvPr/>
                </p:nvCxnSpPr>
                <p:spPr>
                  <a:xfrm rot="10800000">
                    <a:off x="8436965" y="2358725"/>
                    <a:ext cx="0" cy="113900"/>
                  </a:xfrm>
                  <a:prstGeom prst="straightConnector1">
                    <a:avLst/>
                  </a:prstGeom>
                  <a:noFill/>
                  <a:ln w="19050" cap="flat" cmpd="sng">
                    <a:solidFill>
                      <a:schemeClr val="accent4"/>
                    </a:solidFill>
                    <a:prstDash val="solid"/>
                    <a:miter lim="800000"/>
                    <a:headEnd type="none" w="med" len="med"/>
                    <a:tailEnd type="none" w="med" len="med"/>
                  </a:ln>
                </p:spPr>
              </p:cxnSp>
            </p:grpSp>
          </p:grpSp>
        </p:grpSp>
        <p:grpSp>
          <p:nvGrpSpPr>
            <p:cNvPr id="40" name="Group 39">
              <a:extLst>
                <a:ext uri="{FF2B5EF4-FFF2-40B4-BE49-F238E27FC236}">
                  <a16:creationId xmlns:a16="http://schemas.microsoft.com/office/drawing/2014/main" id="{5CE01C48-BE16-4530-A75B-4A91DDEE8F3D}"/>
                </a:ext>
              </a:extLst>
            </p:cNvPr>
            <p:cNvGrpSpPr/>
            <p:nvPr/>
          </p:nvGrpSpPr>
          <p:grpSpPr>
            <a:xfrm>
              <a:off x="6287322" y="1627241"/>
              <a:ext cx="2329480" cy="169277"/>
              <a:chOff x="6287322" y="1598897"/>
              <a:chExt cx="2329480" cy="169277"/>
            </a:xfrm>
          </p:grpSpPr>
          <p:grpSp>
            <p:nvGrpSpPr>
              <p:cNvPr id="41" name="Google Shape;4177;p26">
                <a:extLst>
                  <a:ext uri="{FF2B5EF4-FFF2-40B4-BE49-F238E27FC236}">
                    <a16:creationId xmlns:a16="http://schemas.microsoft.com/office/drawing/2014/main" id="{645BC617-758D-47BD-863A-E8C1EA1A7FAA}"/>
                  </a:ext>
                </a:extLst>
              </p:cNvPr>
              <p:cNvGrpSpPr/>
              <p:nvPr/>
            </p:nvGrpSpPr>
            <p:grpSpPr>
              <a:xfrm>
                <a:off x="6287322" y="1621107"/>
                <a:ext cx="274320" cy="124858"/>
                <a:chOff x="8303015" y="1939797"/>
                <a:chExt cx="274320" cy="124858"/>
              </a:xfrm>
            </p:grpSpPr>
            <p:cxnSp>
              <p:nvCxnSpPr>
                <p:cNvPr id="43" name="Google Shape;4178;p26">
                  <a:extLst>
                    <a:ext uri="{FF2B5EF4-FFF2-40B4-BE49-F238E27FC236}">
                      <a16:creationId xmlns:a16="http://schemas.microsoft.com/office/drawing/2014/main" id="{A6FAACB4-8B1B-4401-9A83-389DA09E3F92}"/>
                    </a:ext>
                  </a:extLst>
                </p:cNvPr>
                <p:cNvCxnSpPr/>
                <p:nvPr/>
              </p:nvCxnSpPr>
              <p:spPr>
                <a:xfrm>
                  <a:off x="8303015" y="2003456"/>
                  <a:ext cx="274320" cy="0"/>
                </a:xfrm>
                <a:prstGeom prst="straightConnector1">
                  <a:avLst/>
                </a:prstGeom>
                <a:noFill/>
                <a:ln w="25400" cap="flat" cmpd="sng">
                  <a:solidFill>
                    <a:schemeClr val="tx1"/>
                  </a:solidFill>
                  <a:prstDash val="solid"/>
                  <a:round/>
                  <a:headEnd type="none" w="med" len="med"/>
                  <a:tailEnd type="none" w="med" len="med"/>
                </a:ln>
              </p:spPr>
            </p:cxnSp>
            <p:grpSp>
              <p:nvGrpSpPr>
                <p:cNvPr id="44" name="Google Shape;4179;p26">
                  <a:extLst>
                    <a:ext uri="{FF2B5EF4-FFF2-40B4-BE49-F238E27FC236}">
                      <a16:creationId xmlns:a16="http://schemas.microsoft.com/office/drawing/2014/main" id="{73815288-7980-4359-9004-9A01FD11D036}"/>
                    </a:ext>
                  </a:extLst>
                </p:cNvPr>
                <p:cNvGrpSpPr/>
                <p:nvPr/>
              </p:nvGrpSpPr>
              <p:grpSpPr>
                <a:xfrm>
                  <a:off x="8361838" y="1939797"/>
                  <a:ext cx="142439" cy="124858"/>
                  <a:chOff x="8380015" y="2362200"/>
                  <a:chExt cx="113900" cy="113900"/>
                </a:xfrm>
              </p:grpSpPr>
              <p:cxnSp>
                <p:nvCxnSpPr>
                  <p:cNvPr id="45" name="Google Shape;4180;p26">
                    <a:extLst>
                      <a:ext uri="{FF2B5EF4-FFF2-40B4-BE49-F238E27FC236}">
                        <a16:creationId xmlns:a16="http://schemas.microsoft.com/office/drawing/2014/main" id="{4BD69F97-7B84-462A-BEDD-BA17F85CED7E}"/>
                      </a:ext>
                    </a:extLst>
                  </p:cNvPr>
                  <p:cNvCxnSpPr/>
                  <p:nvPr/>
                </p:nvCxnSpPr>
                <p:spPr>
                  <a:xfrm>
                    <a:off x="8436965" y="2362200"/>
                    <a:ext cx="0" cy="113900"/>
                  </a:xfrm>
                  <a:prstGeom prst="straightConnector1">
                    <a:avLst/>
                  </a:prstGeom>
                  <a:noFill/>
                  <a:ln w="19050" cap="flat" cmpd="sng">
                    <a:solidFill>
                      <a:schemeClr val="tx1"/>
                    </a:solidFill>
                    <a:prstDash val="solid"/>
                    <a:miter lim="800000"/>
                    <a:headEnd type="none" w="med" len="med"/>
                    <a:tailEnd type="none" w="med" len="med"/>
                  </a:ln>
                </p:spPr>
              </p:cxnSp>
              <p:cxnSp>
                <p:nvCxnSpPr>
                  <p:cNvPr id="46" name="Google Shape;4181;p26">
                    <a:extLst>
                      <a:ext uri="{FF2B5EF4-FFF2-40B4-BE49-F238E27FC236}">
                        <a16:creationId xmlns:a16="http://schemas.microsoft.com/office/drawing/2014/main" id="{C8318725-A98F-49C5-87D7-1B664406275B}"/>
                      </a:ext>
                    </a:extLst>
                  </p:cNvPr>
                  <p:cNvCxnSpPr/>
                  <p:nvPr/>
                </p:nvCxnSpPr>
                <p:spPr>
                  <a:xfrm rot="10800000">
                    <a:off x="8436965" y="2362200"/>
                    <a:ext cx="0" cy="113900"/>
                  </a:xfrm>
                  <a:prstGeom prst="straightConnector1">
                    <a:avLst/>
                  </a:prstGeom>
                  <a:noFill/>
                  <a:ln w="19050" cap="flat" cmpd="sng">
                    <a:solidFill>
                      <a:schemeClr val="tx1"/>
                    </a:solidFill>
                    <a:prstDash val="solid"/>
                    <a:miter lim="800000"/>
                    <a:headEnd type="none" w="med" len="med"/>
                    <a:tailEnd type="none" w="med" len="med"/>
                  </a:ln>
                </p:spPr>
              </p:cxnSp>
            </p:grpSp>
          </p:grpSp>
          <p:sp>
            <p:nvSpPr>
              <p:cNvPr id="42" name="Google Shape;4182;p26">
                <a:extLst>
                  <a:ext uri="{FF2B5EF4-FFF2-40B4-BE49-F238E27FC236}">
                    <a16:creationId xmlns:a16="http://schemas.microsoft.com/office/drawing/2014/main" id="{DBEBCD9C-526C-46C3-B53B-67C5044505F8}"/>
                  </a:ext>
                </a:extLst>
              </p:cNvPr>
              <p:cNvSpPr txBox="1"/>
              <p:nvPr/>
            </p:nvSpPr>
            <p:spPr>
              <a:xfrm>
                <a:off x="6685183" y="1598897"/>
                <a:ext cx="1931619" cy="169277"/>
              </a:xfrm>
              <a:prstGeom prst="rect">
                <a:avLst/>
              </a:prstGeom>
              <a:noFill/>
              <a:ln>
                <a:noFill/>
              </a:ln>
            </p:spPr>
            <p:txBody>
              <a:bodyPr spcFirstLastPara="1" wrap="square" lIns="0" tIns="0" rIns="0" bIns="0" anchor="ctr"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Systemic corticosteroids</a:t>
                </a:r>
                <a:endParaRPr kumimoji="0" sz="1100" b="0" i="0" u="none" strike="noStrike" kern="0" cap="none" spc="0" normalizeH="0" baseline="0" noProof="0" dirty="0">
                  <a:ln>
                    <a:noFill/>
                  </a:ln>
                  <a:solidFill>
                    <a:srgbClr val="000000"/>
                  </a:solidFill>
                  <a:effectLst/>
                  <a:uLnTx/>
                  <a:uFillTx/>
                  <a:latin typeface="Gene Sans Light" panose="00000400000000000000" pitchFamily="2" charset="0"/>
                  <a:cs typeface="Arial"/>
                  <a:sym typeface="Arial"/>
                </a:endParaRPr>
              </a:p>
            </p:txBody>
          </p:sp>
        </p:grpSp>
      </p:grpSp>
      <p:grpSp>
        <p:nvGrpSpPr>
          <p:cNvPr id="53" name="Group 52">
            <a:extLst>
              <a:ext uri="{FF2B5EF4-FFF2-40B4-BE49-F238E27FC236}">
                <a16:creationId xmlns:a16="http://schemas.microsoft.com/office/drawing/2014/main" id="{B67F01B8-ABAB-48E8-A19E-C7C6659094FF}"/>
              </a:ext>
            </a:extLst>
          </p:cNvPr>
          <p:cNvGrpSpPr/>
          <p:nvPr/>
        </p:nvGrpSpPr>
        <p:grpSpPr>
          <a:xfrm>
            <a:off x="2978179" y="1556214"/>
            <a:ext cx="5266662" cy="1329144"/>
            <a:chOff x="8969125" y="-1672126"/>
            <a:chExt cx="6618287" cy="2349431"/>
          </a:xfrm>
        </p:grpSpPr>
        <p:grpSp>
          <p:nvGrpSpPr>
            <p:cNvPr id="54" name="Google Shape;3810;p26">
              <a:extLst>
                <a:ext uri="{FF2B5EF4-FFF2-40B4-BE49-F238E27FC236}">
                  <a16:creationId xmlns:a16="http://schemas.microsoft.com/office/drawing/2014/main" id="{516F5D6E-FB1C-475F-AC4F-87172ABA52B7}"/>
                </a:ext>
              </a:extLst>
            </p:cNvPr>
            <p:cNvGrpSpPr/>
            <p:nvPr/>
          </p:nvGrpSpPr>
          <p:grpSpPr>
            <a:xfrm>
              <a:off x="9018337" y="-1615230"/>
              <a:ext cx="6569075" cy="2292535"/>
              <a:chOff x="3827852" y="1666697"/>
              <a:chExt cx="6569075" cy="2615333"/>
            </a:xfrm>
          </p:grpSpPr>
          <p:sp>
            <p:nvSpPr>
              <p:cNvPr id="61" name="Google Shape;3811;p26">
                <a:extLst>
                  <a:ext uri="{FF2B5EF4-FFF2-40B4-BE49-F238E27FC236}">
                    <a16:creationId xmlns:a16="http://schemas.microsoft.com/office/drawing/2014/main" id="{247B6A15-5B96-453C-AA7E-E5F240987B8D}"/>
                  </a:ext>
                </a:extLst>
              </p:cNvPr>
              <p:cNvSpPr/>
              <p:nvPr/>
            </p:nvSpPr>
            <p:spPr>
              <a:xfrm>
                <a:off x="3827852" y="1666697"/>
                <a:ext cx="6505575" cy="2552008"/>
              </a:xfrm>
              <a:custGeom>
                <a:avLst/>
                <a:gdLst/>
                <a:ahLst/>
                <a:cxnLst/>
                <a:rect l="l" t="t" r="r" b="b"/>
                <a:pathLst>
                  <a:path w="2968" h="1164" extrusionOk="0">
                    <a:moveTo>
                      <a:pt x="0" y="0"/>
                    </a:moveTo>
                    <a:cubicBezTo>
                      <a:pt x="210" y="0"/>
                      <a:pt x="210" y="0"/>
                      <a:pt x="210" y="0"/>
                    </a:cubicBezTo>
                    <a:cubicBezTo>
                      <a:pt x="210" y="34"/>
                      <a:pt x="210" y="34"/>
                      <a:pt x="210" y="34"/>
                    </a:cubicBezTo>
                    <a:cubicBezTo>
                      <a:pt x="316" y="34"/>
                      <a:pt x="316" y="34"/>
                      <a:pt x="316" y="34"/>
                    </a:cubicBezTo>
                    <a:cubicBezTo>
                      <a:pt x="316" y="45"/>
                      <a:pt x="316" y="45"/>
                      <a:pt x="316" y="45"/>
                    </a:cubicBezTo>
                    <a:cubicBezTo>
                      <a:pt x="393" y="45"/>
                      <a:pt x="393" y="45"/>
                      <a:pt x="393" y="45"/>
                    </a:cubicBezTo>
                    <a:cubicBezTo>
                      <a:pt x="393" y="58"/>
                      <a:pt x="393" y="58"/>
                      <a:pt x="393" y="58"/>
                    </a:cubicBezTo>
                    <a:cubicBezTo>
                      <a:pt x="412" y="58"/>
                      <a:pt x="412" y="58"/>
                      <a:pt x="412" y="58"/>
                    </a:cubicBezTo>
                    <a:cubicBezTo>
                      <a:pt x="412" y="65"/>
                      <a:pt x="412" y="65"/>
                      <a:pt x="412" y="65"/>
                    </a:cubicBezTo>
                    <a:cubicBezTo>
                      <a:pt x="499" y="65"/>
                      <a:pt x="499" y="65"/>
                      <a:pt x="499" y="65"/>
                    </a:cubicBezTo>
                    <a:cubicBezTo>
                      <a:pt x="499" y="74"/>
                      <a:pt x="499" y="74"/>
                      <a:pt x="499" y="74"/>
                    </a:cubicBezTo>
                    <a:cubicBezTo>
                      <a:pt x="530" y="74"/>
                      <a:pt x="530" y="74"/>
                      <a:pt x="530" y="74"/>
                    </a:cubicBezTo>
                    <a:cubicBezTo>
                      <a:pt x="530" y="90"/>
                      <a:pt x="530" y="90"/>
                      <a:pt x="530" y="90"/>
                    </a:cubicBezTo>
                    <a:cubicBezTo>
                      <a:pt x="575" y="90"/>
                      <a:pt x="575" y="90"/>
                      <a:pt x="575" y="90"/>
                    </a:cubicBezTo>
                    <a:cubicBezTo>
                      <a:pt x="575" y="110"/>
                      <a:pt x="575" y="110"/>
                      <a:pt x="575" y="110"/>
                    </a:cubicBezTo>
                    <a:cubicBezTo>
                      <a:pt x="625" y="110"/>
                      <a:pt x="625" y="110"/>
                      <a:pt x="625" y="110"/>
                    </a:cubicBezTo>
                    <a:cubicBezTo>
                      <a:pt x="625" y="145"/>
                      <a:pt x="625" y="145"/>
                      <a:pt x="625" y="145"/>
                    </a:cubicBezTo>
                    <a:cubicBezTo>
                      <a:pt x="640" y="145"/>
                      <a:pt x="640" y="145"/>
                      <a:pt x="640" y="145"/>
                    </a:cubicBezTo>
                    <a:cubicBezTo>
                      <a:pt x="640" y="163"/>
                      <a:pt x="640" y="163"/>
                      <a:pt x="640" y="163"/>
                    </a:cubicBezTo>
                    <a:cubicBezTo>
                      <a:pt x="663" y="163"/>
                      <a:pt x="663" y="163"/>
                      <a:pt x="663" y="163"/>
                    </a:cubicBezTo>
                    <a:cubicBezTo>
                      <a:pt x="663" y="175"/>
                      <a:pt x="663" y="175"/>
                      <a:pt x="663" y="175"/>
                    </a:cubicBezTo>
                    <a:cubicBezTo>
                      <a:pt x="715" y="175"/>
                      <a:pt x="715" y="175"/>
                      <a:pt x="715" y="175"/>
                    </a:cubicBezTo>
                    <a:cubicBezTo>
                      <a:pt x="715" y="182"/>
                      <a:pt x="715" y="182"/>
                      <a:pt x="715" y="182"/>
                    </a:cubicBezTo>
                    <a:cubicBezTo>
                      <a:pt x="799" y="182"/>
                      <a:pt x="799" y="182"/>
                      <a:pt x="799" y="182"/>
                    </a:cubicBezTo>
                    <a:cubicBezTo>
                      <a:pt x="799" y="190"/>
                      <a:pt x="799" y="190"/>
                      <a:pt x="799" y="190"/>
                    </a:cubicBezTo>
                    <a:cubicBezTo>
                      <a:pt x="816" y="190"/>
                      <a:pt x="816" y="190"/>
                      <a:pt x="816" y="190"/>
                    </a:cubicBezTo>
                    <a:cubicBezTo>
                      <a:pt x="816" y="199"/>
                      <a:pt x="816" y="199"/>
                      <a:pt x="816" y="199"/>
                    </a:cubicBezTo>
                    <a:cubicBezTo>
                      <a:pt x="834" y="199"/>
                      <a:pt x="834" y="199"/>
                      <a:pt x="834" y="199"/>
                    </a:cubicBezTo>
                    <a:cubicBezTo>
                      <a:pt x="834" y="216"/>
                      <a:pt x="834" y="216"/>
                      <a:pt x="834" y="216"/>
                    </a:cubicBezTo>
                    <a:cubicBezTo>
                      <a:pt x="859" y="216"/>
                      <a:pt x="859" y="216"/>
                      <a:pt x="859" y="216"/>
                    </a:cubicBezTo>
                    <a:cubicBezTo>
                      <a:pt x="859" y="230"/>
                      <a:pt x="859" y="230"/>
                      <a:pt x="859" y="230"/>
                    </a:cubicBezTo>
                    <a:cubicBezTo>
                      <a:pt x="897" y="230"/>
                      <a:pt x="897" y="230"/>
                      <a:pt x="897" y="230"/>
                    </a:cubicBezTo>
                    <a:cubicBezTo>
                      <a:pt x="897" y="238"/>
                      <a:pt x="897" y="238"/>
                      <a:pt x="897" y="238"/>
                    </a:cubicBezTo>
                    <a:cubicBezTo>
                      <a:pt x="917" y="238"/>
                      <a:pt x="917" y="238"/>
                      <a:pt x="917" y="238"/>
                    </a:cubicBezTo>
                    <a:cubicBezTo>
                      <a:pt x="917" y="243"/>
                      <a:pt x="917" y="243"/>
                      <a:pt x="917" y="243"/>
                    </a:cubicBezTo>
                    <a:cubicBezTo>
                      <a:pt x="928" y="243"/>
                      <a:pt x="928" y="243"/>
                      <a:pt x="928" y="243"/>
                    </a:cubicBezTo>
                    <a:cubicBezTo>
                      <a:pt x="928" y="257"/>
                      <a:pt x="928" y="257"/>
                      <a:pt x="928" y="257"/>
                    </a:cubicBezTo>
                    <a:cubicBezTo>
                      <a:pt x="967" y="257"/>
                      <a:pt x="967" y="257"/>
                      <a:pt x="967" y="257"/>
                    </a:cubicBezTo>
                    <a:cubicBezTo>
                      <a:pt x="967" y="272"/>
                      <a:pt x="967" y="272"/>
                      <a:pt x="967" y="272"/>
                    </a:cubicBezTo>
                    <a:cubicBezTo>
                      <a:pt x="1011" y="272"/>
                      <a:pt x="1011" y="272"/>
                      <a:pt x="1011" y="272"/>
                    </a:cubicBezTo>
                    <a:cubicBezTo>
                      <a:pt x="1011" y="279"/>
                      <a:pt x="1011" y="279"/>
                      <a:pt x="1011" y="279"/>
                    </a:cubicBezTo>
                    <a:cubicBezTo>
                      <a:pt x="1021" y="279"/>
                      <a:pt x="1021" y="279"/>
                      <a:pt x="1021" y="279"/>
                    </a:cubicBezTo>
                    <a:cubicBezTo>
                      <a:pt x="1021" y="297"/>
                      <a:pt x="1021" y="297"/>
                      <a:pt x="1021" y="297"/>
                    </a:cubicBezTo>
                    <a:cubicBezTo>
                      <a:pt x="1028" y="297"/>
                      <a:pt x="1028" y="297"/>
                      <a:pt x="1028" y="297"/>
                    </a:cubicBezTo>
                    <a:cubicBezTo>
                      <a:pt x="1028" y="326"/>
                      <a:pt x="1028" y="326"/>
                      <a:pt x="1028" y="326"/>
                    </a:cubicBezTo>
                    <a:cubicBezTo>
                      <a:pt x="1053" y="326"/>
                      <a:pt x="1053" y="326"/>
                      <a:pt x="1053" y="326"/>
                    </a:cubicBezTo>
                    <a:cubicBezTo>
                      <a:pt x="1053" y="335"/>
                      <a:pt x="1053" y="335"/>
                      <a:pt x="1053" y="335"/>
                    </a:cubicBezTo>
                    <a:cubicBezTo>
                      <a:pt x="1101" y="335"/>
                      <a:pt x="1101" y="335"/>
                      <a:pt x="1101" y="335"/>
                    </a:cubicBezTo>
                    <a:cubicBezTo>
                      <a:pt x="1101" y="355"/>
                      <a:pt x="1101" y="355"/>
                      <a:pt x="1101" y="355"/>
                    </a:cubicBezTo>
                    <a:cubicBezTo>
                      <a:pt x="1118" y="355"/>
                      <a:pt x="1118" y="355"/>
                      <a:pt x="1118" y="355"/>
                    </a:cubicBezTo>
                    <a:cubicBezTo>
                      <a:pt x="1118" y="376"/>
                      <a:pt x="1118" y="376"/>
                      <a:pt x="1118" y="376"/>
                    </a:cubicBezTo>
                    <a:cubicBezTo>
                      <a:pt x="1138" y="376"/>
                      <a:pt x="1138" y="376"/>
                      <a:pt x="1138" y="376"/>
                    </a:cubicBezTo>
                    <a:cubicBezTo>
                      <a:pt x="1138" y="395"/>
                      <a:pt x="1138" y="395"/>
                      <a:pt x="1138" y="395"/>
                    </a:cubicBezTo>
                    <a:cubicBezTo>
                      <a:pt x="1199" y="395"/>
                      <a:pt x="1199" y="395"/>
                      <a:pt x="1199" y="395"/>
                    </a:cubicBezTo>
                    <a:cubicBezTo>
                      <a:pt x="1199" y="407"/>
                      <a:pt x="1199" y="407"/>
                      <a:pt x="1199" y="407"/>
                    </a:cubicBezTo>
                    <a:cubicBezTo>
                      <a:pt x="1212" y="407"/>
                      <a:pt x="1212" y="407"/>
                      <a:pt x="1212" y="407"/>
                    </a:cubicBezTo>
                    <a:cubicBezTo>
                      <a:pt x="1212" y="421"/>
                      <a:pt x="1212" y="421"/>
                      <a:pt x="1212" y="421"/>
                    </a:cubicBezTo>
                    <a:cubicBezTo>
                      <a:pt x="1237" y="421"/>
                      <a:pt x="1237" y="421"/>
                      <a:pt x="1237" y="421"/>
                    </a:cubicBezTo>
                    <a:cubicBezTo>
                      <a:pt x="1237" y="448"/>
                      <a:pt x="1237" y="448"/>
                      <a:pt x="1237" y="448"/>
                    </a:cubicBezTo>
                    <a:cubicBezTo>
                      <a:pt x="1297" y="448"/>
                      <a:pt x="1297" y="448"/>
                      <a:pt x="1297" y="448"/>
                    </a:cubicBezTo>
                    <a:cubicBezTo>
                      <a:pt x="1297" y="467"/>
                      <a:pt x="1297" y="467"/>
                      <a:pt x="1297" y="467"/>
                    </a:cubicBezTo>
                    <a:cubicBezTo>
                      <a:pt x="1342" y="467"/>
                      <a:pt x="1342" y="467"/>
                      <a:pt x="1342" y="467"/>
                    </a:cubicBezTo>
                    <a:cubicBezTo>
                      <a:pt x="1342" y="486"/>
                      <a:pt x="1342" y="486"/>
                      <a:pt x="1342" y="486"/>
                    </a:cubicBezTo>
                    <a:cubicBezTo>
                      <a:pt x="1358" y="486"/>
                      <a:pt x="1358" y="486"/>
                      <a:pt x="1358" y="486"/>
                    </a:cubicBezTo>
                    <a:cubicBezTo>
                      <a:pt x="1358" y="495"/>
                      <a:pt x="1358" y="495"/>
                      <a:pt x="1358" y="495"/>
                    </a:cubicBezTo>
                    <a:cubicBezTo>
                      <a:pt x="1435" y="495"/>
                      <a:pt x="1435" y="495"/>
                      <a:pt x="1435" y="495"/>
                    </a:cubicBezTo>
                    <a:cubicBezTo>
                      <a:pt x="1435" y="527"/>
                      <a:pt x="1435" y="527"/>
                      <a:pt x="1435" y="527"/>
                    </a:cubicBezTo>
                    <a:cubicBezTo>
                      <a:pt x="1447" y="527"/>
                      <a:pt x="1447" y="527"/>
                      <a:pt x="1447" y="527"/>
                    </a:cubicBezTo>
                    <a:cubicBezTo>
                      <a:pt x="1447" y="552"/>
                      <a:pt x="1447" y="552"/>
                      <a:pt x="1447" y="552"/>
                    </a:cubicBezTo>
                    <a:cubicBezTo>
                      <a:pt x="1514" y="552"/>
                      <a:pt x="1514" y="552"/>
                      <a:pt x="1514" y="552"/>
                    </a:cubicBezTo>
                    <a:cubicBezTo>
                      <a:pt x="1514" y="559"/>
                      <a:pt x="1514" y="559"/>
                      <a:pt x="1514" y="559"/>
                    </a:cubicBezTo>
                    <a:cubicBezTo>
                      <a:pt x="1524" y="559"/>
                      <a:pt x="1524" y="559"/>
                      <a:pt x="1524" y="559"/>
                    </a:cubicBezTo>
                    <a:cubicBezTo>
                      <a:pt x="1524" y="575"/>
                      <a:pt x="1524" y="575"/>
                      <a:pt x="1524" y="575"/>
                    </a:cubicBezTo>
                    <a:cubicBezTo>
                      <a:pt x="1529" y="575"/>
                      <a:pt x="1529" y="575"/>
                      <a:pt x="1529" y="575"/>
                    </a:cubicBezTo>
                    <a:cubicBezTo>
                      <a:pt x="1529" y="589"/>
                      <a:pt x="1529" y="589"/>
                      <a:pt x="1529" y="589"/>
                    </a:cubicBezTo>
                    <a:cubicBezTo>
                      <a:pt x="1546" y="589"/>
                      <a:pt x="1546" y="589"/>
                      <a:pt x="1546" y="589"/>
                    </a:cubicBezTo>
                    <a:cubicBezTo>
                      <a:pt x="1546" y="628"/>
                      <a:pt x="1546" y="628"/>
                      <a:pt x="1546" y="628"/>
                    </a:cubicBezTo>
                    <a:cubicBezTo>
                      <a:pt x="1631" y="628"/>
                      <a:pt x="1631" y="628"/>
                      <a:pt x="1631" y="628"/>
                    </a:cubicBezTo>
                    <a:cubicBezTo>
                      <a:pt x="1631" y="641"/>
                      <a:pt x="1631" y="641"/>
                      <a:pt x="1631" y="641"/>
                    </a:cubicBezTo>
                    <a:cubicBezTo>
                      <a:pt x="1646" y="641"/>
                      <a:pt x="1646" y="641"/>
                      <a:pt x="1646" y="641"/>
                    </a:cubicBezTo>
                    <a:cubicBezTo>
                      <a:pt x="1646" y="670"/>
                      <a:pt x="1646" y="670"/>
                      <a:pt x="1646" y="670"/>
                    </a:cubicBezTo>
                    <a:cubicBezTo>
                      <a:pt x="1651" y="670"/>
                      <a:pt x="1651" y="670"/>
                      <a:pt x="1651" y="670"/>
                    </a:cubicBezTo>
                    <a:cubicBezTo>
                      <a:pt x="1651" y="714"/>
                      <a:pt x="1651" y="714"/>
                      <a:pt x="1651" y="714"/>
                    </a:cubicBezTo>
                    <a:cubicBezTo>
                      <a:pt x="1660" y="714"/>
                      <a:pt x="1660" y="714"/>
                      <a:pt x="1660" y="714"/>
                    </a:cubicBezTo>
                    <a:cubicBezTo>
                      <a:pt x="1660" y="734"/>
                      <a:pt x="1660" y="734"/>
                      <a:pt x="1660" y="734"/>
                    </a:cubicBezTo>
                    <a:cubicBezTo>
                      <a:pt x="1673" y="734"/>
                      <a:pt x="1673" y="734"/>
                      <a:pt x="1673" y="734"/>
                    </a:cubicBezTo>
                    <a:cubicBezTo>
                      <a:pt x="1673" y="745"/>
                      <a:pt x="1673" y="745"/>
                      <a:pt x="1673" y="745"/>
                    </a:cubicBezTo>
                    <a:cubicBezTo>
                      <a:pt x="1677" y="745"/>
                      <a:pt x="1677" y="745"/>
                      <a:pt x="1677" y="745"/>
                    </a:cubicBezTo>
                    <a:cubicBezTo>
                      <a:pt x="1677" y="777"/>
                      <a:pt x="1677" y="777"/>
                      <a:pt x="1677" y="777"/>
                    </a:cubicBezTo>
                    <a:cubicBezTo>
                      <a:pt x="1687" y="777"/>
                      <a:pt x="1687" y="777"/>
                      <a:pt x="1687" y="777"/>
                    </a:cubicBezTo>
                    <a:cubicBezTo>
                      <a:pt x="1687" y="781"/>
                      <a:pt x="1687" y="809"/>
                      <a:pt x="1687" y="809"/>
                    </a:cubicBezTo>
                    <a:cubicBezTo>
                      <a:pt x="1699" y="809"/>
                      <a:pt x="1699" y="809"/>
                      <a:pt x="1699" y="809"/>
                    </a:cubicBezTo>
                    <a:cubicBezTo>
                      <a:pt x="1699" y="839"/>
                      <a:pt x="1699" y="839"/>
                      <a:pt x="1699" y="839"/>
                    </a:cubicBezTo>
                    <a:cubicBezTo>
                      <a:pt x="1755" y="839"/>
                      <a:pt x="1755" y="839"/>
                      <a:pt x="1755" y="839"/>
                    </a:cubicBezTo>
                    <a:cubicBezTo>
                      <a:pt x="1755" y="855"/>
                      <a:pt x="1755" y="855"/>
                      <a:pt x="1755" y="855"/>
                    </a:cubicBezTo>
                    <a:cubicBezTo>
                      <a:pt x="1813" y="855"/>
                      <a:pt x="1813" y="855"/>
                      <a:pt x="1813" y="855"/>
                    </a:cubicBezTo>
                    <a:cubicBezTo>
                      <a:pt x="1813" y="873"/>
                      <a:pt x="1813" y="873"/>
                      <a:pt x="1813" y="873"/>
                    </a:cubicBezTo>
                    <a:cubicBezTo>
                      <a:pt x="1828" y="873"/>
                      <a:pt x="1828" y="873"/>
                      <a:pt x="1828" y="873"/>
                    </a:cubicBezTo>
                    <a:cubicBezTo>
                      <a:pt x="1828" y="890"/>
                      <a:pt x="1828" y="890"/>
                      <a:pt x="1828" y="890"/>
                    </a:cubicBezTo>
                    <a:cubicBezTo>
                      <a:pt x="1857" y="890"/>
                      <a:pt x="1857" y="890"/>
                      <a:pt x="1857" y="890"/>
                    </a:cubicBezTo>
                    <a:cubicBezTo>
                      <a:pt x="1857" y="908"/>
                      <a:pt x="1857" y="908"/>
                      <a:pt x="1857" y="908"/>
                    </a:cubicBezTo>
                    <a:cubicBezTo>
                      <a:pt x="1901" y="908"/>
                      <a:pt x="1901" y="908"/>
                      <a:pt x="1901" y="908"/>
                    </a:cubicBezTo>
                    <a:cubicBezTo>
                      <a:pt x="1901" y="930"/>
                      <a:pt x="1901" y="930"/>
                      <a:pt x="1901" y="930"/>
                    </a:cubicBezTo>
                    <a:cubicBezTo>
                      <a:pt x="1951" y="930"/>
                      <a:pt x="1951" y="930"/>
                      <a:pt x="1951" y="930"/>
                    </a:cubicBezTo>
                    <a:cubicBezTo>
                      <a:pt x="1951" y="956"/>
                      <a:pt x="1951" y="956"/>
                      <a:pt x="1951" y="956"/>
                    </a:cubicBezTo>
                    <a:cubicBezTo>
                      <a:pt x="2020" y="956"/>
                      <a:pt x="2020" y="956"/>
                      <a:pt x="2020" y="956"/>
                    </a:cubicBezTo>
                    <a:cubicBezTo>
                      <a:pt x="2020" y="979"/>
                      <a:pt x="2020" y="979"/>
                      <a:pt x="2020" y="979"/>
                    </a:cubicBezTo>
                    <a:cubicBezTo>
                      <a:pt x="2038" y="979"/>
                      <a:pt x="2038" y="979"/>
                      <a:pt x="2038" y="979"/>
                    </a:cubicBezTo>
                    <a:cubicBezTo>
                      <a:pt x="2038" y="1003"/>
                      <a:pt x="2038" y="1003"/>
                      <a:pt x="2038" y="1003"/>
                    </a:cubicBezTo>
                    <a:cubicBezTo>
                      <a:pt x="2060" y="1003"/>
                      <a:pt x="2060" y="1003"/>
                      <a:pt x="2060" y="1003"/>
                    </a:cubicBezTo>
                    <a:cubicBezTo>
                      <a:pt x="2060" y="1028"/>
                      <a:pt x="2060" y="1028"/>
                      <a:pt x="2060" y="1028"/>
                    </a:cubicBezTo>
                    <a:cubicBezTo>
                      <a:pt x="2288" y="1028"/>
                      <a:pt x="2288" y="1028"/>
                      <a:pt x="2288" y="1028"/>
                    </a:cubicBezTo>
                    <a:cubicBezTo>
                      <a:pt x="2288" y="1069"/>
                      <a:pt x="2288" y="1069"/>
                      <a:pt x="2288" y="1069"/>
                    </a:cubicBezTo>
                    <a:cubicBezTo>
                      <a:pt x="2459" y="1069"/>
                      <a:pt x="2459" y="1069"/>
                      <a:pt x="2459" y="1069"/>
                    </a:cubicBezTo>
                    <a:cubicBezTo>
                      <a:pt x="2459" y="1164"/>
                      <a:pt x="2459" y="1164"/>
                      <a:pt x="2459" y="1164"/>
                    </a:cubicBezTo>
                    <a:cubicBezTo>
                      <a:pt x="2968" y="1164"/>
                      <a:pt x="2968" y="1164"/>
                      <a:pt x="2968" y="1164"/>
                    </a:cubicBezTo>
                  </a:path>
                </a:pathLst>
              </a:custGeom>
              <a:noFill/>
              <a:ln w="19050" cap="flat" cmpd="sng">
                <a:solidFill>
                  <a:schemeClr val="accent4"/>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cxnSp>
            <p:nvCxnSpPr>
              <p:cNvPr id="62" name="Google Shape;3812;p26">
                <a:extLst>
                  <a:ext uri="{FF2B5EF4-FFF2-40B4-BE49-F238E27FC236}">
                    <a16:creationId xmlns:a16="http://schemas.microsoft.com/office/drawing/2014/main" id="{2CA5BB31-BB96-42D9-99ED-D8ED661CF22F}"/>
                  </a:ext>
                </a:extLst>
              </p:cNvPr>
              <p:cNvCxnSpPr/>
              <p:nvPr/>
            </p:nvCxnSpPr>
            <p:spPr>
              <a:xfrm>
                <a:off x="10333427" y="4155379"/>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63" name="Google Shape;3813;p26">
                <a:extLst>
                  <a:ext uri="{FF2B5EF4-FFF2-40B4-BE49-F238E27FC236}">
                    <a16:creationId xmlns:a16="http://schemas.microsoft.com/office/drawing/2014/main" id="{6E6B8CAD-A754-4631-846F-23C9A6A57719}"/>
                  </a:ext>
                </a:extLst>
              </p:cNvPr>
              <p:cNvCxnSpPr/>
              <p:nvPr/>
            </p:nvCxnSpPr>
            <p:spPr>
              <a:xfrm rot="10800000">
                <a:off x="10269927" y="4218705"/>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64" name="Google Shape;3814;p26">
                <a:extLst>
                  <a:ext uri="{FF2B5EF4-FFF2-40B4-BE49-F238E27FC236}">
                    <a16:creationId xmlns:a16="http://schemas.microsoft.com/office/drawing/2014/main" id="{C3C71855-56FD-46AB-8BAF-0278AB7A04F3}"/>
                  </a:ext>
                </a:extLst>
              </p:cNvPr>
              <p:cNvCxnSpPr/>
              <p:nvPr/>
            </p:nvCxnSpPr>
            <p:spPr>
              <a:xfrm>
                <a:off x="9633340" y="4155379"/>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65" name="Google Shape;3815;p26">
                <a:extLst>
                  <a:ext uri="{FF2B5EF4-FFF2-40B4-BE49-F238E27FC236}">
                    <a16:creationId xmlns:a16="http://schemas.microsoft.com/office/drawing/2014/main" id="{A959FFB3-3351-4A6C-9664-347A9AA6E330}"/>
                  </a:ext>
                </a:extLst>
              </p:cNvPr>
              <p:cNvCxnSpPr/>
              <p:nvPr/>
            </p:nvCxnSpPr>
            <p:spPr>
              <a:xfrm rot="10800000">
                <a:off x="9573015" y="4218705"/>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66" name="Google Shape;3816;p26">
                <a:extLst>
                  <a:ext uri="{FF2B5EF4-FFF2-40B4-BE49-F238E27FC236}">
                    <a16:creationId xmlns:a16="http://schemas.microsoft.com/office/drawing/2014/main" id="{F20833C5-5D9D-4D92-9276-65E5BEED2620}"/>
                  </a:ext>
                </a:extLst>
              </p:cNvPr>
              <p:cNvCxnSpPr/>
              <p:nvPr/>
            </p:nvCxnSpPr>
            <p:spPr>
              <a:xfrm>
                <a:off x="9239640" y="4155379"/>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67" name="Google Shape;3817;p26">
                <a:extLst>
                  <a:ext uri="{FF2B5EF4-FFF2-40B4-BE49-F238E27FC236}">
                    <a16:creationId xmlns:a16="http://schemas.microsoft.com/office/drawing/2014/main" id="{45FC5323-F335-4B2E-97D9-B408C9C124D5}"/>
                  </a:ext>
                </a:extLst>
              </p:cNvPr>
              <p:cNvCxnSpPr/>
              <p:nvPr/>
            </p:nvCxnSpPr>
            <p:spPr>
              <a:xfrm rot="10800000">
                <a:off x="9176140" y="4218705"/>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68" name="Google Shape;3818;p26">
                <a:extLst>
                  <a:ext uri="{FF2B5EF4-FFF2-40B4-BE49-F238E27FC236}">
                    <a16:creationId xmlns:a16="http://schemas.microsoft.com/office/drawing/2014/main" id="{2ED03271-D361-41C0-B14B-23B6FD0A34ED}"/>
                  </a:ext>
                </a:extLst>
              </p:cNvPr>
              <p:cNvCxnSpPr/>
              <p:nvPr/>
            </p:nvCxnSpPr>
            <p:spPr>
              <a:xfrm>
                <a:off x="9142802" y="3946406"/>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69" name="Google Shape;3819;p26">
                <a:extLst>
                  <a:ext uri="{FF2B5EF4-FFF2-40B4-BE49-F238E27FC236}">
                    <a16:creationId xmlns:a16="http://schemas.microsoft.com/office/drawing/2014/main" id="{41EC5159-0957-413A-B20F-7F925181AC7E}"/>
                  </a:ext>
                </a:extLst>
              </p:cNvPr>
              <p:cNvCxnSpPr/>
              <p:nvPr/>
            </p:nvCxnSpPr>
            <p:spPr>
              <a:xfrm rot="10800000">
                <a:off x="9080890" y="4009731"/>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70" name="Google Shape;3820;p26">
                <a:extLst>
                  <a:ext uri="{FF2B5EF4-FFF2-40B4-BE49-F238E27FC236}">
                    <a16:creationId xmlns:a16="http://schemas.microsoft.com/office/drawing/2014/main" id="{6DE5A413-9781-411F-967B-B0ADE1D76AA7}"/>
                  </a:ext>
                </a:extLst>
              </p:cNvPr>
              <p:cNvCxnSpPr/>
              <p:nvPr/>
            </p:nvCxnSpPr>
            <p:spPr>
              <a:xfrm>
                <a:off x="8963415" y="3946406"/>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71" name="Google Shape;3821;p26">
                <a:extLst>
                  <a:ext uri="{FF2B5EF4-FFF2-40B4-BE49-F238E27FC236}">
                    <a16:creationId xmlns:a16="http://schemas.microsoft.com/office/drawing/2014/main" id="{B1A7FCB4-BB3C-40BC-9F65-F679E11734D4}"/>
                  </a:ext>
                </a:extLst>
              </p:cNvPr>
              <p:cNvCxnSpPr/>
              <p:nvPr/>
            </p:nvCxnSpPr>
            <p:spPr>
              <a:xfrm rot="10800000">
                <a:off x="8899915" y="4009731"/>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72" name="Google Shape;3822;p26">
                <a:extLst>
                  <a:ext uri="{FF2B5EF4-FFF2-40B4-BE49-F238E27FC236}">
                    <a16:creationId xmlns:a16="http://schemas.microsoft.com/office/drawing/2014/main" id="{95861E5F-7929-4220-81AC-81269B237F4B}"/>
                  </a:ext>
                </a:extLst>
              </p:cNvPr>
              <p:cNvCxnSpPr/>
              <p:nvPr/>
            </p:nvCxnSpPr>
            <p:spPr>
              <a:xfrm>
                <a:off x="8938015" y="3946406"/>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73" name="Google Shape;3823;p26">
                <a:extLst>
                  <a:ext uri="{FF2B5EF4-FFF2-40B4-BE49-F238E27FC236}">
                    <a16:creationId xmlns:a16="http://schemas.microsoft.com/office/drawing/2014/main" id="{F444B900-4B47-4641-9327-ED99A118C9A4}"/>
                  </a:ext>
                </a:extLst>
              </p:cNvPr>
              <p:cNvCxnSpPr/>
              <p:nvPr/>
            </p:nvCxnSpPr>
            <p:spPr>
              <a:xfrm rot="10800000">
                <a:off x="8877690" y="4009731"/>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74" name="Google Shape;3824;p26">
                <a:extLst>
                  <a:ext uri="{FF2B5EF4-FFF2-40B4-BE49-F238E27FC236}">
                    <a16:creationId xmlns:a16="http://schemas.microsoft.com/office/drawing/2014/main" id="{70C47272-D746-49C4-831D-747ED9EABFCE}"/>
                  </a:ext>
                </a:extLst>
              </p:cNvPr>
              <p:cNvCxnSpPr/>
              <p:nvPr/>
            </p:nvCxnSpPr>
            <p:spPr>
              <a:xfrm>
                <a:off x="8864990" y="3946406"/>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75" name="Google Shape;3825;p26">
                <a:extLst>
                  <a:ext uri="{FF2B5EF4-FFF2-40B4-BE49-F238E27FC236}">
                    <a16:creationId xmlns:a16="http://schemas.microsoft.com/office/drawing/2014/main" id="{4A0D5239-0234-41D0-AFF1-B270DD5F3385}"/>
                  </a:ext>
                </a:extLst>
              </p:cNvPr>
              <p:cNvCxnSpPr/>
              <p:nvPr/>
            </p:nvCxnSpPr>
            <p:spPr>
              <a:xfrm rot="10800000">
                <a:off x="8801490" y="4009731"/>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76" name="Google Shape;3826;p26">
                <a:extLst>
                  <a:ext uri="{FF2B5EF4-FFF2-40B4-BE49-F238E27FC236}">
                    <a16:creationId xmlns:a16="http://schemas.microsoft.com/office/drawing/2014/main" id="{BCDEE4A8-4035-492C-9E65-4767A13CA076}"/>
                  </a:ext>
                </a:extLst>
              </p:cNvPr>
              <p:cNvCxnSpPr/>
              <p:nvPr/>
            </p:nvCxnSpPr>
            <p:spPr>
              <a:xfrm>
                <a:off x="8833240" y="3859334"/>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77" name="Google Shape;3827;p26">
                <a:extLst>
                  <a:ext uri="{FF2B5EF4-FFF2-40B4-BE49-F238E27FC236}">
                    <a16:creationId xmlns:a16="http://schemas.microsoft.com/office/drawing/2014/main" id="{54150B57-1324-4588-8A52-37E1EB230586}"/>
                  </a:ext>
                </a:extLst>
              </p:cNvPr>
              <p:cNvCxnSpPr/>
              <p:nvPr/>
            </p:nvCxnSpPr>
            <p:spPr>
              <a:xfrm rot="10800000">
                <a:off x="8769740" y="3922659"/>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78" name="Google Shape;3828;p26">
                <a:extLst>
                  <a:ext uri="{FF2B5EF4-FFF2-40B4-BE49-F238E27FC236}">
                    <a16:creationId xmlns:a16="http://schemas.microsoft.com/office/drawing/2014/main" id="{05CFC9FF-ACDF-4A76-BC00-626B7063F981}"/>
                  </a:ext>
                </a:extLst>
              </p:cNvPr>
              <p:cNvCxnSpPr/>
              <p:nvPr/>
            </p:nvCxnSpPr>
            <p:spPr>
              <a:xfrm>
                <a:off x="8758627" y="3859334"/>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79" name="Google Shape;3829;p26">
                <a:extLst>
                  <a:ext uri="{FF2B5EF4-FFF2-40B4-BE49-F238E27FC236}">
                    <a16:creationId xmlns:a16="http://schemas.microsoft.com/office/drawing/2014/main" id="{2F5F3306-3546-4208-ABE6-20479D0544AD}"/>
                  </a:ext>
                </a:extLst>
              </p:cNvPr>
              <p:cNvCxnSpPr/>
              <p:nvPr/>
            </p:nvCxnSpPr>
            <p:spPr>
              <a:xfrm rot="10800000">
                <a:off x="8695127" y="3922659"/>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80" name="Google Shape;3830;p26">
                <a:extLst>
                  <a:ext uri="{FF2B5EF4-FFF2-40B4-BE49-F238E27FC236}">
                    <a16:creationId xmlns:a16="http://schemas.microsoft.com/office/drawing/2014/main" id="{38C82D37-BF22-4E53-A5E9-F6E6C50CD686}"/>
                  </a:ext>
                </a:extLst>
              </p:cNvPr>
              <p:cNvCxnSpPr/>
              <p:nvPr/>
            </p:nvCxnSpPr>
            <p:spPr>
              <a:xfrm>
                <a:off x="8525265" y="3859334"/>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81" name="Google Shape;3831;p26">
                <a:extLst>
                  <a:ext uri="{FF2B5EF4-FFF2-40B4-BE49-F238E27FC236}">
                    <a16:creationId xmlns:a16="http://schemas.microsoft.com/office/drawing/2014/main" id="{11CA16D4-1CA4-4DF0-B221-B6EB012E9451}"/>
                  </a:ext>
                </a:extLst>
              </p:cNvPr>
              <p:cNvCxnSpPr/>
              <p:nvPr/>
            </p:nvCxnSpPr>
            <p:spPr>
              <a:xfrm rot="10800000">
                <a:off x="8463352" y="3922659"/>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82" name="Google Shape;3832;p26">
                <a:extLst>
                  <a:ext uri="{FF2B5EF4-FFF2-40B4-BE49-F238E27FC236}">
                    <a16:creationId xmlns:a16="http://schemas.microsoft.com/office/drawing/2014/main" id="{1E7C4DF6-EF04-4E95-870B-FB44D9D3D23C}"/>
                  </a:ext>
                </a:extLst>
              </p:cNvPr>
              <p:cNvCxnSpPr/>
              <p:nvPr/>
            </p:nvCxnSpPr>
            <p:spPr>
              <a:xfrm>
                <a:off x="8515740" y="3859334"/>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83" name="Google Shape;3833;p26">
                <a:extLst>
                  <a:ext uri="{FF2B5EF4-FFF2-40B4-BE49-F238E27FC236}">
                    <a16:creationId xmlns:a16="http://schemas.microsoft.com/office/drawing/2014/main" id="{9A54407B-F9FF-4E5D-99C1-FEBDF4931BD2}"/>
                  </a:ext>
                </a:extLst>
              </p:cNvPr>
              <p:cNvCxnSpPr/>
              <p:nvPr/>
            </p:nvCxnSpPr>
            <p:spPr>
              <a:xfrm rot="10800000">
                <a:off x="8453827" y="3922659"/>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84" name="Google Shape;3834;p26">
                <a:extLst>
                  <a:ext uri="{FF2B5EF4-FFF2-40B4-BE49-F238E27FC236}">
                    <a16:creationId xmlns:a16="http://schemas.microsoft.com/office/drawing/2014/main" id="{F797FCE6-CF94-4942-8018-6EEC27A0470B}"/>
                  </a:ext>
                </a:extLst>
              </p:cNvPr>
              <p:cNvCxnSpPr/>
              <p:nvPr/>
            </p:nvCxnSpPr>
            <p:spPr>
              <a:xfrm>
                <a:off x="8399852" y="3859334"/>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85" name="Google Shape;3835;p26">
                <a:extLst>
                  <a:ext uri="{FF2B5EF4-FFF2-40B4-BE49-F238E27FC236}">
                    <a16:creationId xmlns:a16="http://schemas.microsoft.com/office/drawing/2014/main" id="{20251EB2-BD30-4DE4-9F9D-5EDA19F646B4}"/>
                  </a:ext>
                </a:extLst>
              </p:cNvPr>
              <p:cNvCxnSpPr/>
              <p:nvPr/>
            </p:nvCxnSpPr>
            <p:spPr>
              <a:xfrm rot="10800000">
                <a:off x="8336352" y="3922659"/>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86" name="Google Shape;3836;p26">
                <a:extLst>
                  <a:ext uri="{FF2B5EF4-FFF2-40B4-BE49-F238E27FC236}">
                    <a16:creationId xmlns:a16="http://schemas.microsoft.com/office/drawing/2014/main" id="{68DF30AA-FCDE-4674-83F6-576D654E68C3}"/>
                  </a:ext>
                </a:extLst>
              </p:cNvPr>
              <p:cNvCxnSpPr/>
              <p:nvPr/>
            </p:nvCxnSpPr>
            <p:spPr>
              <a:xfrm>
                <a:off x="8336352" y="3802341"/>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87" name="Google Shape;3837;p26">
                <a:extLst>
                  <a:ext uri="{FF2B5EF4-FFF2-40B4-BE49-F238E27FC236}">
                    <a16:creationId xmlns:a16="http://schemas.microsoft.com/office/drawing/2014/main" id="{DF2EDDC7-FEF6-452A-8C6C-6A7CF4A3DC2D}"/>
                  </a:ext>
                </a:extLst>
              </p:cNvPr>
              <p:cNvCxnSpPr/>
              <p:nvPr/>
            </p:nvCxnSpPr>
            <p:spPr>
              <a:xfrm rot="10800000">
                <a:off x="8272852" y="3862500"/>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88" name="Google Shape;3838;p26">
                <a:extLst>
                  <a:ext uri="{FF2B5EF4-FFF2-40B4-BE49-F238E27FC236}">
                    <a16:creationId xmlns:a16="http://schemas.microsoft.com/office/drawing/2014/main" id="{A78582B7-EFDF-443D-A3E9-E43253E39B66}"/>
                  </a:ext>
                </a:extLst>
              </p:cNvPr>
              <p:cNvCxnSpPr/>
              <p:nvPr/>
            </p:nvCxnSpPr>
            <p:spPr>
              <a:xfrm>
                <a:off x="8088702" y="3640862"/>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89" name="Google Shape;3839;p26">
                <a:extLst>
                  <a:ext uri="{FF2B5EF4-FFF2-40B4-BE49-F238E27FC236}">
                    <a16:creationId xmlns:a16="http://schemas.microsoft.com/office/drawing/2014/main" id="{13169A68-6D2E-495A-ADF8-BC456B00C5F7}"/>
                  </a:ext>
                </a:extLst>
              </p:cNvPr>
              <p:cNvCxnSpPr/>
              <p:nvPr/>
            </p:nvCxnSpPr>
            <p:spPr>
              <a:xfrm rot="10800000">
                <a:off x="8025202" y="3702604"/>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90" name="Google Shape;3840;p26">
                <a:extLst>
                  <a:ext uri="{FF2B5EF4-FFF2-40B4-BE49-F238E27FC236}">
                    <a16:creationId xmlns:a16="http://schemas.microsoft.com/office/drawing/2014/main" id="{7F961E7E-DC0C-4403-B2DF-FC00BE041559}"/>
                  </a:ext>
                </a:extLst>
              </p:cNvPr>
              <p:cNvCxnSpPr/>
              <p:nvPr/>
            </p:nvCxnSpPr>
            <p:spPr>
              <a:xfrm>
                <a:off x="8082352" y="3640862"/>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91" name="Google Shape;3841;p26">
                <a:extLst>
                  <a:ext uri="{FF2B5EF4-FFF2-40B4-BE49-F238E27FC236}">
                    <a16:creationId xmlns:a16="http://schemas.microsoft.com/office/drawing/2014/main" id="{DC9C0808-F4AC-4E52-B5BF-AAA6E54659E4}"/>
                  </a:ext>
                </a:extLst>
              </p:cNvPr>
              <p:cNvCxnSpPr/>
              <p:nvPr/>
            </p:nvCxnSpPr>
            <p:spPr>
              <a:xfrm rot="10800000">
                <a:off x="8018852" y="3702604"/>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92" name="Google Shape;3842;p26">
                <a:extLst>
                  <a:ext uri="{FF2B5EF4-FFF2-40B4-BE49-F238E27FC236}">
                    <a16:creationId xmlns:a16="http://schemas.microsoft.com/office/drawing/2014/main" id="{A537157C-2923-4FE5-A065-587D5AA73514}"/>
                  </a:ext>
                </a:extLst>
              </p:cNvPr>
              <p:cNvCxnSpPr/>
              <p:nvPr/>
            </p:nvCxnSpPr>
            <p:spPr>
              <a:xfrm>
                <a:off x="8025202" y="3640862"/>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93" name="Google Shape;3843;p26">
                <a:extLst>
                  <a:ext uri="{FF2B5EF4-FFF2-40B4-BE49-F238E27FC236}">
                    <a16:creationId xmlns:a16="http://schemas.microsoft.com/office/drawing/2014/main" id="{CB669488-E556-407D-B69F-D9C4FD104911}"/>
                  </a:ext>
                </a:extLst>
              </p:cNvPr>
              <p:cNvCxnSpPr/>
              <p:nvPr/>
            </p:nvCxnSpPr>
            <p:spPr>
              <a:xfrm rot="10800000">
                <a:off x="7963290" y="3702604"/>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94" name="Google Shape;3844;p26">
                <a:extLst>
                  <a:ext uri="{FF2B5EF4-FFF2-40B4-BE49-F238E27FC236}">
                    <a16:creationId xmlns:a16="http://schemas.microsoft.com/office/drawing/2014/main" id="{F047487D-C0E4-4C5F-B324-90F893E7DE17}"/>
                  </a:ext>
                </a:extLst>
              </p:cNvPr>
              <p:cNvCxnSpPr/>
              <p:nvPr/>
            </p:nvCxnSpPr>
            <p:spPr>
              <a:xfrm>
                <a:off x="7991865" y="3593368"/>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95" name="Google Shape;3845;p26">
                <a:extLst>
                  <a:ext uri="{FF2B5EF4-FFF2-40B4-BE49-F238E27FC236}">
                    <a16:creationId xmlns:a16="http://schemas.microsoft.com/office/drawing/2014/main" id="{04D8FE90-DE98-4C01-B0C5-710803C606FA}"/>
                  </a:ext>
                </a:extLst>
              </p:cNvPr>
              <p:cNvCxnSpPr/>
              <p:nvPr/>
            </p:nvCxnSpPr>
            <p:spPr>
              <a:xfrm rot="10800000">
                <a:off x="7929952" y="3655110"/>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96" name="Google Shape;3846;p26">
                <a:extLst>
                  <a:ext uri="{FF2B5EF4-FFF2-40B4-BE49-F238E27FC236}">
                    <a16:creationId xmlns:a16="http://schemas.microsoft.com/office/drawing/2014/main" id="{A4AAF1C4-068C-4FBC-894A-4E529065672A}"/>
                  </a:ext>
                </a:extLst>
              </p:cNvPr>
              <p:cNvCxnSpPr/>
              <p:nvPr/>
            </p:nvCxnSpPr>
            <p:spPr>
              <a:xfrm>
                <a:off x="7983927" y="3593368"/>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97" name="Google Shape;3847;p26">
                <a:extLst>
                  <a:ext uri="{FF2B5EF4-FFF2-40B4-BE49-F238E27FC236}">
                    <a16:creationId xmlns:a16="http://schemas.microsoft.com/office/drawing/2014/main" id="{9A8A8FE5-0D6C-4FC8-869A-6F583A7D615F}"/>
                  </a:ext>
                </a:extLst>
              </p:cNvPr>
              <p:cNvCxnSpPr/>
              <p:nvPr/>
            </p:nvCxnSpPr>
            <p:spPr>
              <a:xfrm rot="10800000">
                <a:off x="7922015" y="3655110"/>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98" name="Google Shape;3848;p26">
                <a:extLst>
                  <a:ext uri="{FF2B5EF4-FFF2-40B4-BE49-F238E27FC236}">
                    <a16:creationId xmlns:a16="http://schemas.microsoft.com/office/drawing/2014/main" id="{8F074DE4-7EEA-41EB-86C5-2F9863B3F53D}"/>
                  </a:ext>
                </a:extLst>
              </p:cNvPr>
              <p:cNvCxnSpPr/>
              <p:nvPr/>
            </p:nvCxnSpPr>
            <p:spPr>
              <a:xfrm>
                <a:off x="7899790" y="3593368"/>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99" name="Google Shape;3849;p26">
                <a:extLst>
                  <a:ext uri="{FF2B5EF4-FFF2-40B4-BE49-F238E27FC236}">
                    <a16:creationId xmlns:a16="http://schemas.microsoft.com/office/drawing/2014/main" id="{468859FA-B03A-4918-8A70-D0801B71F2AE}"/>
                  </a:ext>
                </a:extLst>
              </p:cNvPr>
              <p:cNvCxnSpPr/>
              <p:nvPr/>
            </p:nvCxnSpPr>
            <p:spPr>
              <a:xfrm rot="10800000">
                <a:off x="7836290" y="3655110"/>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00" name="Google Shape;3850;p26">
                <a:extLst>
                  <a:ext uri="{FF2B5EF4-FFF2-40B4-BE49-F238E27FC236}">
                    <a16:creationId xmlns:a16="http://schemas.microsoft.com/office/drawing/2014/main" id="{BB36F670-FECC-41AA-BEBF-989D12760DCA}"/>
                  </a:ext>
                </a:extLst>
              </p:cNvPr>
              <p:cNvCxnSpPr/>
              <p:nvPr/>
            </p:nvCxnSpPr>
            <p:spPr>
              <a:xfrm>
                <a:off x="7748977" y="3474633"/>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01" name="Google Shape;3851;p26">
                <a:extLst>
                  <a:ext uri="{FF2B5EF4-FFF2-40B4-BE49-F238E27FC236}">
                    <a16:creationId xmlns:a16="http://schemas.microsoft.com/office/drawing/2014/main" id="{28C326AC-DFF1-4223-BDA7-BAF80BE27FCE}"/>
                  </a:ext>
                </a:extLst>
              </p:cNvPr>
              <p:cNvCxnSpPr/>
              <p:nvPr/>
            </p:nvCxnSpPr>
            <p:spPr>
              <a:xfrm rot="10800000">
                <a:off x="7685477" y="3536375"/>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02" name="Google Shape;3852;p26">
                <a:extLst>
                  <a:ext uri="{FF2B5EF4-FFF2-40B4-BE49-F238E27FC236}">
                    <a16:creationId xmlns:a16="http://schemas.microsoft.com/office/drawing/2014/main" id="{51062BEA-179A-4E0E-BFF8-36F932D6671E}"/>
                  </a:ext>
                </a:extLst>
              </p:cNvPr>
              <p:cNvCxnSpPr/>
              <p:nvPr/>
            </p:nvCxnSpPr>
            <p:spPr>
              <a:xfrm>
                <a:off x="7739452" y="3474633"/>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03" name="Google Shape;3853;p26">
                <a:extLst>
                  <a:ext uri="{FF2B5EF4-FFF2-40B4-BE49-F238E27FC236}">
                    <a16:creationId xmlns:a16="http://schemas.microsoft.com/office/drawing/2014/main" id="{6502FD2C-0CA0-45C7-AF38-9C051A3DE2B4}"/>
                  </a:ext>
                </a:extLst>
              </p:cNvPr>
              <p:cNvCxnSpPr/>
              <p:nvPr/>
            </p:nvCxnSpPr>
            <p:spPr>
              <a:xfrm rot="10800000">
                <a:off x="7675952" y="3536375"/>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04" name="Google Shape;3854;p26">
                <a:extLst>
                  <a:ext uri="{FF2B5EF4-FFF2-40B4-BE49-F238E27FC236}">
                    <a16:creationId xmlns:a16="http://schemas.microsoft.com/office/drawing/2014/main" id="{945C6BCF-30F7-40EB-8C50-DB30F8629131}"/>
                  </a:ext>
                </a:extLst>
              </p:cNvPr>
              <p:cNvCxnSpPr/>
              <p:nvPr/>
            </p:nvCxnSpPr>
            <p:spPr>
              <a:xfrm>
                <a:off x="7715640" y="3474633"/>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05" name="Google Shape;3855;p26">
                <a:extLst>
                  <a:ext uri="{FF2B5EF4-FFF2-40B4-BE49-F238E27FC236}">
                    <a16:creationId xmlns:a16="http://schemas.microsoft.com/office/drawing/2014/main" id="{803333E4-67FE-466D-B120-4BDF032E0D8E}"/>
                  </a:ext>
                </a:extLst>
              </p:cNvPr>
              <p:cNvCxnSpPr/>
              <p:nvPr/>
            </p:nvCxnSpPr>
            <p:spPr>
              <a:xfrm rot="10800000">
                <a:off x="7653727" y="3536375"/>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06" name="Google Shape;3856;p26">
                <a:extLst>
                  <a:ext uri="{FF2B5EF4-FFF2-40B4-BE49-F238E27FC236}">
                    <a16:creationId xmlns:a16="http://schemas.microsoft.com/office/drawing/2014/main" id="{0467FDA3-8E45-405E-A92A-E86FE078DB46}"/>
                  </a:ext>
                </a:extLst>
              </p:cNvPr>
              <p:cNvCxnSpPr/>
              <p:nvPr/>
            </p:nvCxnSpPr>
            <p:spPr>
              <a:xfrm>
                <a:off x="7590227" y="3444554"/>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07" name="Google Shape;3857;p26">
                <a:extLst>
                  <a:ext uri="{FF2B5EF4-FFF2-40B4-BE49-F238E27FC236}">
                    <a16:creationId xmlns:a16="http://schemas.microsoft.com/office/drawing/2014/main" id="{1DABB0F0-FB28-42A3-9024-C2DDB777C308}"/>
                  </a:ext>
                </a:extLst>
              </p:cNvPr>
              <p:cNvCxnSpPr/>
              <p:nvPr/>
            </p:nvCxnSpPr>
            <p:spPr>
              <a:xfrm rot="10800000">
                <a:off x="7526727" y="3507879"/>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08" name="Google Shape;3858;p26">
                <a:extLst>
                  <a:ext uri="{FF2B5EF4-FFF2-40B4-BE49-F238E27FC236}">
                    <a16:creationId xmlns:a16="http://schemas.microsoft.com/office/drawing/2014/main" id="{DE38579C-F23B-42BD-AD0B-4F58032E05FF}"/>
                  </a:ext>
                </a:extLst>
              </p:cNvPr>
              <p:cNvCxnSpPr/>
              <p:nvPr/>
            </p:nvCxnSpPr>
            <p:spPr>
              <a:xfrm>
                <a:off x="7512440" y="3308404"/>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09" name="Google Shape;3859;p26">
                <a:extLst>
                  <a:ext uri="{FF2B5EF4-FFF2-40B4-BE49-F238E27FC236}">
                    <a16:creationId xmlns:a16="http://schemas.microsoft.com/office/drawing/2014/main" id="{07D9F6FC-DAAE-44BE-9912-438C078CF913}"/>
                  </a:ext>
                </a:extLst>
              </p:cNvPr>
              <p:cNvCxnSpPr/>
              <p:nvPr/>
            </p:nvCxnSpPr>
            <p:spPr>
              <a:xfrm rot="10800000">
                <a:off x="7448940" y="3370146"/>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10" name="Google Shape;3860;p26">
                <a:extLst>
                  <a:ext uri="{FF2B5EF4-FFF2-40B4-BE49-F238E27FC236}">
                    <a16:creationId xmlns:a16="http://schemas.microsoft.com/office/drawing/2014/main" id="{3100D972-DC6E-4E17-A54C-888D1C449FB3}"/>
                  </a:ext>
                </a:extLst>
              </p:cNvPr>
              <p:cNvCxnSpPr/>
              <p:nvPr/>
            </p:nvCxnSpPr>
            <p:spPr>
              <a:xfrm>
                <a:off x="7469577" y="3202334"/>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11" name="Google Shape;3861;p26">
                <a:extLst>
                  <a:ext uri="{FF2B5EF4-FFF2-40B4-BE49-F238E27FC236}">
                    <a16:creationId xmlns:a16="http://schemas.microsoft.com/office/drawing/2014/main" id="{3C7A9A68-FD22-444F-A75D-C4C8D35435B8}"/>
                  </a:ext>
                </a:extLst>
              </p:cNvPr>
              <p:cNvCxnSpPr/>
              <p:nvPr/>
            </p:nvCxnSpPr>
            <p:spPr>
              <a:xfrm rot="10800000">
                <a:off x="7409252" y="3264077"/>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12" name="Google Shape;3862;p26">
                <a:extLst>
                  <a:ext uri="{FF2B5EF4-FFF2-40B4-BE49-F238E27FC236}">
                    <a16:creationId xmlns:a16="http://schemas.microsoft.com/office/drawing/2014/main" id="{F675849C-7E61-4717-A396-BA2EF35A7E37}"/>
                  </a:ext>
                </a:extLst>
              </p:cNvPr>
              <p:cNvCxnSpPr/>
              <p:nvPr/>
            </p:nvCxnSpPr>
            <p:spPr>
              <a:xfrm>
                <a:off x="7445765" y="3108930"/>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113" name="Google Shape;3863;p26">
                <a:extLst>
                  <a:ext uri="{FF2B5EF4-FFF2-40B4-BE49-F238E27FC236}">
                    <a16:creationId xmlns:a16="http://schemas.microsoft.com/office/drawing/2014/main" id="{9C793068-DB66-4F97-BB4F-A75E76F1FC89}"/>
                  </a:ext>
                </a:extLst>
              </p:cNvPr>
              <p:cNvCxnSpPr/>
              <p:nvPr/>
            </p:nvCxnSpPr>
            <p:spPr>
              <a:xfrm rot="10800000">
                <a:off x="7382265" y="3172255"/>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14" name="Google Shape;3864;p26">
                <a:extLst>
                  <a:ext uri="{FF2B5EF4-FFF2-40B4-BE49-F238E27FC236}">
                    <a16:creationId xmlns:a16="http://schemas.microsoft.com/office/drawing/2014/main" id="{447C9121-4C59-48F5-8395-B741C6371A30}"/>
                  </a:ext>
                </a:extLst>
              </p:cNvPr>
              <p:cNvCxnSpPr/>
              <p:nvPr/>
            </p:nvCxnSpPr>
            <p:spPr>
              <a:xfrm>
                <a:off x="7433065" y="3070935"/>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15" name="Google Shape;3865;p26">
                <a:extLst>
                  <a:ext uri="{FF2B5EF4-FFF2-40B4-BE49-F238E27FC236}">
                    <a16:creationId xmlns:a16="http://schemas.microsoft.com/office/drawing/2014/main" id="{D065F6FB-44EA-46A3-85AD-766B57F53B4D}"/>
                  </a:ext>
                </a:extLst>
              </p:cNvPr>
              <p:cNvCxnSpPr/>
              <p:nvPr/>
            </p:nvCxnSpPr>
            <p:spPr>
              <a:xfrm rot="10800000">
                <a:off x="7371152" y="3135843"/>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16" name="Google Shape;3866;p26">
                <a:extLst>
                  <a:ext uri="{FF2B5EF4-FFF2-40B4-BE49-F238E27FC236}">
                    <a16:creationId xmlns:a16="http://schemas.microsoft.com/office/drawing/2014/main" id="{9C0E92E7-F60B-4B76-B8BE-92C670243148}"/>
                  </a:ext>
                </a:extLst>
              </p:cNvPr>
              <p:cNvCxnSpPr/>
              <p:nvPr/>
            </p:nvCxnSpPr>
            <p:spPr>
              <a:xfrm>
                <a:off x="7409252" y="3007609"/>
                <a:ext cx="0" cy="128234"/>
              </a:xfrm>
              <a:prstGeom prst="straightConnector1">
                <a:avLst/>
              </a:prstGeom>
              <a:noFill/>
              <a:ln w="19050" cap="flat" cmpd="sng">
                <a:solidFill>
                  <a:schemeClr val="accent4"/>
                </a:solidFill>
                <a:prstDash val="solid"/>
                <a:miter lim="800000"/>
                <a:headEnd type="none" w="med" len="med"/>
                <a:tailEnd type="none" w="med" len="med"/>
              </a:ln>
            </p:spPr>
          </p:cxnSp>
          <p:cxnSp>
            <p:nvCxnSpPr>
              <p:cNvPr id="117" name="Google Shape;3867;p26">
                <a:extLst>
                  <a:ext uri="{FF2B5EF4-FFF2-40B4-BE49-F238E27FC236}">
                    <a16:creationId xmlns:a16="http://schemas.microsoft.com/office/drawing/2014/main" id="{AC23F2C6-FA89-4100-BB55-253121F18780}"/>
                  </a:ext>
                </a:extLst>
              </p:cNvPr>
              <p:cNvCxnSpPr/>
              <p:nvPr/>
            </p:nvCxnSpPr>
            <p:spPr>
              <a:xfrm rot="10800000">
                <a:off x="7345752" y="3070935"/>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18" name="Google Shape;3868;p26">
                <a:extLst>
                  <a:ext uri="{FF2B5EF4-FFF2-40B4-BE49-F238E27FC236}">
                    <a16:creationId xmlns:a16="http://schemas.microsoft.com/office/drawing/2014/main" id="{5C8C8CD1-ABC4-4D01-BAB0-3C3FF3152912}"/>
                  </a:ext>
                </a:extLst>
              </p:cNvPr>
              <p:cNvCxnSpPr/>
              <p:nvPr/>
            </p:nvCxnSpPr>
            <p:spPr>
              <a:xfrm>
                <a:off x="7353690" y="2979113"/>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19" name="Google Shape;3869;p26">
                <a:extLst>
                  <a:ext uri="{FF2B5EF4-FFF2-40B4-BE49-F238E27FC236}">
                    <a16:creationId xmlns:a16="http://schemas.microsoft.com/office/drawing/2014/main" id="{54D27D45-C105-453A-BBF4-4FFC177403A5}"/>
                  </a:ext>
                </a:extLst>
              </p:cNvPr>
              <p:cNvCxnSpPr/>
              <p:nvPr/>
            </p:nvCxnSpPr>
            <p:spPr>
              <a:xfrm rot="10800000">
                <a:off x="7290190" y="3042438"/>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20" name="Google Shape;3870;p26">
                <a:extLst>
                  <a:ext uri="{FF2B5EF4-FFF2-40B4-BE49-F238E27FC236}">
                    <a16:creationId xmlns:a16="http://schemas.microsoft.com/office/drawing/2014/main" id="{51BD2D38-8356-4F4F-9AFC-74622D7F83E3}"/>
                  </a:ext>
                </a:extLst>
              </p:cNvPr>
              <p:cNvCxnSpPr/>
              <p:nvPr/>
            </p:nvCxnSpPr>
            <p:spPr>
              <a:xfrm>
                <a:off x="7290190" y="2979113"/>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21" name="Google Shape;3871;p26">
                <a:extLst>
                  <a:ext uri="{FF2B5EF4-FFF2-40B4-BE49-F238E27FC236}">
                    <a16:creationId xmlns:a16="http://schemas.microsoft.com/office/drawing/2014/main" id="{B6B68A17-50CB-4DFD-9702-D1AD83DE59E7}"/>
                  </a:ext>
                </a:extLst>
              </p:cNvPr>
              <p:cNvCxnSpPr/>
              <p:nvPr/>
            </p:nvCxnSpPr>
            <p:spPr>
              <a:xfrm rot="10800000">
                <a:off x="7226690" y="3042438"/>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22" name="Google Shape;3872;p26">
                <a:extLst>
                  <a:ext uri="{FF2B5EF4-FFF2-40B4-BE49-F238E27FC236}">
                    <a16:creationId xmlns:a16="http://schemas.microsoft.com/office/drawing/2014/main" id="{1F6291E1-586A-42C5-BAAC-3760332744BA}"/>
                  </a:ext>
                </a:extLst>
              </p:cNvPr>
              <p:cNvCxnSpPr/>
              <p:nvPr/>
            </p:nvCxnSpPr>
            <p:spPr>
              <a:xfrm>
                <a:off x="7282252" y="2979113"/>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23" name="Google Shape;3873;p26">
                <a:extLst>
                  <a:ext uri="{FF2B5EF4-FFF2-40B4-BE49-F238E27FC236}">
                    <a16:creationId xmlns:a16="http://schemas.microsoft.com/office/drawing/2014/main" id="{1F019FB6-46E3-4391-87E7-CCE36AB51175}"/>
                  </a:ext>
                </a:extLst>
              </p:cNvPr>
              <p:cNvCxnSpPr/>
              <p:nvPr/>
            </p:nvCxnSpPr>
            <p:spPr>
              <a:xfrm rot="10800000">
                <a:off x="7220340" y="3042438"/>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24" name="Google Shape;3874;p26">
                <a:extLst>
                  <a:ext uri="{FF2B5EF4-FFF2-40B4-BE49-F238E27FC236}">
                    <a16:creationId xmlns:a16="http://schemas.microsoft.com/office/drawing/2014/main" id="{F851C1CF-FCDC-42E3-9ED6-B2BD0B13BD6F}"/>
                  </a:ext>
                </a:extLst>
              </p:cNvPr>
              <p:cNvCxnSpPr/>
              <p:nvPr/>
            </p:nvCxnSpPr>
            <p:spPr>
              <a:xfrm>
                <a:off x="7120327" y="2812884"/>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25" name="Google Shape;3875;p26">
                <a:extLst>
                  <a:ext uri="{FF2B5EF4-FFF2-40B4-BE49-F238E27FC236}">
                    <a16:creationId xmlns:a16="http://schemas.microsoft.com/office/drawing/2014/main" id="{46C8FB89-8C2F-4F1E-B5A7-23B7D2AE630F}"/>
                  </a:ext>
                </a:extLst>
              </p:cNvPr>
              <p:cNvCxnSpPr/>
              <p:nvPr/>
            </p:nvCxnSpPr>
            <p:spPr>
              <a:xfrm rot="10800000">
                <a:off x="7056827" y="2874626"/>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26" name="Google Shape;3876;p26">
                <a:extLst>
                  <a:ext uri="{FF2B5EF4-FFF2-40B4-BE49-F238E27FC236}">
                    <a16:creationId xmlns:a16="http://schemas.microsoft.com/office/drawing/2014/main" id="{9F4D7EAE-4190-414F-9613-D9E58BAD5690}"/>
                  </a:ext>
                </a:extLst>
              </p:cNvPr>
              <p:cNvCxnSpPr/>
              <p:nvPr/>
            </p:nvCxnSpPr>
            <p:spPr>
              <a:xfrm>
                <a:off x="7110802" y="2812884"/>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27" name="Google Shape;3877;p26">
                <a:extLst>
                  <a:ext uri="{FF2B5EF4-FFF2-40B4-BE49-F238E27FC236}">
                    <a16:creationId xmlns:a16="http://schemas.microsoft.com/office/drawing/2014/main" id="{45CA5553-E62A-47BA-9BD1-E6A600952EB2}"/>
                  </a:ext>
                </a:extLst>
              </p:cNvPr>
              <p:cNvCxnSpPr/>
              <p:nvPr/>
            </p:nvCxnSpPr>
            <p:spPr>
              <a:xfrm rot="10800000">
                <a:off x="7048890" y="2874626"/>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28" name="Google Shape;3878;p26">
                <a:extLst>
                  <a:ext uri="{FF2B5EF4-FFF2-40B4-BE49-F238E27FC236}">
                    <a16:creationId xmlns:a16="http://schemas.microsoft.com/office/drawing/2014/main" id="{C806B0F5-60A1-4B21-8039-A29782D11062}"/>
                  </a:ext>
                </a:extLst>
              </p:cNvPr>
              <p:cNvCxnSpPr/>
              <p:nvPr/>
            </p:nvCxnSpPr>
            <p:spPr>
              <a:xfrm>
                <a:off x="7056827" y="2812884"/>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29" name="Google Shape;3879;p26">
                <a:extLst>
                  <a:ext uri="{FF2B5EF4-FFF2-40B4-BE49-F238E27FC236}">
                    <a16:creationId xmlns:a16="http://schemas.microsoft.com/office/drawing/2014/main" id="{C5986947-4F15-4162-958B-5CBB89394465}"/>
                  </a:ext>
                </a:extLst>
              </p:cNvPr>
              <p:cNvCxnSpPr/>
              <p:nvPr/>
            </p:nvCxnSpPr>
            <p:spPr>
              <a:xfrm rot="10800000">
                <a:off x="6994915" y="2874626"/>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30" name="Google Shape;3880;p26">
                <a:extLst>
                  <a:ext uri="{FF2B5EF4-FFF2-40B4-BE49-F238E27FC236}">
                    <a16:creationId xmlns:a16="http://schemas.microsoft.com/office/drawing/2014/main" id="{16297A72-2F8A-4EF9-8568-2FF95E25D020}"/>
                  </a:ext>
                </a:extLst>
              </p:cNvPr>
              <p:cNvCxnSpPr/>
              <p:nvPr/>
            </p:nvCxnSpPr>
            <p:spPr>
              <a:xfrm>
                <a:off x="7048890" y="2812884"/>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31" name="Google Shape;3881;p26">
                <a:extLst>
                  <a:ext uri="{FF2B5EF4-FFF2-40B4-BE49-F238E27FC236}">
                    <a16:creationId xmlns:a16="http://schemas.microsoft.com/office/drawing/2014/main" id="{0300A540-C83D-491B-8BF5-B140EE262646}"/>
                  </a:ext>
                </a:extLst>
              </p:cNvPr>
              <p:cNvCxnSpPr/>
              <p:nvPr/>
            </p:nvCxnSpPr>
            <p:spPr>
              <a:xfrm rot="10800000">
                <a:off x="6985390" y="2874626"/>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32" name="Google Shape;3882;p26">
                <a:extLst>
                  <a:ext uri="{FF2B5EF4-FFF2-40B4-BE49-F238E27FC236}">
                    <a16:creationId xmlns:a16="http://schemas.microsoft.com/office/drawing/2014/main" id="{E6D6CCD6-E3A2-4FA7-8787-75C86C4FD26B}"/>
                  </a:ext>
                </a:extLst>
              </p:cNvPr>
              <p:cNvCxnSpPr/>
              <p:nvPr/>
            </p:nvCxnSpPr>
            <p:spPr>
              <a:xfrm>
                <a:off x="7023490" y="2812884"/>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33" name="Google Shape;3883;p26">
                <a:extLst>
                  <a:ext uri="{FF2B5EF4-FFF2-40B4-BE49-F238E27FC236}">
                    <a16:creationId xmlns:a16="http://schemas.microsoft.com/office/drawing/2014/main" id="{A40BC9CB-7A65-447A-98CC-9A901A0FE561}"/>
                  </a:ext>
                </a:extLst>
              </p:cNvPr>
              <p:cNvCxnSpPr/>
              <p:nvPr/>
            </p:nvCxnSpPr>
            <p:spPr>
              <a:xfrm rot="10800000">
                <a:off x="6959990" y="2874626"/>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34" name="Google Shape;3884;p26">
                <a:extLst>
                  <a:ext uri="{FF2B5EF4-FFF2-40B4-BE49-F238E27FC236}">
                    <a16:creationId xmlns:a16="http://schemas.microsoft.com/office/drawing/2014/main" id="{862083B6-714F-4F2D-A37D-942ACC2F4BB1}"/>
                  </a:ext>
                </a:extLst>
              </p:cNvPr>
              <p:cNvCxnSpPr/>
              <p:nvPr/>
            </p:nvCxnSpPr>
            <p:spPr>
              <a:xfrm>
                <a:off x="7013965" y="2812884"/>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35" name="Google Shape;3885;p26">
                <a:extLst>
                  <a:ext uri="{FF2B5EF4-FFF2-40B4-BE49-F238E27FC236}">
                    <a16:creationId xmlns:a16="http://schemas.microsoft.com/office/drawing/2014/main" id="{FFEB8E9A-2F08-4323-AAC2-30C891952D54}"/>
                  </a:ext>
                </a:extLst>
              </p:cNvPr>
              <p:cNvCxnSpPr/>
              <p:nvPr/>
            </p:nvCxnSpPr>
            <p:spPr>
              <a:xfrm rot="10800000">
                <a:off x="6955227" y="2874626"/>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36" name="Google Shape;3886;p26">
                <a:extLst>
                  <a:ext uri="{FF2B5EF4-FFF2-40B4-BE49-F238E27FC236}">
                    <a16:creationId xmlns:a16="http://schemas.microsoft.com/office/drawing/2014/main" id="{D6D06A45-B44B-43CE-A0AE-711011AA7902}"/>
                  </a:ext>
                </a:extLst>
              </p:cNvPr>
              <p:cNvCxnSpPr/>
              <p:nvPr/>
            </p:nvCxnSpPr>
            <p:spPr>
              <a:xfrm>
                <a:off x="7007615" y="2812884"/>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37" name="Google Shape;3887;p26">
                <a:extLst>
                  <a:ext uri="{FF2B5EF4-FFF2-40B4-BE49-F238E27FC236}">
                    <a16:creationId xmlns:a16="http://schemas.microsoft.com/office/drawing/2014/main" id="{CB83A3C0-C5A7-4BBB-890E-929E28FF3098}"/>
                  </a:ext>
                </a:extLst>
              </p:cNvPr>
              <p:cNvCxnSpPr/>
              <p:nvPr/>
            </p:nvCxnSpPr>
            <p:spPr>
              <a:xfrm rot="10800000">
                <a:off x="6945702" y="2874626"/>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38" name="Google Shape;3888;p26">
                <a:extLst>
                  <a:ext uri="{FF2B5EF4-FFF2-40B4-BE49-F238E27FC236}">
                    <a16:creationId xmlns:a16="http://schemas.microsoft.com/office/drawing/2014/main" id="{C8DF2166-FDB5-4077-984A-8BB8938866B4}"/>
                  </a:ext>
                </a:extLst>
              </p:cNvPr>
              <p:cNvCxnSpPr/>
              <p:nvPr/>
            </p:nvCxnSpPr>
            <p:spPr>
              <a:xfrm>
                <a:off x="6950465" y="2687817"/>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39" name="Google Shape;3889;p26">
                <a:extLst>
                  <a:ext uri="{FF2B5EF4-FFF2-40B4-BE49-F238E27FC236}">
                    <a16:creationId xmlns:a16="http://schemas.microsoft.com/office/drawing/2014/main" id="{95A13CBE-8541-4A21-86F3-2401115BA591}"/>
                  </a:ext>
                </a:extLst>
              </p:cNvPr>
              <p:cNvCxnSpPr/>
              <p:nvPr/>
            </p:nvCxnSpPr>
            <p:spPr>
              <a:xfrm rot="10800000">
                <a:off x="6886965" y="2749559"/>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40" name="Google Shape;3890;p26">
                <a:extLst>
                  <a:ext uri="{FF2B5EF4-FFF2-40B4-BE49-F238E27FC236}">
                    <a16:creationId xmlns:a16="http://schemas.microsoft.com/office/drawing/2014/main" id="{BA20AA1B-345F-4261-97C5-385B49CAFE9A}"/>
                  </a:ext>
                </a:extLst>
              </p:cNvPr>
              <p:cNvCxnSpPr/>
              <p:nvPr/>
            </p:nvCxnSpPr>
            <p:spPr>
              <a:xfrm>
                <a:off x="6972690" y="2711564"/>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41" name="Google Shape;3891;p26">
                <a:extLst>
                  <a:ext uri="{FF2B5EF4-FFF2-40B4-BE49-F238E27FC236}">
                    <a16:creationId xmlns:a16="http://schemas.microsoft.com/office/drawing/2014/main" id="{4EF82B16-27BD-41F4-9716-BB2F3815DF60}"/>
                  </a:ext>
                </a:extLst>
              </p:cNvPr>
              <p:cNvCxnSpPr/>
              <p:nvPr/>
            </p:nvCxnSpPr>
            <p:spPr>
              <a:xfrm rot="10800000">
                <a:off x="6909190" y="2773306"/>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42" name="Google Shape;3892;p26">
                <a:extLst>
                  <a:ext uri="{FF2B5EF4-FFF2-40B4-BE49-F238E27FC236}">
                    <a16:creationId xmlns:a16="http://schemas.microsoft.com/office/drawing/2014/main" id="{30424970-EE62-4B25-B9C9-5226963D5C1C}"/>
                  </a:ext>
                </a:extLst>
              </p:cNvPr>
              <p:cNvCxnSpPr/>
              <p:nvPr/>
            </p:nvCxnSpPr>
            <p:spPr>
              <a:xfrm>
                <a:off x="6972690" y="2732144"/>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143" name="Google Shape;3893;p26">
                <a:extLst>
                  <a:ext uri="{FF2B5EF4-FFF2-40B4-BE49-F238E27FC236}">
                    <a16:creationId xmlns:a16="http://schemas.microsoft.com/office/drawing/2014/main" id="{B4C66064-7A60-4A7E-9321-B411B3C9F37D}"/>
                  </a:ext>
                </a:extLst>
              </p:cNvPr>
              <p:cNvCxnSpPr/>
              <p:nvPr/>
            </p:nvCxnSpPr>
            <p:spPr>
              <a:xfrm rot="10800000">
                <a:off x="6909190" y="2795470"/>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44" name="Google Shape;3894;p26">
                <a:extLst>
                  <a:ext uri="{FF2B5EF4-FFF2-40B4-BE49-F238E27FC236}">
                    <a16:creationId xmlns:a16="http://schemas.microsoft.com/office/drawing/2014/main" id="{5388AE1B-4815-4257-8DBB-EC4CDE531E79}"/>
                  </a:ext>
                </a:extLst>
              </p:cNvPr>
              <p:cNvCxnSpPr/>
              <p:nvPr/>
            </p:nvCxnSpPr>
            <p:spPr>
              <a:xfrm>
                <a:off x="6985390" y="2755891"/>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145" name="Google Shape;3895;p26">
                <a:extLst>
                  <a:ext uri="{FF2B5EF4-FFF2-40B4-BE49-F238E27FC236}">
                    <a16:creationId xmlns:a16="http://schemas.microsoft.com/office/drawing/2014/main" id="{1C198294-7890-408A-8B39-683DE1703C5B}"/>
                  </a:ext>
                </a:extLst>
              </p:cNvPr>
              <p:cNvCxnSpPr/>
              <p:nvPr/>
            </p:nvCxnSpPr>
            <p:spPr>
              <a:xfrm rot="10800000">
                <a:off x="6921890" y="2819217"/>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46" name="Google Shape;3896;p26">
                <a:extLst>
                  <a:ext uri="{FF2B5EF4-FFF2-40B4-BE49-F238E27FC236}">
                    <a16:creationId xmlns:a16="http://schemas.microsoft.com/office/drawing/2014/main" id="{BE14563E-BA01-40B4-BED3-A7722274E700}"/>
                  </a:ext>
                </a:extLst>
              </p:cNvPr>
              <p:cNvCxnSpPr/>
              <p:nvPr/>
            </p:nvCxnSpPr>
            <p:spPr>
              <a:xfrm>
                <a:off x="6844102" y="2687817"/>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47" name="Google Shape;3897;p26">
                <a:extLst>
                  <a:ext uri="{FF2B5EF4-FFF2-40B4-BE49-F238E27FC236}">
                    <a16:creationId xmlns:a16="http://schemas.microsoft.com/office/drawing/2014/main" id="{090B3B57-CA6F-4502-B063-62C9788952D7}"/>
                  </a:ext>
                </a:extLst>
              </p:cNvPr>
              <p:cNvCxnSpPr/>
              <p:nvPr/>
            </p:nvCxnSpPr>
            <p:spPr>
              <a:xfrm rot="10800000">
                <a:off x="6780602" y="2749559"/>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48" name="Google Shape;3898;p26">
                <a:extLst>
                  <a:ext uri="{FF2B5EF4-FFF2-40B4-BE49-F238E27FC236}">
                    <a16:creationId xmlns:a16="http://schemas.microsoft.com/office/drawing/2014/main" id="{A86124DF-A4A7-462E-9699-EF24D1031353}"/>
                  </a:ext>
                </a:extLst>
              </p:cNvPr>
              <p:cNvCxnSpPr/>
              <p:nvPr/>
            </p:nvCxnSpPr>
            <p:spPr>
              <a:xfrm>
                <a:off x="6896490" y="2687817"/>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49" name="Google Shape;3899;p26">
                <a:extLst>
                  <a:ext uri="{FF2B5EF4-FFF2-40B4-BE49-F238E27FC236}">
                    <a16:creationId xmlns:a16="http://schemas.microsoft.com/office/drawing/2014/main" id="{3E879BC7-0598-46D3-9E0E-34C47CE9DF28}"/>
                  </a:ext>
                </a:extLst>
              </p:cNvPr>
              <p:cNvCxnSpPr/>
              <p:nvPr/>
            </p:nvCxnSpPr>
            <p:spPr>
              <a:xfrm rot="10800000">
                <a:off x="6834577" y="2749559"/>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50" name="Google Shape;3900;p26">
                <a:extLst>
                  <a:ext uri="{FF2B5EF4-FFF2-40B4-BE49-F238E27FC236}">
                    <a16:creationId xmlns:a16="http://schemas.microsoft.com/office/drawing/2014/main" id="{4FB37980-A16F-4706-8E63-EB8AAF340D72}"/>
                  </a:ext>
                </a:extLst>
              </p:cNvPr>
              <p:cNvCxnSpPr/>
              <p:nvPr/>
            </p:nvCxnSpPr>
            <p:spPr>
              <a:xfrm>
                <a:off x="6801240" y="2687817"/>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51" name="Google Shape;3901;p26">
                <a:extLst>
                  <a:ext uri="{FF2B5EF4-FFF2-40B4-BE49-F238E27FC236}">
                    <a16:creationId xmlns:a16="http://schemas.microsoft.com/office/drawing/2014/main" id="{8BD75614-0AD7-48AB-972D-88D8D1A983AA}"/>
                  </a:ext>
                </a:extLst>
              </p:cNvPr>
              <p:cNvCxnSpPr/>
              <p:nvPr/>
            </p:nvCxnSpPr>
            <p:spPr>
              <a:xfrm rot="10800000">
                <a:off x="6740915" y="2749559"/>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52" name="Google Shape;3902;p26">
                <a:extLst>
                  <a:ext uri="{FF2B5EF4-FFF2-40B4-BE49-F238E27FC236}">
                    <a16:creationId xmlns:a16="http://schemas.microsoft.com/office/drawing/2014/main" id="{89B915DB-E652-4502-B010-1A05D8474392}"/>
                  </a:ext>
                </a:extLst>
              </p:cNvPr>
              <p:cNvCxnSpPr/>
              <p:nvPr/>
            </p:nvCxnSpPr>
            <p:spPr>
              <a:xfrm>
                <a:off x="6801240" y="2665653"/>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153" name="Google Shape;3903;p26">
                <a:extLst>
                  <a:ext uri="{FF2B5EF4-FFF2-40B4-BE49-F238E27FC236}">
                    <a16:creationId xmlns:a16="http://schemas.microsoft.com/office/drawing/2014/main" id="{D74A857D-4B67-4BA7-A294-433044995EA3}"/>
                  </a:ext>
                </a:extLst>
              </p:cNvPr>
              <p:cNvCxnSpPr/>
              <p:nvPr/>
            </p:nvCxnSpPr>
            <p:spPr>
              <a:xfrm rot="10800000">
                <a:off x="6740915" y="2728978"/>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54" name="Google Shape;3904;p26">
                <a:extLst>
                  <a:ext uri="{FF2B5EF4-FFF2-40B4-BE49-F238E27FC236}">
                    <a16:creationId xmlns:a16="http://schemas.microsoft.com/office/drawing/2014/main" id="{7C81101B-457B-473C-A56E-A264D16B2C7A}"/>
                  </a:ext>
                </a:extLst>
              </p:cNvPr>
              <p:cNvCxnSpPr/>
              <p:nvPr/>
            </p:nvCxnSpPr>
            <p:spPr>
              <a:xfrm>
                <a:off x="6769490" y="2670402"/>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55" name="Google Shape;3905;p26">
                <a:extLst>
                  <a:ext uri="{FF2B5EF4-FFF2-40B4-BE49-F238E27FC236}">
                    <a16:creationId xmlns:a16="http://schemas.microsoft.com/office/drawing/2014/main" id="{3392F341-E761-4389-B80F-EFF9E615803E}"/>
                  </a:ext>
                </a:extLst>
              </p:cNvPr>
              <p:cNvCxnSpPr/>
              <p:nvPr/>
            </p:nvCxnSpPr>
            <p:spPr>
              <a:xfrm rot="10800000">
                <a:off x="6705990" y="2732144"/>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56" name="Google Shape;3906;p26">
                <a:extLst>
                  <a:ext uri="{FF2B5EF4-FFF2-40B4-BE49-F238E27FC236}">
                    <a16:creationId xmlns:a16="http://schemas.microsoft.com/office/drawing/2014/main" id="{9035FC58-32A9-4E82-9D08-87DD750DFD71}"/>
                  </a:ext>
                </a:extLst>
              </p:cNvPr>
              <p:cNvCxnSpPr/>
              <p:nvPr/>
            </p:nvCxnSpPr>
            <p:spPr>
              <a:xfrm>
                <a:off x="6737740" y="2624491"/>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57" name="Google Shape;3907;p26">
                <a:extLst>
                  <a:ext uri="{FF2B5EF4-FFF2-40B4-BE49-F238E27FC236}">
                    <a16:creationId xmlns:a16="http://schemas.microsoft.com/office/drawing/2014/main" id="{1C353460-DCC3-4159-AB0F-45DBD8F11324}"/>
                  </a:ext>
                </a:extLst>
              </p:cNvPr>
              <p:cNvCxnSpPr/>
              <p:nvPr/>
            </p:nvCxnSpPr>
            <p:spPr>
              <a:xfrm rot="10800000">
                <a:off x="6674240" y="2687817"/>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58" name="Google Shape;3908;p26">
                <a:extLst>
                  <a:ext uri="{FF2B5EF4-FFF2-40B4-BE49-F238E27FC236}">
                    <a16:creationId xmlns:a16="http://schemas.microsoft.com/office/drawing/2014/main" id="{5EC9DC5D-6CC3-407E-BC7D-FC1D77E319F5}"/>
                  </a:ext>
                </a:extLst>
              </p:cNvPr>
              <p:cNvCxnSpPr/>
              <p:nvPr/>
            </p:nvCxnSpPr>
            <p:spPr>
              <a:xfrm>
                <a:off x="6729802" y="2624491"/>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59" name="Google Shape;3909;p26">
                <a:extLst>
                  <a:ext uri="{FF2B5EF4-FFF2-40B4-BE49-F238E27FC236}">
                    <a16:creationId xmlns:a16="http://schemas.microsoft.com/office/drawing/2014/main" id="{CB634EF7-30E4-4AA4-A0F9-080504F826AF}"/>
                  </a:ext>
                </a:extLst>
              </p:cNvPr>
              <p:cNvCxnSpPr/>
              <p:nvPr/>
            </p:nvCxnSpPr>
            <p:spPr>
              <a:xfrm rot="10800000">
                <a:off x="6666302" y="2687817"/>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60" name="Google Shape;3910;p26">
                <a:extLst>
                  <a:ext uri="{FF2B5EF4-FFF2-40B4-BE49-F238E27FC236}">
                    <a16:creationId xmlns:a16="http://schemas.microsoft.com/office/drawing/2014/main" id="{91870354-47CF-4FAE-8AE2-F812D0E142DA}"/>
                  </a:ext>
                </a:extLst>
              </p:cNvPr>
              <p:cNvCxnSpPr/>
              <p:nvPr/>
            </p:nvCxnSpPr>
            <p:spPr>
              <a:xfrm>
                <a:off x="6621852" y="2584913"/>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161" name="Google Shape;3911;p26">
                <a:extLst>
                  <a:ext uri="{FF2B5EF4-FFF2-40B4-BE49-F238E27FC236}">
                    <a16:creationId xmlns:a16="http://schemas.microsoft.com/office/drawing/2014/main" id="{F4422C24-C184-4AB9-856B-7FFFE6B6F2E0}"/>
                  </a:ext>
                </a:extLst>
              </p:cNvPr>
              <p:cNvCxnSpPr/>
              <p:nvPr/>
            </p:nvCxnSpPr>
            <p:spPr>
              <a:xfrm rot="10800000">
                <a:off x="6558352" y="2648238"/>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62" name="Google Shape;3912;p26">
                <a:extLst>
                  <a:ext uri="{FF2B5EF4-FFF2-40B4-BE49-F238E27FC236}">
                    <a16:creationId xmlns:a16="http://schemas.microsoft.com/office/drawing/2014/main" id="{452DCC6A-6E1B-4589-A405-B2F0E064B1F2}"/>
                  </a:ext>
                </a:extLst>
              </p:cNvPr>
              <p:cNvCxnSpPr/>
              <p:nvPr/>
            </p:nvCxnSpPr>
            <p:spPr>
              <a:xfrm>
                <a:off x="6598040" y="2584913"/>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163" name="Google Shape;3913;p26">
                <a:extLst>
                  <a:ext uri="{FF2B5EF4-FFF2-40B4-BE49-F238E27FC236}">
                    <a16:creationId xmlns:a16="http://schemas.microsoft.com/office/drawing/2014/main" id="{6D2E64B4-2129-467B-BF06-EC7BE3E4BA44}"/>
                  </a:ext>
                </a:extLst>
              </p:cNvPr>
              <p:cNvCxnSpPr/>
              <p:nvPr/>
            </p:nvCxnSpPr>
            <p:spPr>
              <a:xfrm rot="10800000">
                <a:off x="6536127" y="2648238"/>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64" name="Google Shape;3914;p26">
                <a:extLst>
                  <a:ext uri="{FF2B5EF4-FFF2-40B4-BE49-F238E27FC236}">
                    <a16:creationId xmlns:a16="http://schemas.microsoft.com/office/drawing/2014/main" id="{D59627D0-7CDD-4193-8B69-637C86C87306}"/>
                  </a:ext>
                </a:extLst>
              </p:cNvPr>
              <p:cNvCxnSpPr/>
              <p:nvPr/>
            </p:nvCxnSpPr>
            <p:spPr>
              <a:xfrm>
                <a:off x="6591690" y="2584913"/>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165" name="Google Shape;3915;p26">
                <a:extLst>
                  <a:ext uri="{FF2B5EF4-FFF2-40B4-BE49-F238E27FC236}">
                    <a16:creationId xmlns:a16="http://schemas.microsoft.com/office/drawing/2014/main" id="{8DF5C672-7E39-469B-8680-1660C73626A2}"/>
                  </a:ext>
                </a:extLst>
              </p:cNvPr>
              <p:cNvCxnSpPr/>
              <p:nvPr/>
            </p:nvCxnSpPr>
            <p:spPr>
              <a:xfrm rot="10800000">
                <a:off x="6528190" y="2648238"/>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66" name="Google Shape;3916;p26">
                <a:extLst>
                  <a:ext uri="{FF2B5EF4-FFF2-40B4-BE49-F238E27FC236}">
                    <a16:creationId xmlns:a16="http://schemas.microsoft.com/office/drawing/2014/main" id="{42BDCCCD-AC5B-4DA1-9CC2-069F54BFD659}"/>
                  </a:ext>
                </a:extLst>
              </p:cNvPr>
              <p:cNvCxnSpPr/>
              <p:nvPr/>
            </p:nvCxnSpPr>
            <p:spPr>
              <a:xfrm>
                <a:off x="6582165" y="2584913"/>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167" name="Google Shape;3917;p26">
                <a:extLst>
                  <a:ext uri="{FF2B5EF4-FFF2-40B4-BE49-F238E27FC236}">
                    <a16:creationId xmlns:a16="http://schemas.microsoft.com/office/drawing/2014/main" id="{D98607AB-942C-4F1F-B0E4-38C753E3ED20}"/>
                  </a:ext>
                </a:extLst>
              </p:cNvPr>
              <p:cNvCxnSpPr/>
              <p:nvPr/>
            </p:nvCxnSpPr>
            <p:spPr>
              <a:xfrm rot="10800000">
                <a:off x="6521840" y="2648238"/>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68" name="Google Shape;3918;p26">
                <a:extLst>
                  <a:ext uri="{FF2B5EF4-FFF2-40B4-BE49-F238E27FC236}">
                    <a16:creationId xmlns:a16="http://schemas.microsoft.com/office/drawing/2014/main" id="{711637B0-2356-4BEC-8137-1CA92C09F694}"/>
                  </a:ext>
                </a:extLst>
              </p:cNvPr>
              <p:cNvCxnSpPr/>
              <p:nvPr/>
            </p:nvCxnSpPr>
            <p:spPr>
              <a:xfrm>
                <a:off x="6575815" y="2584913"/>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169" name="Google Shape;3919;p26">
                <a:extLst>
                  <a:ext uri="{FF2B5EF4-FFF2-40B4-BE49-F238E27FC236}">
                    <a16:creationId xmlns:a16="http://schemas.microsoft.com/office/drawing/2014/main" id="{2F2098A1-2795-4F13-BC08-6DB878B3D8CB}"/>
                  </a:ext>
                </a:extLst>
              </p:cNvPr>
              <p:cNvCxnSpPr/>
              <p:nvPr/>
            </p:nvCxnSpPr>
            <p:spPr>
              <a:xfrm rot="10800000">
                <a:off x="6512315" y="2648238"/>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70" name="Google Shape;3920;p26">
                <a:extLst>
                  <a:ext uri="{FF2B5EF4-FFF2-40B4-BE49-F238E27FC236}">
                    <a16:creationId xmlns:a16="http://schemas.microsoft.com/office/drawing/2014/main" id="{36492237-5CC8-49BB-BED2-32B3E1D7B0A9}"/>
                  </a:ext>
                </a:extLst>
              </p:cNvPr>
              <p:cNvCxnSpPr/>
              <p:nvPr/>
            </p:nvCxnSpPr>
            <p:spPr>
              <a:xfrm>
                <a:off x="6569465" y="2584913"/>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171" name="Google Shape;3921;p26">
                <a:extLst>
                  <a:ext uri="{FF2B5EF4-FFF2-40B4-BE49-F238E27FC236}">
                    <a16:creationId xmlns:a16="http://schemas.microsoft.com/office/drawing/2014/main" id="{1EE94035-65EA-4E6F-AC06-49106C5F6F77}"/>
                  </a:ext>
                </a:extLst>
              </p:cNvPr>
              <p:cNvCxnSpPr/>
              <p:nvPr/>
            </p:nvCxnSpPr>
            <p:spPr>
              <a:xfrm rot="10800000">
                <a:off x="6505965" y="2648238"/>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72" name="Google Shape;3922;p26">
                <a:extLst>
                  <a:ext uri="{FF2B5EF4-FFF2-40B4-BE49-F238E27FC236}">
                    <a16:creationId xmlns:a16="http://schemas.microsoft.com/office/drawing/2014/main" id="{531BDFCD-D79E-481F-82BE-1615304D8DE4}"/>
                  </a:ext>
                </a:extLst>
              </p:cNvPr>
              <p:cNvCxnSpPr/>
              <p:nvPr/>
            </p:nvCxnSpPr>
            <p:spPr>
              <a:xfrm>
                <a:off x="6559940" y="2584913"/>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173" name="Google Shape;3923;p26">
                <a:extLst>
                  <a:ext uri="{FF2B5EF4-FFF2-40B4-BE49-F238E27FC236}">
                    <a16:creationId xmlns:a16="http://schemas.microsoft.com/office/drawing/2014/main" id="{177F6292-8ACD-4609-B7E8-8B86D3EF6CE4}"/>
                  </a:ext>
                </a:extLst>
              </p:cNvPr>
              <p:cNvCxnSpPr/>
              <p:nvPr/>
            </p:nvCxnSpPr>
            <p:spPr>
              <a:xfrm rot="10800000">
                <a:off x="6499615" y="2648238"/>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74" name="Google Shape;3924;p26">
                <a:extLst>
                  <a:ext uri="{FF2B5EF4-FFF2-40B4-BE49-F238E27FC236}">
                    <a16:creationId xmlns:a16="http://schemas.microsoft.com/office/drawing/2014/main" id="{9ABDC5D1-40C8-4EA4-A852-0EB32B82229B}"/>
                  </a:ext>
                </a:extLst>
              </p:cNvPr>
              <p:cNvCxnSpPr/>
              <p:nvPr/>
            </p:nvCxnSpPr>
            <p:spPr>
              <a:xfrm>
                <a:off x="6553590" y="2584913"/>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175" name="Google Shape;3925;p26">
                <a:extLst>
                  <a:ext uri="{FF2B5EF4-FFF2-40B4-BE49-F238E27FC236}">
                    <a16:creationId xmlns:a16="http://schemas.microsoft.com/office/drawing/2014/main" id="{676B6912-D3FD-4A35-81E0-578EF6286C89}"/>
                  </a:ext>
                </a:extLst>
              </p:cNvPr>
              <p:cNvCxnSpPr/>
              <p:nvPr/>
            </p:nvCxnSpPr>
            <p:spPr>
              <a:xfrm rot="10800000">
                <a:off x="6490090" y="2648238"/>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76" name="Google Shape;3926;p26">
                <a:extLst>
                  <a:ext uri="{FF2B5EF4-FFF2-40B4-BE49-F238E27FC236}">
                    <a16:creationId xmlns:a16="http://schemas.microsoft.com/office/drawing/2014/main" id="{A41B5B59-321C-4BC4-9447-7B33AF75601F}"/>
                  </a:ext>
                </a:extLst>
              </p:cNvPr>
              <p:cNvCxnSpPr/>
              <p:nvPr/>
            </p:nvCxnSpPr>
            <p:spPr>
              <a:xfrm>
                <a:off x="6547240" y="2584913"/>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177" name="Google Shape;3927;p26">
                <a:extLst>
                  <a:ext uri="{FF2B5EF4-FFF2-40B4-BE49-F238E27FC236}">
                    <a16:creationId xmlns:a16="http://schemas.microsoft.com/office/drawing/2014/main" id="{ABC980AB-A0D8-4BB5-9763-62447E25FC1C}"/>
                  </a:ext>
                </a:extLst>
              </p:cNvPr>
              <p:cNvCxnSpPr/>
              <p:nvPr/>
            </p:nvCxnSpPr>
            <p:spPr>
              <a:xfrm rot="10800000">
                <a:off x="6483740" y="2648238"/>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78" name="Google Shape;3928;p26">
                <a:extLst>
                  <a:ext uri="{FF2B5EF4-FFF2-40B4-BE49-F238E27FC236}">
                    <a16:creationId xmlns:a16="http://schemas.microsoft.com/office/drawing/2014/main" id="{859320F0-D9B6-40C3-BEF7-A9E4461D0026}"/>
                  </a:ext>
                </a:extLst>
              </p:cNvPr>
              <p:cNvCxnSpPr/>
              <p:nvPr/>
            </p:nvCxnSpPr>
            <p:spPr>
              <a:xfrm>
                <a:off x="6536127" y="2550084"/>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179" name="Google Shape;3929;p26">
                <a:extLst>
                  <a:ext uri="{FF2B5EF4-FFF2-40B4-BE49-F238E27FC236}">
                    <a16:creationId xmlns:a16="http://schemas.microsoft.com/office/drawing/2014/main" id="{2702FAA2-8FCC-4A7C-AADD-6A2D65FE241C}"/>
                  </a:ext>
                </a:extLst>
              </p:cNvPr>
              <p:cNvCxnSpPr/>
              <p:nvPr/>
            </p:nvCxnSpPr>
            <p:spPr>
              <a:xfrm rot="10800000">
                <a:off x="6472627" y="2613410"/>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80" name="Google Shape;3930;p26">
                <a:extLst>
                  <a:ext uri="{FF2B5EF4-FFF2-40B4-BE49-F238E27FC236}">
                    <a16:creationId xmlns:a16="http://schemas.microsoft.com/office/drawing/2014/main" id="{FFEE5719-5015-4562-A235-7B246B0C585B}"/>
                  </a:ext>
                </a:extLst>
              </p:cNvPr>
              <p:cNvCxnSpPr/>
              <p:nvPr/>
            </p:nvCxnSpPr>
            <p:spPr>
              <a:xfrm>
                <a:off x="6513902" y="2527920"/>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81" name="Google Shape;3931;p26">
                <a:extLst>
                  <a:ext uri="{FF2B5EF4-FFF2-40B4-BE49-F238E27FC236}">
                    <a16:creationId xmlns:a16="http://schemas.microsoft.com/office/drawing/2014/main" id="{7C0E28E5-E322-46A2-99C4-083697372549}"/>
                  </a:ext>
                </a:extLst>
              </p:cNvPr>
              <p:cNvCxnSpPr/>
              <p:nvPr/>
            </p:nvCxnSpPr>
            <p:spPr>
              <a:xfrm rot="10800000">
                <a:off x="6450402" y="2591246"/>
                <a:ext cx="128588"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82" name="Google Shape;3932;p26">
                <a:extLst>
                  <a:ext uri="{FF2B5EF4-FFF2-40B4-BE49-F238E27FC236}">
                    <a16:creationId xmlns:a16="http://schemas.microsoft.com/office/drawing/2014/main" id="{8A82D724-D60C-4965-B861-BF33DF28B71C}"/>
                  </a:ext>
                </a:extLst>
              </p:cNvPr>
              <p:cNvCxnSpPr/>
              <p:nvPr/>
            </p:nvCxnSpPr>
            <p:spPr>
              <a:xfrm>
                <a:off x="6493265" y="2527920"/>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83" name="Google Shape;3933;p26">
                <a:extLst>
                  <a:ext uri="{FF2B5EF4-FFF2-40B4-BE49-F238E27FC236}">
                    <a16:creationId xmlns:a16="http://schemas.microsoft.com/office/drawing/2014/main" id="{1630C853-7BD5-4C64-96D1-4A699616A94D}"/>
                  </a:ext>
                </a:extLst>
              </p:cNvPr>
              <p:cNvCxnSpPr/>
              <p:nvPr/>
            </p:nvCxnSpPr>
            <p:spPr>
              <a:xfrm rot="10800000">
                <a:off x="6431352" y="2591246"/>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84" name="Google Shape;3934;p26">
                <a:extLst>
                  <a:ext uri="{FF2B5EF4-FFF2-40B4-BE49-F238E27FC236}">
                    <a16:creationId xmlns:a16="http://schemas.microsoft.com/office/drawing/2014/main" id="{C03B32BE-BABC-446A-BF05-ED37F739DFD4}"/>
                  </a:ext>
                </a:extLst>
              </p:cNvPr>
              <p:cNvCxnSpPr/>
              <p:nvPr/>
            </p:nvCxnSpPr>
            <p:spPr>
              <a:xfrm>
                <a:off x="6291652" y="2432933"/>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85" name="Google Shape;3935;p26">
                <a:extLst>
                  <a:ext uri="{FF2B5EF4-FFF2-40B4-BE49-F238E27FC236}">
                    <a16:creationId xmlns:a16="http://schemas.microsoft.com/office/drawing/2014/main" id="{D49399F5-06D1-4268-8155-291D9F160752}"/>
                  </a:ext>
                </a:extLst>
              </p:cNvPr>
              <p:cNvCxnSpPr/>
              <p:nvPr/>
            </p:nvCxnSpPr>
            <p:spPr>
              <a:xfrm rot="10800000">
                <a:off x="6228152" y="2497841"/>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86" name="Google Shape;3936;p26">
                <a:extLst>
                  <a:ext uri="{FF2B5EF4-FFF2-40B4-BE49-F238E27FC236}">
                    <a16:creationId xmlns:a16="http://schemas.microsoft.com/office/drawing/2014/main" id="{1280E6DE-43D4-496E-AB9D-E7ED518266FC}"/>
                  </a:ext>
                </a:extLst>
              </p:cNvPr>
              <p:cNvCxnSpPr/>
              <p:nvPr/>
            </p:nvCxnSpPr>
            <p:spPr>
              <a:xfrm>
                <a:off x="6269427" y="2412352"/>
                <a:ext cx="0" cy="123484"/>
              </a:xfrm>
              <a:prstGeom prst="straightConnector1">
                <a:avLst/>
              </a:prstGeom>
              <a:noFill/>
              <a:ln w="19050" cap="flat" cmpd="sng">
                <a:solidFill>
                  <a:schemeClr val="accent4"/>
                </a:solidFill>
                <a:prstDash val="solid"/>
                <a:miter lim="800000"/>
                <a:headEnd type="none" w="med" len="med"/>
                <a:tailEnd type="none" w="med" len="med"/>
              </a:ln>
            </p:spPr>
          </p:cxnSp>
          <p:cxnSp>
            <p:nvCxnSpPr>
              <p:cNvPr id="187" name="Google Shape;3937;p26">
                <a:extLst>
                  <a:ext uri="{FF2B5EF4-FFF2-40B4-BE49-F238E27FC236}">
                    <a16:creationId xmlns:a16="http://schemas.microsoft.com/office/drawing/2014/main" id="{8EB36EC9-FBC0-4568-9B16-7B1D260A65AA}"/>
                  </a:ext>
                </a:extLst>
              </p:cNvPr>
              <p:cNvCxnSpPr/>
              <p:nvPr/>
            </p:nvCxnSpPr>
            <p:spPr>
              <a:xfrm rot="10800000">
                <a:off x="6205927" y="2475677"/>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88" name="Google Shape;3938;p26">
                <a:extLst>
                  <a:ext uri="{FF2B5EF4-FFF2-40B4-BE49-F238E27FC236}">
                    <a16:creationId xmlns:a16="http://schemas.microsoft.com/office/drawing/2014/main" id="{8236FD6C-EDFA-4095-BF1B-97DEAA6DF869}"/>
                  </a:ext>
                </a:extLst>
              </p:cNvPr>
              <p:cNvCxnSpPr/>
              <p:nvPr/>
            </p:nvCxnSpPr>
            <p:spPr>
              <a:xfrm>
                <a:off x="6248790" y="2380689"/>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89" name="Google Shape;3939;p26">
                <a:extLst>
                  <a:ext uri="{FF2B5EF4-FFF2-40B4-BE49-F238E27FC236}">
                    <a16:creationId xmlns:a16="http://schemas.microsoft.com/office/drawing/2014/main" id="{562DB570-0D58-4B00-950C-694C9ED0AC96}"/>
                  </a:ext>
                </a:extLst>
              </p:cNvPr>
              <p:cNvCxnSpPr/>
              <p:nvPr/>
            </p:nvCxnSpPr>
            <p:spPr>
              <a:xfrm rot="10800000">
                <a:off x="6185290" y="2444014"/>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90" name="Google Shape;3940;p26">
                <a:extLst>
                  <a:ext uri="{FF2B5EF4-FFF2-40B4-BE49-F238E27FC236}">
                    <a16:creationId xmlns:a16="http://schemas.microsoft.com/office/drawing/2014/main" id="{B425F7B2-9437-4225-9671-42E6E4279919}"/>
                  </a:ext>
                </a:extLst>
              </p:cNvPr>
              <p:cNvCxnSpPr/>
              <p:nvPr/>
            </p:nvCxnSpPr>
            <p:spPr>
              <a:xfrm>
                <a:off x="6144015" y="2344277"/>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91" name="Google Shape;3941;p26">
                <a:extLst>
                  <a:ext uri="{FF2B5EF4-FFF2-40B4-BE49-F238E27FC236}">
                    <a16:creationId xmlns:a16="http://schemas.microsoft.com/office/drawing/2014/main" id="{591AF643-EAD4-4664-87E7-CD4596B3B7E2}"/>
                  </a:ext>
                </a:extLst>
              </p:cNvPr>
              <p:cNvCxnSpPr/>
              <p:nvPr/>
            </p:nvCxnSpPr>
            <p:spPr>
              <a:xfrm rot="10800000">
                <a:off x="6080515" y="2404436"/>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92" name="Google Shape;3942;p26">
                <a:extLst>
                  <a:ext uri="{FF2B5EF4-FFF2-40B4-BE49-F238E27FC236}">
                    <a16:creationId xmlns:a16="http://schemas.microsoft.com/office/drawing/2014/main" id="{4620EA7D-AAA0-42F5-916E-2EF55628BD0B}"/>
                  </a:ext>
                </a:extLst>
              </p:cNvPr>
              <p:cNvCxnSpPr/>
              <p:nvPr/>
            </p:nvCxnSpPr>
            <p:spPr>
              <a:xfrm>
                <a:off x="6118615" y="2322113"/>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193" name="Google Shape;3943;p26">
                <a:extLst>
                  <a:ext uri="{FF2B5EF4-FFF2-40B4-BE49-F238E27FC236}">
                    <a16:creationId xmlns:a16="http://schemas.microsoft.com/office/drawing/2014/main" id="{38E9EB08-2740-498D-8CEC-DEC8F14E8057}"/>
                  </a:ext>
                </a:extLst>
              </p:cNvPr>
              <p:cNvCxnSpPr/>
              <p:nvPr/>
            </p:nvCxnSpPr>
            <p:spPr>
              <a:xfrm rot="10800000">
                <a:off x="6055115" y="2385439"/>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94" name="Google Shape;3944;p26">
                <a:extLst>
                  <a:ext uri="{FF2B5EF4-FFF2-40B4-BE49-F238E27FC236}">
                    <a16:creationId xmlns:a16="http://schemas.microsoft.com/office/drawing/2014/main" id="{D85DBE5E-CA43-4F26-B367-A7B9666F91B5}"/>
                  </a:ext>
                </a:extLst>
              </p:cNvPr>
              <p:cNvCxnSpPr/>
              <p:nvPr/>
            </p:nvCxnSpPr>
            <p:spPr>
              <a:xfrm>
                <a:off x="6109090" y="2322113"/>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195" name="Google Shape;3945;p26">
                <a:extLst>
                  <a:ext uri="{FF2B5EF4-FFF2-40B4-BE49-F238E27FC236}">
                    <a16:creationId xmlns:a16="http://schemas.microsoft.com/office/drawing/2014/main" id="{B31ECA0D-D47E-4ABB-A01F-C54BCF82F237}"/>
                  </a:ext>
                </a:extLst>
              </p:cNvPr>
              <p:cNvCxnSpPr/>
              <p:nvPr/>
            </p:nvCxnSpPr>
            <p:spPr>
              <a:xfrm rot="10800000">
                <a:off x="6045590" y="2385439"/>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96" name="Google Shape;3946;p26">
                <a:extLst>
                  <a:ext uri="{FF2B5EF4-FFF2-40B4-BE49-F238E27FC236}">
                    <a16:creationId xmlns:a16="http://schemas.microsoft.com/office/drawing/2014/main" id="{568383AB-09BC-416D-B6CA-F4D98E8DFF16}"/>
                  </a:ext>
                </a:extLst>
              </p:cNvPr>
              <p:cNvCxnSpPr/>
              <p:nvPr/>
            </p:nvCxnSpPr>
            <p:spPr>
              <a:xfrm>
                <a:off x="5931290" y="2168550"/>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97" name="Google Shape;3947;p26">
                <a:extLst>
                  <a:ext uri="{FF2B5EF4-FFF2-40B4-BE49-F238E27FC236}">
                    <a16:creationId xmlns:a16="http://schemas.microsoft.com/office/drawing/2014/main" id="{15DCBBC0-99B6-4BB9-8004-9640E0316AA2}"/>
                  </a:ext>
                </a:extLst>
              </p:cNvPr>
              <p:cNvCxnSpPr/>
              <p:nvPr/>
            </p:nvCxnSpPr>
            <p:spPr>
              <a:xfrm rot="10800000">
                <a:off x="5867790" y="2230292"/>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198" name="Google Shape;3948;p26">
                <a:extLst>
                  <a:ext uri="{FF2B5EF4-FFF2-40B4-BE49-F238E27FC236}">
                    <a16:creationId xmlns:a16="http://schemas.microsoft.com/office/drawing/2014/main" id="{85A8B910-A45A-4333-B431-D64EC4555709}"/>
                  </a:ext>
                </a:extLst>
              </p:cNvPr>
              <p:cNvCxnSpPr/>
              <p:nvPr/>
            </p:nvCxnSpPr>
            <p:spPr>
              <a:xfrm>
                <a:off x="5874140" y="2168550"/>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199" name="Google Shape;3949;p26">
                <a:extLst>
                  <a:ext uri="{FF2B5EF4-FFF2-40B4-BE49-F238E27FC236}">
                    <a16:creationId xmlns:a16="http://schemas.microsoft.com/office/drawing/2014/main" id="{FDDD7E18-D65C-46FB-B36D-F43F611680D0}"/>
                  </a:ext>
                </a:extLst>
              </p:cNvPr>
              <p:cNvCxnSpPr/>
              <p:nvPr/>
            </p:nvCxnSpPr>
            <p:spPr>
              <a:xfrm rot="10800000">
                <a:off x="5813815" y="2230292"/>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00" name="Google Shape;3950;p26">
                <a:extLst>
                  <a:ext uri="{FF2B5EF4-FFF2-40B4-BE49-F238E27FC236}">
                    <a16:creationId xmlns:a16="http://schemas.microsoft.com/office/drawing/2014/main" id="{CE2EF543-3237-4D88-AB38-865F2F398680}"/>
                  </a:ext>
                </a:extLst>
              </p:cNvPr>
              <p:cNvCxnSpPr/>
              <p:nvPr/>
            </p:nvCxnSpPr>
            <p:spPr>
              <a:xfrm>
                <a:off x="5791590" y="2117889"/>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01" name="Google Shape;3951;p26">
                <a:extLst>
                  <a:ext uri="{FF2B5EF4-FFF2-40B4-BE49-F238E27FC236}">
                    <a16:creationId xmlns:a16="http://schemas.microsoft.com/office/drawing/2014/main" id="{D33C1835-E515-4CFF-B912-9FDB9FAEAFC0}"/>
                  </a:ext>
                </a:extLst>
              </p:cNvPr>
              <p:cNvCxnSpPr/>
              <p:nvPr/>
            </p:nvCxnSpPr>
            <p:spPr>
              <a:xfrm rot="10800000">
                <a:off x="5729677" y="2181215"/>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02" name="Google Shape;3952;p26">
                <a:extLst>
                  <a:ext uri="{FF2B5EF4-FFF2-40B4-BE49-F238E27FC236}">
                    <a16:creationId xmlns:a16="http://schemas.microsoft.com/office/drawing/2014/main" id="{EA32516D-2942-4472-A782-BA3D01E04688}"/>
                  </a:ext>
                </a:extLst>
              </p:cNvPr>
              <p:cNvCxnSpPr/>
              <p:nvPr/>
            </p:nvCxnSpPr>
            <p:spPr>
              <a:xfrm>
                <a:off x="5739202" y="2108391"/>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03" name="Google Shape;3953;p26">
                <a:extLst>
                  <a:ext uri="{FF2B5EF4-FFF2-40B4-BE49-F238E27FC236}">
                    <a16:creationId xmlns:a16="http://schemas.microsoft.com/office/drawing/2014/main" id="{7BAE3027-F8AE-4841-AAEE-D16A7C3499E8}"/>
                  </a:ext>
                </a:extLst>
              </p:cNvPr>
              <p:cNvCxnSpPr/>
              <p:nvPr/>
            </p:nvCxnSpPr>
            <p:spPr>
              <a:xfrm rot="10800000">
                <a:off x="5675702" y="2173299"/>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04" name="Google Shape;3954;p26">
                <a:extLst>
                  <a:ext uri="{FF2B5EF4-FFF2-40B4-BE49-F238E27FC236}">
                    <a16:creationId xmlns:a16="http://schemas.microsoft.com/office/drawing/2014/main" id="{30D0C2C8-353F-4FDA-B62D-0770A1B77CB3}"/>
                  </a:ext>
                </a:extLst>
              </p:cNvPr>
              <p:cNvCxnSpPr/>
              <p:nvPr/>
            </p:nvCxnSpPr>
            <p:spPr>
              <a:xfrm>
                <a:off x="5716977" y="2108391"/>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05" name="Google Shape;3955;p26">
                <a:extLst>
                  <a:ext uri="{FF2B5EF4-FFF2-40B4-BE49-F238E27FC236}">
                    <a16:creationId xmlns:a16="http://schemas.microsoft.com/office/drawing/2014/main" id="{6E29216D-23E5-48C4-A38E-A2BFDDFF746E}"/>
                  </a:ext>
                </a:extLst>
              </p:cNvPr>
              <p:cNvCxnSpPr/>
              <p:nvPr/>
            </p:nvCxnSpPr>
            <p:spPr>
              <a:xfrm rot="10800000">
                <a:off x="5653477" y="2173299"/>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06" name="Google Shape;3956;p26">
                <a:extLst>
                  <a:ext uri="{FF2B5EF4-FFF2-40B4-BE49-F238E27FC236}">
                    <a16:creationId xmlns:a16="http://schemas.microsoft.com/office/drawing/2014/main" id="{BFA698DA-E3D1-43CC-A117-C10659BF3F11}"/>
                  </a:ext>
                </a:extLst>
              </p:cNvPr>
              <p:cNvCxnSpPr/>
              <p:nvPr/>
            </p:nvCxnSpPr>
            <p:spPr>
              <a:xfrm>
                <a:off x="5670940" y="2067229"/>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07" name="Google Shape;3957;p26">
                <a:extLst>
                  <a:ext uri="{FF2B5EF4-FFF2-40B4-BE49-F238E27FC236}">
                    <a16:creationId xmlns:a16="http://schemas.microsoft.com/office/drawing/2014/main" id="{C1BE98E2-AA5A-47A6-B4CF-DEC44B518CA8}"/>
                  </a:ext>
                </a:extLst>
              </p:cNvPr>
              <p:cNvCxnSpPr/>
              <p:nvPr/>
            </p:nvCxnSpPr>
            <p:spPr>
              <a:xfrm rot="10800000">
                <a:off x="5609027" y="2128971"/>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08" name="Google Shape;3958;p26">
                <a:extLst>
                  <a:ext uri="{FF2B5EF4-FFF2-40B4-BE49-F238E27FC236}">
                    <a16:creationId xmlns:a16="http://schemas.microsoft.com/office/drawing/2014/main" id="{E3CFD918-BC11-47F3-AB98-E47DE337607D}"/>
                  </a:ext>
                </a:extLst>
              </p:cNvPr>
              <p:cNvCxnSpPr/>
              <p:nvPr/>
            </p:nvCxnSpPr>
            <p:spPr>
              <a:xfrm>
                <a:off x="5664590" y="2067229"/>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09" name="Google Shape;3959;p26">
                <a:extLst>
                  <a:ext uri="{FF2B5EF4-FFF2-40B4-BE49-F238E27FC236}">
                    <a16:creationId xmlns:a16="http://schemas.microsoft.com/office/drawing/2014/main" id="{C249FB70-EF75-439A-B525-DAD5D1167747}"/>
                  </a:ext>
                </a:extLst>
              </p:cNvPr>
              <p:cNvCxnSpPr/>
              <p:nvPr/>
            </p:nvCxnSpPr>
            <p:spPr>
              <a:xfrm rot="10800000">
                <a:off x="5601090" y="2128971"/>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10" name="Google Shape;3960;p26">
                <a:extLst>
                  <a:ext uri="{FF2B5EF4-FFF2-40B4-BE49-F238E27FC236}">
                    <a16:creationId xmlns:a16="http://schemas.microsoft.com/office/drawing/2014/main" id="{98021888-52EA-473F-B2AD-30AC1222F0D8}"/>
                  </a:ext>
                </a:extLst>
              </p:cNvPr>
              <p:cNvCxnSpPr/>
              <p:nvPr/>
            </p:nvCxnSpPr>
            <p:spPr>
              <a:xfrm>
                <a:off x="5655065" y="2049815"/>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211" name="Google Shape;3961;p26">
                <a:extLst>
                  <a:ext uri="{FF2B5EF4-FFF2-40B4-BE49-F238E27FC236}">
                    <a16:creationId xmlns:a16="http://schemas.microsoft.com/office/drawing/2014/main" id="{DAB15262-FDDC-4C32-A434-7A1E48A57AE1}"/>
                  </a:ext>
                </a:extLst>
              </p:cNvPr>
              <p:cNvCxnSpPr/>
              <p:nvPr/>
            </p:nvCxnSpPr>
            <p:spPr>
              <a:xfrm rot="10800000">
                <a:off x="5591565" y="2113140"/>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12" name="Google Shape;3962;p26">
                <a:extLst>
                  <a:ext uri="{FF2B5EF4-FFF2-40B4-BE49-F238E27FC236}">
                    <a16:creationId xmlns:a16="http://schemas.microsoft.com/office/drawing/2014/main" id="{AB2AEAA3-8D89-4489-84C8-91C7E7571BCB}"/>
                  </a:ext>
                </a:extLst>
              </p:cNvPr>
              <p:cNvCxnSpPr/>
              <p:nvPr/>
            </p:nvCxnSpPr>
            <p:spPr>
              <a:xfrm>
                <a:off x="5647127" y="2040316"/>
                <a:ext cx="0" cy="128234"/>
              </a:xfrm>
              <a:prstGeom prst="straightConnector1">
                <a:avLst/>
              </a:prstGeom>
              <a:noFill/>
              <a:ln w="19050" cap="flat" cmpd="sng">
                <a:solidFill>
                  <a:schemeClr val="accent4"/>
                </a:solidFill>
                <a:prstDash val="solid"/>
                <a:miter lim="800000"/>
                <a:headEnd type="none" w="med" len="med"/>
                <a:tailEnd type="none" w="med" len="med"/>
              </a:ln>
            </p:spPr>
          </p:cxnSp>
          <p:cxnSp>
            <p:nvCxnSpPr>
              <p:cNvPr id="213" name="Google Shape;3963;p26">
                <a:extLst>
                  <a:ext uri="{FF2B5EF4-FFF2-40B4-BE49-F238E27FC236}">
                    <a16:creationId xmlns:a16="http://schemas.microsoft.com/office/drawing/2014/main" id="{FBB86E8D-B711-4EBE-81F0-E61AD6D5E53B}"/>
                  </a:ext>
                </a:extLst>
              </p:cNvPr>
              <p:cNvCxnSpPr/>
              <p:nvPr/>
            </p:nvCxnSpPr>
            <p:spPr>
              <a:xfrm rot="10800000">
                <a:off x="5583627" y="2105224"/>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14" name="Google Shape;3964;p26">
                <a:extLst>
                  <a:ext uri="{FF2B5EF4-FFF2-40B4-BE49-F238E27FC236}">
                    <a16:creationId xmlns:a16="http://schemas.microsoft.com/office/drawing/2014/main" id="{A0B8ED75-7275-440A-B041-582D95152541}"/>
                  </a:ext>
                </a:extLst>
              </p:cNvPr>
              <p:cNvCxnSpPr/>
              <p:nvPr/>
            </p:nvCxnSpPr>
            <p:spPr>
              <a:xfrm>
                <a:off x="5566165" y="1999155"/>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15" name="Google Shape;3965;p26">
                <a:extLst>
                  <a:ext uri="{FF2B5EF4-FFF2-40B4-BE49-F238E27FC236}">
                    <a16:creationId xmlns:a16="http://schemas.microsoft.com/office/drawing/2014/main" id="{8EB5FFD2-0C21-4278-B4E9-FF1C11D581EC}"/>
                  </a:ext>
                </a:extLst>
              </p:cNvPr>
              <p:cNvCxnSpPr/>
              <p:nvPr/>
            </p:nvCxnSpPr>
            <p:spPr>
              <a:xfrm rot="10800000">
                <a:off x="5504252" y="2062480"/>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16" name="Google Shape;3966;p26">
                <a:extLst>
                  <a:ext uri="{FF2B5EF4-FFF2-40B4-BE49-F238E27FC236}">
                    <a16:creationId xmlns:a16="http://schemas.microsoft.com/office/drawing/2014/main" id="{271403E4-64A7-4028-820F-9CE96BEC725B}"/>
                  </a:ext>
                </a:extLst>
              </p:cNvPr>
              <p:cNvCxnSpPr/>
              <p:nvPr/>
            </p:nvCxnSpPr>
            <p:spPr>
              <a:xfrm>
                <a:off x="5353440" y="1988073"/>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17" name="Google Shape;3967;p26">
                <a:extLst>
                  <a:ext uri="{FF2B5EF4-FFF2-40B4-BE49-F238E27FC236}">
                    <a16:creationId xmlns:a16="http://schemas.microsoft.com/office/drawing/2014/main" id="{D75F2205-8335-4AC5-BDFE-54F9D3171AB5}"/>
                  </a:ext>
                </a:extLst>
              </p:cNvPr>
              <p:cNvCxnSpPr/>
              <p:nvPr/>
            </p:nvCxnSpPr>
            <p:spPr>
              <a:xfrm rot="10800000">
                <a:off x="5291527" y="2049815"/>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18" name="Google Shape;3968;p26">
                <a:extLst>
                  <a:ext uri="{FF2B5EF4-FFF2-40B4-BE49-F238E27FC236}">
                    <a16:creationId xmlns:a16="http://schemas.microsoft.com/office/drawing/2014/main" id="{9A579A52-BA95-4F4F-8086-EE3A6D20E1C1}"/>
                  </a:ext>
                </a:extLst>
              </p:cNvPr>
              <p:cNvCxnSpPr/>
              <p:nvPr/>
            </p:nvCxnSpPr>
            <p:spPr>
              <a:xfrm>
                <a:off x="5280415" y="1962743"/>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19" name="Google Shape;3969;p26">
                <a:extLst>
                  <a:ext uri="{FF2B5EF4-FFF2-40B4-BE49-F238E27FC236}">
                    <a16:creationId xmlns:a16="http://schemas.microsoft.com/office/drawing/2014/main" id="{F291CFEB-562E-4DF8-81E9-8B3F12C36FAC}"/>
                  </a:ext>
                </a:extLst>
              </p:cNvPr>
              <p:cNvCxnSpPr/>
              <p:nvPr/>
            </p:nvCxnSpPr>
            <p:spPr>
              <a:xfrm rot="10800000">
                <a:off x="5216915" y="2022902"/>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20" name="Google Shape;3970;p26">
                <a:extLst>
                  <a:ext uri="{FF2B5EF4-FFF2-40B4-BE49-F238E27FC236}">
                    <a16:creationId xmlns:a16="http://schemas.microsoft.com/office/drawing/2014/main" id="{4CE82A66-C0D1-4BFB-BCFA-CEAF99F99766}"/>
                  </a:ext>
                </a:extLst>
              </p:cNvPr>
              <p:cNvCxnSpPr/>
              <p:nvPr/>
            </p:nvCxnSpPr>
            <p:spPr>
              <a:xfrm>
                <a:off x="5272477" y="1962743"/>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21" name="Google Shape;3971;p26">
                <a:extLst>
                  <a:ext uri="{FF2B5EF4-FFF2-40B4-BE49-F238E27FC236}">
                    <a16:creationId xmlns:a16="http://schemas.microsoft.com/office/drawing/2014/main" id="{9CFDAF7E-F106-4A1E-A23B-D66E1E4DB0BC}"/>
                  </a:ext>
                </a:extLst>
              </p:cNvPr>
              <p:cNvCxnSpPr/>
              <p:nvPr/>
            </p:nvCxnSpPr>
            <p:spPr>
              <a:xfrm rot="10800000">
                <a:off x="5208977" y="2022902"/>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22" name="Google Shape;3972;p26">
                <a:extLst>
                  <a:ext uri="{FF2B5EF4-FFF2-40B4-BE49-F238E27FC236}">
                    <a16:creationId xmlns:a16="http://schemas.microsoft.com/office/drawing/2014/main" id="{1B356710-D9E7-4F53-BAAE-34BA67444CC8}"/>
                  </a:ext>
                </a:extLst>
              </p:cNvPr>
              <p:cNvCxnSpPr/>
              <p:nvPr/>
            </p:nvCxnSpPr>
            <p:spPr>
              <a:xfrm>
                <a:off x="5228027" y="1919998"/>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23" name="Google Shape;3973;p26">
                <a:extLst>
                  <a:ext uri="{FF2B5EF4-FFF2-40B4-BE49-F238E27FC236}">
                    <a16:creationId xmlns:a16="http://schemas.microsoft.com/office/drawing/2014/main" id="{6B74A7CC-6C4D-4F70-9E9D-8A750DF3F539}"/>
                  </a:ext>
                </a:extLst>
              </p:cNvPr>
              <p:cNvCxnSpPr/>
              <p:nvPr/>
            </p:nvCxnSpPr>
            <p:spPr>
              <a:xfrm rot="10800000">
                <a:off x="5164527" y="1983323"/>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24" name="Google Shape;3974;p26">
                <a:extLst>
                  <a:ext uri="{FF2B5EF4-FFF2-40B4-BE49-F238E27FC236}">
                    <a16:creationId xmlns:a16="http://schemas.microsoft.com/office/drawing/2014/main" id="{8A7238D9-3482-45DC-86F8-1FF324216F4D}"/>
                  </a:ext>
                </a:extLst>
              </p:cNvPr>
              <p:cNvCxnSpPr/>
              <p:nvPr/>
            </p:nvCxnSpPr>
            <p:spPr>
              <a:xfrm>
                <a:off x="5194690" y="1915249"/>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25" name="Google Shape;3975;p26">
                <a:extLst>
                  <a:ext uri="{FF2B5EF4-FFF2-40B4-BE49-F238E27FC236}">
                    <a16:creationId xmlns:a16="http://schemas.microsoft.com/office/drawing/2014/main" id="{0942D6E8-FE57-454D-AF09-990EED29FE34}"/>
                  </a:ext>
                </a:extLst>
              </p:cNvPr>
              <p:cNvCxnSpPr/>
              <p:nvPr/>
            </p:nvCxnSpPr>
            <p:spPr>
              <a:xfrm rot="10800000">
                <a:off x="5131190" y="1980157"/>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26" name="Google Shape;3976;p26">
                <a:extLst>
                  <a:ext uri="{FF2B5EF4-FFF2-40B4-BE49-F238E27FC236}">
                    <a16:creationId xmlns:a16="http://schemas.microsoft.com/office/drawing/2014/main" id="{1524B160-59F2-4AA6-B11F-DBBFF3249644}"/>
                  </a:ext>
                </a:extLst>
              </p:cNvPr>
              <p:cNvCxnSpPr/>
              <p:nvPr/>
            </p:nvCxnSpPr>
            <p:spPr>
              <a:xfrm>
                <a:off x="5193102" y="1883586"/>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27" name="Google Shape;3977;p26">
                <a:extLst>
                  <a:ext uri="{FF2B5EF4-FFF2-40B4-BE49-F238E27FC236}">
                    <a16:creationId xmlns:a16="http://schemas.microsoft.com/office/drawing/2014/main" id="{8D07F4F6-5E99-414D-86F2-3F4367FBE137}"/>
                  </a:ext>
                </a:extLst>
              </p:cNvPr>
              <p:cNvCxnSpPr/>
              <p:nvPr/>
            </p:nvCxnSpPr>
            <p:spPr>
              <a:xfrm rot="10800000">
                <a:off x="5131190" y="1946911"/>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28" name="Google Shape;3978;p26">
                <a:extLst>
                  <a:ext uri="{FF2B5EF4-FFF2-40B4-BE49-F238E27FC236}">
                    <a16:creationId xmlns:a16="http://schemas.microsoft.com/office/drawing/2014/main" id="{93C57FEB-6934-4ADC-9BDA-EBAE93271B99}"/>
                  </a:ext>
                </a:extLst>
              </p:cNvPr>
              <p:cNvCxnSpPr/>
              <p:nvPr/>
            </p:nvCxnSpPr>
            <p:spPr>
              <a:xfrm>
                <a:off x="5045465" y="1801263"/>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29" name="Google Shape;3979;p26">
                <a:extLst>
                  <a:ext uri="{FF2B5EF4-FFF2-40B4-BE49-F238E27FC236}">
                    <a16:creationId xmlns:a16="http://schemas.microsoft.com/office/drawing/2014/main" id="{BE49500F-001B-445B-BB88-CFCDD6084C31}"/>
                  </a:ext>
                </a:extLst>
              </p:cNvPr>
              <p:cNvCxnSpPr/>
              <p:nvPr/>
            </p:nvCxnSpPr>
            <p:spPr>
              <a:xfrm rot="10800000">
                <a:off x="4985140" y="1866172"/>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30" name="Google Shape;3980;p26">
                <a:extLst>
                  <a:ext uri="{FF2B5EF4-FFF2-40B4-BE49-F238E27FC236}">
                    <a16:creationId xmlns:a16="http://schemas.microsoft.com/office/drawing/2014/main" id="{2A98E446-C3FD-49A0-8040-5F12E98AFEAD}"/>
                  </a:ext>
                </a:extLst>
              </p:cNvPr>
              <p:cNvCxnSpPr/>
              <p:nvPr/>
            </p:nvCxnSpPr>
            <p:spPr>
              <a:xfrm>
                <a:off x="4972440" y="1764851"/>
                <a:ext cx="0" cy="126651"/>
              </a:xfrm>
              <a:prstGeom prst="straightConnector1">
                <a:avLst/>
              </a:prstGeom>
              <a:noFill/>
              <a:ln w="19050" cap="flat" cmpd="sng">
                <a:solidFill>
                  <a:schemeClr val="accent4"/>
                </a:solidFill>
                <a:prstDash val="solid"/>
                <a:miter lim="800000"/>
                <a:headEnd type="none" w="med" len="med"/>
                <a:tailEnd type="none" w="med" len="med"/>
              </a:ln>
            </p:spPr>
          </p:cxnSp>
          <p:cxnSp>
            <p:nvCxnSpPr>
              <p:cNvPr id="231" name="Google Shape;3981;p26">
                <a:extLst>
                  <a:ext uri="{FF2B5EF4-FFF2-40B4-BE49-F238E27FC236}">
                    <a16:creationId xmlns:a16="http://schemas.microsoft.com/office/drawing/2014/main" id="{FE129A4D-7377-4801-B5D5-D5CD855DCBB7}"/>
                  </a:ext>
                </a:extLst>
              </p:cNvPr>
              <p:cNvCxnSpPr/>
              <p:nvPr/>
            </p:nvCxnSpPr>
            <p:spPr>
              <a:xfrm rot="10800000">
                <a:off x="4907352" y="1828176"/>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32" name="Google Shape;3982;p26">
                <a:extLst>
                  <a:ext uri="{FF2B5EF4-FFF2-40B4-BE49-F238E27FC236}">
                    <a16:creationId xmlns:a16="http://schemas.microsoft.com/office/drawing/2014/main" id="{C4A740BC-2596-4EBF-A6BC-2164F04814BA}"/>
                  </a:ext>
                </a:extLst>
              </p:cNvPr>
              <p:cNvCxnSpPr/>
              <p:nvPr/>
            </p:nvCxnSpPr>
            <p:spPr>
              <a:xfrm>
                <a:off x="4918465" y="1758519"/>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33" name="Google Shape;3983;p26">
                <a:extLst>
                  <a:ext uri="{FF2B5EF4-FFF2-40B4-BE49-F238E27FC236}">
                    <a16:creationId xmlns:a16="http://schemas.microsoft.com/office/drawing/2014/main" id="{FCEF6D66-538B-4F06-877B-6AEA4B83D1A5}"/>
                  </a:ext>
                </a:extLst>
              </p:cNvPr>
              <p:cNvCxnSpPr/>
              <p:nvPr/>
            </p:nvCxnSpPr>
            <p:spPr>
              <a:xfrm rot="10800000">
                <a:off x="4854965" y="1820261"/>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34" name="Google Shape;3984;p26">
                <a:extLst>
                  <a:ext uri="{FF2B5EF4-FFF2-40B4-BE49-F238E27FC236}">
                    <a16:creationId xmlns:a16="http://schemas.microsoft.com/office/drawing/2014/main" id="{F19D538A-4F9E-4707-BB62-12D27E99DE56}"/>
                  </a:ext>
                </a:extLst>
              </p:cNvPr>
              <p:cNvCxnSpPr/>
              <p:nvPr/>
            </p:nvCxnSpPr>
            <p:spPr>
              <a:xfrm>
                <a:off x="4875602" y="1749020"/>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35" name="Google Shape;3985;p26">
                <a:extLst>
                  <a:ext uri="{FF2B5EF4-FFF2-40B4-BE49-F238E27FC236}">
                    <a16:creationId xmlns:a16="http://schemas.microsoft.com/office/drawing/2014/main" id="{7CAD4424-5CF1-4F5D-AA9F-1A954C579540}"/>
                  </a:ext>
                </a:extLst>
              </p:cNvPr>
              <p:cNvCxnSpPr/>
              <p:nvPr/>
            </p:nvCxnSpPr>
            <p:spPr>
              <a:xfrm rot="10800000">
                <a:off x="4812102" y="1810762"/>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36" name="Google Shape;3986;p26">
                <a:extLst>
                  <a:ext uri="{FF2B5EF4-FFF2-40B4-BE49-F238E27FC236}">
                    <a16:creationId xmlns:a16="http://schemas.microsoft.com/office/drawing/2014/main" id="{236818D4-3055-4774-854D-1B4FFFD2FA31}"/>
                  </a:ext>
                </a:extLst>
              </p:cNvPr>
              <p:cNvCxnSpPr/>
              <p:nvPr/>
            </p:nvCxnSpPr>
            <p:spPr>
              <a:xfrm>
                <a:off x="4785115" y="1749020"/>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37" name="Google Shape;3987;p26">
                <a:extLst>
                  <a:ext uri="{FF2B5EF4-FFF2-40B4-BE49-F238E27FC236}">
                    <a16:creationId xmlns:a16="http://schemas.microsoft.com/office/drawing/2014/main" id="{1E82E8DD-0B46-4360-86CA-EA0656477E51}"/>
                  </a:ext>
                </a:extLst>
              </p:cNvPr>
              <p:cNvCxnSpPr/>
              <p:nvPr/>
            </p:nvCxnSpPr>
            <p:spPr>
              <a:xfrm rot="10800000">
                <a:off x="4723202" y="1810762"/>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38" name="Google Shape;3988;p26">
                <a:extLst>
                  <a:ext uri="{FF2B5EF4-FFF2-40B4-BE49-F238E27FC236}">
                    <a16:creationId xmlns:a16="http://schemas.microsoft.com/office/drawing/2014/main" id="{7BF8E830-D3A7-445F-A417-38E1722A9B9C}"/>
                  </a:ext>
                </a:extLst>
              </p:cNvPr>
              <p:cNvCxnSpPr/>
              <p:nvPr/>
            </p:nvCxnSpPr>
            <p:spPr>
              <a:xfrm>
                <a:off x="4791465" y="1749020"/>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39" name="Google Shape;3989;p26">
                <a:extLst>
                  <a:ext uri="{FF2B5EF4-FFF2-40B4-BE49-F238E27FC236}">
                    <a16:creationId xmlns:a16="http://schemas.microsoft.com/office/drawing/2014/main" id="{DAFAFFF3-DA98-45AA-B43C-6A88679BB289}"/>
                  </a:ext>
                </a:extLst>
              </p:cNvPr>
              <p:cNvCxnSpPr/>
              <p:nvPr/>
            </p:nvCxnSpPr>
            <p:spPr>
              <a:xfrm rot="10800000">
                <a:off x="4731140" y="1810762"/>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40" name="Google Shape;3990;p26">
                <a:extLst>
                  <a:ext uri="{FF2B5EF4-FFF2-40B4-BE49-F238E27FC236}">
                    <a16:creationId xmlns:a16="http://schemas.microsoft.com/office/drawing/2014/main" id="{CE898A5C-48CA-4788-8FCF-EE942F1E711F}"/>
                  </a:ext>
                </a:extLst>
              </p:cNvPr>
              <p:cNvCxnSpPr/>
              <p:nvPr/>
            </p:nvCxnSpPr>
            <p:spPr>
              <a:xfrm>
                <a:off x="4567627" y="1703109"/>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41" name="Google Shape;3991;p26">
                <a:extLst>
                  <a:ext uri="{FF2B5EF4-FFF2-40B4-BE49-F238E27FC236}">
                    <a16:creationId xmlns:a16="http://schemas.microsoft.com/office/drawing/2014/main" id="{6CF366EA-8F9F-48B9-AECB-D71D0A038455}"/>
                  </a:ext>
                </a:extLst>
              </p:cNvPr>
              <p:cNvCxnSpPr/>
              <p:nvPr/>
            </p:nvCxnSpPr>
            <p:spPr>
              <a:xfrm rot="10800000">
                <a:off x="4504127" y="1764851"/>
                <a:ext cx="128588"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42" name="Google Shape;3992;p26">
                <a:extLst>
                  <a:ext uri="{FF2B5EF4-FFF2-40B4-BE49-F238E27FC236}">
                    <a16:creationId xmlns:a16="http://schemas.microsoft.com/office/drawing/2014/main" id="{3A60244C-0685-4542-A93C-3BA716ADC32A}"/>
                  </a:ext>
                </a:extLst>
              </p:cNvPr>
              <p:cNvCxnSpPr/>
              <p:nvPr/>
            </p:nvCxnSpPr>
            <p:spPr>
              <a:xfrm>
                <a:off x="4546990" y="1703109"/>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43" name="Google Shape;3993;p26">
                <a:extLst>
                  <a:ext uri="{FF2B5EF4-FFF2-40B4-BE49-F238E27FC236}">
                    <a16:creationId xmlns:a16="http://schemas.microsoft.com/office/drawing/2014/main" id="{913C53BA-4F65-4DD3-887B-845CF8A77A48}"/>
                  </a:ext>
                </a:extLst>
              </p:cNvPr>
              <p:cNvCxnSpPr/>
              <p:nvPr/>
            </p:nvCxnSpPr>
            <p:spPr>
              <a:xfrm rot="10800000">
                <a:off x="4483490" y="1764851"/>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44" name="Google Shape;3994;p26">
                <a:extLst>
                  <a:ext uri="{FF2B5EF4-FFF2-40B4-BE49-F238E27FC236}">
                    <a16:creationId xmlns:a16="http://schemas.microsoft.com/office/drawing/2014/main" id="{74A19172-8BFE-4306-AD5C-C3ED072CAD51}"/>
                  </a:ext>
                </a:extLst>
              </p:cNvPr>
              <p:cNvCxnSpPr/>
              <p:nvPr/>
            </p:nvCxnSpPr>
            <p:spPr>
              <a:xfrm>
                <a:off x="4439040" y="1677779"/>
                <a:ext cx="0" cy="123484"/>
              </a:xfrm>
              <a:prstGeom prst="straightConnector1">
                <a:avLst/>
              </a:prstGeom>
              <a:noFill/>
              <a:ln w="19050" cap="flat" cmpd="sng">
                <a:solidFill>
                  <a:schemeClr val="accent4"/>
                </a:solidFill>
                <a:prstDash val="solid"/>
                <a:miter lim="800000"/>
                <a:headEnd type="none" w="med" len="med"/>
                <a:tailEnd type="none" w="med" len="med"/>
              </a:ln>
            </p:spPr>
          </p:cxnSp>
          <p:cxnSp>
            <p:nvCxnSpPr>
              <p:cNvPr id="245" name="Google Shape;3995;p26">
                <a:extLst>
                  <a:ext uri="{FF2B5EF4-FFF2-40B4-BE49-F238E27FC236}">
                    <a16:creationId xmlns:a16="http://schemas.microsoft.com/office/drawing/2014/main" id="{11520106-6CBD-4B2C-ACFF-EFE78AE7FB15}"/>
                  </a:ext>
                </a:extLst>
              </p:cNvPr>
              <p:cNvCxnSpPr/>
              <p:nvPr/>
            </p:nvCxnSpPr>
            <p:spPr>
              <a:xfrm rot="10800000">
                <a:off x="4375540" y="1737938"/>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46" name="Google Shape;3996;p26">
                <a:extLst>
                  <a:ext uri="{FF2B5EF4-FFF2-40B4-BE49-F238E27FC236}">
                    <a16:creationId xmlns:a16="http://schemas.microsoft.com/office/drawing/2014/main" id="{2E8E74E7-BF80-4FFC-B921-34BDCE1F0F5E}"/>
                  </a:ext>
                </a:extLst>
              </p:cNvPr>
              <p:cNvCxnSpPr/>
              <p:nvPr/>
            </p:nvCxnSpPr>
            <p:spPr>
              <a:xfrm>
                <a:off x="4621602" y="1703109"/>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47" name="Google Shape;3997;p26">
                <a:extLst>
                  <a:ext uri="{FF2B5EF4-FFF2-40B4-BE49-F238E27FC236}">
                    <a16:creationId xmlns:a16="http://schemas.microsoft.com/office/drawing/2014/main" id="{BC276FD0-E6AB-4D90-A2F7-D68630FE0F37}"/>
                  </a:ext>
                </a:extLst>
              </p:cNvPr>
              <p:cNvCxnSpPr/>
              <p:nvPr/>
            </p:nvCxnSpPr>
            <p:spPr>
              <a:xfrm rot="10800000">
                <a:off x="4558102" y="1764851"/>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48" name="Google Shape;3998;p26">
                <a:extLst>
                  <a:ext uri="{FF2B5EF4-FFF2-40B4-BE49-F238E27FC236}">
                    <a16:creationId xmlns:a16="http://schemas.microsoft.com/office/drawing/2014/main" id="{D29FCBCF-50DD-4B39-AAD3-041A142F5BE1}"/>
                  </a:ext>
                </a:extLst>
              </p:cNvPr>
              <p:cNvCxnSpPr/>
              <p:nvPr/>
            </p:nvCxnSpPr>
            <p:spPr>
              <a:xfrm>
                <a:off x="4627952" y="1703109"/>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49" name="Google Shape;3999;p26">
                <a:extLst>
                  <a:ext uri="{FF2B5EF4-FFF2-40B4-BE49-F238E27FC236}">
                    <a16:creationId xmlns:a16="http://schemas.microsoft.com/office/drawing/2014/main" id="{DFB05A9F-7E1E-4DE0-A1E7-D689E7B7D4B8}"/>
                  </a:ext>
                </a:extLst>
              </p:cNvPr>
              <p:cNvCxnSpPr/>
              <p:nvPr/>
            </p:nvCxnSpPr>
            <p:spPr>
              <a:xfrm rot="10800000">
                <a:off x="4564452" y="1764851"/>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50" name="Google Shape;4000;p26">
                <a:extLst>
                  <a:ext uri="{FF2B5EF4-FFF2-40B4-BE49-F238E27FC236}">
                    <a16:creationId xmlns:a16="http://schemas.microsoft.com/office/drawing/2014/main" id="{1B805D25-B698-4BA3-819D-073133E50240}"/>
                  </a:ext>
                </a:extLst>
              </p:cNvPr>
              <p:cNvCxnSpPr/>
              <p:nvPr/>
            </p:nvCxnSpPr>
            <p:spPr>
              <a:xfrm>
                <a:off x="4635890" y="1703109"/>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51" name="Google Shape;4001;p26">
                <a:extLst>
                  <a:ext uri="{FF2B5EF4-FFF2-40B4-BE49-F238E27FC236}">
                    <a16:creationId xmlns:a16="http://schemas.microsoft.com/office/drawing/2014/main" id="{1175704B-788B-47A0-B00F-2A0ECB0C920F}"/>
                  </a:ext>
                </a:extLst>
              </p:cNvPr>
              <p:cNvCxnSpPr/>
              <p:nvPr/>
            </p:nvCxnSpPr>
            <p:spPr>
              <a:xfrm rot="10800000">
                <a:off x="4572390" y="1764851"/>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52" name="Google Shape;4002;p26">
                <a:extLst>
                  <a:ext uri="{FF2B5EF4-FFF2-40B4-BE49-F238E27FC236}">
                    <a16:creationId xmlns:a16="http://schemas.microsoft.com/office/drawing/2014/main" id="{424F6300-0C3D-4F5F-8D59-2B9209A3B2DD}"/>
                  </a:ext>
                </a:extLst>
              </p:cNvPr>
              <p:cNvCxnSpPr/>
              <p:nvPr/>
            </p:nvCxnSpPr>
            <p:spPr>
              <a:xfrm>
                <a:off x="4642240" y="1703109"/>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53" name="Google Shape;4003;p26">
                <a:extLst>
                  <a:ext uri="{FF2B5EF4-FFF2-40B4-BE49-F238E27FC236}">
                    <a16:creationId xmlns:a16="http://schemas.microsoft.com/office/drawing/2014/main" id="{3A9CEBBD-3998-489B-93D4-0866F6C5FADE}"/>
                  </a:ext>
                </a:extLst>
              </p:cNvPr>
              <p:cNvCxnSpPr/>
              <p:nvPr/>
            </p:nvCxnSpPr>
            <p:spPr>
              <a:xfrm rot="10800000">
                <a:off x="4581915" y="1764851"/>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54" name="Google Shape;4004;p26">
                <a:extLst>
                  <a:ext uri="{FF2B5EF4-FFF2-40B4-BE49-F238E27FC236}">
                    <a16:creationId xmlns:a16="http://schemas.microsoft.com/office/drawing/2014/main" id="{F6198E85-EA5F-42FE-98A7-D4F06DDCBDAF}"/>
                  </a:ext>
                </a:extLst>
              </p:cNvPr>
              <p:cNvCxnSpPr/>
              <p:nvPr/>
            </p:nvCxnSpPr>
            <p:spPr>
              <a:xfrm>
                <a:off x="4651765" y="1703109"/>
                <a:ext cx="0" cy="125067"/>
              </a:xfrm>
              <a:prstGeom prst="straightConnector1">
                <a:avLst/>
              </a:prstGeom>
              <a:noFill/>
              <a:ln w="19050" cap="flat" cmpd="sng">
                <a:solidFill>
                  <a:schemeClr val="accent4"/>
                </a:solidFill>
                <a:prstDash val="solid"/>
                <a:miter lim="800000"/>
                <a:headEnd type="none" w="med" len="med"/>
                <a:tailEnd type="none" w="med" len="med"/>
              </a:ln>
            </p:spPr>
          </p:cxnSp>
          <p:cxnSp>
            <p:nvCxnSpPr>
              <p:cNvPr id="255" name="Google Shape;4005;p26">
                <a:extLst>
                  <a:ext uri="{FF2B5EF4-FFF2-40B4-BE49-F238E27FC236}">
                    <a16:creationId xmlns:a16="http://schemas.microsoft.com/office/drawing/2014/main" id="{4E747050-DE0F-49ED-BA65-42D6C7882460}"/>
                  </a:ext>
                </a:extLst>
              </p:cNvPr>
              <p:cNvCxnSpPr/>
              <p:nvPr/>
            </p:nvCxnSpPr>
            <p:spPr>
              <a:xfrm rot="10800000">
                <a:off x="4588265" y="1764851"/>
                <a:ext cx="127000"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56" name="Google Shape;4006;p26">
                <a:extLst>
                  <a:ext uri="{FF2B5EF4-FFF2-40B4-BE49-F238E27FC236}">
                    <a16:creationId xmlns:a16="http://schemas.microsoft.com/office/drawing/2014/main" id="{5F36ACD2-9518-4C41-A11A-067BD8B526DD}"/>
                  </a:ext>
                </a:extLst>
              </p:cNvPr>
              <p:cNvCxnSpPr/>
              <p:nvPr/>
            </p:nvCxnSpPr>
            <p:spPr>
              <a:xfrm>
                <a:off x="4686690" y="1715774"/>
                <a:ext cx="0" cy="128234"/>
              </a:xfrm>
              <a:prstGeom prst="straightConnector1">
                <a:avLst/>
              </a:prstGeom>
              <a:noFill/>
              <a:ln w="19050" cap="flat" cmpd="sng">
                <a:solidFill>
                  <a:schemeClr val="accent4"/>
                </a:solidFill>
                <a:prstDash val="solid"/>
                <a:miter lim="800000"/>
                <a:headEnd type="none" w="med" len="med"/>
                <a:tailEnd type="none" w="med" len="med"/>
              </a:ln>
            </p:spPr>
          </p:cxnSp>
          <p:cxnSp>
            <p:nvCxnSpPr>
              <p:cNvPr id="257" name="Google Shape;4007;p26">
                <a:extLst>
                  <a:ext uri="{FF2B5EF4-FFF2-40B4-BE49-F238E27FC236}">
                    <a16:creationId xmlns:a16="http://schemas.microsoft.com/office/drawing/2014/main" id="{CAA0036E-CCF9-4FC1-9BFF-2CEB72E901A0}"/>
                  </a:ext>
                </a:extLst>
              </p:cNvPr>
              <p:cNvCxnSpPr/>
              <p:nvPr/>
            </p:nvCxnSpPr>
            <p:spPr>
              <a:xfrm rot="10800000">
                <a:off x="4623190" y="1780682"/>
                <a:ext cx="125413"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58" name="Google Shape;4008;p26">
                <a:extLst>
                  <a:ext uri="{FF2B5EF4-FFF2-40B4-BE49-F238E27FC236}">
                    <a16:creationId xmlns:a16="http://schemas.microsoft.com/office/drawing/2014/main" id="{C8FE279F-1F21-4641-9F81-9200D4463682}"/>
                  </a:ext>
                </a:extLst>
              </p:cNvPr>
              <p:cNvCxnSpPr/>
              <p:nvPr/>
            </p:nvCxnSpPr>
            <p:spPr>
              <a:xfrm>
                <a:off x="4693040" y="1715774"/>
                <a:ext cx="0" cy="128234"/>
              </a:xfrm>
              <a:prstGeom prst="straightConnector1">
                <a:avLst/>
              </a:prstGeom>
              <a:noFill/>
              <a:ln w="19050" cap="flat" cmpd="sng">
                <a:solidFill>
                  <a:schemeClr val="accent4"/>
                </a:solidFill>
                <a:prstDash val="solid"/>
                <a:miter lim="800000"/>
                <a:headEnd type="none" w="med" len="med"/>
                <a:tailEnd type="none" w="med" len="med"/>
              </a:ln>
            </p:spPr>
          </p:cxnSp>
          <p:cxnSp>
            <p:nvCxnSpPr>
              <p:cNvPr id="259" name="Google Shape;4009;p26">
                <a:extLst>
                  <a:ext uri="{FF2B5EF4-FFF2-40B4-BE49-F238E27FC236}">
                    <a16:creationId xmlns:a16="http://schemas.microsoft.com/office/drawing/2014/main" id="{878FDAD2-F2CE-4C23-8A93-13689D59032C}"/>
                  </a:ext>
                </a:extLst>
              </p:cNvPr>
              <p:cNvCxnSpPr/>
              <p:nvPr/>
            </p:nvCxnSpPr>
            <p:spPr>
              <a:xfrm rot="10800000">
                <a:off x="4632715" y="1780682"/>
                <a:ext cx="123825"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260" name="Google Shape;4010;p26">
                <a:extLst>
                  <a:ext uri="{FF2B5EF4-FFF2-40B4-BE49-F238E27FC236}">
                    <a16:creationId xmlns:a16="http://schemas.microsoft.com/office/drawing/2014/main" id="{889C162B-8077-4E41-A7FF-8ABFDCBC3868}"/>
                  </a:ext>
                </a:extLst>
              </p:cNvPr>
              <p:cNvCxnSpPr/>
              <p:nvPr/>
            </p:nvCxnSpPr>
            <p:spPr>
              <a:xfrm>
                <a:off x="4353315" y="1677779"/>
                <a:ext cx="0" cy="123484"/>
              </a:xfrm>
              <a:prstGeom prst="straightConnector1">
                <a:avLst/>
              </a:prstGeom>
              <a:noFill/>
              <a:ln w="19050" cap="flat" cmpd="sng">
                <a:solidFill>
                  <a:schemeClr val="accent4"/>
                </a:solidFill>
                <a:prstDash val="solid"/>
                <a:miter lim="800000"/>
                <a:headEnd type="none" w="med" len="med"/>
                <a:tailEnd type="none" w="med" len="med"/>
              </a:ln>
            </p:spPr>
          </p:cxnSp>
        </p:grpSp>
        <p:cxnSp>
          <p:nvCxnSpPr>
            <p:cNvPr id="55" name="Google Shape;4038;p26">
              <a:extLst>
                <a:ext uri="{FF2B5EF4-FFF2-40B4-BE49-F238E27FC236}">
                  <a16:creationId xmlns:a16="http://schemas.microsoft.com/office/drawing/2014/main" id="{47FA3A99-CE01-4E24-8074-CFB7AE5E3A45}"/>
                </a:ext>
              </a:extLst>
            </p:cNvPr>
            <p:cNvCxnSpPr/>
            <p:nvPr/>
          </p:nvCxnSpPr>
          <p:spPr>
            <a:xfrm>
              <a:off x="9032625" y="-1672126"/>
              <a:ext cx="0" cy="109631"/>
            </a:xfrm>
            <a:prstGeom prst="straightConnector1">
              <a:avLst/>
            </a:prstGeom>
            <a:noFill/>
            <a:ln w="19050" cap="flat" cmpd="sng">
              <a:solidFill>
                <a:schemeClr val="accent4"/>
              </a:solidFill>
              <a:prstDash val="solid"/>
              <a:miter lim="800000"/>
              <a:headEnd type="none" w="med" len="med"/>
              <a:tailEnd type="none" w="med" len="med"/>
            </a:ln>
          </p:spPr>
        </p:cxnSp>
        <p:cxnSp>
          <p:nvCxnSpPr>
            <p:cNvPr id="56" name="Google Shape;4039;p26">
              <a:extLst>
                <a:ext uri="{FF2B5EF4-FFF2-40B4-BE49-F238E27FC236}">
                  <a16:creationId xmlns:a16="http://schemas.microsoft.com/office/drawing/2014/main" id="{DE040D83-C8E9-4112-AB82-82586E67E3CD}"/>
                </a:ext>
              </a:extLst>
            </p:cNvPr>
            <p:cNvCxnSpPr/>
            <p:nvPr/>
          </p:nvCxnSpPr>
          <p:spPr>
            <a:xfrm rot="10800000">
              <a:off x="8969125" y="-1615230"/>
              <a:ext cx="125411"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57" name="Google Shape;4054;p26">
              <a:extLst>
                <a:ext uri="{FF2B5EF4-FFF2-40B4-BE49-F238E27FC236}">
                  <a16:creationId xmlns:a16="http://schemas.microsoft.com/office/drawing/2014/main" id="{44FA90BE-7D80-49E7-ABAC-2F7C6F1C0342}"/>
                </a:ext>
              </a:extLst>
            </p:cNvPr>
            <p:cNvCxnSpPr/>
            <p:nvPr/>
          </p:nvCxnSpPr>
          <p:spPr>
            <a:xfrm>
              <a:off x="13580812" y="306781"/>
              <a:ext cx="0" cy="109631"/>
            </a:xfrm>
            <a:prstGeom prst="straightConnector1">
              <a:avLst/>
            </a:prstGeom>
            <a:noFill/>
            <a:ln w="19050" cap="flat" cmpd="sng">
              <a:solidFill>
                <a:schemeClr val="accent4"/>
              </a:solidFill>
              <a:prstDash val="solid"/>
              <a:miter lim="800000"/>
              <a:headEnd type="none" w="med" len="med"/>
              <a:tailEnd type="none" w="med" len="med"/>
            </a:ln>
          </p:spPr>
        </p:cxnSp>
        <p:cxnSp>
          <p:nvCxnSpPr>
            <p:cNvPr id="58" name="Google Shape;4055;p26">
              <a:extLst>
                <a:ext uri="{FF2B5EF4-FFF2-40B4-BE49-F238E27FC236}">
                  <a16:creationId xmlns:a16="http://schemas.microsoft.com/office/drawing/2014/main" id="{D03351CA-9EBF-4231-A5C4-4937A3E4EE72}"/>
                </a:ext>
              </a:extLst>
            </p:cNvPr>
            <p:cNvCxnSpPr/>
            <p:nvPr/>
          </p:nvCxnSpPr>
          <p:spPr>
            <a:xfrm rot="10800000">
              <a:off x="13517311" y="362291"/>
              <a:ext cx="127001" cy="0"/>
            </a:xfrm>
            <a:prstGeom prst="straightConnector1">
              <a:avLst/>
            </a:prstGeom>
            <a:noFill/>
            <a:ln w="19050" cap="flat" cmpd="sng">
              <a:solidFill>
                <a:schemeClr val="accent4"/>
              </a:solidFill>
              <a:prstDash val="solid"/>
              <a:miter lim="800000"/>
              <a:headEnd type="none" w="med" len="med"/>
              <a:tailEnd type="none" w="med" len="med"/>
            </a:ln>
          </p:spPr>
        </p:cxnSp>
        <p:cxnSp>
          <p:nvCxnSpPr>
            <p:cNvPr id="59" name="Google Shape;4056;p26">
              <a:extLst>
                <a:ext uri="{FF2B5EF4-FFF2-40B4-BE49-F238E27FC236}">
                  <a16:creationId xmlns:a16="http://schemas.microsoft.com/office/drawing/2014/main" id="{3FC1DE40-F2FF-422F-BF20-4BB2F7996548}"/>
                </a:ext>
              </a:extLst>
            </p:cNvPr>
            <p:cNvCxnSpPr/>
            <p:nvPr/>
          </p:nvCxnSpPr>
          <p:spPr>
            <a:xfrm>
              <a:off x="13572875" y="306781"/>
              <a:ext cx="0" cy="109631"/>
            </a:xfrm>
            <a:prstGeom prst="straightConnector1">
              <a:avLst/>
            </a:prstGeom>
            <a:noFill/>
            <a:ln w="19050" cap="flat" cmpd="sng">
              <a:solidFill>
                <a:schemeClr val="accent4"/>
              </a:solidFill>
              <a:prstDash val="solid"/>
              <a:miter lim="800000"/>
              <a:headEnd type="none" w="med" len="med"/>
              <a:tailEnd type="none" w="med" len="med"/>
            </a:ln>
          </p:spPr>
        </p:cxnSp>
        <p:cxnSp>
          <p:nvCxnSpPr>
            <p:cNvPr id="60" name="Google Shape;4057;p26">
              <a:extLst>
                <a:ext uri="{FF2B5EF4-FFF2-40B4-BE49-F238E27FC236}">
                  <a16:creationId xmlns:a16="http://schemas.microsoft.com/office/drawing/2014/main" id="{4B4BC44D-4A63-4034-9F9C-7262B145FE9F}"/>
                </a:ext>
              </a:extLst>
            </p:cNvPr>
            <p:cNvCxnSpPr/>
            <p:nvPr/>
          </p:nvCxnSpPr>
          <p:spPr>
            <a:xfrm rot="10800000">
              <a:off x="13509374" y="362291"/>
              <a:ext cx="127001" cy="0"/>
            </a:xfrm>
            <a:prstGeom prst="straightConnector1">
              <a:avLst/>
            </a:prstGeom>
            <a:noFill/>
            <a:ln w="19050" cap="flat" cmpd="sng">
              <a:solidFill>
                <a:schemeClr val="accent4"/>
              </a:solidFill>
              <a:prstDash val="solid"/>
              <a:miter lim="800000"/>
              <a:headEnd type="none" w="med" len="med"/>
              <a:tailEnd type="none" w="med" len="med"/>
            </a:ln>
          </p:spPr>
        </p:cxnSp>
      </p:grpSp>
      <p:grpSp>
        <p:nvGrpSpPr>
          <p:cNvPr id="261" name="Group 260">
            <a:extLst>
              <a:ext uri="{FF2B5EF4-FFF2-40B4-BE49-F238E27FC236}">
                <a16:creationId xmlns:a16="http://schemas.microsoft.com/office/drawing/2014/main" id="{8BED83F9-BEF7-4D3C-847F-EE024D911403}"/>
              </a:ext>
            </a:extLst>
          </p:cNvPr>
          <p:cNvGrpSpPr/>
          <p:nvPr/>
        </p:nvGrpSpPr>
        <p:grpSpPr>
          <a:xfrm>
            <a:off x="3022394" y="1556214"/>
            <a:ext cx="4515004" cy="1597642"/>
            <a:chOff x="9024687" y="-1672126"/>
            <a:chExt cx="5673725" cy="2824036"/>
          </a:xfrm>
        </p:grpSpPr>
        <p:sp>
          <p:nvSpPr>
            <p:cNvPr id="262" name="Google Shape;4030;p26">
              <a:extLst>
                <a:ext uri="{FF2B5EF4-FFF2-40B4-BE49-F238E27FC236}">
                  <a16:creationId xmlns:a16="http://schemas.microsoft.com/office/drawing/2014/main" id="{CA605CEA-45F9-4648-9705-FB0DDB7A9B7C}"/>
                </a:ext>
              </a:extLst>
            </p:cNvPr>
            <p:cNvSpPr/>
            <p:nvPr/>
          </p:nvSpPr>
          <p:spPr>
            <a:xfrm>
              <a:off x="9024687" y="-1612454"/>
              <a:ext cx="5673725" cy="2764364"/>
            </a:xfrm>
            <a:custGeom>
              <a:avLst/>
              <a:gdLst/>
              <a:ahLst/>
              <a:cxnLst/>
              <a:rect l="l" t="t" r="r" b="b"/>
              <a:pathLst>
                <a:path w="3574" h="1992" extrusionOk="0">
                  <a:moveTo>
                    <a:pt x="0" y="0"/>
                  </a:moveTo>
                  <a:lnTo>
                    <a:pt x="522" y="0"/>
                  </a:lnTo>
                  <a:lnTo>
                    <a:pt x="522" y="50"/>
                  </a:lnTo>
                  <a:lnTo>
                    <a:pt x="562" y="50"/>
                  </a:lnTo>
                  <a:lnTo>
                    <a:pt x="562" y="83"/>
                  </a:lnTo>
                  <a:lnTo>
                    <a:pt x="606" y="83"/>
                  </a:lnTo>
                  <a:lnTo>
                    <a:pt x="606" y="96"/>
                  </a:lnTo>
                  <a:lnTo>
                    <a:pt x="654" y="96"/>
                  </a:lnTo>
                  <a:lnTo>
                    <a:pt x="654" y="125"/>
                  </a:lnTo>
                  <a:lnTo>
                    <a:pt x="770" y="125"/>
                  </a:lnTo>
                  <a:lnTo>
                    <a:pt x="770" y="144"/>
                  </a:lnTo>
                  <a:lnTo>
                    <a:pt x="856" y="144"/>
                  </a:lnTo>
                  <a:lnTo>
                    <a:pt x="856" y="155"/>
                  </a:lnTo>
                  <a:lnTo>
                    <a:pt x="864" y="155"/>
                  </a:lnTo>
                  <a:lnTo>
                    <a:pt x="864" y="173"/>
                  </a:lnTo>
                  <a:lnTo>
                    <a:pt x="878" y="173"/>
                  </a:lnTo>
                  <a:lnTo>
                    <a:pt x="878" y="223"/>
                  </a:lnTo>
                  <a:lnTo>
                    <a:pt x="1004" y="223"/>
                  </a:lnTo>
                  <a:lnTo>
                    <a:pt x="1004" y="247"/>
                  </a:lnTo>
                  <a:lnTo>
                    <a:pt x="1183" y="247"/>
                  </a:lnTo>
                  <a:lnTo>
                    <a:pt x="1183" y="287"/>
                  </a:lnTo>
                  <a:lnTo>
                    <a:pt x="1193" y="287"/>
                  </a:lnTo>
                  <a:lnTo>
                    <a:pt x="1193" y="356"/>
                  </a:lnTo>
                  <a:lnTo>
                    <a:pt x="1211" y="356"/>
                  </a:lnTo>
                  <a:lnTo>
                    <a:pt x="1211" y="387"/>
                  </a:lnTo>
                  <a:lnTo>
                    <a:pt x="1234" y="387"/>
                  </a:lnTo>
                  <a:lnTo>
                    <a:pt x="1234" y="410"/>
                  </a:lnTo>
                  <a:lnTo>
                    <a:pt x="1472" y="410"/>
                  </a:lnTo>
                  <a:lnTo>
                    <a:pt x="1472" y="448"/>
                  </a:lnTo>
                  <a:lnTo>
                    <a:pt x="1527" y="448"/>
                  </a:lnTo>
                  <a:lnTo>
                    <a:pt x="1527" y="477"/>
                  </a:lnTo>
                  <a:lnTo>
                    <a:pt x="1695" y="477"/>
                  </a:lnTo>
                  <a:lnTo>
                    <a:pt x="1695" y="506"/>
                  </a:lnTo>
                  <a:lnTo>
                    <a:pt x="1713" y="506"/>
                  </a:lnTo>
                  <a:lnTo>
                    <a:pt x="1713" y="543"/>
                  </a:lnTo>
                  <a:lnTo>
                    <a:pt x="1845" y="543"/>
                  </a:lnTo>
                  <a:lnTo>
                    <a:pt x="1845" y="577"/>
                  </a:lnTo>
                  <a:lnTo>
                    <a:pt x="1992" y="577"/>
                  </a:lnTo>
                  <a:lnTo>
                    <a:pt x="1992" y="660"/>
                  </a:lnTo>
                  <a:lnTo>
                    <a:pt x="2034" y="660"/>
                  </a:lnTo>
                  <a:lnTo>
                    <a:pt x="2034" y="709"/>
                  </a:lnTo>
                  <a:lnTo>
                    <a:pt x="2130" y="709"/>
                  </a:lnTo>
                  <a:lnTo>
                    <a:pt x="2130" y="764"/>
                  </a:lnTo>
                  <a:lnTo>
                    <a:pt x="2140" y="764"/>
                  </a:lnTo>
                  <a:lnTo>
                    <a:pt x="2140" y="818"/>
                  </a:lnTo>
                  <a:lnTo>
                    <a:pt x="2271" y="818"/>
                  </a:lnTo>
                  <a:lnTo>
                    <a:pt x="2271" y="950"/>
                  </a:lnTo>
                  <a:lnTo>
                    <a:pt x="2462" y="950"/>
                  </a:lnTo>
                  <a:lnTo>
                    <a:pt x="2462" y="1020"/>
                  </a:lnTo>
                  <a:lnTo>
                    <a:pt x="2543" y="1020"/>
                  </a:lnTo>
                  <a:lnTo>
                    <a:pt x="2543" y="1093"/>
                  </a:lnTo>
                  <a:lnTo>
                    <a:pt x="3574" y="1093"/>
                  </a:lnTo>
                  <a:lnTo>
                    <a:pt x="3574" y="1992"/>
                  </a:lnTo>
                </a:path>
              </a:pathLst>
            </a:custGeom>
            <a:noFill/>
            <a:ln w="19050" cap="flat" cmpd="sng">
              <a:solidFill>
                <a:schemeClr val="tx1"/>
              </a:solidFill>
              <a:prstDash val="solid"/>
              <a:miter lim="800000"/>
              <a:headEnd type="none" w="med" len="med"/>
              <a:tailEnd type="none" w="med" len="med"/>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545859"/>
                </a:solidFill>
                <a:effectLst/>
                <a:uLnTx/>
                <a:uFillTx/>
                <a:latin typeface="Arial"/>
                <a:ea typeface="Arial"/>
                <a:cs typeface="Arial"/>
                <a:sym typeface="Arial"/>
              </a:endParaRPr>
            </a:p>
          </p:txBody>
        </p:sp>
        <p:cxnSp>
          <p:nvCxnSpPr>
            <p:cNvPr id="263" name="Google Shape;4031;p26">
              <a:extLst>
                <a:ext uri="{FF2B5EF4-FFF2-40B4-BE49-F238E27FC236}">
                  <a16:creationId xmlns:a16="http://schemas.microsoft.com/office/drawing/2014/main" id="{69B81875-D15C-4E22-B4D4-1B18F3D2522E}"/>
                </a:ext>
              </a:extLst>
            </p:cNvPr>
            <p:cNvCxnSpPr/>
            <p:nvPr/>
          </p:nvCxnSpPr>
          <p:spPr>
            <a:xfrm rot="10800000">
              <a:off x="9480299" y="-1552782"/>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264" name="Google Shape;4032;p26">
              <a:extLst>
                <a:ext uri="{FF2B5EF4-FFF2-40B4-BE49-F238E27FC236}">
                  <a16:creationId xmlns:a16="http://schemas.microsoft.com/office/drawing/2014/main" id="{A60D1395-9A68-43D8-AECD-0CCD5660C365}"/>
                </a:ext>
              </a:extLst>
            </p:cNvPr>
            <p:cNvCxnSpPr/>
            <p:nvPr/>
          </p:nvCxnSpPr>
          <p:spPr>
            <a:xfrm>
              <a:off x="9480299" y="-1605515"/>
              <a:ext cx="0" cy="108242"/>
            </a:xfrm>
            <a:prstGeom prst="straightConnector1">
              <a:avLst/>
            </a:prstGeom>
            <a:noFill/>
            <a:ln w="19050" cap="flat" cmpd="sng">
              <a:solidFill>
                <a:schemeClr val="tx1"/>
              </a:solidFill>
              <a:prstDash val="solid"/>
              <a:miter lim="800000"/>
              <a:headEnd type="none" w="med" len="med"/>
              <a:tailEnd type="none" w="med" len="med"/>
            </a:ln>
          </p:spPr>
        </p:cxnSp>
        <p:cxnSp>
          <p:nvCxnSpPr>
            <p:cNvPr id="265" name="Google Shape;4033;p26">
              <a:extLst>
                <a:ext uri="{FF2B5EF4-FFF2-40B4-BE49-F238E27FC236}">
                  <a16:creationId xmlns:a16="http://schemas.microsoft.com/office/drawing/2014/main" id="{E919E8AF-6FF2-4428-A98B-4EA9443CA8BF}"/>
                </a:ext>
              </a:extLst>
            </p:cNvPr>
            <p:cNvCxnSpPr/>
            <p:nvPr/>
          </p:nvCxnSpPr>
          <p:spPr>
            <a:xfrm rot="10800000">
              <a:off x="9416801" y="-1552782"/>
              <a:ext cx="127001" cy="0"/>
            </a:xfrm>
            <a:prstGeom prst="straightConnector1">
              <a:avLst/>
            </a:prstGeom>
            <a:noFill/>
            <a:ln w="19050" cap="flat" cmpd="sng">
              <a:solidFill>
                <a:schemeClr val="tx1"/>
              </a:solidFill>
              <a:prstDash val="solid"/>
              <a:miter lim="800000"/>
              <a:headEnd type="none" w="med" len="med"/>
              <a:tailEnd type="none" w="med" len="med"/>
            </a:ln>
          </p:spPr>
        </p:cxnSp>
        <p:cxnSp>
          <p:nvCxnSpPr>
            <p:cNvPr id="266" name="Google Shape;4034;p26">
              <a:extLst>
                <a:ext uri="{FF2B5EF4-FFF2-40B4-BE49-F238E27FC236}">
                  <a16:creationId xmlns:a16="http://schemas.microsoft.com/office/drawing/2014/main" id="{1754EF67-AE66-46D1-8A70-740DB35EF6AE}"/>
                </a:ext>
              </a:extLst>
            </p:cNvPr>
            <p:cNvCxnSpPr/>
            <p:nvPr/>
          </p:nvCxnSpPr>
          <p:spPr>
            <a:xfrm>
              <a:off x="9397750" y="-1672126"/>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267" name="Google Shape;4035;p26">
              <a:extLst>
                <a:ext uri="{FF2B5EF4-FFF2-40B4-BE49-F238E27FC236}">
                  <a16:creationId xmlns:a16="http://schemas.microsoft.com/office/drawing/2014/main" id="{2FA32640-BCFB-455C-BA32-63F2B64E3EE5}"/>
                </a:ext>
              </a:extLst>
            </p:cNvPr>
            <p:cNvCxnSpPr/>
            <p:nvPr/>
          </p:nvCxnSpPr>
          <p:spPr>
            <a:xfrm rot="10800000">
              <a:off x="9334251" y="-1615230"/>
              <a:ext cx="123825" cy="0"/>
            </a:xfrm>
            <a:prstGeom prst="straightConnector1">
              <a:avLst/>
            </a:prstGeom>
            <a:noFill/>
            <a:ln w="19050" cap="flat" cmpd="sng">
              <a:solidFill>
                <a:schemeClr val="tx1"/>
              </a:solidFill>
              <a:prstDash val="solid"/>
              <a:miter lim="800000"/>
              <a:headEnd type="none" w="med" len="med"/>
              <a:tailEnd type="none" w="med" len="med"/>
            </a:ln>
          </p:spPr>
        </p:cxnSp>
        <p:cxnSp>
          <p:nvCxnSpPr>
            <p:cNvPr id="268" name="Google Shape;4036;p26">
              <a:extLst>
                <a:ext uri="{FF2B5EF4-FFF2-40B4-BE49-F238E27FC236}">
                  <a16:creationId xmlns:a16="http://schemas.microsoft.com/office/drawing/2014/main" id="{39F5561C-745A-4614-BA44-4364CDB7673B}"/>
                </a:ext>
              </a:extLst>
            </p:cNvPr>
            <p:cNvCxnSpPr/>
            <p:nvPr/>
          </p:nvCxnSpPr>
          <p:spPr>
            <a:xfrm>
              <a:off x="9319962" y="-1672126"/>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269" name="Google Shape;4037;p26">
              <a:extLst>
                <a:ext uri="{FF2B5EF4-FFF2-40B4-BE49-F238E27FC236}">
                  <a16:creationId xmlns:a16="http://schemas.microsoft.com/office/drawing/2014/main" id="{4E5E598E-1DD6-4891-AB1C-11A79218FE81}"/>
                </a:ext>
              </a:extLst>
            </p:cNvPr>
            <p:cNvCxnSpPr/>
            <p:nvPr/>
          </p:nvCxnSpPr>
          <p:spPr>
            <a:xfrm rot="10800000">
              <a:off x="9259638" y="-1615230"/>
              <a:ext cx="123825" cy="0"/>
            </a:xfrm>
            <a:prstGeom prst="straightConnector1">
              <a:avLst/>
            </a:prstGeom>
            <a:noFill/>
            <a:ln w="19050" cap="flat" cmpd="sng">
              <a:solidFill>
                <a:schemeClr val="tx1"/>
              </a:solidFill>
              <a:prstDash val="solid"/>
              <a:miter lim="800000"/>
              <a:headEnd type="none" w="med" len="med"/>
              <a:tailEnd type="none" w="med" len="med"/>
            </a:ln>
          </p:spPr>
        </p:cxnSp>
        <p:cxnSp>
          <p:nvCxnSpPr>
            <p:cNvPr id="270" name="Google Shape;4040;p26">
              <a:extLst>
                <a:ext uri="{FF2B5EF4-FFF2-40B4-BE49-F238E27FC236}">
                  <a16:creationId xmlns:a16="http://schemas.microsoft.com/office/drawing/2014/main" id="{CAC86927-2F91-4F17-9D73-C6A1DD27158A}"/>
                </a:ext>
              </a:extLst>
            </p:cNvPr>
            <p:cNvCxnSpPr/>
            <p:nvPr/>
          </p:nvCxnSpPr>
          <p:spPr>
            <a:xfrm>
              <a:off x="10799512" y="-1298825"/>
              <a:ext cx="0" cy="111019"/>
            </a:xfrm>
            <a:prstGeom prst="straightConnector1">
              <a:avLst/>
            </a:prstGeom>
            <a:noFill/>
            <a:ln w="19050" cap="flat" cmpd="sng">
              <a:solidFill>
                <a:schemeClr val="tx1"/>
              </a:solidFill>
              <a:prstDash val="solid"/>
              <a:miter lim="800000"/>
              <a:headEnd type="none" w="med" len="med"/>
              <a:tailEnd type="none" w="med" len="med"/>
            </a:ln>
          </p:spPr>
        </p:cxnSp>
        <p:cxnSp>
          <p:nvCxnSpPr>
            <p:cNvPr id="271" name="Google Shape;4041;p26">
              <a:extLst>
                <a:ext uri="{FF2B5EF4-FFF2-40B4-BE49-F238E27FC236}">
                  <a16:creationId xmlns:a16="http://schemas.microsoft.com/office/drawing/2014/main" id="{E7E53C1E-1A4D-4CAD-BC5D-EE772F919AB1}"/>
                </a:ext>
              </a:extLst>
            </p:cNvPr>
            <p:cNvCxnSpPr/>
            <p:nvPr/>
          </p:nvCxnSpPr>
          <p:spPr>
            <a:xfrm rot="10800000">
              <a:off x="10736011" y="-1243315"/>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272" name="Google Shape;4042;p26">
              <a:extLst>
                <a:ext uri="{FF2B5EF4-FFF2-40B4-BE49-F238E27FC236}">
                  <a16:creationId xmlns:a16="http://schemas.microsoft.com/office/drawing/2014/main" id="{0FA74065-572C-4F7B-893D-43D880A3A27A}"/>
                </a:ext>
              </a:extLst>
            </p:cNvPr>
            <p:cNvCxnSpPr/>
            <p:nvPr/>
          </p:nvCxnSpPr>
          <p:spPr>
            <a:xfrm>
              <a:off x="10775700" y="-1309928"/>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273" name="Google Shape;4043;p26">
              <a:extLst>
                <a:ext uri="{FF2B5EF4-FFF2-40B4-BE49-F238E27FC236}">
                  <a16:creationId xmlns:a16="http://schemas.microsoft.com/office/drawing/2014/main" id="{B8213FA2-4E88-4FF9-B56B-AC4A60D64252}"/>
                </a:ext>
              </a:extLst>
            </p:cNvPr>
            <p:cNvCxnSpPr/>
            <p:nvPr/>
          </p:nvCxnSpPr>
          <p:spPr>
            <a:xfrm rot="10800000">
              <a:off x="10712199" y="-1254418"/>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274" name="Google Shape;4044;p26">
              <a:extLst>
                <a:ext uri="{FF2B5EF4-FFF2-40B4-BE49-F238E27FC236}">
                  <a16:creationId xmlns:a16="http://schemas.microsoft.com/office/drawing/2014/main" id="{3E0772FC-01C5-4403-B37E-4D57BF55FF5E}"/>
                </a:ext>
              </a:extLst>
            </p:cNvPr>
            <p:cNvCxnSpPr/>
            <p:nvPr/>
          </p:nvCxnSpPr>
          <p:spPr>
            <a:xfrm>
              <a:off x="10767761" y="-1309928"/>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275" name="Google Shape;4045;p26">
              <a:extLst>
                <a:ext uri="{FF2B5EF4-FFF2-40B4-BE49-F238E27FC236}">
                  <a16:creationId xmlns:a16="http://schemas.microsoft.com/office/drawing/2014/main" id="{0A15AB02-F797-4BCD-96BD-2156A95A04A6}"/>
                </a:ext>
              </a:extLst>
            </p:cNvPr>
            <p:cNvCxnSpPr/>
            <p:nvPr/>
          </p:nvCxnSpPr>
          <p:spPr>
            <a:xfrm rot="10800000">
              <a:off x="10704261" y="-1254418"/>
              <a:ext cx="123825" cy="0"/>
            </a:xfrm>
            <a:prstGeom prst="straightConnector1">
              <a:avLst/>
            </a:prstGeom>
            <a:noFill/>
            <a:ln w="19050" cap="flat" cmpd="sng">
              <a:solidFill>
                <a:schemeClr val="tx1"/>
              </a:solidFill>
              <a:prstDash val="solid"/>
              <a:miter lim="800000"/>
              <a:headEnd type="none" w="med" len="med"/>
              <a:tailEnd type="none" w="med" len="med"/>
            </a:ln>
          </p:spPr>
        </p:cxnSp>
        <p:cxnSp>
          <p:nvCxnSpPr>
            <p:cNvPr id="276" name="Google Shape;4046;p26">
              <a:extLst>
                <a:ext uri="{FF2B5EF4-FFF2-40B4-BE49-F238E27FC236}">
                  <a16:creationId xmlns:a16="http://schemas.microsoft.com/office/drawing/2014/main" id="{E129BC47-9623-4EDF-80EE-91B5D95835BA}"/>
                </a:ext>
              </a:extLst>
            </p:cNvPr>
            <p:cNvCxnSpPr/>
            <p:nvPr/>
          </p:nvCxnSpPr>
          <p:spPr>
            <a:xfrm>
              <a:off x="11396410" y="-1025443"/>
              <a:ext cx="0" cy="111019"/>
            </a:xfrm>
            <a:prstGeom prst="straightConnector1">
              <a:avLst/>
            </a:prstGeom>
            <a:noFill/>
            <a:ln w="19050" cap="flat" cmpd="sng">
              <a:solidFill>
                <a:schemeClr val="tx1"/>
              </a:solidFill>
              <a:prstDash val="solid"/>
              <a:miter lim="800000"/>
              <a:headEnd type="none" w="med" len="med"/>
              <a:tailEnd type="none" w="med" len="med"/>
            </a:ln>
          </p:spPr>
        </p:cxnSp>
        <p:cxnSp>
          <p:nvCxnSpPr>
            <p:cNvPr id="277" name="Google Shape;4047;p26">
              <a:extLst>
                <a:ext uri="{FF2B5EF4-FFF2-40B4-BE49-F238E27FC236}">
                  <a16:creationId xmlns:a16="http://schemas.microsoft.com/office/drawing/2014/main" id="{8414EB0E-03D6-4331-940B-80B800FBFE6A}"/>
                </a:ext>
              </a:extLst>
            </p:cNvPr>
            <p:cNvCxnSpPr/>
            <p:nvPr/>
          </p:nvCxnSpPr>
          <p:spPr>
            <a:xfrm rot="10800000">
              <a:off x="11334500" y="-969934"/>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278" name="Google Shape;4048;p26">
              <a:extLst>
                <a:ext uri="{FF2B5EF4-FFF2-40B4-BE49-F238E27FC236}">
                  <a16:creationId xmlns:a16="http://schemas.microsoft.com/office/drawing/2014/main" id="{9C2CF659-A15F-4DFB-8CF5-659E3FB71D56}"/>
                </a:ext>
              </a:extLst>
            </p:cNvPr>
            <p:cNvCxnSpPr/>
            <p:nvPr/>
          </p:nvCxnSpPr>
          <p:spPr>
            <a:xfrm>
              <a:off x="11466261" y="-950505"/>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279" name="Google Shape;4049;p26">
              <a:extLst>
                <a:ext uri="{FF2B5EF4-FFF2-40B4-BE49-F238E27FC236}">
                  <a16:creationId xmlns:a16="http://schemas.microsoft.com/office/drawing/2014/main" id="{FB8D69A5-C29D-4236-A4CE-B0C6498BAEB7}"/>
                </a:ext>
              </a:extLst>
            </p:cNvPr>
            <p:cNvCxnSpPr/>
            <p:nvPr/>
          </p:nvCxnSpPr>
          <p:spPr>
            <a:xfrm rot="10800000">
              <a:off x="11404349" y="-894996"/>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280" name="Google Shape;4050;p26">
              <a:extLst>
                <a:ext uri="{FF2B5EF4-FFF2-40B4-BE49-F238E27FC236}">
                  <a16:creationId xmlns:a16="http://schemas.microsoft.com/office/drawing/2014/main" id="{5EEC82C0-5B13-49A6-A4A9-D09CB070427E}"/>
                </a:ext>
              </a:extLst>
            </p:cNvPr>
            <p:cNvCxnSpPr/>
            <p:nvPr/>
          </p:nvCxnSpPr>
          <p:spPr>
            <a:xfrm>
              <a:off x="11466261" y="-961607"/>
              <a:ext cx="0" cy="115181"/>
            </a:xfrm>
            <a:prstGeom prst="straightConnector1">
              <a:avLst/>
            </a:prstGeom>
            <a:noFill/>
            <a:ln w="19050" cap="flat" cmpd="sng">
              <a:solidFill>
                <a:schemeClr val="tx1"/>
              </a:solidFill>
              <a:prstDash val="solid"/>
              <a:miter lim="800000"/>
              <a:headEnd type="none" w="med" len="med"/>
              <a:tailEnd type="none" w="med" len="med"/>
            </a:ln>
          </p:spPr>
        </p:cxnSp>
        <p:cxnSp>
          <p:nvCxnSpPr>
            <p:cNvPr id="281" name="Google Shape;4051;p26">
              <a:extLst>
                <a:ext uri="{FF2B5EF4-FFF2-40B4-BE49-F238E27FC236}">
                  <a16:creationId xmlns:a16="http://schemas.microsoft.com/office/drawing/2014/main" id="{6B919134-0624-4482-A385-7449FAC72097}"/>
                </a:ext>
              </a:extLst>
            </p:cNvPr>
            <p:cNvCxnSpPr/>
            <p:nvPr/>
          </p:nvCxnSpPr>
          <p:spPr>
            <a:xfrm rot="10800000">
              <a:off x="11404349" y="-904709"/>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282" name="Google Shape;4052;p26">
              <a:extLst>
                <a:ext uri="{FF2B5EF4-FFF2-40B4-BE49-F238E27FC236}">
                  <a16:creationId xmlns:a16="http://schemas.microsoft.com/office/drawing/2014/main" id="{2D395888-EA0C-4722-AD97-DA7A36EFDF0C}"/>
                </a:ext>
              </a:extLst>
            </p:cNvPr>
            <p:cNvCxnSpPr/>
            <p:nvPr/>
          </p:nvCxnSpPr>
          <p:spPr>
            <a:xfrm>
              <a:off x="12196511" y="-610511"/>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283" name="Google Shape;4053;p26">
              <a:extLst>
                <a:ext uri="{FF2B5EF4-FFF2-40B4-BE49-F238E27FC236}">
                  <a16:creationId xmlns:a16="http://schemas.microsoft.com/office/drawing/2014/main" id="{86E4B5FA-1A1E-4D19-A9C0-4E807D883681}"/>
                </a:ext>
              </a:extLst>
            </p:cNvPr>
            <p:cNvCxnSpPr/>
            <p:nvPr/>
          </p:nvCxnSpPr>
          <p:spPr>
            <a:xfrm rot="10800000">
              <a:off x="12133011" y="-555001"/>
              <a:ext cx="127001" cy="0"/>
            </a:xfrm>
            <a:prstGeom prst="straightConnector1">
              <a:avLst/>
            </a:prstGeom>
            <a:noFill/>
            <a:ln w="19050" cap="flat" cmpd="sng">
              <a:solidFill>
                <a:schemeClr val="tx1"/>
              </a:solidFill>
              <a:prstDash val="solid"/>
              <a:miter lim="800000"/>
              <a:headEnd type="none" w="med" len="med"/>
              <a:tailEnd type="none" w="med" len="med"/>
            </a:ln>
          </p:spPr>
        </p:cxnSp>
        <p:cxnSp>
          <p:nvCxnSpPr>
            <p:cNvPr id="284" name="Google Shape;4058;p26">
              <a:extLst>
                <a:ext uri="{FF2B5EF4-FFF2-40B4-BE49-F238E27FC236}">
                  <a16:creationId xmlns:a16="http://schemas.microsoft.com/office/drawing/2014/main" id="{6040BD0C-134B-45E7-A9BF-5BC127BA60E4}"/>
                </a:ext>
              </a:extLst>
            </p:cNvPr>
            <p:cNvCxnSpPr/>
            <p:nvPr/>
          </p:nvCxnSpPr>
          <p:spPr>
            <a:xfrm>
              <a:off x="14225336" y="-151171"/>
              <a:ext cx="0" cy="111019"/>
            </a:xfrm>
            <a:prstGeom prst="straightConnector1">
              <a:avLst/>
            </a:prstGeom>
            <a:noFill/>
            <a:ln w="19050" cap="flat" cmpd="sng">
              <a:solidFill>
                <a:schemeClr val="tx1"/>
              </a:solidFill>
              <a:prstDash val="solid"/>
              <a:miter lim="800000"/>
              <a:headEnd type="none" w="med" len="med"/>
              <a:tailEnd type="none" w="med" len="med"/>
            </a:ln>
          </p:spPr>
        </p:cxnSp>
        <p:cxnSp>
          <p:nvCxnSpPr>
            <p:cNvPr id="285" name="Google Shape;4059;p26">
              <a:extLst>
                <a:ext uri="{FF2B5EF4-FFF2-40B4-BE49-F238E27FC236}">
                  <a16:creationId xmlns:a16="http://schemas.microsoft.com/office/drawing/2014/main" id="{B55B8BFC-8DC2-4D25-A061-14DFC4A00E82}"/>
                </a:ext>
              </a:extLst>
            </p:cNvPr>
            <p:cNvCxnSpPr/>
            <p:nvPr/>
          </p:nvCxnSpPr>
          <p:spPr>
            <a:xfrm rot="10800000">
              <a:off x="14165010" y="-95662"/>
              <a:ext cx="123825" cy="0"/>
            </a:xfrm>
            <a:prstGeom prst="straightConnector1">
              <a:avLst/>
            </a:prstGeom>
            <a:noFill/>
            <a:ln w="19050" cap="flat" cmpd="sng">
              <a:solidFill>
                <a:schemeClr val="tx1"/>
              </a:solidFill>
              <a:prstDash val="solid"/>
              <a:miter lim="800000"/>
              <a:headEnd type="none" w="med" len="med"/>
              <a:tailEnd type="none" w="med" len="med"/>
            </a:ln>
          </p:spPr>
        </p:cxnSp>
        <p:cxnSp>
          <p:nvCxnSpPr>
            <p:cNvPr id="286" name="Google Shape;4060;p26">
              <a:extLst>
                <a:ext uri="{FF2B5EF4-FFF2-40B4-BE49-F238E27FC236}">
                  <a16:creationId xmlns:a16="http://schemas.microsoft.com/office/drawing/2014/main" id="{D4956CDF-3E7E-4258-B7E6-2462298F9D15}"/>
                </a:ext>
              </a:extLst>
            </p:cNvPr>
            <p:cNvCxnSpPr/>
            <p:nvPr/>
          </p:nvCxnSpPr>
          <p:spPr>
            <a:xfrm>
              <a:off x="14118974" y="-151171"/>
              <a:ext cx="0" cy="111019"/>
            </a:xfrm>
            <a:prstGeom prst="straightConnector1">
              <a:avLst/>
            </a:prstGeom>
            <a:noFill/>
            <a:ln w="19050" cap="flat" cmpd="sng">
              <a:solidFill>
                <a:schemeClr val="tx1"/>
              </a:solidFill>
              <a:prstDash val="solid"/>
              <a:miter lim="800000"/>
              <a:headEnd type="none" w="med" len="med"/>
              <a:tailEnd type="none" w="med" len="med"/>
            </a:ln>
          </p:spPr>
        </p:cxnSp>
        <p:cxnSp>
          <p:nvCxnSpPr>
            <p:cNvPr id="287" name="Google Shape;4061;p26">
              <a:extLst>
                <a:ext uri="{FF2B5EF4-FFF2-40B4-BE49-F238E27FC236}">
                  <a16:creationId xmlns:a16="http://schemas.microsoft.com/office/drawing/2014/main" id="{9224FFB7-245F-4C50-8AE1-4A9261B2693C}"/>
                </a:ext>
              </a:extLst>
            </p:cNvPr>
            <p:cNvCxnSpPr/>
            <p:nvPr/>
          </p:nvCxnSpPr>
          <p:spPr>
            <a:xfrm rot="10800000">
              <a:off x="14057060" y="-95662"/>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288" name="Google Shape;4062;p26">
              <a:extLst>
                <a:ext uri="{FF2B5EF4-FFF2-40B4-BE49-F238E27FC236}">
                  <a16:creationId xmlns:a16="http://schemas.microsoft.com/office/drawing/2014/main" id="{4E4974D0-12A1-40AE-9140-1A6ABCA9455D}"/>
                </a:ext>
              </a:extLst>
            </p:cNvPr>
            <p:cNvCxnSpPr/>
            <p:nvPr/>
          </p:nvCxnSpPr>
          <p:spPr>
            <a:xfrm>
              <a:off x="14076111" y="-151171"/>
              <a:ext cx="0" cy="111019"/>
            </a:xfrm>
            <a:prstGeom prst="straightConnector1">
              <a:avLst/>
            </a:prstGeom>
            <a:noFill/>
            <a:ln w="19050" cap="flat" cmpd="sng">
              <a:solidFill>
                <a:schemeClr val="tx1"/>
              </a:solidFill>
              <a:prstDash val="solid"/>
              <a:miter lim="800000"/>
              <a:headEnd type="none" w="med" len="med"/>
              <a:tailEnd type="none" w="med" len="med"/>
            </a:ln>
          </p:spPr>
        </p:cxnSp>
        <p:cxnSp>
          <p:nvCxnSpPr>
            <p:cNvPr id="289" name="Google Shape;4063;p26">
              <a:extLst>
                <a:ext uri="{FF2B5EF4-FFF2-40B4-BE49-F238E27FC236}">
                  <a16:creationId xmlns:a16="http://schemas.microsoft.com/office/drawing/2014/main" id="{21C42B99-8E91-4FFB-9342-4FB8EDA959CA}"/>
                </a:ext>
              </a:extLst>
            </p:cNvPr>
            <p:cNvCxnSpPr/>
            <p:nvPr/>
          </p:nvCxnSpPr>
          <p:spPr>
            <a:xfrm rot="10800000">
              <a:off x="14015785" y="-95662"/>
              <a:ext cx="123825" cy="0"/>
            </a:xfrm>
            <a:prstGeom prst="straightConnector1">
              <a:avLst/>
            </a:prstGeom>
            <a:noFill/>
            <a:ln w="19050" cap="flat" cmpd="sng">
              <a:solidFill>
                <a:schemeClr val="tx1"/>
              </a:solidFill>
              <a:prstDash val="solid"/>
              <a:miter lim="800000"/>
              <a:headEnd type="none" w="med" len="med"/>
              <a:tailEnd type="none" w="med" len="med"/>
            </a:ln>
          </p:spPr>
        </p:cxnSp>
        <p:cxnSp>
          <p:nvCxnSpPr>
            <p:cNvPr id="290" name="Google Shape;4064;p26">
              <a:extLst>
                <a:ext uri="{FF2B5EF4-FFF2-40B4-BE49-F238E27FC236}">
                  <a16:creationId xmlns:a16="http://schemas.microsoft.com/office/drawing/2014/main" id="{E135CABC-DBDE-463D-BC8E-5729E4A02ED4}"/>
                </a:ext>
              </a:extLst>
            </p:cNvPr>
            <p:cNvCxnSpPr/>
            <p:nvPr/>
          </p:nvCxnSpPr>
          <p:spPr>
            <a:xfrm>
              <a:off x="14057060" y="-151171"/>
              <a:ext cx="0" cy="111019"/>
            </a:xfrm>
            <a:prstGeom prst="straightConnector1">
              <a:avLst/>
            </a:prstGeom>
            <a:noFill/>
            <a:ln w="19050" cap="flat" cmpd="sng">
              <a:solidFill>
                <a:schemeClr val="tx1"/>
              </a:solidFill>
              <a:prstDash val="solid"/>
              <a:miter lim="800000"/>
              <a:headEnd type="none" w="med" len="med"/>
              <a:tailEnd type="none" w="med" len="med"/>
            </a:ln>
          </p:spPr>
        </p:cxnSp>
        <p:cxnSp>
          <p:nvCxnSpPr>
            <p:cNvPr id="291" name="Google Shape;4065;p26">
              <a:extLst>
                <a:ext uri="{FF2B5EF4-FFF2-40B4-BE49-F238E27FC236}">
                  <a16:creationId xmlns:a16="http://schemas.microsoft.com/office/drawing/2014/main" id="{ADDCBBDF-0042-4287-92F3-3FB70BF1834C}"/>
                </a:ext>
              </a:extLst>
            </p:cNvPr>
            <p:cNvCxnSpPr/>
            <p:nvPr/>
          </p:nvCxnSpPr>
          <p:spPr>
            <a:xfrm rot="10800000">
              <a:off x="13993560" y="-95662"/>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292" name="Google Shape;4066;p26">
              <a:extLst>
                <a:ext uri="{FF2B5EF4-FFF2-40B4-BE49-F238E27FC236}">
                  <a16:creationId xmlns:a16="http://schemas.microsoft.com/office/drawing/2014/main" id="{936503E2-717F-4687-AC03-F2516F1C5BAB}"/>
                </a:ext>
              </a:extLst>
            </p:cNvPr>
            <p:cNvCxnSpPr/>
            <p:nvPr/>
          </p:nvCxnSpPr>
          <p:spPr>
            <a:xfrm>
              <a:off x="13523661" y="-151171"/>
              <a:ext cx="0" cy="111019"/>
            </a:xfrm>
            <a:prstGeom prst="straightConnector1">
              <a:avLst/>
            </a:prstGeom>
            <a:noFill/>
            <a:ln w="19050" cap="flat" cmpd="sng">
              <a:solidFill>
                <a:schemeClr val="tx1"/>
              </a:solidFill>
              <a:prstDash val="solid"/>
              <a:miter lim="800000"/>
              <a:headEnd type="none" w="med" len="med"/>
              <a:tailEnd type="none" w="med" len="med"/>
            </a:ln>
          </p:spPr>
        </p:cxnSp>
        <p:cxnSp>
          <p:nvCxnSpPr>
            <p:cNvPr id="293" name="Google Shape;4067;p26">
              <a:extLst>
                <a:ext uri="{FF2B5EF4-FFF2-40B4-BE49-F238E27FC236}">
                  <a16:creationId xmlns:a16="http://schemas.microsoft.com/office/drawing/2014/main" id="{62E8D477-2B1E-4159-8D98-B58D2A5FA50C}"/>
                </a:ext>
              </a:extLst>
            </p:cNvPr>
            <p:cNvCxnSpPr/>
            <p:nvPr/>
          </p:nvCxnSpPr>
          <p:spPr>
            <a:xfrm rot="10800000">
              <a:off x="13460161" y="-95662"/>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294" name="Google Shape;4068;p26">
              <a:extLst>
                <a:ext uri="{FF2B5EF4-FFF2-40B4-BE49-F238E27FC236}">
                  <a16:creationId xmlns:a16="http://schemas.microsoft.com/office/drawing/2014/main" id="{0E6B30BF-4631-4DB1-AAA2-324A840ACFC5}"/>
                </a:ext>
              </a:extLst>
            </p:cNvPr>
            <p:cNvCxnSpPr/>
            <p:nvPr/>
          </p:nvCxnSpPr>
          <p:spPr>
            <a:xfrm>
              <a:off x="13301411" y="-151171"/>
              <a:ext cx="0" cy="111019"/>
            </a:xfrm>
            <a:prstGeom prst="straightConnector1">
              <a:avLst/>
            </a:prstGeom>
            <a:noFill/>
            <a:ln w="19050" cap="flat" cmpd="sng">
              <a:solidFill>
                <a:schemeClr val="tx1"/>
              </a:solidFill>
              <a:prstDash val="solid"/>
              <a:miter lim="800000"/>
              <a:headEnd type="none" w="med" len="med"/>
              <a:tailEnd type="none" w="med" len="med"/>
            </a:ln>
          </p:spPr>
        </p:cxnSp>
        <p:cxnSp>
          <p:nvCxnSpPr>
            <p:cNvPr id="295" name="Google Shape;4069;p26">
              <a:extLst>
                <a:ext uri="{FF2B5EF4-FFF2-40B4-BE49-F238E27FC236}">
                  <a16:creationId xmlns:a16="http://schemas.microsoft.com/office/drawing/2014/main" id="{CF893A1C-0E1A-4049-88C5-40286963C555}"/>
                </a:ext>
              </a:extLst>
            </p:cNvPr>
            <p:cNvCxnSpPr/>
            <p:nvPr/>
          </p:nvCxnSpPr>
          <p:spPr>
            <a:xfrm rot="10800000">
              <a:off x="13237909" y="-95662"/>
              <a:ext cx="123825" cy="0"/>
            </a:xfrm>
            <a:prstGeom prst="straightConnector1">
              <a:avLst/>
            </a:prstGeom>
            <a:noFill/>
            <a:ln w="19050" cap="flat" cmpd="sng">
              <a:solidFill>
                <a:schemeClr val="tx1"/>
              </a:solidFill>
              <a:prstDash val="solid"/>
              <a:miter lim="800000"/>
              <a:headEnd type="none" w="med" len="med"/>
              <a:tailEnd type="none" w="med" len="med"/>
            </a:ln>
          </p:spPr>
        </p:cxnSp>
        <p:cxnSp>
          <p:nvCxnSpPr>
            <p:cNvPr id="296" name="Google Shape;4070;p26">
              <a:extLst>
                <a:ext uri="{FF2B5EF4-FFF2-40B4-BE49-F238E27FC236}">
                  <a16:creationId xmlns:a16="http://schemas.microsoft.com/office/drawing/2014/main" id="{C662B18A-C8F0-4CE5-BBB1-398BACD87B4F}"/>
                </a:ext>
              </a:extLst>
            </p:cNvPr>
            <p:cNvCxnSpPr/>
            <p:nvPr/>
          </p:nvCxnSpPr>
          <p:spPr>
            <a:xfrm>
              <a:off x="13193459" y="-151171"/>
              <a:ext cx="0" cy="111019"/>
            </a:xfrm>
            <a:prstGeom prst="straightConnector1">
              <a:avLst/>
            </a:prstGeom>
            <a:noFill/>
            <a:ln w="19050" cap="flat" cmpd="sng">
              <a:solidFill>
                <a:schemeClr val="tx1"/>
              </a:solidFill>
              <a:prstDash val="solid"/>
              <a:miter lim="800000"/>
              <a:headEnd type="none" w="med" len="med"/>
              <a:tailEnd type="none" w="med" len="med"/>
            </a:ln>
          </p:spPr>
        </p:cxnSp>
        <p:cxnSp>
          <p:nvCxnSpPr>
            <p:cNvPr id="297" name="Google Shape;4071;p26">
              <a:extLst>
                <a:ext uri="{FF2B5EF4-FFF2-40B4-BE49-F238E27FC236}">
                  <a16:creationId xmlns:a16="http://schemas.microsoft.com/office/drawing/2014/main" id="{76763ADB-50FD-4EA3-A4DC-FC91ECDF10C9}"/>
                </a:ext>
              </a:extLst>
            </p:cNvPr>
            <p:cNvCxnSpPr/>
            <p:nvPr/>
          </p:nvCxnSpPr>
          <p:spPr>
            <a:xfrm rot="10800000">
              <a:off x="13131547" y="-95662"/>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298" name="Google Shape;4072;p26">
              <a:extLst>
                <a:ext uri="{FF2B5EF4-FFF2-40B4-BE49-F238E27FC236}">
                  <a16:creationId xmlns:a16="http://schemas.microsoft.com/office/drawing/2014/main" id="{AA630368-4F84-4AE1-A3A4-71E2A8D1E062}"/>
                </a:ext>
              </a:extLst>
            </p:cNvPr>
            <p:cNvCxnSpPr/>
            <p:nvPr/>
          </p:nvCxnSpPr>
          <p:spPr>
            <a:xfrm>
              <a:off x="13077572" y="-151171"/>
              <a:ext cx="0" cy="111019"/>
            </a:xfrm>
            <a:prstGeom prst="straightConnector1">
              <a:avLst/>
            </a:prstGeom>
            <a:noFill/>
            <a:ln w="19050" cap="flat" cmpd="sng">
              <a:solidFill>
                <a:schemeClr val="tx1"/>
              </a:solidFill>
              <a:prstDash val="solid"/>
              <a:miter lim="800000"/>
              <a:headEnd type="none" w="med" len="med"/>
              <a:tailEnd type="none" w="med" len="med"/>
            </a:ln>
          </p:spPr>
        </p:cxnSp>
        <p:cxnSp>
          <p:nvCxnSpPr>
            <p:cNvPr id="299" name="Google Shape;4073;p26">
              <a:extLst>
                <a:ext uri="{FF2B5EF4-FFF2-40B4-BE49-F238E27FC236}">
                  <a16:creationId xmlns:a16="http://schemas.microsoft.com/office/drawing/2014/main" id="{4A4CBAAE-26C2-4DE2-8C16-CFE7E8D7425C}"/>
                </a:ext>
              </a:extLst>
            </p:cNvPr>
            <p:cNvCxnSpPr/>
            <p:nvPr/>
          </p:nvCxnSpPr>
          <p:spPr>
            <a:xfrm rot="10800000">
              <a:off x="13015659" y="-95662"/>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00" name="Google Shape;4074;p26">
              <a:extLst>
                <a:ext uri="{FF2B5EF4-FFF2-40B4-BE49-F238E27FC236}">
                  <a16:creationId xmlns:a16="http://schemas.microsoft.com/office/drawing/2014/main" id="{F28FB8ED-AE7D-46D1-B1A5-6628CD716B83}"/>
                </a:ext>
              </a:extLst>
            </p:cNvPr>
            <p:cNvCxnSpPr/>
            <p:nvPr/>
          </p:nvCxnSpPr>
          <p:spPr>
            <a:xfrm>
              <a:off x="12939460" y="-252476"/>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01" name="Google Shape;4075;p26">
              <a:extLst>
                <a:ext uri="{FF2B5EF4-FFF2-40B4-BE49-F238E27FC236}">
                  <a16:creationId xmlns:a16="http://schemas.microsoft.com/office/drawing/2014/main" id="{376782CE-76D3-4AA8-BB65-BC3F99894193}"/>
                </a:ext>
              </a:extLst>
            </p:cNvPr>
            <p:cNvCxnSpPr/>
            <p:nvPr/>
          </p:nvCxnSpPr>
          <p:spPr>
            <a:xfrm rot="10800000">
              <a:off x="12875959" y="-196967"/>
              <a:ext cx="127001" cy="0"/>
            </a:xfrm>
            <a:prstGeom prst="straightConnector1">
              <a:avLst/>
            </a:prstGeom>
            <a:noFill/>
            <a:ln w="19050" cap="flat" cmpd="sng">
              <a:solidFill>
                <a:schemeClr val="tx1"/>
              </a:solidFill>
              <a:prstDash val="solid"/>
              <a:miter lim="800000"/>
              <a:headEnd type="none" w="med" len="med"/>
              <a:tailEnd type="none" w="med" len="med"/>
            </a:ln>
          </p:spPr>
        </p:cxnSp>
        <p:cxnSp>
          <p:nvCxnSpPr>
            <p:cNvPr id="302" name="Google Shape;4076;p26">
              <a:extLst>
                <a:ext uri="{FF2B5EF4-FFF2-40B4-BE49-F238E27FC236}">
                  <a16:creationId xmlns:a16="http://schemas.microsoft.com/office/drawing/2014/main" id="{F22B5603-7EB2-44CE-B870-7BA27046E51F}"/>
                </a:ext>
              </a:extLst>
            </p:cNvPr>
            <p:cNvCxnSpPr/>
            <p:nvPr/>
          </p:nvCxnSpPr>
          <p:spPr>
            <a:xfrm>
              <a:off x="12618785" y="-535573"/>
              <a:ext cx="0" cy="111019"/>
            </a:xfrm>
            <a:prstGeom prst="straightConnector1">
              <a:avLst/>
            </a:prstGeom>
            <a:noFill/>
            <a:ln w="19050" cap="flat" cmpd="sng">
              <a:solidFill>
                <a:schemeClr val="tx1"/>
              </a:solidFill>
              <a:prstDash val="solid"/>
              <a:miter lim="800000"/>
              <a:headEnd type="none" w="med" len="med"/>
              <a:tailEnd type="none" w="med" len="med"/>
            </a:ln>
          </p:spPr>
        </p:cxnSp>
        <p:cxnSp>
          <p:nvCxnSpPr>
            <p:cNvPr id="303" name="Google Shape;4077;p26">
              <a:extLst>
                <a:ext uri="{FF2B5EF4-FFF2-40B4-BE49-F238E27FC236}">
                  <a16:creationId xmlns:a16="http://schemas.microsoft.com/office/drawing/2014/main" id="{47CC69DA-D33F-447C-8299-61AE8B58E4F3}"/>
                </a:ext>
              </a:extLst>
            </p:cNvPr>
            <p:cNvCxnSpPr/>
            <p:nvPr/>
          </p:nvCxnSpPr>
          <p:spPr>
            <a:xfrm rot="10800000">
              <a:off x="12555285" y="-480063"/>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04" name="Google Shape;4078;p26">
              <a:extLst>
                <a:ext uri="{FF2B5EF4-FFF2-40B4-BE49-F238E27FC236}">
                  <a16:creationId xmlns:a16="http://schemas.microsoft.com/office/drawing/2014/main" id="{F707BD43-7DDC-4F83-8136-070CDBAECF05}"/>
                </a:ext>
              </a:extLst>
            </p:cNvPr>
            <p:cNvCxnSpPr/>
            <p:nvPr/>
          </p:nvCxnSpPr>
          <p:spPr>
            <a:xfrm>
              <a:off x="12448923" y="-535573"/>
              <a:ext cx="0" cy="111019"/>
            </a:xfrm>
            <a:prstGeom prst="straightConnector1">
              <a:avLst/>
            </a:prstGeom>
            <a:noFill/>
            <a:ln w="19050" cap="flat" cmpd="sng">
              <a:solidFill>
                <a:schemeClr val="tx1"/>
              </a:solidFill>
              <a:prstDash val="solid"/>
              <a:miter lim="800000"/>
              <a:headEnd type="none" w="med" len="med"/>
              <a:tailEnd type="none" w="med" len="med"/>
            </a:ln>
          </p:spPr>
        </p:cxnSp>
        <p:cxnSp>
          <p:nvCxnSpPr>
            <p:cNvPr id="305" name="Google Shape;4079;p26">
              <a:extLst>
                <a:ext uri="{FF2B5EF4-FFF2-40B4-BE49-F238E27FC236}">
                  <a16:creationId xmlns:a16="http://schemas.microsoft.com/office/drawing/2014/main" id="{932DABC2-9F85-4F51-B328-EE76B10A1F62}"/>
                </a:ext>
              </a:extLst>
            </p:cNvPr>
            <p:cNvCxnSpPr/>
            <p:nvPr/>
          </p:nvCxnSpPr>
          <p:spPr>
            <a:xfrm rot="10800000">
              <a:off x="12383834" y="-480063"/>
              <a:ext cx="128587" cy="0"/>
            </a:xfrm>
            <a:prstGeom prst="straightConnector1">
              <a:avLst/>
            </a:prstGeom>
            <a:noFill/>
            <a:ln w="19050" cap="flat" cmpd="sng">
              <a:solidFill>
                <a:schemeClr val="tx1"/>
              </a:solidFill>
              <a:prstDash val="solid"/>
              <a:miter lim="800000"/>
              <a:headEnd type="none" w="med" len="med"/>
              <a:tailEnd type="none" w="med" len="med"/>
            </a:ln>
          </p:spPr>
        </p:cxnSp>
        <p:cxnSp>
          <p:nvCxnSpPr>
            <p:cNvPr id="306" name="Google Shape;4080;p26">
              <a:extLst>
                <a:ext uri="{FF2B5EF4-FFF2-40B4-BE49-F238E27FC236}">
                  <a16:creationId xmlns:a16="http://schemas.microsoft.com/office/drawing/2014/main" id="{00216521-4E47-49AD-9BA9-A827AFB46A9F}"/>
                </a:ext>
              </a:extLst>
            </p:cNvPr>
            <p:cNvCxnSpPr/>
            <p:nvPr/>
          </p:nvCxnSpPr>
          <p:spPr>
            <a:xfrm>
              <a:off x="12439398" y="-535573"/>
              <a:ext cx="0" cy="111019"/>
            </a:xfrm>
            <a:prstGeom prst="straightConnector1">
              <a:avLst/>
            </a:prstGeom>
            <a:noFill/>
            <a:ln w="19050" cap="flat" cmpd="sng">
              <a:solidFill>
                <a:schemeClr val="tx1"/>
              </a:solidFill>
              <a:prstDash val="solid"/>
              <a:miter lim="800000"/>
              <a:headEnd type="none" w="med" len="med"/>
              <a:tailEnd type="none" w="med" len="med"/>
            </a:ln>
          </p:spPr>
        </p:cxnSp>
        <p:cxnSp>
          <p:nvCxnSpPr>
            <p:cNvPr id="307" name="Google Shape;4081;p26">
              <a:extLst>
                <a:ext uri="{FF2B5EF4-FFF2-40B4-BE49-F238E27FC236}">
                  <a16:creationId xmlns:a16="http://schemas.microsoft.com/office/drawing/2014/main" id="{CF655140-4F3D-4EB3-957C-7E50986F7306}"/>
                </a:ext>
              </a:extLst>
            </p:cNvPr>
            <p:cNvCxnSpPr/>
            <p:nvPr/>
          </p:nvCxnSpPr>
          <p:spPr>
            <a:xfrm rot="10800000">
              <a:off x="12375898" y="-480063"/>
              <a:ext cx="127001" cy="0"/>
            </a:xfrm>
            <a:prstGeom prst="straightConnector1">
              <a:avLst/>
            </a:prstGeom>
            <a:noFill/>
            <a:ln w="19050" cap="flat" cmpd="sng">
              <a:solidFill>
                <a:schemeClr val="tx1"/>
              </a:solidFill>
              <a:prstDash val="solid"/>
              <a:miter lim="800000"/>
              <a:headEnd type="none" w="med" len="med"/>
              <a:tailEnd type="none" w="med" len="med"/>
            </a:ln>
          </p:spPr>
        </p:cxnSp>
        <p:cxnSp>
          <p:nvCxnSpPr>
            <p:cNvPr id="308" name="Google Shape;4082;p26">
              <a:extLst>
                <a:ext uri="{FF2B5EF4-FFF2-40B4-BE49-F238E27FC236}">
                  <a16:creationId xmlns:a16="http://schemas.microsoft.com/office/drawing/2014/main" id="{EF058733-C68D-4388-94A3-76B2F039E202}"/>
                </a:ext>
              </a:extLst>
            </p:cNvPr>
            <p:cNvCxnSpPr/>
            <p:nvPr/>
          </p:nvCxnSpPr>
          <p:spPr>
            <a:xfrm>
              <a:off x="12383834" y="-684060"/>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09" name="Google Shape;4083;p26">
              <a:extLst>
                <a:ext uri="{FF2B5EF4-FFF2-40B4-BE49-F238E27FC236}">
                  <a16:creationId xmlns:a16="http://schemas.microsoft.com/office/drawing/2014/main" id="{AC6499FB-6DE8-435A-BB90-DDFF1941D056}"/>
                </a:ext>
              </a:extLst>
            </p:cNvPr>
            <p:cNvCxnSpPr/>
            <p:nvPr/>
          </p:nvCxnSpPr>
          <p:spPr>
            <a:xfrm rot="10800000">
              <a:off x="12323510" y="-628551"/>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10" name="Google Shape;4084;p26">
              <a:extLst>
                <a:ext uri="{FF2B5EF4-FFF2-40B4-BE49-F238E27FC236}">
                  <a16:creationId xmlns:a16="http://schemas.microsoft.com/office/drawing/2014/main" id="{EC1BDE8E-C828-46B3-9848-25654BCBA2FA}"/>
                </a:ext>
              </a:extLst>
            </p:cNvPr>
            <p:cNvCxnSpPr/>
            <p:nvPr/>
          </p:nvCxnSpPr>
          <p:spPr>
            <a:xfrm>
              <a:off x="12375898" y="-684060"/>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11" name="Google Shape;4085;p26">
              <a:extLst>
                <a:ext uri="{FF2B5EF4-FFF2-40B4-BE49-F238E27FC236}">
                  <a16:creationId xmlns:a16="http://schemas.microsoft.com/office/drawing/2014/main" id="{42B8D8E1-562B-4E68-9B58-C3D0F315870A}"/>
                </a:ext>
              </a:extLst>
            </p:cNvPr>
            <p:cNvCxnSpPr/>
            <p:nvPr/>
          </p:nvCxnSpPr>
          <p:spPr>
            <a:xfrm rot="10800000">
              <a:off x="12313984" y="-628551"/>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12" name="Google Shape;4086;p26">
              <a:extLst>
                <a:ext uri="{FF2B5EF4-FFF2-40B4-BE49-F238E27FC236}">
                  <a16:creationId xmlns:a16="http://schemas.microsoft.com/office/drawing/2014/main" id="{7FB62D06-628A-4607-B063-06438981F13C}"/>
                </a:ext>
              </a:extLst>
            </p:cNvPr>
            <p:cNvCxnSpPr/>
            <p:nvPr/>
          </p:nvCxnSpPr>
          <p:spPr>
            <a:xfrm>
              <a:off x="12313984" y="-684060"/>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13" name="Google Shape;4087;p26">
              <a:extLst>
                <a:ext uri="{FF2B5EF4-FFF2-40B4-BE49-F238E27FC236}">
                  <a16:creationId xmlns:a16="http://schemas.microsoft.com/office/drawing/2014/main" id="{ACAAD522-CA8C-4DD6-AA28-02A7611DDED0}"/>
                </a:ext>
              </a:extLst>
            </p:cNvPr>
            <p:cNvCxnSpPr/>
            <p:nvPr/>
          </p:nvCxnSpPr>
          <p:spPr>
            <a:xfrm rot="10800000">
              <a:off x="12250485" y="-628551"/>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14" name="Google Shape;4088;p26">
              <a:extLst>
                <a:ext uri="{FF2B5EF4-FFF2-40B4-BE49-F238E27FC236}">
                  <a16:creationId xmlns:a16="http://schemas.microsoft.com/office/drawing/2014/main" id="{D3FCBDCC-60F6-4103-B509-42C542BE8B1D}"/>
                </a:ext>
              </a:extLst>
            </p:cNvPr>
            <p:cNvCxnSpPr/>
            <p:nvPr/>
          </p:nvCxnSpPr>
          <p:spPr>
            <a:xfrm>
              <a:off x="12290172" y="-684060"/>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15" name="Google Shape;4089;p26">
              <a:extLst>
                <a:ext uri="{FF2B5EF4-FFF2-40B4-BE49-F238E27FC236}">
                  <a16:creationId xmlns:a16="http://schemas.microsoft.com/office/drawing/2014/main" id="{97D366F4-45B0-45C1-8A25-C63853AC2DDA}"/>
                </a:ext>
              </a:extLst>
            </p:cNvPr>
            <p:cNvCxnSpPr/>
            <p:nvPr/>
          </p:nvCxnSpPr>
          <p:spPr>
            <a:xfrm rot="10800000">
              <a:off x="12226673" y="-628551"/>
              <a:ext cx="127001" cy="0"/>
            </a:xfrm>
            <a:prstGeom prst="straightConnector1">
              <a:avLst/>
            </a:prstGeom>
            <a:noFill/>
            <a:ln w="19050" cap="flat" cmpd="sng">
              <a:solidFill>
                <a:schemeClr val="tx1"/>
              </a:solidFill>
              <a:prstDash val="solid"/>
              <a:miter lim="800000"/>
              <a:headEnd type="none" w="med" len="med"/>
              <a:tailEnd type="none" w="med" len="med"/>
            </a:ln>
          </p:spPr>
        </p:cxnSp>
        <p:cxnSp>
          <p:nvCxnSpPr>
            <p:cNvPr id="316" name="Google Shape;4090;p26">
              <a:extLst>
                <a:ext uri="{FF2B5EF4-FFF2-40B4-BE49-F238E27FC236}">
                  <a16:creationId xmlns:a16="http://schemas.microsoft.com/office/drawing/2014/main" id="{61DB8FA5-DFC6-4D6A-8F25-116CEDC05063}"/>
                </a:ext>
              </a:extLst>
            </p:cNvPr>
            <p:cNvCxnSpPr/>
            <p:nvPr/>
          </p:nvCxnSpPr>
          <p:spPr>
            <a:xfrm>
              <a:off x="12225085" y="-753447"/>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17" name="Google Shape;4091;p26">
              <a:extLst>
                <a:ext uri="{FF2B5EF4-FFF2-40B4-BE49-F238E27FC236}">
                  <a16:creationId xmlns:a16="http://schemas.microsoft.com/office/drawing/2014/main" id="{6F216FA8-C79C-41D5-896C-E89B65019DB2}"/>
                </a:ext>
              </a:extLst>
            </p:cNvPr>
            <p:cNvCxnSpPr/>
            <p:nvPr/>
          </p:nvCxnSpPr>
          <p:spPr>
            <a:xfrm rot="10800000">
              <a:off x="12161585" y="-696550"/>
              <a:ext cx="123825" cy="0"/>
            </a:xfrm>
            <a:prstGeom prst="straightConnector1">
              <a:avLst/>
            </a:prstGeom>
            <a:noFill/>
            <a:ln w="19050" cap="flat" cmpd="sng">
              <a:solidFill>
                <a:schemeClr val="tx1"/>
              </a:solidFill>
              <a:prstDash val="solid"/>
              <a:miter lim="800000"/>
              <a:headEnd type="none" w="med" len="med"/>
              <a:tailEnd type="none" w="med" len="med"/>
            </a:ln>
          </p:spPr>
        </p:cxnSp>
        <p:cxnSp>
          <p:nvCxnSpPr>
            <p:cNvPr id="318" name="Google Shape;4092;p26">
              <a:extLst>
                <a:ext uri="{FF2B5EF4-FFF2-40B4-BE49-F238E27FC236}">
                  <a16:creationId xmlns:a16="http://schemas.microsoft.com/office/drawing/2014/main" id="{A82A5D9B-8568-4130-BC62-1D0A89259D3C}"/>
                </a:ext>
              </a:extLst>
            </p:cNvPr>
            <p:cNvCxnSpPr/>
            <p:nvPr/>
          </p:nvCxnSpPr>
          <p:spPr>
            <a:xfrm>
              <a:off x="12218735" y="-753447"/>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19" name="Google Shape;4093;p26">
              <a:extLst>
                <a:ext uri="{FF2B5EF4-FFF2-40B4-BE49-F238E27FC236}">
                  <a16:creationId xmlns:a16="http://schemas.microsoft.com/office/drawing/2014/main" id="{C06C7E57-60A3-49FA-ADAE-11346DEEEF95}"/>
                </a:ext>
              </a:extLst>
            </p:cNvPr>
            <p:cNvCxnSpPr/>
            <p:nvPr/>
          </p:nvCxnSpPr>
          <p:spPr>
            <a:xfrm rot="10800000">
              <a:off x="12155234" y="-696550"/>
              <a:ext cx="123825" cy="0"/>
            </a:xfrm>
            <a:prstGeom prst="straightConnector1">
              <a:avLst/>
            </a:prstGeom>
            <a:noFill/>
            <a:ln w="19050" cap="flat" cmpd="sng">
              <a:solidFill>
                <a:schemeClr val="tx1"/>
              </a:solidFill>
              <a:prstDash val="solid"/>
              <a:miter lim="800000"/>
              <a:headEnd type="none" w="med" len="med"/>
              <a:tailEnd type="none" w="med" len="med"/>
            </a:ln>
          </p:spPr>
        </p:cxnSp>
        <p:cxnSp>
          <p:nvCxnSpPr>
            <p:cNvPr id="320" name="Google Shape;4094;p26">
              <a:extLst>
                <a:ext uri="{FF2B5EF4-FFF2-40B4-BE49-F238E27FC236}">
                  <a16:creationId xmlns:a16="http://schemas.microsoft.com/office/drawing/2014/main" id="{BD347D68-062D-4813-9154-178C026097C2}"/>
                </a:ext>
              </a:extLst>
            </p:cNvPr>
            <p:cNvCxnSpPr/>
            <p:nvPr/>
          </p:nvCxnSpPr>
          <p:spPr>
            <a:xfrm>
              <a:off x="12185398" y="-810345"/>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21" name="Google Shape;4095;p26">
              <a:extLst>
                <a:ext uri="{FF2B5EF4-FFF2-40B4-BE49-F238E27FC236}">
                  <a16:creationId xmlns:a16="http://schemas.microsoft.com/office/drawing/2014/main" id="{0C1C6ABD-F166-4CBC-8F1E-3361797FD55C}"/>
                </a:ext>
              </a:extLst>
            </p:cNvPr>
            <p:cNvCxnSpPr/>
            <p:nvPr/>
          </p:nvCxnSpPr>
          <p:spPr>
            <a:xfrm rot="10800000">
              <a:off x="12121898" y="-756222"/>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22" name="Google Shape;4096;p26">
              <a:extLst>
                <a:ext uri="{FF2B5EF4-FFF2-40B4-BE49-F238E27FC236}">
                  <a16:creationId xmlns:a16="http://schemas.microsoft.com/office/drawing/2014/main" id="{104EC336-7745-4D12-9116-4BFD74217279}"/>
                </a:ext>
              </a:extLst>
            </p:cNvPr>
            <p:cNvCxnSpPr/>
            <p:nvPr/>
          </p:nvCxnSpPr>
          <p:spPr>
            <a:xfrm>
              <a:off x="12193335" y="-810345"/>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23" name="Google Shape;4097;p26">
              <a:extLst>
                <a:ext uri="{FF2B5EF4-FFF2-40B4-BE49-F238E27FC236}">
                  <a16:creationId xmlns:a16="http://schemas.microsoft.com/office/drawing/2014/main" id="{AFBB64D7-C092-4A03-99D1-1F407CBEB57E}"/>
                </a:ext>
              </a:extLst>
            </p:cNvPr>
            <p:cNvCxnSpPr/>
            <p:nvPr/>
          </p:nvCxnSpPr>
          <p:spPr>
            <a:xfrm rot="10800000">
              <a:off x="12129834" y="-756222"/>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24" name="Google Shape;4098;p26">
              <a:extLst>
                <a:ext uri="{FF2B5EF4-FFF2-40B4-BE49-F238E27FC236}">
                  <a16:creationId xmlns:a16="http://schemas.microsoft.com/office/drawing/2014/main" id="{D6A13856-C482-4D2B-8FD2-0C461B130123}"/>
                </a:ext>
              </a:extLst>
            </p:cNvPr>
            <p:cNvCxnSpPr/>
            <p:nvPr/>
          </p:nvCxnSpPr>
          <p:spPr>
            <a:xfrm>
              <a:off x="12161585" y="-865854"/>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25" name="Google Shape;4099;p26">
              <a:extLst>
                <a:ext uri="{FF2B5EF4-FFF2-40B4-BE49-F238E27FC236}">
                  <a16:creationId xmlns:a16="http://schemas.microsoft.com/office/drawing/2014/main" id="{1DDD9F49-E6A6-45DF-B57A-57E91E5380A4}"/>
                </a:ext>
              </a:extLst>
            </p:cNvPr>
            <p:cNvCxnSpPr/>
            <p:nvPr/>
          </p:nvCxnSpPr>
          <p:spPr>
            <a:xfrm rot="10800000">
              <a:off x="12098084" y="-810345"/>
              <a:ext cx="127001" cy="0"/>
            </a:xfrm>
            <a:prstGeom prst="straightConnector1">
              <a:avLst/>
            </a:prstGeom>
            <a:noFill/>
            <a:ln w="19050" cap="flat" cmpd="sng">
              <a:solidFill>
                <a:schemeClr val="tx1"/>
              </a:solidFill>
              <a:prstDash val="solid"/>
              <a:miter lim="800000"/>
              <a:headEnd type="none" w="med" len="med"/>
              <a:tailEnd type="none" w="med" len="med"/>
            </a:ln>
          </p:spPr>
        </p:cxnSp>
        <p:cxnSp>
          <p:nvCxnSpPr>
            <p:cNvPr id="326" name="Google Shape;4100;p26">
              <a:extLst>
                <a:ext uri="{FF2B5EF4-FFF2-40B4-BE49-F238E27FC236}">
                  <a16:creationId xmlns:a16="http://schemas.microsoft.com/office/drawing/2014/main" id="{2AD724DD-C4A6-435A-81D8-59C93F751D89}"/>
                </a:ext>
              </a:extLst>
            </p:cNvPr>
            <p:cNvCxnSpPr/>
            <p:nvPr/>
          </p:nvCxnSpPr>
          <p:spPr>
            <a:xfrm>
              <a:off x="12155234" y="-865854"/>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27" name="Google Shape;4101;p26">
              <a:extLst>
                <a:ext uri="{FF2B5EF4-FFF2-40B4-BE49-F238E27FC236}">
                  <a16:creationId xmlns:a16="http://schemas.microsoft.com/office/drawing/2014/main" id="{E579CE95-7C6F-4DA5-B0B8-52C697435E70}"/>
                </a:ext>
              </a:extLst>
            </p:cNvPr>
            <p:cNvCxnSpPr/>
            <p:nvPr/>
          </p:nvCxnSpPr>
          <p:spPr>
            <a:xfrm rot="10800000">
              <a:off x="12090147" y="-810345"/>
              <a:ext cx="128587" cy="0"/>
            </a:xfrm>
            <a:prstGeom prst="straightConnector1">
              <a:avLst/>
            </a:prstGeom>
            <a:noFill/>
            <a:ln w="19050" cap="flat" cmpd="sng">
              <a:solidFill>
                <a:schemeClr val="tx1"/>
              </a:solidFill>
              <a:prstDash val="solid"/>
              <a:miter lim="800000"/>
              <a:headEnd type="none" w="med" len="med"/>
              <a:tailEnd type="none" w="med" len="med"/>
            </a:ln>
          </p:spPr>
        </p:cxnSp>
        <p:cxnSp>
          <p:nvCxnSpPr>
            <p:cNvPr id="328" name="Google Shape;4102;p26">
              <a:extLst>
                <a:ext uri="{FF2B5EF4-FFF2-40B4-BE49-F238E27FC236}">
                  <a16:creationId xmlns:a16="http://schemas.microsoft.com/office/drawing/2014/main" id="{38EF6E63-6362-44D7-B138-BFF7FA468FDC}"/>
                </a:ext>
              </a:extLst>
            </p:cNvPr>
            <p:cNvCxnSpPr/>
            <p:nvPr/>
          </p:nvCxnSpPr>
          <p:spPr>
            <a:xfrm>
              <a:off x="12031409" y="-865854"/>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29" name="Google Shape;4103;p26">
              <a:extLst>
                <a:ext uri="{FF2B5EF4-FFF2-40B4-BE49-F238E27FC236}">
                  <a16:creationId xmlns:a16="http://schemas.microsoft.com/office/drawing/2014/main" id="{B74202D2-DDE7-4813-BE02-18DC83268C92}"/>
                </a:ext>
              </a:extLst>
            </p:cNvPr>
            <p:cNvCxnSpPr/>
            <p:nvPr/>
          </p:nvCxnSpPr>
          <p:spPr>
            <a:xfrm rot="10800000">
              <a:off x="11971085" y="-811731"/>
              <a:ext cx="123825" cy="0"/>
            </a:xfrm>
            <a:prstGeom prst="straightConnector1">
              <a:avLst/>
            </a:prstGeom>
            <a:noFill/>
            <a:ln w="19050" cap="flat" cmpd="sng">
              <a:solidFill>
                <a:schemeClr val="tx1"/>
              </a:solidFill>
              <a:prstDash val="solid"/>
              <a:miter lim="800000"/>
              <a:headEnd type="none" w="med" len="med"/>
              <a:tailEnd type="none" w="med" len="med"/>
            </a:ln>
          </p:spPr>
        </p:cxnSp>
        <p:cxnSp>
          <p:nvCxnSpPr>
            <p:cNvPr id="330" name="Google Shape;4104;p26">
              <a:extLst>
                <a:ext uri="{FF2B5EF4-FFF2-40B4-BE49-F238E27FC236}">
                  <a16:creationId xmlns:a16="http://schemas.microsoft.com/office/drawing/2014/main" id="{69CB9B16-7E66-4BFF-A3F0-2CB3990510D0}"/>
                </a:ext>
              </a:extLst>
            </p:cNvPr>
            <p:cNvCxnSpPr/>
            <p:nvPr/>
          </p:nvCxnSpPr>
          <p:spPr>
            <a:xfrm>
              <a:off x="12023473" y="-865854"/>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31" name="Google Shape;4105;p26">
              <a:extLst>
                <a:ext uri="{FF2B5EF4-FFF2-40B4-BE49-F238E27FC236}">
                  <a16:creationId xmlns:a16="http://schemas.microsoft.com/office/drawing/2014/main" id="{E3C9357F-4DB5-4DB2-98B4-DBBFC0B1DBE6}"/>
                </a:ext>
              </a:extLst>
            </p:cNvPr>
            <p:cNvCxnSpPr/>
            <p:nvPr/>
          </p:nvCxnSpPr>
          <p:spPr>
            <a:xfrm rot="10800000">
              <a:off x="11961559" y="-811731"/>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32" name="Google Shape;4106;p26">
              <a:extLst>
                <a:ext uri="{FF2B5EF4-FFF2-40B4-BE49-F238E27FC236}">
                  <a16:creationId xmlns:a16="http://schemas.microsoft.com/office/drawing/2014/main" id="{600C49DC-9105-4F3B-AE7F-88F4CDCF772D}"/>
                </a:ext>
              </a:extLst>
            </p:cNvPr>
            <p:cNvCxnSpPr/>
            <p:nvPr/>
          </p:nvCxnSpPr>
          <p:spPr>
            <a:xfrm>
              <a:off x="11961559" y="-865854"/>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33" name="Google Shape;4107;p26">
              <a:extLst>
                <a:ext uri="{FF2B5EF4-FFF2-40B4-BE49-F238E27FC236}">
                  <a16:creationId xmlns:a16="http://schemas.microsoft.com/office/drawing/2014/main" id="{E8F9ACC9-E725-444A-ACD0-E81FDD28753D}"/>
                </a:ext>
              </a:extLst>
            </p:cNvPr>
            <p:cNvCxnSpPr/>
            <p:nvPr/>
          </p:nvCxnSpPr>
          <p:spPr>
            <a:xfrm rot="10800000">
              <a:off x="11898060" y="-811731"/>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34" name="Google Shape;4108;p26">
              <a:extLst>
                <a:ext uri="{FF2B5EF4-FFF2-40B4-BE49-F238E27FC236}">
                  <a16:creationId xmlns:a16="http://schemas.microsoft.com/office/drawing/2014/main" id="{ED327ECF-8764-4649-AF18-F96B23E85FCF}"/>
                </a:ext>
              </a:extLst>
            </p:cNvPr>
            <p:cNvCxnSpPr/>
            <p:nvPr/>
          </p:nvCxnSpPr>
          <p:spPr>
            <a:xfrm>
              <a:off x="11928222" y="-915811"/>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35" name="Google Shape;4109;p26">
              <a:extLst>
                <a:ext uri="{FF2B5EF4-FFF2-40B4-BE49-F238E27FC236}">
                  <a16:creationId xmlns:a16="http://schemas.microsoft.com/office/drawing/2014/main" id="{1B7A2127-ED56-436A-8908-8DCF49F3A8F8}"/>
                </a:ext>
              </a:extLst>
            </p:cNvPr>
            <p:cNvCxnSpPr/>
            <p:nvPr/>
          </p:nvCxnSpPr>
          <p:spPr>
            <a:xfrm rot="10800000">
              <a:off x="11864722" y="-860302"/>
              <a:ext cx="127001" cy="0"/>
            </a:xfrm>
            <a:prstGeom prst="straightConnector1">
              <a:avLst/>
            </a:prstGeom>
            <a:noFill/>
            <a:ln w="19050" cap="flat" cmpd="sng">
              <a:solidFill>
                <a:schemeClr val="tx1"/>
              </a:solidFill>
              <a:prstDash val="solid"/>
              <a:miter lim="800000"/>
              <a:headEnd type="none" w="med" len="med"/>
              <a:tailEnd type="none" w="med" len="med"/>
            </a:ln>
          </p:spPr>
        </p:cxnSp>
        <p:cxnSp>
          <p:nvCxnSpPr>
            <p:cNvPr id="336" name="Google Shape;4110;p26">
              <a:extLst>
                <a:ext uri="{FF2B5EF4-FFF2-40B4-BE49-F238E27FC236}">
                  <a16:creationId xmlns:a16="http://schemas.microsoft.com/office/drawing/2014/main" id="{51D39D92-B3FC-43C5-9B53-9FFA1D0D7063}"/>
                </a:ext>
              </a:extLst>
            </p:cNvPr>
            <p:cNvCxnSpPr/>
            <p:nvPr/>
          </p:nvCxnSpPr>
          <p:spPr>
            <a:xfrm>
              <a:off x="11864722" y="-915811"/>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37" name="Google Shape;4111;p26">
              <a:extLst>
                <a:ext uri="{FF2B5EF4-FFF2-40B4-BE49-F238E27FC236}">
                  <a16:creationId xmlns:a16="http://schemas.microsoft.com/office/drawing/2014/main" id="{1C89D276-95C4-4F61-BDBE-90052138323E}"/>
                </a:ext>
              </a:extLst>
            </p:cNvPr>
            <p:cNvCxnSpPr/>
            <p:nvPr/>
          </p:nvCxnSpPr>
          <p:spPr>
            <a:xfrm rot="10800000">
              <a:off x="11804397" y="-860302"/>
              <a:ext cx="123825" cy="0"/>
            </a:xfrm>
            <a:prstGeom prst="straightConnector1">
              <a:avLst/>
            </a:prstGeom>
            <a:noFill/>
            <a:ln w="19050" cap="flat" cmpd="sng">
              <a:solidFill>
                <a:schemeClr val="tx1"/>
              </a:solidFill>
              <a:prstDash val="solid"/>
              <a:miter lim="800000"/>
              <a:headEnd type="none" w="med" len="med"/>
              <a:tailEnd type="none" w="med" len="med"/>
            </a:ln>
          </p:spPr>
        </p:cxnSp>
        <p:cxnSp>
          <p:nvCxnSpPr>
            <p:cNvPr id="338" name="Google Shape;4112;p26">
              <a:extLst>
                <a:ext uri="{FF2B5EF4-FFF2-40B4-BE49-F238E27FC236}">
                  <a16:creationId xmlns:a16="http://schemas.microsoft.com/office/drawing/2014/main" id="{C05C3F2E-3D7B-4C9B-9CD4-80AD6E8201BE}"/>
                </a:ext>
              </a:extLst>
            </p:cNvPr>
            <p:cNvCxnSpPr/>
            <p:nvPr/>
          </p:nvCxnSpPr>
          <p:spPr>
            <a:xfrm>
              <a:off x="11694860" y="-1006015"/>
              <a:ext cx="0" cy="111019"/>
            </a:xfrm>
            <a:prstGeom prst="straightConnector1">
              <a:avLst/>
            </a:prstGeom>
            <a:noFill/>
            <a:ln w="19050" cap="flat" cmpd="sng">
              <a:solidFill>
                <a:schemeClr val="tx1"/>
              </a:solidFill>
              <a:prstDash val="solid"/>
              <a:miter lim="800000"/>
              <a:headEnd type="none" w="med" len="med"/>
              <a:tailEnd type="none" w="med" len="med"/>
            </a:ln>
          </p:spPr>
        </p:cxnSp>
        <p:cxnSp>
          <p:nvCxnSpPr>
            <p:cNvPr id="339" name="Google Shape;4113;p26">
              <a:extLst>
                <a:ext uri="{FF2B5EF4-FFF2-40B4-BE49-F238E27FC236}">
                  <a16:creationId xmlns:a16="http://schemas.microsoft.com/office/drawing/2014/main" id="{9702ABEE-B557-420F-BCDE-B5C3CDC6341E}"/>
                </a:ext>
              </a:extLst>
            </p:cNvPr>
            <p:cNvCxnSpPr/>
            <p:nvPr/>
          </p:nvCxnSpPr>
          <p:spPr>
            <a:xfrm rot="10800000">
              <a:off x="11631359" y="-950505"/>
              <a:ext cx="123825" cy="0"/>
            </a:xfrm>
            <a:prstGeom prst="straightConnector1">
              <a:avLst/>
            </a:prstGeom>
            <a:noFill/>
            <a:ln w="19050" cap="flat" cmpd="sng">
              <a:solidFill>
                <a:schemeClr val="tx1"/>
              </a:solidFill>
              <a:prstDash val="solid"/>
              <a:miter lim="800000"/>
              <a:headEnd type="none" w="med" len="med"/>
              <a:tailEnd type="none" w="med" len="med"/>
            </a:ln>
          </p:spPr>
        </p:cxnSp>
        <p:cxnSp>
          <p:nvCxnSpPr>
            <p:cNvPr id="340" name="Google Shape;4114;p26">
              <a:extLst>
                <a:ext uri="{FF2B5EF4-FFF2-40B4-BE49-F238E27FC236}">
                  <a16:creationId xmlns:a16="http://schemas.microsoft.com/office/drawing/2014/main" id="{9C0F725C-5ED8-4E9C-A0EB-3409E0855961}"/>
                </a:ext>
              </a:extLst>
            </p:cNvPr>
            <p:cNvCxnSpPr/>
            <p:nvPr/>
          </p:nvCxnSpPr>
          <p:spPr>
            <a:xfrm>
              <a:off x="11407523" y="-1053197"/>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41" name="Google Shape;4115;p26">
              <a:extLst>
                <a:ext uri="{FF2B5EF4-FFF2-40B4-BE49-F238E27FC236}">
                  <a16:creationId xmlns:a16="http://schemas.microsoft.com/office/drawing/2014/main" id="{F8B1693D-B0C5-45AB-A7E6-F438B94C49F6}"/>
                </a:ext>
              </a:extLst>
            </p:cNvPr>
            <p:cNvCxnSpPr/>
            <p:nvPr/>
          </p:nvCxnSpPr>
          <p:spPr>
            <a:xfrm rot="10800000">
              <a:off x="11345609" y="-999076"/>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42" name="Google Shape;4116;p26">
              <a:extLst>
                <a:ext uri="{FF2B5EF4-FFF2-40B4-BE49-F238E27FC236}">
                  <a16:creationId xmlns:a16="http://schemas.microsoft.com/office/drawing/2014/main" id="{0D7037FC-CAFD-420D-89D7-0F6A8416CB99}"/>
                </a:ext>
              </a:extLst>
            </p:cNvPr>
            <p:cNvCxnSpPr/>
            <p:nvPr/>
          </p:nvCxnSpPr>
          <p:spPr>
            <a:xfrm>
              <a:off x="11291635" y="-1096218"/>
              <a:ext cx="0" cy="108242"/>
            </a:xfrm>
            <a:prstGeom prst="straightConnector1">
              <a:avLst/>
            </a:prstGeom>
            <a:noFill/>
            <a:ln w="19050" cap="flat" cmpd="sng">
              <a:solidFill>
                <a:schemeClr val="tx1"/>
              </a:solidFill>
              <a:prstDash val="solid"/>
              <a:miter lim="800000"/>
              <a:headEnd type="none" w="med" len="med"/>
              <a:tailEnd type="none" w="med" len="med"/>
            </a:ln>
          </p:spPr>
        </p:cxnSp>
        <p:cxnSp>
          <p:nvCxnSpPr>
            <p:cNvPr id="343" name="Google Shape;4117;p26">
              <a:extLst>
                <a:ext uri="{FF2B5EF4-FFF2-40B4-BE49-F238E27FC236}">
                  <a16:creationId xmlns:a16="http://schemas.microsoft.com/office/drawing/2014/main" id="{D539593B-A37D-4739-B010-3C0C5104D4D7}"/>
                </a:ext>
              </a:extLst>
            </p:cNvPr>
            <p:cNvCxnSpPr/>
            <p:nvPr/>
          </p:nvCxnSpPr>
          <p:spPr>
            <a:xfrm rot="10800000">
              <a:off x="11228134" y="-1043484"/>
              <a:ext cx="123825" cy="0"/>
            </a:xfrm>
            <a:prstGeom prst="straightConnector1">
              <a:avLst/>
            </a:prstGeom>
            <a:noFill/>
            <a:ln w="19050" cap="flat" cmpd="sng">
              <a:solidFill>
                <a:schemeClr val="tx1"/>
              </a:solidFill>
              <a:prstDash val="solid"/>
              <a:miter lim="800000"/>
              <a:headEnd type="none" w="med" len="med"/>
              <a:tailEnd type="none" w="med" len="med"/>
            </a:ln>
          </p:spPr>
        </p:cxnSp>
        <p:cxnSp>
          <p:nvCxnSpPr>
            <p:cNvPr id="344" name="Google Shape;4118;p26">
              <a:extLst>
                <a:ext uri="{FF2B5EF4-FFF2-40B4-BE49-F238E27FC236}">
                  <a16:creationId xmlns:a16="http://schemas.microsoft.com/office/drawing/2014/main" id="{7C4C7DD4-910B-4821-8A37-55A1602BE80B}"/>
                </a:ext>
              </a:extLst>
            </p:cNvPr>
            <p:cNvCxnSpPr/>
            <p:nvPr/>
          </p:nvCxnSpPr>
          <p:spPr>
            <a:xfrm>
              <a:off x="11269409" y="-1096218"/>
              <a:ext cx="0" cy="108242"/>
            </a:xfrm>
            <a:prstGeom prst="straightConnector1">
              <a:avLst/>
            </a:prstGeom>
            <a:noFill/>
            <a:ln w="19050" cap="flat" cmpd="sng">
              <a:solidFill>
                <a:schemeClr val="tx1"/>
              </a:solidFill>
              <a:prstDash val="solid"/>
              <a:miter lim="800000"/>
              <a:headEnd type="none" w="med" len="med"/>
              <a:tailEnd type="none" w="med" len="med"/>
            </a:ln>
          </p:spPr>
        </p:cxnSp>
        <p:cxnSp>
          <p:nvCxnSpPr>
            <p:cNvPr id="345" name="Google Shape;4119;p26">
              <a:extLst>
                <a:ext uri="{FF2B5EF4-FFF2-40B4-BE49-F238E27FC236}">
                  <a16:creationId xmlns:a16="http://schemas.microsoft.com/office/drawing/2014/main" id="{55D4FD72-0BDA-4AF0-9E32-74F9A23A4C29}"/>
                </a:ext>
              </a:extLst>
            </p:cNvPr>
            <p:cNvCxnSpPr/>
            <p:nvPr/>
          </p:nvCxnSpPr>
          <p:spPr>
            <a:xfrm rot="10800000">
              <a:off x="11207497" y="-1043484"/>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46" name="Google Shape;4120;p26">
              <a:extLst>
                <a:ext uri="{FF2B5EF4-FFF2-40B4-BE49-F238E27FC236}">
                  <a16:creationId xmlns:a16="http://schemas.microsoft.com/office/drawing/2014/main" id="{37AD9094-3A97-4BF4-B359-225C6F4F23EC}"/>
                </a:ext>
              </a:extLst>
            </p:cNvPr>
            <p:cNvCxnSpPr/>
            <p:nvPr/>
          </p:nvCxnSpPr>
          <p:spPr>
            <a:xfrm>
              <a:off x="11139234" y="-1096218"/>
              <a:ext cx="0" cy="108242"/>
            </a:xfrm>
            <a:prstGeom prst="straightConnector1">
              <a:avLst/>
            </a:prstGeom>
            <a:noFill/>
            <a:ln w="19050" cap="flat" cmpd="sng">
              <a:solidFill>
                <a:schemeClr val="tx1"/>
              </a:solidFill>
              <a:prstDash val="solid"/>
              <a:miter lim="800000"/>
              <a:headEnd type="none" w="med" len="med"/>
              <a:tailEnd type="none" w="med" len="med"/>
            </a:ln>
          </p:spPr>
        </p:cxnSp>
        <p:cxnSp>
          <p:nvCxnSpPr>
            <p:cNvPr id="347" name="Google Shape;4121;p26">
              <a:extLst>
                <a:ext uri="{FF2B5EF4-FFF2-40B4-BE49-F238E27FC236}">
                  <a16:creationId xmlns:a16="http://schemas.microsoft.com/office/drawing/2014/main" id="{149D52EA-3446-47B8-A213-964B93C3C7C5}"/>
                </a:ext>
              </a:extLst>
            </p:cNvPr>
            <p:cNvCxnSpPr/>
            <p:nvPr/>
          </p:nvCxnSpPr>
          <p:spPr>
            <a:xfrm rot="10800000">
              <a:off x="11075734" y="-1043484"/>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48" name="Google Shape;4122;p26">
              <a:extLst>
                <a:ext uri="{FF2B5EF4-FFF2-40B4-BE49-F238E27FC236}">
                  <a16:creationId xmlns:a16="http://schemas.microsoft.com/office/drawing/2014/main" id="{AE25D808-9FB3-4EA3-B11A-431D928AE0D5}"/>
                </a:ext>
              </a:extLst>
            </p:cNvPr>
            <p:cNvCxnSpPr/>
            <p:nvPr/>
          </p:nvCxnSpPr>
          <p:spPr>
            <a:xfrm>
              <a:off x="11131297" y="-1096218"/>
              <a:ext cx="0" cy="108242"/>
            </a:xfrm>
            <a:prstGeom prst="straightConnector1">
              <a:avLst/>
            </a:prstGeom>
            <a:noFill/>
            <a:ln w="19050" cap="flat" cmpd="sng">
              <a:solidFill>
                <a:schemeClr val="tx1"/>
              </a:solidFill>
              <a:prstDash val="solid"/>
              <a:miter lim="800000"/>
              <a:headEnd type="none" w="med" len="med"/>
              <a:tailEnd type="none" w="med" len="med"/>
            </a:ln>
          </p:spPr>
        </p:cxnSp>
        <p:cxnSp>
          <p:nvCxnSpPr>
            <p:cNvPr id="349" name="Google Shape;4123;p26">
              <a:extLst>
                <a:ext uri="{FF2B5EF4-FFF2-40B4-BE49-F238E27FC236}">
                  <a16:creationId xmlns:a16="http://schemas.microsoft.com/office/drawing/2014/main" id="{78524BC0-1174-4272-80DA-81FEC1BF74E2}"/>
                </a:ext>
              </a:extLst>
            </p:cNvPr>
            <p:cNvCxnSpPr/>
            <p:nvPr/>
          </p:nvCxnSpPr>
          <p:spPr>
            <a:xfrm rot="10800000">
              <a:off x="11067797" y="-1043484"/>
              <a:ext cx="127001" cy="0"/>
            </a:xfrm>
            <a:prstGeom prst="straightConnector1">
              <a:avLst/>
            </a:prstGeom>
            <a:noFill/>
            <a:ln w="19050" cap="flat" cmpd="sng">
              <a:solidFill>
                <a:schemeClr val="tx1"/>
              </a:solidFill>
              <a:prstDash val="solid"/>
              <a:miter lim="800000"/>
              <a:headEnd type="none" w="med" len="med"/>
              <a:tailEnd type="none" w="med" len="med"/>
            </a:ln>
          </p:spPr>
        </p:cxnSp>
        <p:cxnSp>
          <p:nvCxnSpPr>
            <p:cNvPr id="350" name="Google Shape;4124;p26">
              <a:extLst>
                <a:ext uri="{FF2B5EF4-FFF2-40B4-BE49-F238E27FC236}">
                  <a16:creationId xmlns:a16="http://schemas.microsoft.com/office/drawing/2014/main" id="{22C7F282-9479-4DDD-8847-1D2EA8FD51F1}"/>
                </a:ext>
              </a:extLst>
            </p:cNvPr>
            <p:cNvCxnSpPr/>
            <p:nvPr/>
          </p:nvCxnSpPr>
          <p:spPr>
            <a:xfrm>
              <a:off x="11045572" y="-1096218"/>
              <a:ext cx="0" cy="108242"/>
            </a:xfrm>
            <a:prstGeom prst="straightConnector1">
              <a:avLst/>
            </a:prstGeom>
            <a:noFill/>
            <a:ln w="19050" cap="flat" cmpd="sng">
              <a:solidFill>
                <a:schemeClr val="tx1"/>
              </a:solidFill>
              <a:prstDash val="solid"/>
              <a:miter lim="800000"/>
              <a:headEnd type="none" w="med" len="med"/>
              <a:tailEnd type="none" w="med" len="med"/>
            </a:ln>
          </p:spPr>
        </p:cxnSp>
        <p:cxnSp>
          <p:nvCxnSpPr>
            <p:cNvPr id="351" name="Google Shape;4125;p26">
              <a:extLst>
                <a:ext uri="{FF2B5EF4-FFF2-40B4-BE49-F238E27FC236}">
                  <a16:creationId xmlns:a16="http://schemas.microsoft.com/office/drawing/2014/main" id="{69635646-9EA5-4714-9D87-A794FC5E52CE}"/>
                </a:ext>
              </a:extLst>
            </p:cNvPr>
            <p:cNvCxnSpPr/>
            <p:nvPr/>
          </p:nvCxnSpPr>
          <p:spPr>
            <a:xfrm rot="10800000">
              <a:off x="10982073" y="-1043484"/>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52" name="Google Shape;4126;p26">
              <a:extLst>
                <a:ext uri="{FF2B5EF4-FFF2-40B4-BE49-F238E27FC236}">
                  <a16:creationId xmlns:a16="http://schemas.microsoft.com/office/drawing/2014/main" id="{69789B8B-6336-41BA-A61D-B093D03555A7}"/>
                </a:ext>
              </a:extLst>
            </p:cNvPr>
            <p:cNvCxnSpPr/>
            <p:nvPr/>
          </p:nvCxnSpPr>
          <p:spPr>
            <a:xfrm>
              <a:off x="10855072" y="-1325192"/>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53" name="Google Shape;4127;p26">
              <a:extLst>
                <a:ext uri="{FF2B5EF4-FFF2-40B4-BE49-F238E27FC236}">
                  <a16:creationId xmlns:a16="http://schemas.microsoft.com/office/drawing/2014/main" id="{1E1B58A4-13D7-4DFA-99B2-75EA28CF1C75}"/>
                </a:ext>
              </a:extLst>
            </p:cNvPr>
            <p:cNvCxnSpPr/>
            <p:nvPr/>
          </p:nvCxnSpPr>
          <p:spPr>
            <a:xfrm rot="10800000">
              <a:off x="10793160" y="-1269683"/>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54" name="Google Shape;4128;p26">
              <a:extLst>
                <a:ext uri="{FF2B5EF4-FFF2-40B4-BE49-F238E27FC236}">
                  <a16:creationId xmlns:a16="http://schemas.microsoft.com/office/drawing/2014/main" id="{F39CDC62-A1EE-4D7D-A671-F964F301AB8A}"/>
                </a:ext>
              </a:extLst>
            </p:cNvPr>
            <p:cNvCxnSpPr/>
            <p:nvPr/>
          </p:nvCxnSpPr>
          <p:spPr>
            <a:xfrm>
              <a:off x="10832846" y="-1325192"/>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55" name="Google Shape;4129;p26">
              <a:extLst>
                <a:ext uri="{FF2B5EF4-FFF2-40B4-BE49-F238E27FC236}">
                  <a16:creationId xmlns:a16="http://schemas.microsoft.com/office/drawing/2014/main" id="{7B77FF06-1623-41FF-A1BD-DF9CBA504DAF}"/>
                </a:ext>
              </a:extLst>
            </p:cNvPr>
            <p:cNvCxnSpPr/>
            <p:nvPr/>
          </p:nvCxnSpPr>
          <p:spPr>
            <a:xfrm rot="10800000">
              <a:off x="10769348" y="-1269683"/>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56" name="Google Shape;4130;p26">
              <a:extLst>
                <a:ext uri="{FF2B5EF4-FFF2-40B4-BE49-F238E27FC236}">
                  <a16:creationId xmlns:a16="http://schemas.microsoft.com/office/drawing/2014/main" id="{A3962A29-7344-412C-B945-49D90FE58327}"/>
                </a:ext>
              </a:extLst>
            </p:cNvPr>
            <p:cNvCxnSpPr/>
            <p:nvPr/>
          </p:nvCxnSpPr>
          <p:spPr>
            <a:xfrm>
              <a:off x="10470898" y="-1355722"/>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57" name="Google Shape;4131;p26">
              <a:extLst>
                <a:ext uri="{FF2B5EF4-FFF2-40B4-BE49-F238E27FC236}">
                  <a16:creationId xmlns:a16="http://schemas.microsoft.com/office/drawing/2014/main" id="{72F94783-3B73-4127-BD4F-6E6550592A2B}"/>
                </a:ext>
              </a:extLst>
            </p:cNvPr>
            <p:cNvCxnSpPr/>
            <p:nvPr/>
          </p:nvCxnSpPr>
          <p:spPr>
            <a:xfrm rot="10800000">
              <a:off x="10407399" y="-1302989"/>
              <a:ext cx="127001" cy="0"/>
            </a:xfrm>
            <a:prstGeom prst="straightConnector1">
              <a:avLst/>
            </a:prstGeom>
            <a:noFill/>
            <a:ln w="19050" cap="flat" cmpd="sng">
              <a:solidFill>
                <a:schemeClr val="tx1"/>
              </a:solidFill>
              <a:prstDash val="solid"/>
              <a:miter lim="800000"/>
              <a:headEnd type="none" w="med" len="med"/>
              <a:tailEnd type="none" w="med" len="med"/>
            </a:ln>
          </p:spPr>
        </p:cxnSp>
        <p:cxnSp>
          <p:nvCxnSpPr>
            <p:cNvPr id="358" name="Google Shape;4132;p26">
              <a:extLst>
                <a:ext uri="{FF2B5EF4-FFF2-40B4-BE49-F238E27FC236}">
                  <a16:creationId xmlns:a16="http://schemas.microsoft.com/office/drawing/2014/main" id="{92A30CA6-6371-4A39-AE5C-01654268F8B1}"/>
                </a:ext>
              </a:extLst>
            </p:cNvPr>
            <p:cNvCxnSpPr/>
            <p:nvPr/>
          </p:nvCxnSpPr>
          <p:spPr>
            <a:xfrm>
              <a:off x="10462961" y="-1355722"/>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59" name="Google Shape;4133;p26">
              <a:extLst>
                <a:ext uri="{FF2B5EF4-FFF2-40B4-BE49-F238E27FC236}">
                  <a16:creationId xmlns:a16="http://schemas.microsoft.com/office/drawing/2014/main" id="{EFFB04B2-F55A-4ACF-8588-01480D2B8AD0}"/>
                </a:ext>
              </a:extLst>
            </p:cNvPr>
            <p:cNvCxnSpPr/>
            <p:nvPr/>
          </p:nvCxnSpPr>
          <p:spPr>
            <a:xfrm rot="10800000">
              <a:off x="10399461" y="-1302989"/>
              <a:ext cx="127001" cy="0"/>
            </a:xfrm>
            <a:prstGeom prst="straightConnector1">
              <a:avLst/>
            </a:prstGeom>
            <a:noFill/>
            <a:ln w="19050" cap="flat" cmpd="sng">
              <a:solidFill>
                <a:schemeClr val="tx1"/>
              </a:solidFill>
              <a:prstDash val="solid"/>
              <a:miter lim="800000"/>
              <a:headEnd type="none" w="med" len="med"/>
              <a:tailEnd type="none" w="med" len="med"/>
            </a:ln>
          </p:spPr>
        </p:cxnSp>
        <p:cxnSp>
          <p:nvCxnSpPr>
            <p:cNvPr id="360" name="Google Shape;4134;p26">
              <a:extLst>
                <a:ext uri="{FF2B5EF4-FFF2-40B4-BE49-F238E27FC236}">
                  <a16:creationId xmlns:a16="http://schemas.microsoft.com/office/drawing/2014/main" id="{7C20C58E-63FF-4DD1-9CCC-75E5713F60E5}"/>
                </a:ext>
              </a:extLst>
            </p:cNvPr>
            <p:cNvCxnSpPr/>
            <p:nvPr/>
          </p:nvCxnSpPr>
          <p:spPr>
            <a:xfrm>
              <a:off x="10407399" y="-1405682"/>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61" name="Google Shape;4135;p26">
              <a:extLst>
                <a:ext uri="{FF2B5EF4-FFF2-40B4-BE49-F238E27FC236}">
                  <a16:creationId xmlns:a16="http://schemas.microsoft.com/office/drawing/2014/main" id="{B005F0AF-C127-4CED-B881-936673C3F89A}"/>
                </a:ext>
              </a:extLst>
            </p:cNvPr>
            <p:cNvCxnSpPr/>
            <p:nvPr/>
          </p:nvCxnSpPr>
          <p:spPr>
            <a:xfrm>
              <a:off x="10416924" y="-1405682"/>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62" name="Google Shape;4136;p26">
              <a:extLst>
                <a:ext uri="{FF2B5EF4-FFF2-40B4-BE49-F238E27FC236}">
                  <a16:creationId xmlns:a16="http://schemas.microsoft.com/office/drawing/2014/main" id="{1109B6B7-8EDE-449F-B569-D14D1E8513EA}"/>
                </a:ext>
              </a:extLst>
            </p:cNvPr>
            <p:cNvCxnSpPr/>
            <p:nvPr/>
          </p:nvCxnSpPr>
          <p:spPr>
            <a:xfrm>
              <a:off x="10428035" y="-1405682"/>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63" name="Google Shape;4137;p26">
              <a:extLst>
                <a:ext uri="{FF2B5EF4-FFF2-40B4-BE49-F238E27FC236}">
                  <a16:creationId xmlns:a16="http://schemas.microsoft.com/office/drawing/2014/main" id="{178C4A18-710E-48AE-8471-66BC0B023FEC}"/>
                </a:ext>
              </a:extLst>
            </p:cNvPr>
            <p:cNvCxnSpPr/>
            <p:nvPr/>
          </p:nvCxnSpPr>
          <p:spPr>
            <a:xfrm>
              <a:off x="10420098" y="-1405682"/>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64" name="Google Shape;4138;p26">
              <a:extLst>
                <a:ext uri="{FF2B5EF4-FFF2-40B4-BE49-F238E27FC236}">
                  <a16:creationId xmlns:a16="http://schemas.microsoft.com/office/drawing/2014/main" id="{C9775B50-25B9-455B-A07D-E2D8E44A4E02}"/>
                </a:ext>
              </a:extLst>
            </p:cNvPr>
            <p:cNvCxnSpPr/>
            <p:nvPr/>
          </p:nvCxnSpPr>
          <p:spPr>
            <a:xfrm>
              <a:off x="9802560" y="-1667963"/>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65" name="Google Shape;4139;p26">
              <a:extLst>
                <a:ext uri="{FF2B5EF4-FFF2-40B4-BE49-F238E27FC236}">
                  <a16:creationId xmlns:a16="http://schemas.microsoft.com/office/drawing/2014/main" id="{DC72DE6E-FD15-4F1F-9901-C27FA20712CE}"/>
                </a:ext>
              </a:extLst>
            </p:cNvPr>
            <p:cNvCxnSpPr/>
            <p:nvPr/>
          </p:nvCxnSpPr>
          <p:spPr>
            <a:xfrm rot="10800000">
              <a:off x="9739060" y="-1612454"/>
              <a:ext cx="127001" cy="0"/>
            </a:xfrm>
            <a:prstGeom prst="straightConnector1">
              <a:avLst/>
            </a:prstGeom>
            <a:noFill/>
            <a:ln w="19050" cap="flat" cmpd="sng">
              <a:solidFill>
                <a:schemeClr val="tx1"/>
              </a:solidFill>
              <a:prstDash val="solid"/>
              <a:miter lim="800000"/>
              <a:headEnd type="none" w="med" len="med"/>
              <a:tailEnd type="none" w="med" len="med"/>
            </a:ln>
          </p:spPr>
        </p:cxnSp>
        <p:cxnSp>
          <p:nvCxnSpPr>
            <p:cNvPr id="366" name="Google Shape;4140;p26">
              <a:extLst>
                <a:ext uri="{FF2B5EF4-FFF2-40B4-BE49-F238E27FC236}">
                  <a16:creationId xmlns:a16="http://schemas.microsoft.com/office/drawing/2014/main" id="{83F9D41D-3A8D-40C3-9E16-63D9D3631BBF}"/>
                </a:ext>
              </a:extLst>
            </p:cNvPr>
            <p:cNvCxnSpPr/>
            <p:nvPr/>
          </p:nvCxnSpPr>
          <p:spPr>
            <a:xfrm>
              <a:off x="9947023" y="-1543067"/>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67" name="Google Shape;4141;p26">
              <a:extLst>
                <a:ext uri="{FF2B5EF4-FFF2-40B4-BE49-F238E27FC236}">
                  <a16:creationId xmlns:a16="http://schemas.microsoft.com/office/drawing/2014/main" id="{ED042E5F-0967-4754-BFFF-079F3C6FCCE5}"/>
                </a:ext>
              </a:extLst>
            </p:cNvPr>
            <p:cNvCxnSpPr/>
            <p:nvPr/>
          </p:nvCxnSpPr>
          <p:spPr>
            <a:xfrm rot="10800000">
              <a:off x="9883524" y="-1488945"/>
              <a:ext cx="127001" cy="0"/>
            </a:xfrm>
            <a:prstGeom prst="straightConnector1">
              <a:avLst/>
            </a:prstGeom>
            <a:noFill/>
            <a:ln w="19050" cap="flat" cmpd="sng">
              <a:solidFill>
                <a:schemeClr val="tx1"/>
              </a:solidFill>
              <a:prstDash val="solid"/>
              <a:miter lim="800000"/>
              <a:headEnd type="none" w="med" len="med"/>
              <a:tailEnd type="none" w="med" len="med"/>
            </a:ln>
          </p:spPr>
        </p:cxnSp>
        <p:cxnSp>
          <p:nvCxnSpPr>
            <p:cNvPr id="368" name="Google Shape;4142;p26">
              <a:extLst>
                <a:ext uri="{FF2B5EF4-FFF2-40B4-BE49-F238E27FC236}">
                  <a16:creationId xmlns:a16="http://schemas.microsoft.com/office/drawing/2014/main" id="{2C5FF3AB-3051-46BE-B4FF-95ED9387B909}"/>
                </a:ext>
              </a:extLst>
            </p:cNvPr>
            <p:cNvCxnSpPr/>
            <p:nvPr/>
          </p:nvCxnSpPr>
          <p:spPr>
            <a:xfrm>
              <a:off x="9939086" y="-1562495"/>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69" name="Google Shape;4143;p26">
              <a:extLst>
                <a:ext uri="{FF2B5EF4-FFF2-40B4-BE49-F238E27FC236}">
                  <a16:creationId xmlns:a16="http://schemas.microsoft.com/office/drawing/2014/main" id="{E41479FD-98DD-4AE4-B87B-9A99C151CB03}"/>
                </a:ext>
              </a:extLst>
            </p:cNvPr>
            <p:cNvCxnSpPr/>
            <p:nvPr/>
          </p:nvCxnSpPr>
          <p:spPr>
            <a:xfrm rot="10800000">
              <a:off x="9875585" y="-1505598"/>
              <a:ext cx="127001" cy="0"/>
            </a:xfrm>
            <a:prstGeom prst="straightConnector1">
              <a:avLst/>
            </a:prstGeom>
            <a:noFill/>
            <a:ln w="19050" cap="flat" cmpd="sng">
              <a:solidFill>
                <a:schemeClr val="tx1"/>
              </a:solidFill>
              <a:prstDash val="solid"/>
              <a:miter lim="800000"/>
              <a:headEnd type="none" w="med" len="med"/>
              <a:tailEnd type="none" w="med" len="med"/>
            </a:ln>
          </p:spPr>
        </p:cxnSp>
        <p:cxnSp>
          <p:nvCxnSpPr>
            <p:cNvPr id="370" name="Google Shape;4144;p26">
              <a:extLst>
                <a:ext uri="{FF2B5EF4-FFF2-40B4-BE49-F238E27FC236}">
                  <a16:creationId xmlns:a16="http://schemas.microsoft.com/office/drawing/2014/main" id="{277CA867-E899-4B2F-A2D7-A30F95540713}"/>
                </a:ext>
              </a:extLst>
            </p:cNvPr>
            <p:cNvCxnSpPr/>
            <p:nvPr/>
          </p:nvCxnSpPr>
          <p:spPr>
            <a:xfrm>
              <a:off x="9929559" y="-1565271"/>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71" name="Google Shape;4145;p26">
              <a:extLst>
                <a:ext uri="{FF2B5EF4-FFF2-40B4-BE49-F238E27FC236}">
                  <a16:creationId xmlns:a16="http://schemas.microsoft.com/office/drawing/2014/main" id="{FD854328-93F9-411E-823C-1D171CC1DE14}"/>
                </a:ext>
              </a:extLst>
            </p:cNvPr>
            <p:cNvCxnSpPr/>
            <p:nvPr/>
          </p:nvCxnSpPr>
          <p:spPr>
            <a:xfrm rot="10800000">
              <a:off x="9869235" y="-1509762"/>
              <a:ext cx="123825" cy="0"/>
            </a:xfrm>
            <a:prstGeom prst="straightConnector1">
              <a:avLst/>
            </a:prstGeom>
            <a:noFill/>
            <a:ln w="19050" cap="flat" cmpd="sng">
              <a:solidFill>
                <a:schemeClr val="tx1"/>
              </a:solidFill>
              <a:prstDash val="solid"/>
              <a:miter lim="800000"/>
              <a:headEnd type="none" w="med" len="med"/>
              <a:tailEnd type="none" w="med" len="med"/>
            </a:ln>
          </p:spPr>
        </p:cxnSp>
        <p:cxnSp>
          <p:nvCxnSpPr>
            <p:cNvPr id="372" name="Google Shape;4146;p26">
              <a:extLst>
                <a:ext uri="{FF2B5EF4-FFF2-40B4-BE49-F238E27FC236}">
                  <a16:creationId xmlns:a16="http://schemas.microsoft.com/office/drawing/2014/main" id="{55B325D0-4872-45DA-A8BB-0B359F40E5BB}"/>
                </a:ext>
              </a:extLst>
            </p:cNvPr>
            <p:cNvCxnSpPr/>
            <p:nvPr/>
          </p:nvCxnSpPr>
          <p:spPr>
            <a:xfrm>
              <a:off x="9923211" y="-1565271"/>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73" name="Google Shape;4147;p26">
              <a:extLst>
                <a:ext uri="{FF2B5EF4-FFF2-40B4-BE49-F238E27FC236}">
                  <a16:creationId xmlns:a16="http://schemas.microsoft.com/office/drawing/2014/main" id="{CCE0EECD-6854-48DC-A6B5-352099309697}"/>
                </a:ext>
              </a:extLst>
            </p:cNvPr>
            <p:cNvCxnSpPr/>
            <p:nvPr/>
          </p:nvCxnSpPr>
          <p:spPr>
            <a:xfrm rot="10800000">
              <a:off x="9859710" y="-1509762"/>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74" name="Google Shape;4148;p26">
              <a:extLst>
                <a:ext uri="{FF2B5EF4-FFF2-40B4-BE49-F238E27FC236}">
                  <a16:creationId xmlns:a16="http://schemas.microsoft.com/office/drawing/2014/main" id="{13AA9513-E7C7-48B6-AEDB-1698A0A2C733}"/>
                </a:ext>
              </a:extLst>
            </p:cNvPr>
            <p:cNvCxnSpPr/>
            <p:nvPr/>
          </p:nvCxnSpPr>
          <p:spPr>
            <a:xfrm>
              <a:off x="9778748" y="-1667963"/>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75" name="Google Shape;4149;p26">
              <a:extLst>
                <a:ext uri="{FF2B5EF4-FFF2-40B4-BE49-F238E27FC236}">
                  <a16:creationId xmlns:a16="http://schemas.microsoft.com/office/drawing/2014/main" id="{66D7A8CD-BC72-42A5-8F4B-237572AF8812}"/>
                </a:ext>
              </a:extLst>
            </p:cNvPr>
            <p:cNvCxnSpPr/>
            <p:nvPr/>
          </p:nvCxnSpPr>
          <p:spPr>
            <a:xfrm rot="10800000">
              <a:off x="9716834" y="-1612454"/>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76" name="Google Shape;4150;p26">
              <a:extLst>
                <a:ext uri="{FF2B5EF4-FFF2-40B4-BE49-F238E27FC236}">
                  <a16:creationId xmlns:a16="http://schemas.microsoft.com/office/drawing/2014/main" id="{E225B22D-D4F8-431C-8D09-3A60011CC6E6}"/>
                </a:ext>
              </a:extLst>
            </p:cNvPr>
            <p:cNvCxnSpPr/>
            <p:nvPr/>
          </p:nvCxnSpPr>
          <p:spPr>
            <a:xfrm>
              <a:off x="10372473" y="-1468129"/>
              <a:ext cx="0" cy="112407"/>
            </a:xfrm>
            <a:prstGeom prst="straightConnector1">
              <a:avLst/>
            </a:prstGeom>
            <a:noFill/>
            <a:ln w="19050" cap="flat" cmpd="sng">
              <a:solidFill>
                <a:schemeClr val="tx1"/>
              </a:solidFill>
              <a:prstDash val="solid"/>
              <a:miter lim="800000"/>
              <a:headEnd type="none" w="med" len="med"/>
              <a:tailEnd type="none" w="med" len="med"/>
            </a:ln>
          </p:spPr>
        </p:cxnSp>
        <p:cxnSp>
          <p:nvCxnSpPr>
            <p:cNvPr id="377" name="Google Shape;4151;p26">
              <a:extLst>
                <a:ext uri="{FF2B5EF4-FFF2-40B4-BE49-F238E27FC236}">
                  <a16:creationId xmlns:a16="http://schemas.microsoft.com/office/drawing/2014/main" id="{9856B3E4-50F5-4037-88DE-E302D2A8356B}"/>
                </a:ext>
              </a:extLst>
            </p:cNvPr>
            <p:cNvCxnSpPr/>
            <p:nvPr/>
          </p:nvCxnSpPr>
          <p:spPr>
            <a:xfrm rot="10800000">
              <a:off x="10308974" y="-1412620"/>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78" name="Google Shape;4152;p26">
              <a:extLst>
                <a:ext uri="{FF2B5EF4-FFF2-40B4-BE49-F238E27FC236}">
                  <a16:creationId xmlns:a16="http://schemas.microsoft.com/office/drawing/2014/main" id="{9FB19639-2665-4B02-ACCE-3D9BE305E653}"/>
                </a:ext>
              </a:extLst>
            </p:cNvPr>
            <p:cNvCxnSpPr/>
            <p:nvPr/>
          </p:nvCxnSpPr>
          <p:spPr>
            <a:xfrm>
              <a:off x="10353423" y="-1468129"/>
              <a:ext cx="0" cy="112407"/>
            </a:xfrm>
            <a:prstGeom prst="straightConnector1">
              <a:avLst/>
            </a:prstGeom>
            <a:noFill/>
            <a:ln w="19050" cap="flat" cmpd="sng">
              <a:solidFill>
                <a:schemeClr val="tx1"/>
              </a:solidFill>
              <a:prstDash val="solid"/>
              <a:miter lim="800000"/>
              <a:headEnd type="none" w="med" len="med"/>
              <a:tailEnd type="none" w="med" len="med"/>
            </a:ln>
          </p:spPr>
        </p:cxnSp>
        <p:cxnSp>
          <p:nvCxnSpPr>
            <p:cNvPr id="379" name="Google Shape;4153;p26">
              <a:extLst>
                <a:ext uri="{FF2B5EF4-FFF2-40B4-BE49-F238E27FC236}">
                  <a16:creationId xmlns:a16="http://schemas.microsoft.com/office/drawing/2014/main" id="{D7EE15F1-6F7A-4B76-8B76-74783EEDD799}"/>
                </a:ext>
              </a:extLst>
            </p:cNvPr>
            <p:cNvCxnSpPr/>
            <p:nvPr/>
          </p:nvCxnSpPr>
          <p:spPr>
            <a:xfrm rot="10800000">
              <a:off x="10289923" y="-1412620"/>
              <a:ext cx="127001" cy="0"/>
            </a:xfrm>
            <a:prstGeom prst="straightConnector1">
              <a:avLst/>
            </a:prstGeom>
            <a:noFill/>
            <a:ln w="19050" cap="flat" cmpd="sng">
              <a:solidFill>
                <a:schemeClr val="tx1"/>
              </a:solidFill>
              <a:prstDash val="solid"/>
              <a:miter lim="800000"/>
              <a:headEnd type="none" w="med" len="med"/>
              <a:tailEnd type="none" w="med" len="med"/>
            </a:ln>
          </p:spPr>
        </p:cxnSp>
        <p:cxnSp>
          <p:nvCxnSpPr>
            <p:cNvPr id="380" name="Google Shape;4154;p26">
              <a:extLst>
                <a:ext uri="{FF2B5EF4-FFF2-40B4-BE49-F238E27FC236}">
                  <a16:creationId xmlns:a16="http://schemas.microsoft.com/office/drawing/2014/main" id="{6888CB5C-6EE6-4973-B305-0F9146A4A45A}"/>
                </a:ext>
              </a:extLst>
            </p:cNvPr>
            <p:cNvCxnSpPr/>
            <p:nvPr/>
          </p:nvCxnSpPr>
          <p:spPr>
            <a:xfrm>
              <a:off x="10331198" y="-1468129"/>
              <a:ext cx="0" cy="112407"/>
            </a:xfrm>
            <a:prstGeom prst="straightConnector1">
              <a:avLst/>
            </a:prstGeom>
            <a:noFill/>
            <a:ln w="19050" cap="flat" cmpd="sng">
              <a:solidFill>
                <a:schemeClr val="tx1"/>
              </a:solidFill>
              <a:prstDash val="solid"/>
              <a:miter lim="800000"/>
              <a:headEnd type="none" w="med" len="med"/>
              <a:tailEnd type="none" w="med" len="med"/>
            </a:ln>
          </p:spPr>
        </p:cxnSp>
        <p:cxnSp>
          <p:nvCxnSpPr>
            <p:cNvPr id="381" name="Google Shape;4155;p26">
              <a:extLst>
                <a:ext uri="{FF2B5EF4-FFF2-40B4-BE49-F238E27FC236}">
                  <a16:creationId xmlns:a16="http://schemas.microsoft.com/office/drawing/2014/main" id="{CEE21EA0-3EF6-412B-A5DB-7A74831C2BEC}"/>
                </a:ext>
              </a:extLst>
            </p:cNvPr>
            <p:cNvCxnSpPr/>
            <p:nvPr/>
          </p:nvCxnSpPr>
          <p:spPr>
            <a:xfrm rot="10800000">
              <a:off x="10269285" y="-1412620"/>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82" name="Google Shape;4156;p26">
              <a:extLst>
                <a:ext uri="{FF2B5EF4-FFF2-40B4-BE49-F238E27FC236}">
                  <a16:creationId xmlns:a16="http://schemas.microsoft.com/office/drawing/2014/main" id="{F443C99C-A28C-4B13-8088-229800EFBB2A}"/>
                </a:ext>
              </a:extLst>
            </p:cNvPr>
            <p:cNvCxnSpPr/>
            <p:nvPr/>
          </p:nvCxnSpPr>
          <p:spPr>
            <a:xfrm>
              <a:off x="10385173" y="-1447314"/>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83" name="Google Shape;4157;p26">
              <a:extLst>
                <a:ext uri="{FF2B5EF4-FFF2-40B4-BE49-F238E27FC236}">
                  <a16:creationId xmlns:a16="http://schemas.microsoft.com/office/drawing/2014/main" id="{4976E721-AB6B-4C15-A040-154854139A79}"/>
                </a:ext>
              </a:extLst>
            </p:cNvPr>
            <p:cNvCxnSpPr/>
            <p:nvPr/>
          </p:nvCxnSpPr>
          <p:spPr>
            <a:xfrm rot="10800000">
              <a:off x="10321673" y="-1393191"/>
              <a:ext cx="127001" cy="0"/>
            </a:xfrm>
            <a:prstGeom prst="straightConnector1">
              <a:avLst/>
            </a:prstGeom>
            <a:noFill/>
            <a:ln w="19050" cap="flat" cmpd="sng">
              <a:solidFill>
                <a:schemeClr val="tx1"/>
              </a:solidFill>
              <a:prstDash val="solid"/>
              <a:miter lim="800000"/>
              <a:headEnd type="none" w="med" len="med"/>
              <a:tailEnd type="none" w="med" len="med"/>
            </a:ln>
          </p:spPr>
        </p:cxnSp>
        <p:cxnSp>
          <p:nvCxnSpPr>
            <p:cNvPr id="384" name="Google Shape;4158;p26">
              <a:extLst>
                <a:ext uri="{FF2B5EF4-FFF2-40B4-BE49-F238E27FC236}">
                  <a16:creationId xmlns:a16="http://schemas.microsoft.com/office/drawing/2014/main" id="{C5036BAE-3858-40C0-9AC4-E9B8FE08D336}"/>
                </a:ext>
              </a:extLst>
            </p:cNvPr>
            <p:cNvCxnSpPr/>
            <p:nvPr/>
          </p:nvCxnSpPr>
          <p:spPr>
            <a:xfrm>
              <a:off x="10399461" y="-1425109"/>
              <a:ext cx="0" cy="111019"/>
            </a:xfrm>
            <a:prstGeom prst="straightConnector1">
              <a:avLst/>
            </a:prstGeom>
            <a:noFill/>
            <a:ln w="19050" cap="flat" cmpd="sng">
              <a:solidFill>
                <a:schemeClr val="tx1"/>
              </a:solidFill>
              <a:prstDash val="solid"/>
              <a:miter lim="800000"/>
              <a:headEnd type="none" w="med" len="med"/>
              <a:tailEnd type="none" w="med" len="med"/>
            </a:ln>
          </p:spPr>
        </p:cxnSp>
        <p:cxnSp>
          <p:nvCxnSpPr>
            <p:cNvPr id="385" name="Google Shape;4159;p26">
              <a:extLst>
                <a:ext uri="{FF2B5EF4-FFF2-40B4-BE49-F238E27FC236}">
                  <a16:creationId xmlns:a16="http://schemas.microsoft.com/office/drawing/2014/main" id="{ED0DC37E-8F12-4BAB-8FC8-B6D8B42328B5}"/>
                </a:ext>
              </a:extLst>
            </p:cNvPr>
            <p:cNvCxnSpPr/>
            <p:nvPr/>
          </p:nvCxnSpPr>
          <p:spPr>
            <a:xfrm rot="10800000">
              <a:off x="10337548" y="-1369600"/>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86" name="Google Shape;4160;p26">
              <a:extLst>
                <a:ext uri="{FF2B5EF4-FFF2-40B4-BE49-F238E27FC236}">
                  <a16:creationId xmlns:a16="http://schemas.microsoft.com/office/drawing/2014/main" id="{E723682D-D068-4929-8508-6BB8A8E51FB7}"/>
                </a:ext>
              </a:extLst>
            </p:cNvPr>
            <p:cNvCxnSpPr/>
            <p:nvPr/>
          </p:nvCxnSpPr>
          <p:spPr>
            <a:xfrm>
              <a:off x="10407399" y="-1425109"/>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87" name="Google Shape;4161;p26">
              <a:extLst>
                <a:ext uri="{FF2B5EF4-FFF2-40B4-BE49-F238E27FC236}">
                  <a16:creationId xmlns:a16="http://schemas.microsoft.com/office/drawing/2014/main" id="{1C4DFA61-4B52-4EEE-B52A-F0011044CDFC}"/>
                </a:ext>
              </a:extLst>
            </p:cNvPr>
            <p:cNvCxnSpPr/>
            <p:nvPr/>
          </p:nvCxnSpPr>
          <p:spPr>
            <a:xfrm rot="10800000">
              <a:off x="10343899" y="-1369600"/>
              <a:ext cx="127001" cy="0"/>
            </a:xfrm>
            <a:prstGeom prst="straightConnector1">
              <a:avLst/>
            </a:prstGeom>
            <a:noFill/>
            <a:ln w="19050" cap="flat" cmpd="sng">
              <a:solidFill>
                <a:schemeClr val="tx1"/>
              </a:solidFill>
              <a:prstDash val="solid"/>
              <a:miter lim="800000"/>
              <a:headEnd type="none" w="med" len="med"/>
              <a:tailEnd type="none" w="med" len="med"/>
            </a:ln>
          </p:spPr>
        </p:cxnSp>
        <p:cxnSp>
          <p:nvCxnSpPr>
            <p:cNvPr id="388" name="Google Shape;4162;p26">
              <a:extLst>
                <a:ext uri="{FF2B5EF4-FFF2-40B4-BE49-F238E27FC236}">
                  <a16:creationId xmlns:a16="http://schemas.microsoft.com/office/drawing/2014/main" id="{648F0B13-4605-4247-B532-AD88E3B786E9}"/>
                </a:ext>
              </a:extLst>
            </p:cNvPr>
            <p:cNvCxnSpPr/>
            <p:nvPr/>
          </p:nvCxnSpPr>
          <p:spPr>
            <a:xfrm>
              <a:off x="10416924" y="-1425109"/>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89" name="Google Shape;4163;p26">
              <a:extLst>
                <a:ext uri="{FF2B5EF4-FFF2-40B4-BE49-F238E27FC236}">
                  <a16:creationId xmlns:a16="http://schemas.microsoft.com/office/drawing/2014/main" id="{6C24793E-4AE7-4B63-851F-8F0B26BE2BFA}"/>
                </a:ext>
              </a:extLst>
            </p:cNvPr>
            <p:cNvCxnSpPr/>
            <p:nvPr/>
          </p:nvCxnSpPr>
          <p:spPr>
            <a:xfrm rot="10800000">
              <a:off x="10353423" y="-1369600"/>
              <a:ext cx="123825" cy="0"/>
            </a:xfrm>
            <a:prstGeom prst="straightConnector1">
              <a:avLst/>
            </a:prstGeom>
            <a:noFill/>
            <a:ln w="19050" cap="flat" cmpd="sng">
              <a:solidFill>
                <a:schemeClr val="tx1"/>
              </a:solidFill>
              <a:prstDash val="solid"/>
              <a:miter lim="800000"/>
              <a:headEnd type="none" w="med" len="med"/>
              <a:tailEnd type="none" w="med" len="med"/>
            </a:ln>
          </p:spPr>
        </p:cxnSp>
        <p:cxnSp>
          <p:nvCxnSpPr>
            <p:cNvPr id="390" name="Google Shape;4164;p26">
              <a:extLst>
                <a:ext uri="{FF2B5EF4-FFF2-40B4-BE49-F238E27FC236}">
                  <a16:creationId xmlns:a16="http://schemas.microsoft.com/office/drawing/2014/main" id="{FA0DB377-D15A-476F-AE47-A4A6F2A26D7A}"/>
                </a:ext>
              </a:extLst>
            </p:cNvPr>
            <p:cNvCxnSpPr/>
            <p:nvPr/>
          </p:nvCxnSpPr>
          <p:spPr>
            <a:xfrm>
              <a:off x="10423272" y="-1425109"/>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91" name="Google Shape;4165;p26">
              <a:extLst>
                <a:ext uri="{FF2B5EF4-FFF2-40B4-BE49-F238E27FC236}">
                  <a16:creationId xmlns:a16="http://schemas.microsoft.com/office/drawing/2014/main" id="{D212DD6A-DBBE-4508-AAEC-694E13E53327}"/>
                </a:ext>
              </a:extLst>
            </p:cNvPr>
            <p:cNvCxnSpPr/>
            <p:nvPr/>
          </p:nvCxnSpPr>
          <p:spPr>
            <a:xfrm rot="10800000">
              <a:off x="10359774" y="-1369600"/>
              <a:ext cx="127001" cy="0"/>
            </a:xfrm>
            <a:prstGeom prst="straightConnector1">
              <a:avLst/>
            </a:prstGeom>
            <a:noFill/>
            <a:ln w="19050" cap="flat" cmpd="sng">
              <a:solidFill>
                <a:schemeClr val="tx1"/>
              </a:solidFill>
              <a:prstDash val="solid"/>
              <a:miter lim="800000"/>
              <a:headEnd type="none" w="med" len="med"/>
              <a:tailEnd type="none" w="med" len="med"/>
            </a:ln>
          </p:spPr>
        </p:cxnSp>
        <p:cxnSp>
          <p:nvCxnSpPr>
            <p:cNvPr id="392" name="Google Shape;4166;p26">
              <a:extLst>
                <a:ext uri="{FF2B5EF4-FFF2-40B4-BE49-F238E27FC236}">
                  <a16:creationId xmlns:a16="http://schemas.microsoft.com/office/drawing/2014/main" id="{CF9D1175-84DE-4AED-A0CD-56CD45C2708A}"/>
                </a:ext>
              </a:extLst>
            </p:cNvPr>
            <p:cNvCxnSpPr/>
            <p:nvPr/>
          </p:nvCxnSpPr>
          <p:spPr>
            <a:xfrm>
              <a:off x="11374185" y="-1053197"/>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93" name="Google Shape;4167;p26">
              <a:extLst>
                <a:ext uri="{FF2B5EF4-FFF2-40B4-BE49-F238E27FC236}">
                  <a16:creationId xmlns:a16="http://schemas.microsoft.com/office/drawing/2014/main" id="{D2D205AC-7AC2-4801-8BAA-DE17BBB6182B}"/>
                </a:ext>
              </a:extLst>
            </p:cNvPr>
            <p:cNvCxnSpPr/>
            <p:nvPr/>
          </p:nvCxnSpPr>
          <p:spPr>
            <a:xfrm rot="10800000">
              <a:off x="11312272" y="-999076"/>
              <a:ext cx="125411" cy="0"/>
            </a:xfrm>
            <a:prstGeom prst="straightConnector1">
              <a:avLst/>
            </a:prstGeom>
            <a:noFill/>
            <a:ln w="19050" cap="flat" cmpd="sng">
              <a:solidFill>
                <a:schemeClr val="tx1"/>
              </a:solidFill>
              <a:prstDash val="solid"/>
              <a:miter lim="800000"/>
              <a:headEnd type="none" w="med" len="med"/>
              <a:tailEnd type="none" w="med" len="med"/>
            </a:ln>
          </p:spPr>
        </p:cxnSp>
        <p:cxnSp>
          <p:nvCxnSpPr>
            <p:cNvPr id="394" name="Google Shape;4168;p26">
              <a:extLst>
                <a:ext uri="{FF2B5EF4-FFF2-40B4-BE49-F238E27FC236}">
                  <a16:creationId xmlns:a16="http://schemas.microsoft.com/office/drawing/2014/main" id="{400EDDD9-48C4-4783-827A-22DDF76C9D87}"/>
                </a:ext>
              </a:extLst>
            </p:cNvPr>
            <p:cNvCxnSpPr/>
            <p:nvPr/>
          </p:nvCxnSpPr>
          <p:spPr>
            <a:xfrm>
              <a:off x="11364660" y="-1053197"/>
              <a:ext cx="0" cy="109631"/>
            </a:xfrm>
            <a:prstGeom prst="straightConnector1">
              <a:avLst/>
            </a:prstGeom>
            <a:noFill/>
            <a:ln w="19050" cap="flat" cmpd="sng">
              <a:solidFill>
                <a:schemeClr val="tx1"/>
              </a:solidFill>
              <a:prstDash val="solid"/>
              <a:miter lim="800000"/>
              <a:headEnd type="none" w="med" len="med"/>
              <a:tailEnd type="none" w="med" len="med"/>
            </a:ln>
          </p:spPr>
        </p:cxnSp>
        <p:cxnSp>
          <p:nvCxnSpPr>
            <p:cNvPr id="395" name="Google Shape;4169;p26">
              <a:extLst>
                <a:ext uri="{FF2B5EF4-FFF2-40B4-BE49-F238E27FC236}">
                  <a16:creationId xmlns:a16="http://schemas.microsoft.com/office/drawing/2014/main" id="{EADA1D36-FFDC-453D-90E2-9D5CD23E16DA}"/>
                </a:ext>
              </a:extLst>
            </p:cNvPr>
            <p:cNvCxnSpPr/>
            <p:nvPr/>
          </p:nvCxnSpPr>
          <p:spPr>
            <a:xfrm rot="10800000">
              <a:off x="11304334" y="-999076"/>
              <a:ext cx="125411" cy="0"/>
            </a:xfrm>
            <a:prstGeom prst="straightConnector1">
              <a:avLst/>
            </a:prstGeom>
            <a:noFill/>
            <a:ln w="19050" cap="flat" cmpd="sng">
              <a:solidFill>
                <a:schemeClr val="tx1"/>
              </a:solidFill>
              <a:prstDash val="solid"/>
              <a:miter lim="800000"/>
              <a:headEnd type="none" w="med" len="med"/>
              <a:tailEnd type="none" w="med" len="med"/>
            </a:ln>
          </p:spPr>
        </p:cxnSp>
      </p:grpSp>
      <p:sp>
        <p:nvSpPr>
          <p:cNvPr id="396" name="Google Shape;4183;p26">
            <a:extLst>
              <a:ext uri="{FF2B5EF4-FFF2-40B4-BE49-F238E27FC236}">
                <a16:creationId xmlns:a16="http://schemas.microsoft.com/office/drawing/2014/main" id="{D5A6E443-3661-4AD0-9E8C-4136B8F88AED}"/>
              </a:ext>
            </a:extLst>
          </p:cNvPr>
          <p:cNvSpPr txBox="1"/>
          <p:nvPr/>
        </p:nvSpPr>
        <p:spPr>
          <a:xfrm>
            <a:off x="3314914" y="2681537"/>
            <a:ext cx="3462575" cy="276959"/>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HR = 1.09 (95% CI, 0.70 to 1.69)</a:t>
            </a:r>
            <a:endParaRPr kumimoji="0" sz="900" b="1"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endParaRPr>
          </a:p>
        </p:txBody>
      </p:sp>
    </p:spTree>
    <p:extLst>
      <p:ext uri="{BB962C8B-B14F-4D97-AF65-F5344CB8AC3E}">
        <p14:creationId xmlns:p14="http://schemas.microsoft.com/office/powerpoint/2010/main" val="3802359723"/>
      </p:ext>
    </p:extLst>
  </p:cSld>
  <p:clrMapOvr>
    <a:masterClrMapping/>
  </p:clrMapOvr>
  <p:transition spd="med">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2"/>
          </p:nvPr>
        </p:nvSpPr>
        <p:spPr/>
        <p:txBody>
          <a:bodyPr/>
          <a:lstStyle/>
          <a:p>
            <a:endParaRPr lang="en-US"/>
          </a:p>
        </p:txBody>
      </p:sp>
      <p:sp>
        <p:nvSpPr>
          <p:cNvPr id="3" name="Text Placeholder 2"/>
          <p:cNvSpPr>
            <a:spLocks noGrp="1"/>
          </p:cNvSpPr>
          <p:nvPr>
            <p:ph type="body" idx="3"/>
          </p:nvPr>
        </p:nvSpPr>
        <p:spPr/>
        <p:txBody>
          <a:bodyPr/>
          <a:lstStyle/>
          <a:p>
            <a:pPr lvl="0">
              <a:spcBef>
                <a:spcPts val="0"/>
              </a:spcBef>
            </a:pPr>
            <a:r>
              <a:rPr lang="en-US" dirty="0">
                <a:latin typeface="Gene Sans Light" panose="00000400000000000000" pitchFamily="2" charset="0"/>
              </a:rPr>
              <a:t>Notes: *</a:t>
            </a:r>
            <a:r>
              <a:rPr lang="en-US" dirty="0">
                <a:solidFill>
                  <a:srgbClr val="545859"/>
                </a:solidFill>
                <a:latin typeface="Gene Sans Light" panose="00000400000000000000" pitchFamily="50" charset="0"/>
              </a:rPr>
              <a:t> Includes patients who did not receive corticosteroids or &lt;10 mg prednisone equivalent daily and those who received them for the management of </a:t>
            </a:r>
            <a:r>
              <a:rPr lang="en-US" dirty="0" err="1">
                <a:solidFill>
                  <a:srgbClr val="545859"/>
                </a:solidFill>
                <a:latin typeface="Gene Sans Light" panose="00000400000000000000" pitchFamily="50" charset="0"/>
              </a:rPr>
              <a:t>irAEs</a:t>
            </a:r>
            <a:endParaRPr lang="en-US" dirty="0">
              <a:latin typeface="Gene Sans Light" panose="00000400000000000000" pitchFamily="2" charset="0"/>
            </a:endParaRPr>
          </a:p>
          <a:p>
            <a:pPr lvl="0">
              <a:spcBef>
                <a:spcPts val="0"/>
              </a:spcBef>
            </a:pPr>
            <a:r>
              <a:rPr lang="en-US" dirty="0">
                <a:latin typeface="Gene Sans Light" panose="00000400000000000000" pitchFamily="2" charset="0"/>
              </a:rPr>
              <a:t>1. </a:t>
            </a:r>
            <a:r>
              <a:rPr lang="en-US" dirty="0" err="1">
                <a:latin typeface="Gene Sans Light" panose="00000400000000000000" pitchFamily="2" charset="0"/>
              </a:rPr>
              <a:t>Riudavets</a:t>
            </a:r>
            <a:r>
              <a:rPr lang="en-US" dirty="0">
                <a:latin typeface="Gene Sans Light" panose="00000400000000000000" pitchFamily="2" charset="0"/>
              </a:rPr>
              <a:t>, M et al. Front </a:t>
            </a:r>
            <a:r>
              <a:rPr lang="en-US" dirty="0" err="1">
                <a:latin typeface="Gene Sans Light" panose="00000400000000000000" pitchFamily="2" charset="0"/>
              </a:rPr>
              <a:t>Oncol</a:t>
            </a:r>
            <a:r>
              <a:rPr lang="en-US" dirty="0">
                <a:latin typeface="Gene Sans Light" panose="00000400000000000000" pitchFamily="2" charset="0"/>
              </a:rPr>
              <a:t>. 2020;10:1677.</a:t>
            </a:r>
          </a:p>
        </p:txBody>
      </p:sp>
      <p:sp>
        <p:nvSpPr>
          <p:cNvPr id="5" name="Title 4"/>
          <p:cNvSpPr>
            <a:spLocks noGrp="1"/>
          </p:cNvSpPr>
          <p:nvPr>
            <p:ph type="title"/>
          </p:nvPr>
        </p:nvSpPr>
        <p:spPr/>
        <p:txBody>
          <a:bodyPr/>
          <a:lstStyle/>
          <a:p>
            <a:r>
              <a:rPr lang="en-US" kern="0" cap="none" dirty="0">
                <a:latin typeface="Arial"/>
                <a:cs typeface="Arial"/>
              </a:rPr>
              <a:t>Association Between Use of Corticosteroids and Outcomes</a:t>
            </a:r>
            <a:endParaRPr lang="en-US" dirty="0"/>
          </a:p>
        </p:txBody>
      </p:sp>
      <p:sp>
        <p:nvSpPr>
          <p:cNvPr id="6" name="Google Shape;122;p3">
            <a:extLst>
              <a:ext uri="{FF2B5EF4-FFF2-40B4-BE49-F238E27FC236}">
                <a16:creationId xmlns:a16="http://schemas.microsoft.com/office/drawing/2014/main" id="{28BDC33C-8345-479C-8F69-F57AE1BA0479}"/>
              </a:ext>
            </a:extLst>
          </p:cNvPr>
          <p:cNvSpPr txBox="1">
            <a:spLocks/>
          </p:cNvSpPr>
          <p:nvPr/>
        </p:nvSpPr>
        <p:spPr>
          <a:xfrm>
            <a:off x="381000" y="94545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
        <p:nvSpPr>
          <p:cNvPr id="7" name="Rectangle 6">
            <a:extLst>
              <a:ext uri="{FF2B5EF4-FFF2-40B4-BE49-F238E27FC236}">
                <a16:creationId xmlns:a16="http://schemas.microsoft.com/office/drawing/2014/main" id="{F0735DFD-5980-499F-BBA7-6F700090D739}"/>
              </a:ext>
            </a:extLst>
          </p:cNvPr>
          <p:cNvSpPr/>
          <p:nvPr/>
        </p:nvSpPr>
        <p:spPr>
          <a:xfrm>
            <a:off x="867435" y="3467568"/>
            <a:ext cx="7555206" cy="961459"/>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cxnSp>
        <p:nvCxnSpPr>
          <p:cNvPr id="8" name="Straight Connector 7">
            <a:extLst>
              <a:ext uri="{FF2B5EF4-FFF2-40B4-BE49-F238E27FC236}">
                <a16:creationId xmlns:a16="http://schemas.microsoft.com/office/drawing/2014/main" id="{B8A817DE-8D4A-4FAE-BA6E-E3AB9A0E8833}"/>
              </a:ext>
            </a:extLst>
          </p:cNvPr>
          <p:cNvCxnSpPr>
            <a:cxnSpLocks/>
          </p:cNvCxnSpPr>
          <p:nvPr/>
        </p:nvCxnSpPr>
        <p:spPr>
          <a:xfrm>
            <a:off x="921542" y="1773906"/>
            <a:ext cx="308610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9D0003B4-DFD8-4924-84B4-3BE91534D5B3}"/>
              </a:ext>
            </a:extLst>
          </p:cNvPr>
          <p:cNvCxnSpPr>
            <a:cxnSpLocks/>
          </p:cNvCxnSpPr>
          <p:nvPr/>
        </p:nvCxnSpPr>
        <p:spPr>
          <a:xfrm>
            <a:off x="922189" y="3344215"/>
            <a:ext cx="308610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42ABAB28-25F5-483F-907B-F670CA2555F9}"/>
              </a:ext>
            </a:extLst>
          </p:cNvPr>
          <p:cNvGrpSpPr/>
          <p:nvPr/>
        </p:nvGrpSpPr>
        <p:grpSpPr>
          <a:xfrm>
            <a:off x="377304" y="1292707"/>
            <a:ext cx="3630346" cy="399846"/>
            <a:chOff x="377952" y="1243684"/>
            <a:chExt cx="3630346" cy="399846"/>
          </a:xfrm>
        </p:grpSpPr>
        <p:sp>
          <p:nvSpPr>
            <p:cNvPr id="11" name="TextBox 10">
              <a:extLst>
                <a:ext uri="{FF2B5EF4-FFF2-40B4-BE49-F238E27FC236}">
                  <a16:creationId xmlns:a16="http://schemas.microsoft.com/office/drawing/2014/main" id="{B1FCB49D-D5BB-44CC-9015-1F349E32CD5E}"/>
                </a:ext>
              </a:extLst>
            </p:cNvPr>
            <p:cNvSpPr txBox="1"/>
            <p:nvPr/>
          </p:nvSpPr>
          <p:spPr>
            <a:xfrm>
              <a:off x="922189" y="1274329"/>
              <a:ext cx="3086109" cy="33855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
                  <a:srgbClr val="000000"/>
                </a:buClr>
                <a:buSzPts val="15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Retrospective review of 267 patients with advanced NSCLC treated with anti-PD-(L)1</a:t>
              </a:r>
            </a:p>
          </p:txBody>
        </p:sp>
        <p:grpSp>
          <p:nvGrpSpPr>
            <p:cNvPr id="12" name="Group 11">
              <a:extLst>
                <a:ext uri="{FF2B5EF4-FFF2-40B4-BE49-F238E27FC236}">
                  <a16:creationId xmlns:a16="http://schemas.microsoft.com/office/drawing/2014/main" id="{5C66577B-3D35-46B8-8159-015C824BC1F9}"/>
                </a:ext>
              </a:extLst>
            </p:cNvPr>
            <p:cNvGrpSpPr/>
            <p:nvPr/>
          </p:nvGrpSpPr>
          <p:grpSpPr>
            <a:xfrm>
              <a:off x="377952" y="1243684"/>
              <a:ext cx="399846" cy="399846"/>
              <a:chOff x="377952" y="1243684"/>
              <a:chExt cx="399846" cy="399846"/>
            </a:xfrm>
          </p:grpSpPr>
          <p:sp>
            <p:nvSpPr>
              <p:cNvPr id="13" name="Rectangle 12">
                <a:extLst>
                  <a:ext uri="{FF2B5EF4-FFF2-40B4-BE49-F238E27FC236}">
                    <a16:creationId xmlns:a16="http://schemas.microsoft.com/office/drawing/2014/main" id="{6C1E1701-492A-48C4-9251-E0FA2E860605}"/>
                  </a:ext>
                </a:extLst>
              </p:cNvPr>
              <p:cNvSpPr/>
              <p:nvPr/>
            </p:nvSpPr>
            <p:spPr>
              <a:xfrm>
                <a:off x="377952" y="1243684"/>
                <a:ext cx="399846" cy="3998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a:ln>
                    <a:noFill/>
                  </a:ln>
                  <a:solidFill>
                    <a:srgbClr val="FFFFFF"/>
                  </a:solidFill>
                  <a:effectLst/>
                  <a:uLnTx/>
                  <a:uFillTx/>
                  <a:latin typeface="Gene Sans Light" panose="00000400000000000000" pitchFamily="2" charset="0"/>
                  <a:ea typeface="+mn-ea"/>
                  <a:cs typeface="+mn-cs"/>
                  <a:sym typeface="Arial"/>
                </a:endParaRPr>
              </a:p>
            </p:txBody>
          </p:sp>
          <p:grpSp>
            <p:nvGrpSpPr>
              <p:cNvPr id="14" name="Group 13">
                <a:extLst>
                  <a:ext uri="{FF2B5EF4-FFF2-40B4-BE49-F238E27FC236}">
                    <a16:creationId xmlns:a16="http://schemas.microsoft.com/office/drawing/2014/main" id="{6FA167FD-DF31-4F40-AEB1-BF86FF44573D}"/>
                  </a:ext>
                </a:extLst>
              </p:cNvPr>
              <p:cNvGrpSpPr/>
              <p:nvPr/>
            </p:nvGrpSpPr>
            <p:grpSpPr>
              <a:xfrm>
                <a:off x="481037" y="1346769"/>
                <a:ext cx="193675" cy="193675"/>
                <a:chOff x="8435975" y="4329113"/>
                <a:chExt cx="360363" cy="360363"/>
              </a:xfrm>
              <a:solidFill>
                <a:schemeClr val="bg1"/>
              </a:solidFill>
            </p:grpSpPr>
            <p:sp>
              <p:nvSpPr>
                <p:cNvPr id="15" name="Freeform 914">
                  <a:extLst>
                    <a:ext uri="{FF2B5EF4-FFF2-40B4-BE49-F238E27FC236}">
                      <a16:creationId xmlns:a16="http://schemas.microsoft.com/office/drawing/2014/main" id="{51270658-299B-488B-8A0C-3D95B8C330A3}"/>
                    </a:ext>
                  </a:extLst>
                </p:cNvPr>
                <p:cNvSpPr>
                  <a:spLocks noEditPoints="1"/>
                </p:cNvSpPr>
                <p:nvPr/>
              </p:nvSpPr>
              <p:spPr bwMode="auto">
                <a:xfrm>
                  <a:off x="8435975" y="4329113"/>
                  <a:ext cx="360363" cy="239713"/>
                </a:xfrm>
                <a:custGeom>
                  <a:avLst/>
                  <a:gdLst>
                    <a:gd name="T0" fmla="*/ 1554 w 1587"/>
                    <a:gd name="T1" fmla="*/ 1058 h 1058"/>
                    <a:gd name="T2" fmla="*/ 33 w 1587"/>
                    <a:gd name="T3" fmla="*/ 1058 h 1058"/>
                    <a:gd name="T4" fmla="*/ 33 w 1587"/>
                    <a:gd name="T5" fmla="*/ 1058 h 1058"/>
                    <a:gd name="T6" fmla="*/ 25 w 1587"/>
                    <a:gd name="T7" fmla="*/ 1058 h 1058"/>
                    <a:gd name="T8" fmla="*/ 19 w 1587"/>
                    <a:gd name="T9" fmla="*/ 1056 h 1058"/>
                    <a:gd name="T10" fmla="*/ 14 w 1587"/>
                    <a:gd name="T11" fmla="*/ 1053 h 1058"/>
                    <a:gd name="T12" fmla="*/ 9 w 1587"/>
                    <a:gd name="T13" fmla="*/ 1049 h 1058"/>
                    <a:gd name="T14" fmla="*/ 5 w 1587"/>
                    <a:gd name="T15" fmla="*/ 1044 h 1058"/>
                    <a:gd name="T16" fmla="*/ 2 w 1587"/>
                    <a:gd name="T17" fmla="*/ 1039 h 1058"/>
                    <a:gd name="T18" fmla="*/ 1 w 1587"/>
                    <a:gd name="T19" fmla="*/ 1032 h 1058"/>
                    <a:gd name="T20" fmla="*/ 0 w 1587"/>
                    <a:gd name="T21" fmla="*/ 1025 h 1058"/>
                    <a:gd name="T22" fmla="*/ 0 w 1587"/>
                    <a:gd name="T23" fmla="*/ 33 h 1058"/>
                    <a:gd name="T24" fmla="*/ 0 w 1587"/>
                    <a:gd name="T25" fmla="*/ 33 h 1058"/>
                    <a:gd name="T26" fmla="*/ 1 w 1587"/>
                    <a:gd name="T27" fmla="*/ 26 h 1058"/>
                    <a:gd name="T28" fmla="*/ 2 w 1587"/>
                    <a:gd name="T29" fmla="*/ 20 h 1058"/>
                    <a:gd name="T30" fmla="*/ 5 w 1587"/>
                    <a:gd name="T31" fmla="*/ 15 h 1058"/>
                    <a:gd name="T32" fmla="*/ 9 w 1587"/>
                    <a:gd name="T33" fmla="*/ 10 h 1058"/>
                    <a:gd name="T34" fmla="*/ 14 w 1587"/>
                    <a:gd name="T35" fmla="*/ 6 h 1058"/>
                    <a:gd name="T36" fmla="*/ 19 w 1587"/>
                    <a:gd name="T37" fmla="*/ 2 h 1058"/>
                    <a:gd name="T38" fmla="*/ 25 w 1587"/>
                    <a:gd name="T39" fmla="*/ 0 h 1058"/>
                    <a:gd name="T40" fmla="*/ 33 w 1587"/>
                    <a:gd name="T41" fmla="*/ 0 h 1058"/>
                    <a:gd name="T42" fmla="*/ 1554 w 1587"/>
                    <a:gd name="T43" fmla="*/ 0 h 1058"/>
                    <a:gd name="T44" fmla="*/ 1554 w 1587"/>
                    <a:gd name="T45" fmla="*/ 0 h 1058"/>
                    <a:gd name="T46" fmla="*/ 1560 w 1587"/>
                    <a:gd name="T47" fmla="*/ 0 h 1058"/>
                    <a:gd name="T48" fmla="*/ 1566 w 1587"/>
                    <a:gd name="T49" fmla="*/ 2 h 1058"/>
                    <a:gd name="T50" fmla="*/ 1573 w 1587"/>
                    <a:gd name="T51" fmla="*/ 6 h 1058"/>
                    <a:gd name="T52" fmla="*/ 1577 w 1587"/>
                    <a:gd name="T53" fmla="*/ 10 h 1058"/>
                    <a:gd name="T54" fmla="*/ 1581 w 1587"/>
                    <a:gd name="T55" fmla="*/ 15 h 1058"/>
                    <a:gd name="T56" fmla="*/ 1584 w 1587"/>
                    <a:gd name="T57" fmla="*/ 20 h 1058"/>
                    <a:gd name="T58" fmla="*/ 1586 w 1587"/>
                    <a:gd name="T59" fmla="*/ 26 h 1058"/>
                    <a:gd name="T60" fmla="*/ 1587 w 1587"/>
                    <a:gd name="T61" fmla="*/ 33 h 1058"/>
                    <a:gd name="T62" fmla="*/ 1587 w 1587"/>
                    <a:gd name="T63" fmla="*/ 1025 h 1058"/>
                    <a:gd name="T64" fmla="*/ 1587 w 1587"/>
                    <a:gd name="T65" fmla="*/ 1025 h 1058"/>
                    <a:gd name="T66" fmla="*/ 1586 w 1587"/>
                    <a:gd name="T67" fmla="*/ 1032 h 1058"/>
                    <a:gd name="T68" fmla="*/ 1584 w 1587"/>
                    <a:gd name="T69" fmla="*/ 1039 h 1058"/>
                    <a:gd name="T70" fmla="*/ 1581 w 1587"/>
                    <a:gd name="T71" fmla="*/ 1044 h 1058"/>
                    <a:gd name="T72" fmla="*/ 1577 w 1587"/>
                    <a:gd name="T73" fmla="*/ 1049 h 1058"/>
                    <a:gd name="T74" fmla="*/ 1573 w 1587"/>
                    <a:gd name="T75" fmla="*/ 1053 h 1058"/>
                    <a:gd name="T76" fmla="*/ 1566 w 1587"/>
                    <a:gd name="T77" fmla="*/ 1056 h 1058"/>
                    <a:gd name="T78" fmla="*/ 1560 w 1587"/>
                    <a:gd name="T79" fmla="*/ 1058 h 1058"/>
                    <a:gd name="T80" fmla="*/ 1554 w 1587"/>
                    <a:gd name="T81" fmla="*/ 1058 h 1058"/>
                    <a:gd name="T82" fmla="*/ 1554 w 1587"/>
                    <a:gd name="T83" fmla="*/ 1058 h 1058"/>
                    <a:gd name="T84" fmla="*/ 66 w 1587"/>
                    <a:gd name="T85" fmla="*/ 992 h 1058"/>
                    <a:gd name="T86" fmla="*/ 1521 w 1587"/>
                    <a:gd name="T87" fmla="*/ 992 h 1058"/>
                    <a:gd name="T88" fmla="*/ 1521 w 1587"/>
                    <a:gd name="T89" fmla="*/ 67 h 1058"/>
                    <a:gd name="T90" fmla="*/ 66 w 1587"/>
                    <a:gd name="T91" fmla="*/ 67 h 1058"/>
                    <a:gd name="T92" fmla="*/ 66 w 1587"/>
                    <a:gd name="T93" fmla="*/ 992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87" h="1058">
                      <a:moveTo>
                        <a:pt x="1554" y="1058"/>
                      </a:moveTo>
                      <a:lnTo>
                        <a:pt x="33" y="1058"/>
                      </a:lnTo>
                      <a:lnTo>
                        <a:pt x="33" y="1058"/>
                      </a:lnTo>
                      <a:lnTo>
                        <a:pt x="25" y="1058"/>
                      </a:lnTo>
                      <a:lnTo>
                        <a:pt x="19" y="1056"/>
                      </a:lnTo>
                      <a:lnTo>
                        <a:pt x="14" y="1053"/>
                      </a:lnTo>
                      <a:lnTo>
                        <a:pt x="9" y="1049"/>
                      </a:lnTo>
                      <a:lnTo>
                        <a:pt x="5" y="1044"/>
                      </a:lnTo>
                      <a:lnTo>
                        <a:pt x="2" y="1039"/>
                      </a:lnTo>
                      <a:lnTo>
                        <a:pt x="1" y="1032"/>
                      </a:lnTo>
                      <a:lnTo>
                        <a:pt x="0" y="1025"/>
                      </a:lnTo>
                      <a:lnTo>
                        <a:pt x="0" y="33"/>
                      </a:lnTo>
                      <a:lnTo>
                        <a:pt x="0" y="33"/>
                      </a:lnTo>
                      <a:lnTo>
                        <a:pt x="1" y="26"/>
                      </a:lnTo>
                      <a:lnTo>
                        <a:pt x="2" y="20"/>
                      </a:lnTo>
                      <a:lnTo>
                        <a:pt x="5" y="15"/>
                      </a:lnTo>
                      <a:lnTo>
                        <a:pt x="9" y="10"/>
                      </a:lnTo>
                      <a:lnTo>
                        <a:pt x="14" y="6"/>
                      </a:lnTo>
                      <a:lnTo>
                        <a:pt x="19" y="2"/>
                      </a:lnTo>
                      <a:lnTo>
                        <a:pt x="25" y="0"/>
                      </a:lnTo>
                      <a:lnTo>
                        <a:pt x="33" y="0"/>
                      </a:lnTo>
                      <a:lnTo>
                        <a:pt x="1554" y="0"/>
                      </a:lnTo>
                      <a:lnTo>
                        <a:pt x="1554" y="0"/>
                      </a:lnTo>
                      <a:lnTo>
                        <a:pt x="1560" y="0"/>
                      </a:lnTo>
                      <a:lnTo>
                        <a:pt x="1566" y="2"/>
                      </a:lnTo>
                      <a:lnTo>
                        <a:pt x="1573" y="6"/>
                      </a:lnTo>
                      <a:lnTo>
                        <a:pt x="1577" y="10"/>
                      </a:lnTo>
                      <a:lnTo>
                        <a:pt x="1581" y="15"/>
                      </a:lnTo>
                      <a:lnTo>
                        <a:pt x="1584" y="20"/>
                      </a:lnTo>
                      <a:lnTo>
                        <a:pt x="1586" y="26"/>
                      </a:lnTo>
                      <a:lnTo>
                        <a:pt x="1587" y="33"/>
                      </a:lnTo>
                      <a:lnTo>
                        <a:pt x="1587" y="1025"/>
                      </a:lnTo>
                      <a:lnTo>
                        <a:pt x="1587" y="1025"/>
                      </a:lnTo>
                      <a:lnTo>
                        <a:pt x="1586" y="1032"/>
                      </a:lnTo>
                      <a:lnTo>
                        <a:pt x="1584" y="1039"/>
                      </a:lnTo>
                      <a:lnTo>
                        <a:pt x="1581" y="1044"/>
                      </a:lnTo>
                      <a:lnTo>
                        <a:pt x="1577" y="1049"/>
                      </a:lnTo>
                      <a:lnTo>
                        <a:pt x="1573" y="1053"/>
                      </a:lnTo>
                      <a:lnTo>
                        <a:pt x="1566" y="1056"/>
                      </a:lnTo>
                      <a:lnTo>
                        <a:pt x="1560" y="1058"/>
                      </a:lnTo>
                      <a:lnTo>
                        <a:pt x="1554" y="1058"/>
                      </a:lnTo>
                      <a:lnTo>
                        <a:pt x="1554" y="1058"/>
                      </a:lnTo>
                      <a:close/>
                      <a:moveTo>
                        <a:pt x="66" y="992"/>
                      </a:moveTo>
                      <a:lnTo>
                        <a:pt x="1521" y="992"/>
                      </a:lnTo>
                      <a:lnTo>
                        <a:pt x="1521" y="67"/>
                      </a:lnTo>
                      <a:lnTo>
                        <a:pt x="66" y="67"/>
                      </a:lnTo>
                      <a:lnTo>
                        <a:pt x="66" y="9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6" name="Freeform 915">
                  <a:extLst>
                    <a:ext uri="{FF2B5EF4-FFF2-40B4-BE49-F238E27FC236}">
                      <a16:creationId xmlns:a16="http://schemas.microsoft.com/office/drawing/2014/main" id="{6564CBE1-319C-46C9-BCCA-A6111F065394}"/>
                    </a:ext>
                  </a:extLst>
                </p:cNvPr>
                <p:cNvSpPr>
                  <a:spLocks/>
                </p:cNvSpPr>
                <p:nvPr/>
              </p:nvSpPr>
              <p:spPr bwMode="auto">
                <a:xfrm>
                  <a:off x="8601075" y="4554538"/>
                  <a:ext cx="14288" cy="60325"/>
                </a:xfrm>
                <a:custGeom>
                  <a:avLst/>
                  <a:gdLst>
                    <a:gd name="T0" fmla="*/ 33 w 66"/>
                    <a:gd name="T1" fmla="*/ 265 h 265"/>
                    <a:gd name="T2" fmla="*/ 33 w 66"/>
                    <a:gd name="T3" fmla="*/ 265 h 265"/>
                    <a:gd name="T4" fmla="*/ 26 w 66"/>
                    <a:gd name="T5" fmla="*/ 264 h 265"/>
                    <a:gd name="T6" fmla="*/ 20 w 66"/>
                    <a:gd name="T7" fmla="*/ 262 h 265"/>
                    <a:gd name="T8" fmla="*/ 15 w 66"/>
                    <a:gd name="T9" fmla="*/ 260 h 265"/>
                    <a:gd name="T10" fmla="*/ 9 w 66"/>
                    <a:gd name="T11" fmla="*/ 256 h 265"/>
                    <a:gd name="T12" fmla="*/ 5 w 66"/>
                    <a:gd name="T13" fmla="*/ 251 h 265"/>
                    <a:gd name="T14" fmla="*/ 2 w 66"/>
                    <a:gd name="T15" fmla="*/ 244 h 265"/>
                    <a:gd name="T16" fmla="*/ 1 w 66"/>
                    <a:gd name="T17" fmla="*/ 238 h 265"/>
                    <a:gd name="T18" fmla="*/ 0 w 66"/>
                    <a:gd name="T19" fmla="*/ 232 h 265"/>
                    <a:gd name="T20" fmla="*/ 0 w 66"/>
                    <a:gd name="T21" fmla="*/ 33 h 265"/>
                    <a:gd name="T22" fmla="*/ 0 w 66"/>
                    <a:gd name="T23" fmla="*/ 33 h 265"/>
                    <a:gd name="T24" fmla="*/ 1 w 66"/>
                    <a:gd name="T25" fmla="*/ 27 h 265"/>
                    <a:gd name="T26" fmla="*/ 2 w 66"/>
                    <a:gd name="T27" fmla="*/ 21 h 265"/>
                    <a:gd name="T28" fmla="*/ 5 w 66"/>
                    <a:gd name="T29" fmla="*/ 15 h 265"/>
                    <a:gd name="T30" fmla="*/ 9 w 66"/>
                    <a:gd name="T31" fmla="*/ 10 h 265"/>
                    <a:gd name="T32" fmla="*/ 15 w 66"/>
                    <a:gd name="T33" fmla="*/ 6 h 265"/>
                    <a:gd name="T34" fmla="*/ 20 w 66"/>
                    <a:gd name="T35" fmla="*/ 3 h 265"/>
                    <a:gd name="T36" fmla="*/ 26 w 66"/>
                    <a:gd name="T37" fmla="*/ 1 h 265"/>
                    <a:gd name="T38" fmla="*/ 33 w 66"/>
                    <a:gd name="T39" fmla="*/ 0 h 265"/>
                    <a:gd name="T40" fmla="*/ 33 w 66"/>
                    <a:gd name="T41" fmla="*/ 0 h 265"/>
                    <a:gd name="T42" fmla="*/ 39 w 66"/>
                    <a:gd name="T43" fmla="*/ 1 h 265"/>
                    <a:gd name="T44" fmla="*/ 46 w 66"/>
                    <a:gd name="T45" fmla="*/ 3 h 265"/>
                    <a:gd name="T46" fmla="*/ 52 w 66"/>
                    <a:gd name="T47" fmla="*/ 6 h 265"/>
                    <a:gd name="T48" fmla="*/ 56 w 66"/>
                    <a:gd name="T49" fmla="*/ 10 h 265"/>
                    <a:gd name="T50" fmla="*/ 60 w 66"/>
                    <a:gd name="T51" fmla="*/ 15 h 265"/>
                    <a:gd name="T52" fmla="*/ 63 w 66"/>
                    <a:gd name="T53" fmla="*/ 21 h 265"/>
                    <a:gd name="T54" fmla="*/ 65 w 66"/>
                    <a:gd name="T55" fmla="*/ 27 h 265"/>
                    <a:gd name="T56" fmla="*/ 66 w 66"/>
                    <a:gd name="T57" fmla="*/ 33 h 265"/>
                    <a:gd name="T58" fmla="*/ 66 w 66"/>
                    <a:gd name="T59" fmla="*/ 232 h 265"/>
                    <a:gd name="T60" fmla="*/ 66 w 66"/>
                    <a:gd name="T61" fmla="*/ 232 h 265"/>
                    <a:gd name="T62" fmla="*/ 65 w 66"/>
                    <a:gd name="T63" fmla="*/ 238 h 265"/>
                    <a:gd name="T64" fmla="*/ 63 w 66"/>
                    <a:gd name="T65" fmla="*/ 244 h 265"/>
                    <a:gd name="T66" fmla="*/ 60 w 66"/>
                    <a:gd name="T67" fmla="*/ 251 h 265"/>
                    <a:gd name="T68" fmla="*/ 56 w 66"/>
                    <a:gd name="T69" fmla="*/ 256 h 265"/>
                    <a:gd name="T70" fmla="*/ 52 w 66"/>
                    <a:gd name="T71" fmla="*/ 260 h 265"/>
                    <a:gd name="T72" fmla="*/ 46 w 66"/>
                    <a:gd name="T73" fmla="*/ 262 h 265"/>
                    <a:gd name="T74" fmla="*/ 39 w 66"/>
                    <a:gd name="T75" fmla="*/ 264 h 265"/>
                    <a:gd name="T76" fmla="*/ 33 w 66"/>
                    <a:gd name="T77" fmla="*/ 265 h 265"/>
                    <a:gd name="T78" fmla="*/ 33 w 66"/>
                    <a:gd name="T79"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265">
                      <a:moveTo>
                        <a:pt x="33" y="265"/>
                      </a:moveTo>
                      <a:lnTo>
                        <a:pt x="33" y="265"/>
                      </a:lnTo>
                      <a:lnTo>
                        <a:pt x="26" y="264"/>
                      </a:lnTo>
                      <a:lnTo>
                        <a:pt x="20" y="262"/>
                      </a:lnTo>
                      <a:lnTo>
                        <a:pt x="15" y="260"/>
                      </a:lnTo>
                      <a:lnTo>
                        <a:pt x="9" y="256"/>
                      </a:lnTo>
                      <a:lnTo>
                        <a:pt x="5" y="251"/>
                      </a:lnTo>
                      <a:lnTo>
                        <a:pt x="2" y="244"/>
                      </a:lnTo>
                      <a:lnTo>
                        <a:pt x="1" y="238"/>
                      </a:lnTo>
                      <a:lnTo>
                        <a:pt x="0" y="232"/>
                      </a:lnTo>
                      <a:lnTo>
                        <a:pt x="0" y="33"/>
                      </a:lnTo>
                      <a:lnTo>
                        <a:pt x="0" y="33"/>
                      </a:lnTo>
                      <a:lnTo>
                        <a:pt x="1" y="27"/>
                      </a:lnTo>
                      <a:lnTo>
                        <a:pt x="2" y="21"/>
                      </a:lnTo>
                      <a:lnTo>
                        <a:pt x="5" y="15"/>
                      </a:lnTo>
                      <a:lnTo>
                        <a:pt x="9" y="10"/>
                      </a:lnTo>
                      <a:lnTo>
                        <a:pt x="15" y="6"/>
                      </a:lnTo>
                      <a:lnTo>
                        <a:pt x="20" y="3"/>
                      </a:lnTo>
                      <a:lnTo>
                        <a:pt x="26" y="1"/>
                      </a:lnTo>
                      <a:lnTo>
                        <a:pt x="33" y="0"/>
                      </a:lnTo>
                      <a:lnTo>
                        <a:pt x="33" y="0"/>
                      </a:lnTo>
                      <a:lnTo>
                        <a:pt x="39" y="1"/>
                      </a:lnTo>
                      <a:lnTo>
                        <a:pt x="46" y="3"/>
                      </a:lnTo>
                      <a:lnTo>
                        <a:pt x="52" y="6"/>
                      </a:lnTo>
                      <a:lnTo>
                        <a:pt x="56" y="10"/>
                      </a:lnTo>
                      <a:lnTo>
                        <a:pt x="60" y="15"/>
                      </a:lnTo>
                      <a:lnTo>
                        <a:pt x="63" y="21"/>
                      </a:lnTo>
                      <a:lnTo>
                        <a:pt x="65" y="27"/>
                      </a:lnTo>
                      <a:lnTo>
                        <a:pt x="66" y="33"/>
                      </a:lnTo>
                      <a:lnTo>
                        <a:pt x="66" y="232"/>
                      </a:lnTo>
                      <a:lnTo>
                        <a:pt x="66" y="232"/>
                      </a:lnTo>
                      <a:lnTo>
                        <a:pt x="65" y="238"/>
                      </a:lnTo>
                      <a:lnTo>
                        <a:pt x="63" y="244"/>
                      </a:lnTo>
                      <a:lnTo>
                        <a:pt x="60" y="251"/>
                      </a:lnTo>
                      <a:lnTo>
                        <a:pt x="56" y="256"/>
                      </a:lnTo>
                      <a:lnTo>
                        <a:pt x="52" y="260"/>
                      </a:lnTo>
                      <a:lnTo>
                        <a:pt x="46" y="262"/>
                      </a:lnTo>
                      <a:lnTo>
                        <a:pt x="39" y="264"/>
                      </a:lnTo>
                      <a:lnTo>
                        <a:pt x="33" y="265"/>
                      </a:lnTo>
                      <a:lnTo>
                        <a:pt x="33"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7" name="Freeform 916">
                  <a:extLst>
                    <a:ext uri="{FF2B5EF4-FFF2-40B4-BE49-F238E27FC236}">
                      <a16:creationId xmlns:a16="http://schemas.microsoft.com/office/drawing/2014/main" id="{AA3EE8C1-407E-4136-9B14-2DE3FC6783C0}"/>
                    </a:ext>
                  </a:extLst>
                </p:cNvPr>
                <p:cNvSpPr>
                  <a:spLocks/>
                </p:cNvSpPr>
                <p:nvPr/>
              </p:nvSpPr>
              <p:spPr bwMode="auto">
                <a:xfrm>
                  <a:off x="8524875" y="4598988"/>
                  <a:ext cx="165100" cy="90488"/>
                </a:xfrm>
                <a:custGeom>
                  <a:avLst/>
                  <a:gdLst>
                    <a:gd name="T0" fmla="*/ 694 w 727"/>
                    <a:gd name="T1" fmla="*/ 396 h 396"/>
                    <a:gd name="T2" fmla="*/ 694 w 727"/>
                    <a:gd name="T3" fmla="*/ 396 h 396"/>
                    <a:gd name="T4" fmla="*/ 688 w 727"/>
                    <a:gd name="T5" fmla="*/ 396 h 396"/>
                    <a:gd name="T6" fmla="*/ 682 w 727"/>
                    <a:gd name="T7" fmla="*/ 394 h 396"/>
                    <a:gd name="T8" fmla="*/ 677 w 727"/>
                    <a:gd name="T9" fmla="*/ 391 h 396"/>
                    <a:gd name="T10" fmla="*/ 672 w 727"/>
                    <a:gd name="T11" fmla="*/ 387 h 396"/>
                    <a:gd name="T12" fmla="*/ 364 w 727"/>
                    <a:gd name="T13" fmla="*/ 79 h 396"/>
                    <a:gd name="T14" fmla="*/ 57 w 727"/>
                    <a:gd name="T15" fmla="*/ 387 h 396"/>
                    <a:gd name="T16" fmla="*/ 57 w 727"/>
                    <a:gd name="T17" fmla="*/ 387 h 396"/>
                    <a:gd name="T18" fmla="*/ 52 w 727"/>
                    <a:gd name="T19" fmla="*/ 391 h 396"/>
                    <a:gd name="T20" fmla="*/ 45 w 727"/>
                    <a:gd name="T21" fmla="*/ 394 h 396"/>
                    <a:gd name="T22" fmla="*/ 39 w 727"/>
                    <a:gd name="T23" fmla="*/ 396 h 396"/>
                    <a:gd name="T24" fmla="*/ 33 w 727"/>
                    <a:gd name="T25" fmla="*/ 396 h 396"/>
                    <a:gd name="T26" fmla="*/ 27 w 727"/>
                    <a:gd name="T27" fmla="*/ 396 h 396"/>
                    <a:gd name="T28" fmla="*/ 21 w 727"/>
                    <a:gd name="T29" fmla="*/ 394 h 396"/>
                    <a:gd name="T30" fmla="*/ 15 w 727"/>
                    <a:gd name="T31" fmla="*/ 391 h 396"/>
                    <a:gd name="T32" fmla="*/ 10 w 727"/>
                    <a:gd name="T33" fmla="*/ 387 h 396"/>
                    <a:gd name="T34" fmla="*/ 10 w 727"/>
                    <a:gd name="T35" fmla="*/ 387 h 396"/>
                    <a:gd name="T36" fmla="*/ 6 w 727"/>
                    <a:gd name="T37" fmla="*/ 382 h 396"/>
                    <a:gd name="T38" fmla="*/ 3 w 727"/>
                    <a:gd name="T39" fmla="*/ 377 h 396"/>
                    <a:gd name="T40" fmla="*/ 1 w 727"/>
                    <a:gd name="T41" fmla="*/ 370 h 396"/>
                    <a:gd name="T42" fmla="*/ 0 w 727"/>
                    <a:gd name="T43" fmla="*/ 364 h 396"/>
                    <a:gd name="T44" fmla="*/ 1 w 727"/>
                    <a:gd name="T45" fmla="*/ 357 h 396"/>
                    <a:gd name="T46" fmla="*/ 3 w 727"/>
                    <a:gd name="T47" fmla="*/ 352 h 396"/>
                    <a:gd name="T48" fmla="*/ 6 w 727"/>
                    <a:gd name="T49" fmla="*/ 346 h 396"/>
                    <a:gd name="T50" fmla="*/ 10 w 727"/>
                    <a:gd name="T51" fmla="*/ 340 h 396"/>
                    <a:gd name="T52" fmla="*/ 340 w 727"/>
                    <a:gd name="T53" fmla="*/ 9 h 396"/>
                    <a:gd name="T54" fmla="*/ 340 w 727"/>
                    <a:gd name="T55" fmla="*/ 9 h 396"/>
                    <a:gd name="T56" fmla="*/ 346 w 727"/>
                    <a:gd name="T57" fmla="*/ 5 h 396"/>
                    <a:gd name="T58" fmla="*/ 352 w 727"/>
                    <a:gd name="T59" fmla="*/ 2 h 396"/>
                    <a:gd name="T60" fmla="*/ 358 w 727"/>
                    <a:gd name="T61" fmla="*/ 1 h 396"/>
                    <a:gd name="T62" fmla="*/ 364 w 727"/>
                    <a:gd name="T63" fmla="*/ 0 h 396"/>
                    <a:gd name="T64" fmla="*/ 370 w 727"/>
                    <a:gd name="T65" fmla="*/ 1 h 396"/>
                    <a:gd name="T66" fmla="*/ 377 w 727"/>
                    <a:gd name="T67" fmla="*/ 2 h 396"/>
                    <a:gd name="T68" fmla="*/ 382 w 727"/>
                    <a:gd name="T69" fmla="*/ 5 h 396"/>
                    <a:gd name="T70" fmla="*/ 387 w 727"/>
                    <a:gd name="T71" fmla="*/ 9 h 396"/>
                    <a:gd name="T72" fmla="*/ 718 w 727"/>
                    <a:gd name="T73" fmla="*/ 340 h 396"/>
                    <a:gd name="T74" fmla="*/ 718 w 727"/>
                    <a:gd name="T75" fmla="*/ 340 h 396"/>
                    <a:gd name="T76" fmla="*/ 722 w 727"/>
                    <a:gd name="T77" fmla="*/ 346 h 396"/>
                    <a:gd name="T78" fmla="*/ 725 w 727"/>
                    <a:gd name="T79" fmla="*/ 352 h 396"/>
                    <a:gd name="T80" fmla="*/ 727 w 727"/>
                    <a:gd name="T81" fmla="*/ 357 h 396"/>
                    <a:gd name="T82" fmla="*/ 727 w 727"/>
                    <a:gd name="T83" fmla="*/ 364 h 396"/>
                    <a:gd name="T84" fmla="*/ 727 w 727"/>
                    <a:gd name="T85" fmla="*/ 370 h 396"/>
                    <a:gd name="T86" fmla="*/ 725 w 727"/>
                    <a:gd name="T87" fmla="*/ 377 h 396"/>
                    <a:gd name="T88" fmla="*/ 722 w 727"/>
                    <a:gd name="T89" fmla="*/ 382 h 396"/>
                    <a:gd name="T90" fmla="*/ 718 w 727"/>
                    <a:gd name="T91" fmla="*/ 387 h 396"/>
                    <a:gd name="T92" fmla="*/ 718 w 727"/>
                    <a:gd name="T93" fmla="*/ 387 h 396"/>
                    <a:gd name="T94" fmla="*/ 713 w 727"/>
                    <a:gd name="T95" fmla="*/ 391 h 396"/>
                    <a:gd name="T96" fmla="*/ 707 w 727"/>
                    <a:gd name="T97" fmla="*/ 394 h 396"/>
                    <a:gd name="T98" fmla="*/ 701 w 727"/>
                    <a:gd name="T99" fmla="*/ 396 h 396"/>
                    <a:gd name="T100" fmla="*/ 694 w 727"/>
                    <a:gd name="T101" fmla="*/ 396 h 396"/>
                    <a:gd name="T102" fmla="*/ 694 w 727"/>
                    <a:gd name="T103" fmla="*/ 39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7" h="396">
                      <a:moveTo>
                        <a:pt x="694" y="396"/>
                      </a:moveTo>
                      <a:lnTo>
                        <a:pt x="694" y="396"/>
                      </a:lnTo>
                      <a:lnTo>
                        <a:pt x="688" y="396"/>
                      </a:lnTo>
                      <a:lnTo>
                        <a:pt x="682" y="394"/>
                      </a:lnTo>
                      <a:lnTo>
                        <a:pt x="677" y="391"/>
                      </a:lnTo>
                      <a:lnTo>
                        <a:pt x="672" y="387"/>
                      </a:lnTo>
                      <a:lnTo>
                        <a:pt x="364" y="79"/>
                      </a:lnTo>
                      <a:lnTo>
                        <a:pt x="57" y="387"/>
                      </a:lnTo>
                      <a:lnTo>
                        <a:pt x="57" y="387"/>
                      </a:lnTo>
                      <a:lnTo>
                        <a:pt x="52" y="391"/>
                      </a:lnTo>
                      <a:lnTo>
                        <a:pt x="45" y="394"/>
                      </a:lnTo>
                      <a:lnTo>
                        <a:pt x="39" y="396"/>
                      </a:lnTo>
                      <a:lnTo>
                        <a:pt x="33" y="396"/>
                      </a:lnTo>
                      <a:lnTo>
                        <a:pt x="27" y="396"/>
                      </a:lnTo>
                      <a:lnTo>
                        <a:pt x="21" y="394"/>
                      </a:lnTo>
                      <a:lnTo>
                        <a:pt x="15" y="391"/>
                      </a:lnTo>
                      <a:lnTo>
                        <a:pt x="10" y="387"/>
                      </a:lnTo>
                      <a:lnTo>
                        <a:pt x="10" y="387"/>
                      </a:lnTo>
                      <a:lnTo>
                        <a:pt x="6" y="382"/>
                      </a:lnTo>
                      <a:lnTo>
                        <a:pt x="3" y="377"/>
                      </a:lnTo>
                      <a:lnTo>
                        <a:pt x="1" y="370"/>
                      </a:lnTo>
                      <a:lnTo>
                        <a:pt x="0" y="364"/>
                      </a:lnTo>
                      <a:lnTo>
                        <a:pt x="1" y="357"/>
                      </a:lnTo>
                      <a:lnTo>
                        <a:pt x="3" y="352"/>
                      </a:lnTo>
                      <a:lnTo>
                        <a:pt x="6" y="346"/>
                      </a:lnTo>
                      <a:lnTo>
                        <a:pt x="10" y="340"/>
                      </a:lnTo>
                      <a:lnTo>
                        <a:pt x="340" y="9"/>
                      </a:lnTo>
                      <a:lnTo>
                        <a:pt x="340" y="9"/>
                      </a:lnTo>
                      <a:lnTo>
                        <a:pt x="346" y="5"/>
                      </a:lnTo>
                      <a:lnTo>
                        <a:pt x="352" y="2"/>
                      </a:lnTo>
                      <a:lnTo>
                        <a:pt x="358" y="1"/>
                      </a:lnTo>
                      <a:lnTo>
                        <a:pt x="364" y="0"/>
                      </a:lnTo>
                      <a:lnTo>
                        <a:pt x="370" y="1"/>
                      </a:lnTo>
                      <a:lnTo>
                        <a:pt x="377" y="2"/>
                      </a:lnTo>
                      <a:lnTo>
                        <a:pt x="382" y="5"/>
                      </a:lnTo>
                      <a:lnTo>
                        <a:pt x="387" y="9"/>
                      </a:lnTo>
                      <a:lnTo>
                        <a:pt x="718" y="340"/>
                      </a:lnTo>
                      <a:lnTo>
                        <a:pt x="718" y="340"/>
                      </a:lnTo>
                      <a:lnTo>
                        <a:pt x="722" y="346"/>
                      </a:lnTo>
                      <a:lnTo>
                        <a:pt x="725" y="352"/>
                      </a:lnTo>
                      <a:lnTo>
                        <a:pt x="727" y="357"/>
                      </a:lnTo>
                      <a:lnTo>
                        <a:pt x="727" y="364"/>
                      </a:lnTo>
                      <a:lnTo>
                        <a:pt x="727" y="370"/>
                      </a:lnTo>
                      <a:lnTo>
                        <a:pt x="725" y="377"/>
                      </a:lnTo>
                      <a:lnTo>
                        <a:pt x="722" y="382"/>
                      </a:lnTo>
                      <a:lnTo>
                        <a:pt x="718" y="387"/>
                      </a:lnTo>
                      <a:lnTo>
                        <a:pt x="718" y="387"/>
                      </a:lnTo>
                      <a:lnTo>
                        <a:pt x="713" y="391"/>
                      </a:lnTo>
                      <a:lnTo>
                        <a:pt x="707" y="394"/>
                      </a:lnTo>
                      <a:lnTo>
                        <a:pt x="701" y="396"/>
                      </a:lnTo>
                      <a:lnTo>
                        <a:pt x="694" y="396"/>
                      </a:lnTo>
                      <a:lnTo>
                        <a:pt x="694" y="3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8" name="Freeform 917">
                  <a:extLst>
                    <a:ext uri="{FF2B5EF4-FFF2-40B4-BE49-F238E27FC236}">
                      <a16:creationId xmlns:a16="http://schemas.microsoft.com/office/drawing/2014/main" id="{B63E6DC3-3976-4DCD-8E7F-35C55999211C}"/>
                    </a:ext>
                  </a:extLst>
                </p:cNvPr>
                <p:cNvSpPr>
                  <a:spLocks/>
                </p:cNvSpPr>
                <p:nvPr/>
              </p:nvSpPr>
              <p:spPr bwMode="auto">
                <a:xfrm>
                  <a:off x="8466138" y="4389438"/>
                  <a:ext cx="254000" cy="104775"/>
                </a:xfrm>
                <a:custGeom>
                  <a:avLst/>
                  <a:gdLst>
                    <a:gd name="T0" fmla="*/ 562 w 1124"/>
                    <a:gd name="T1" fmla="*/ 464 h 464"/>
                    <a:gd name="T2" fmla="*/ 557 w 1124"/>
                    <a:gd name="T3" fmla="*/ 463 h 464"/>
                    <a:gd name="T4" fmla="*/ 542 w 1124"/>
                    <a:gd name="T5" fmla="*/ 457 h 464"/>
                    <a:gd name="T6" fmla="*/ 532 w 1124"/>
                    <a:gd name="T7" fmla="*/ 444 h 464"/>
                    <a:gd name="T8" fmla="*/ 323 w 1124"/>
                    <a:gd name="T9" fmla="*/ 319 h 464"/>
                    <a:gd name="T10" fmla="*/ 318 w 1124"/>
                    <a:gd name="T11" fmla="*/ 324 h 464"/>
                    <a:gd name="T12" fmla="*/ 304 w 1124"/>
                    <a:gd name="T13" fmla="*/ 331 h 464"/>
                    <a:gd name="T14" fmla="*/ 33 w 1124"/>
                    <a:gd name="T15" fmla="*/ 332 h 464"/>
                    <a:gd name="T16" fmla="*/ 26 w 1124"/>
                    <a:gd name="T17" fmla="*/ 331 h 464"/>
                    <a:gd name="T18" fmla="*/ 15 w 1124"/>
                    <a:gd name="T19" fmla="*/ 325 h 464"/>
                    <a:gd name="T20" fmla="*/ 5 w 1124"/>
                    <a:gd name="T21" fmla="*/ 317 h 464"/>
                    <a:gd name="T22" fmla="*/ 0 w 1124"/>
                    <a:gd name="T23" fmla="*/ 305 h 464"/>
                    <a:gd name="T24" fmla="*/ 0 w 1124"/>
                    <a:gd name="T25" fmla="*/ 298 h 464"/>
                    <a:gd name="T26" fmla="*/ 2 w 1124"/>
                    <a:gd name="T27" fmla="*/ 286 h 464"/>
                    <a:gd name="T28" fmla="*/ 9 w 1124"/>
                    <a:gd name="T29" fmla="*/ 275 h 464"/>
                    <a:gd name="T30" fmla="*/ 20 w 1124"/>
                    <a:gd name="T31" fmla="*/ 268 h 464"/>
                    <a:gd name="T32" fmla="*/ 33 w 1124"/>
                    <a:gd name="T33" fmla="*/ 265 h 464"/>
                    <a:gd name="T34" fmla="*/ 404 w 1124"/>
                    <a:gd name="T35" fmla="*/ 112 h 464"/>
                    <a:gd name="T36" fmla="*/ 410 w 1124"/>
                    <a:gd name="T37" fmla="*/ 107 h 464"/>
                    <a:gd name="T38" fmla="*/ 425 w 1124"/>
                    <a:gd name="T39" fmla="*/ 101 h 464"/>
                    <a:gd name="T40" fmla="*/ 434 w 1124"/>
                    <a:gd name="T41" fmla="*/ 100 h 464"/>
                    <a:gd name="T42" fmla="*/ 449 w 1124"/>
                    <a:gd name="T43" fmla="*/ 107 h 464"/>
                    <a:gd name="T44" fmla="*/ 460 w 1124"/>
                    <a:gd name="T45" fmla="*/ 119 h 464"/>
                    <a:gd name="T46" fmla="*/ 702 w 1124"/>
                    <a:gd name="T47" fmla="*/ 211 h 464"/>
                    <a:gd name="T48" fmla="*/ 707 w 1124"/>
                    <a:gd name="T49" fmla="*/ 206 h 464"/>
                    <a:gd name="T50" fmla="*/ 719 w 1124"/>
                    <a:gd name="T51" fmla="*/ 200 h 464"/>
                    <a:gd name="T52" fmla="*/ 725 w 1124"/>
                    <a:gd name="T53" fmla="*/ 199 h 464"/>
                    <a:gd name="T54" fmla="*/ 739 w 1124"/>
                    <a:gd name="T55" fmla="*/ 201 h 464"/>
                    <a:gd name="T56" fmla="*/ 750 w 1124"/>
                    <a:gd name="T57" fmla="*/ 208 h 464"/>
                    <a:gd name="T58" fmla="*/ 1064 w 1124"/>
                    <a:gd name="T59" fmla="*/ 15 h 464"/>
                    <a:gd name="T60" fmla="*/ 1068 w 1124"/>
                    <a:gd name="T61" fmla="*/ 10 h 464"/>
                    <a:gd name="T62" fmla="*/ 1079 w 1124"/>
                    <a:gd name="T63" fmla="*/ 2 h 464"/>
                    <a:gd name="T64" fmla="*/ 1092 w 1124"/>
                    <a:gd name="T65" fmla="*/ 0 h 464"/>
                    <a:gd name="T66" fmla="*/ 1104 w 1124"/>
                    <a:gd name="T67" fmla="*/ 3 h 464"/>
                    <a:gd name="T68" fmla="*/ 1109 w 1124"/>
                    <a:gd name="T69" fmla="*/ 7 h 464"/>
                    <a:gd name="T70" fmla="*/ 1119 w 1124"/>
                    <a:gd name="T71" fmla="*/ 16 h 464"/>
                    <a:gd name="T72" fmla="*/ 1124 w 1124"/>
                    <a:gd name="T73" fmla="*/ 28 h 464"/>
                    <a:gd name="T74" fmla="*/ 1123 w 1124"/>
                    <a:gd name="T75" fmla="*/ 41 h 464"/>
                    <a:gd name="T76" fmla="*/ 1118 w 1124"/>
                    <a:gd name="T77" fmla="*/ 53 h 464"/>
                    <a:gd name="T78" fmla="*/ 887 w 1124"/>
                    <a:gd name="T79" fmla="*/ 383 h 464"/>
                    <a:gd name="T80" fmla="*/ 876 w 1124"/>
                    <a:gd name="T81" fmla="*/ 394 h 464"/>
                    <a:gd name="T82" fmla="*/ 862 w 1124"/>
                    <a:gd name="T83" fmla="*/ 398 h 464"/>
                    <a:gd name="T84" fmla="*/ 855 w 1124"/>
                    <a:gd name="T85" fmla="*/ 398 h 464"/>
                    <a:gd name="T86" fmla="*/ 841 w 1124"/>
                    <a:gd name="T87" fmla="*/ 393 h 464"/>
                    <a:gd name="T88" fmla="*/ 730 w 1124"/>
                    <a:gd name="T89" fmla="*/ 281 h 464"/>
                    <a:gd name="T90" fmla="*/ 587 w 1124"/>
                    <a:gd name="T91" fmla="*/ 452 h 464"/>
                    <a:gd name="T92" fmla="*/ 575 w 1124"/>
                    <a:gd name="T93" fmla="*/ 461 h 464"/>
                    <a:gd name="T94" fmla="*/ 562 w 1124"/>
                    <a:gd name="T95"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24" h="464">
                      <a:moveTo>
                        <a:pt x="562" y="464"/>
                      </a:moveTo>
                      <a:lnTo>
                        <a:pt x="562" y="464"/>
                      </a:lnTo>
                      <a:lnTo>
                        <a:pt x="557" y="463"/>
                      </a:lnTo>
                      <a:lnTo>
                        <a:pt x="557" y="463"/>
                      </a:lnTo>
                      <a:lnTo>
                        <a:pt x="550" y="461"/>
                      </a:lnTo>
                      <a:lnTo>
                        <a:pt x="542" y="457"/>
                      </a:lnTo>
                      <a:lnTo>
                        <a:pt x="536" y="452"/>
                      </a:lnTo>
                      <a:lnTo>
                        <a:pt x="532" y="444"/>
                      </a:lnTo>
                      <a:lnTo>
                        <a:pt x="421" y="196"/>
                      </a:lnTo>
                      <a:lnTo>
                        <a:pt x="323" y="319"/>
                      </a:lnTo>
                      <a:lnTo>
                        <a:pt x="323" y="319"/>
                      </a:lnTo>
                      <a:lnTo>
                        <a:pt x="318" y="324"/>
                      </a:lnTo>
                      <a:lnTo>
                        <a:pt x="312" y="328"/>
                      </a:lnTo>
                      <a:lnTo>
                        <a:pt x="304" y="331"/>
                      </a:lnTo>
                      <a:lnTo>
                        <a:pt x="297" y="332"/>
                      </a:lnTo>
                      <a:lnTo>
                        <a:pt x="33" y="332"/>
                      </a:lnTo>
                      <a:lnTo>
                        <a:pt x="33" y="332"/>
                      </a:lnTo>
                      <a:lnTo>
                        <a:pt x="26" y="331"/>
                      </a:lnTo>
                      <a:lnTo>
                        <a:pt x="20" y="328"/>
                      </a:lnTo>
                      <a:lnTo>
                        <a:pt x="15" y="325"/>
                      </a:lnTo>
                      <a:lnTo>
                        <a:pt x="9" y="322"/>
                      </a:lnTo>
                      <a:lnTo>
                        <a:pt x="5" y="317"/>
                      </a:lnTo>
                      <a:lnTo>
                        <a:pt x="2" y="311"/>
                      </a:lnTo>
                      <a:lnTo>
                        <a:pt x="0" y="305"/>
                      </a:lnTo>
                      <a:lnTo>
                        <a:pt x="0" y="298"/>
                      </a:lnTo>
                      <a:lnTo>
                        <a:pt x="0" y="298"/>
                      </a:lnTo>
                      <a:lnTo>
                        <a:pt x="0" y="292"/>
                      </a:lnTo>
                      <a:lnTo>
                        <a:pt x="2" y="286"/>
                      </a:lnTo>
                      <a:lnTo>
                        <a:pt x="5" y="280"/>
                      </a:lnTo>
                      <a:lnTo>
                        <a:pt x="9" y="275"/>
                      </a:lnTo>
                      <a:lnTo>
                        <a:pt x="15" y="270"/>
                      </a:lnTo>
                      <a:lnTo>
                        <a:pt x="20" y="268"/>
                      </a:lnTo>
                      <a:lnTo>
                        <a:pt x="26" y="266"/>
                      </a:lnTo>
                      <a:lnTo>
                        <a:pt x="33" y="265"/>
                      </a:lnTo>
                      <a:lnTo>
                        <a:pt x="282" y="265"/>
                      </a:lnTo>
                      <a:lnTo>
                        <a:pt x="404" y="112"/>
                      </a:lnTo>
                      <a:lnTo>
                        <a:pt x="404" y="112"/>
                      </a:lnTo>
                      <a:lnTo>
                        <a:pt x="410" y="107"/>
                      </a:lnTo>
                      <a:lnTo>
                        <a:pt x="417" y="103"/>
                      </a:lnTo>
                      <a:lnTo>
                        <a:pt x="425" y="101"/>
                      </a:lnTo>
                      <a:lnTo>
                        <a:pt x="434" y="100"/>
                      </a:lnTo>
                      <a:lnTo>
                        <a:pt x="434" y="100"/>
                      </a:lnTo>
                      <a:lnTo>
                        <a:pt x="442" y="103"/>
                      </a:lnTo>
                      <a:lnTo>
                        <a:pt x="449" y="107"/>
                      </a:lnTo>
                      <a:lnTo>
                        <a:pt x="455" y="112"/>
                      </a:lnTo>
                      <a:lnTo>
                        <a:pt x="460" y="119"/>
                      </a:lnTo>
                      <a:lnTo>
                        <a:pt x="570" y="369"/>
                      </a:lnTo>
                      <a:lnTo>
                        <a:pt x="702" y="211"/>
                      </a:lnTo>
                      <a:lnTo>
                        <a:pt x="702" y="211"/>
                      </a:lnTo>
                      <a:lnTo>
                        <a:pt x="707" y="206"/>
                      </a:lnTo>
                      <a:lnTo>
                        <a:pt x="712" y="202"/>
                      </a:lnTo>
                      <a:lnTo>
                        <a:pt x="719" y="200"/>
                      </a:lnTo>
                      <a:lnTo>
                        <a:pt x="725" y="199"/>
                      </a:lnTo>
                      <a:lnTo>
                        <a:pt x="725" y="199"/>
                      </a:lnTo>
                      <a:lnTo>
                        <a:pt x="733" y="200"/>
                      </a:lnTo>
                      <a:lnTo>
                        <a:pt x="739" y="201"/>
                      </a:lnTo>
                      <a:lnTo>
                        <a:pt x="745" y="204"/>
                      </a:lnTo>
                      <a:lnTo>
                        <a:pt x="750" y="208"/>
                      </a:lnTo>
                      <a:lnTo>
                        <a:pt x="855" y="313"/>
                      </a:lnTo>
                      <a:lnTo>
                        <a:pt x="1064" y="15"/>
                      </a:lnTo>
                      <a:lnTo>
                        <a:pt x="1064" y="15"/>
                      </a:lnTo>
                      <a:lnTo>
                        <a:pt x="1068" y="10"/>
                      </a:lnTo>
                      <a:lnTo>
                        <a:pt x="1073" y="5"/>
                      </a:lnTo>
                      <a:lnTo>
                        <a:pt x="1079" y="2"/>
                      </a:lnTo>
                      <a:lnTo>
                        <a:pt x="1086" y="1"/>
                      </a:lnTo>
                      <a:lnTo>
                        <a:pt x="1092" y="0"/>
                      </a:lnTo>
                      <a:lnTo>
                        <a:pt x="1098" y="1"/>
                      </a:lnTo>
                      <a:lnTo>
                        <a:pt x="1104" y="3"/>
                      </a:lnTo>
                      <a:lnTo>
                        <a:pt x="1109" y="7"/>
                      </a:lnTo>
                      <a:lnTo>
                        <a:pt x="1109" y="7"/>
                      </a:lnTo>
                      <a:lnTo>
                        <a:pt x="1115" y="11"/>
                      </a:lnTo>
                      <a:lnTo>
                        <a:pt x="1119" y="16"/>
                      </a:lnTo>
                      <a:lnTo>
                        <a:pt x="1122" y="22"/>
                      </a:lnTo>
                      <a:lnTo>
                        <a:pt x="1124" y="28"/>
                      </a:lnTo>
                      <a:lnTo>
                        <a:pt x="1124" y="34"/>
                      </a:lnTo>
                      <a:lnTo>
                        <a:pt x="1123" y="41"/>
                      </a:lnTo>
                      <a:lnTo>
                        <a:pt x="1121" y="47"/>
                      </a:lnTo>
                      <a:lnTo>
                        <a:pt x="1118" y="53"/>
                      </a:lnTo>
                      <a:lnTo>
                        <a:pt x="887" y="383"/>
                      </a:lnTo>
                      <a:lnTo>
                        <a:pt x="887" y="383"/>
                      </a:lnTo>
                      <a:lnTo>
                        <a:pt x="882" y="388"/>
                      </a:lnTo>
                      <a:lnTo>
                        <a:pt x="876" y="394"/>
                      </a:lnTo>
                      <a:lnTo>
                        <a:pt x="869" y="396"/>
                      </a:lnTo>
                      <a:lnTo>
                        <a:pt x="862" y="398"/>
                      </a:lnTo>
                      <a:lnTo>
                        <a:pt x="862" y="398"/>
                      </a:lnTo>
                      <a:lnTo>
                        <a:pt x="855" y="398"/>
                      </a:lnTo>
                      <a:lnTo>
                        <a:pt x="849" y="396"/>
                      </a:lnTo>
                      <a:lnTo>
                        <a:pt x="841" y="393"/>
                      </a:lnTo>
                      <a:lnTo>
                        <a:pt x="836" y="387"/>
                      </a:lnTo>
                      <a:lnTo>
                        <a:pt x="730" y="281"/>
                      </a:lnTo>
                      <a:lnTo>
                        <a:pt x="587" y="452"/>
                      </a:lnTo>
                      <a:lnTo>
                        <a:pt x="587" y="452"/>
                      </a:lnTo>
                      <a:lnTo>
                        <a:pt x="582" y="457"/>
                      </a:lnTo>
                      <a:lnTo>
                        <a:pt x="575" y="461"/>
                      </a:lnTo>
                      <a:lnTo>
                        <a:pt x="569" y="463"/>
                      </a:lnTo>
                      <a:lnTo>
                        <a:pt x="562" y="464"/>
                      </a:lnTo>
                      <a:lnTo>
                        <a:pt x="562"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9" name="Freeform 918">
                  <a:extLst>
                    <a:ext uri="{FF2B5EF4-FFF2-40B4-BE49-F238E27FC236}">
                      <a16:creationId xmlns:a16="http://schemas.microsoft.com/office/drawing/2014/main" id="{56117AAE-2C3F-4C78-BCBE-2853D712F710}"/>
                    </a:ext>
                  </a:extLst>
                </p:cNvPr>
                <p:cNvSpPr>
                  <a:spLocks noEditPoints="1"/>
                </p:cNvSpPr>
                <p:nvPr/>
              </p:nvSpPr>
              <p:spPr bwMode="auto">
                <a:xfrm>
                  <a:off x="8466142" y="4359276"/>
                  <a:ext cx="300039" cy="179388"/>
                </a:xfrm>
                <a:custGeom>
                  <a:avLst/>
                  <a:gdLst>
                    <a:gd name="T0" fmla="*/ 1289 w 1323"/>
                    <a:gd name="T1" fmla="*/ 793 h 793"/>
                    <a:gd name="T2" fmla="*/ 33 w 1323"/>
                    <a:gd name="T3" fmla="*/ 793 h 793"/>
                    <a:gd name="T4" fmla="*/ 33 w 1323"/>
                    <a:gd name="T5" fmla="*/ 793 h 793"/>
                    <a:gd name="T6" fmla="*/ 26 w 1323"/>
                    <a:gd name="T7" fmla="*/ 793 h 793"/>
                    <a:gd name="T8" fmla="*/ 20 w 1323"/>
                    <a:gd name="T9" fmla="*/ 791 h 793"/>
                    <a:gd name="T10" fmla="*/ 15 w 1323"/>
                    <a:gd name="T11" fmla="*/ 788 h 793"/>
                    <a:gd name="T12" fmla="*/ 9 w 1323"/>
                    <a:gd name="T13" fmla="*/ 783 h 793"/>
                    <a:gd name="T14" fmla="*/ 5 w 1323"/>
                    <a:gd name="T15" fmla="*/ 778 h 793"/>
                    <a:gd name="T16" fmla="*/ 2 w 1323"/>
                    <a:gd name="T17" fmla="*/ 773 h 793"/>
                    <a:gd name="T18" fmla="*/ 0 w 1323"/>
                    <a:gd name="T19" fmla="*/ 767 h 793"/>
                    <a:gd name="T20" fmla="*/ 0 w 1323"/>
                    <a:gd name="T21" fmla="*/ 760 h 793"/>
                    <a:gd name="T22" fmla="*/ 0 w 1323"/>
                    <a:gd name="T23" fmla="*/ 33 h 793"/>
                    <a:gd name="T24" fmla="*/ 0 w 1323"/>
                    <a:gd name="T25" fmla="*/ 33 h 793"/>
                    <a:gd name="T26" fmla="*/ 0 w 1323"/>
                    <a:gd name="T27" fmla="*/ 26 h 793"/>
                    <a:gd name="T28" fmla="*/ 2 w 1323"/>
                    <a:gd name="T29" fmla="*/ 20 h 793"/>
                    <a:gd name="T30" fmla="*/ 5 w 1323"/>
                    <a:gd name="T31" fmla="*/ 14 h 793"/>
                    <a:gd name="T32" fmla="*/ 9 w 1323"/>
                    <a:gd name="T33" fmla="*/ 9 h 793"/>
                    <a:gd name="T34" fmla="*/ 15 w 1323"/>
                    <a:gd name="T35" fmla="*/ 5 h 793"/>
                    <a:gd name="T36" fmla="*/ 20 w 1323"/>
                    <a:gd name="T37" fmla="*/ 2 h 793"/>
                    <a:gd name="T38" fmla="*/ 26 w 1323"/>
                    <a:gd name="T39" fmla="*/ 0 h 793"/>
                    <a:gd name="T40" fmla="*/ 33 w 1323"/>
                    <a:gd name="T41" fmla="*/ 0 h 793"/>
                    <a:gd name="T42" fmla="*/ 1289 w 1323"/>
                    <a:gd name="T43" fmla="*/ 0 h 793"/>
                    <a:gd name="T44" fmla="*/ 1289 w 1323"/>
                    <a:gd name="T45" fmla="*/ 0 h 793"/>
                    <a:gd name="T46" fmla="*/ 1296 w 1323"/>
                    <a:gd name="T47" fmla="*/ 0 h 793"/>
                    <a:gd name="T48" fmla="*/ 1302 w 1323"/>
                    <a:gd name="T49" fmla="*/ 2 h 793"/>
                    <a:gd name="T50" fmla="*/ 1308 w 1323"/>
                    <a:gd name="T51" fmla="*/ 5 h 793"/>
                    <a:gd name="T52" fmla="*/ 1312 w 1323"/>
                    <a:gd name="T53" fmla="*/ 9 h 793"/>
                    <a:gd name="T54" fmla="*/ 1316 w 1323"/>
                    <a:gd name="T55" fmla="*/ 14 h 793"/>
                    <a:gd name="T56" fmla="*/ 1319 w 1323"/>
                    <a:gd name="T57" fmla="*/ 20 h 793"/>
                    <a:gd name="T58" fmla="*/ 1322 w 1323"/>
                    <a:gd name="T59" fmla="*/ 26 h 793"/>
                    <a:gd name="T60" fmla="*/ 1323 w 1323"/>
                    <a:gd name="T61" fmla="*/ 33 h 793"/>
                    <a:gd name="T62" fmla="*/ 1323 w 1323"/>
                    <a:gd name="T63" fmla="*/ 760 h 793"/>
                    <a:gd name="T64" fmla="*/ 1323 w 1323"/>
                    <a:gd name="T65" fmla="*/ 760 h 793"/>
                    <a:gd name="T66" fmla="*/ 1322 w 1323"/>
                    <a:gd name="T67" fmla="*/ 767 h 793"/>
                    <a:gd name="T68" fmla="*/ 1319 w 1323"/>
                    <a:gd name="T69" fmla="*/ 773 h 793"/>
                    <a:gd name="T70" fmla="*/ 1316 w 1323"/>
                    <a:gd name="T71" fmla="*/ 778 h 793"/>
                    <a:gd name="T72" fmla="*/ 1312 w 1323"/>
                    <a:gd name="T73" fmla="*/ 783 h 793"/>
                    <a:gd name="T74" fmla="*/ 1308 w 1323"/>
                    <a:gd name="T75" fmla="*/ 788 h 793"/>
                    <a:gd name="T76" fmla="*/ 1302 w 1323"/>
                    <a:gd name="T77" fmla="*/ 791 h 793"/>
                    <a:gd name="T78" fmla="*/ 1296 w 1323"/>
                    <a:gd name="T79" fmla="*/ 793 h 793"/>
                    <a:gd name="T80" fmla="*/ 1289 w 1323"/>
                    <a:gd name="T81" fmla="*/ 793 h 793"/>
                    <a:gd name="T82" fmla="*/ 1289 w 1323"/>
                    <a:gd name="T83" fmla="*/ 793 h 793"/>
                    <a:gd name="T84" fmla="*/ 66 w 1323"/>
                    <a:gd name="T85" fmla="*/ 728 h 793"/>
                    <a:gd name="T86" fmla="*/ 1256 w 1323"/>
                    <a:gd name="T87" fmla="*/ 728 h 793"/>
                    <a:gd name="T88" fmla="*/ 1256 w 1323"/>
                    <a:gd name="T89" fmla="*/ 65 h 793"/>
                    <a:gd name="T90" fmla="*/ 66 w 1323"/>
                    <a:gd name="T91" fmla="*/ 65 h 793"/>
                    <a:gd name="T92" fmla="*/ 66 w 1323"/>
                    <a:gd name="T93" fmla="*/ 728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23" h="793">
                      <a:moveTo>
                        <a:pt x="1289" y="793"/>
                      </a:moveTo>
                      <a:lnTo>
                        <a:pt x="33" y="793"/>
                      </a:lnTo>
                      <a:lnTo>
                        <a:pt x="33" y="793"/>
                      </a:lnTo>
                      <a:lnTo>
                        <a:pt x="26" y="793"/>
                      </a:lnTo>
                      <a:lnTo>
                        <a:pt x="20" y="791"/>
                      </a:lnTo>
                      <a:lnTo>
                        <a:pt x="15" y="788"/>
                      </a:lnTo>
                      <a:lnTo>
                        <a:pt x="9" y="783"/>
                      </a:lnTo>
                      <a:lnTo>
                        <a:pt x="5" y="778"/>
                      </a:lnTo>
                      <a:lnTo>
                        <a:pt x="2" y="773"/>
                      </a:lnTo>
                      <a:lnTo>
                        <a:pt x="0" y="767"/>
                      </a:lnTo>
                      <a:lnTo>
                        <a:pt x="0" y="760"/>
                      </a:lnTo>
                      <a:lnTo>
                        <a:pt x="0" y="33"/>
                      </a:lnTo>
                      <a:lnTo>
                        <a:pt x="0" y="33"/>
                      </a:lnTo>
                      <a:lnTo>
                        <a:pt x="0" y="26"/>
                      </a:lnTo>
                      <a:lnTo>
                        <a:pt x="2" y="20"/>
                      </a:lnTo>
                      <a:lnTo>
                        <a:pt x="5" y="14"/>
                      </a:lnTo>
                      <a:lnTo>
                        <a:pt x="9" y="9"/>
                      </a:lnTo>
                      <a:lnTo>
                        <a:pt x="15" y="5"/>
                      </a:lnTo>
                      <a:lnTo>
                        <a:pt x="20" y="2"/>
                      </a:lnTo>
                      <a:lnTo>
                        <a:pt x="26" y="0"/>
                      </a:lnTo>
                      <a:lnTo>
                        <a:pt x="33" y="0"/>
                      </a:lnTo>
                      <a:lnTo>
                        <a:pt x="1289" y="0"/>
                      </a:lnTo>
                      <a:lnTo>
                        <a:pt x="1289" y="0"/>
                      </a:lnTo>
                      <a:lnTo>
                        <a:pt x="1296" y="0"/>
                      </a:lnTo>
                      <a:lnTo>
                        <a:pt x="1302" y="2"/>
                      </a:lnTo>
                      <a:lnTo>
                        <a:pt x="1308" y="5"/>
                      </a:lnTo>
                      <a:lnTo>
                        <a:pt x="1312" y="9"/>
                      </a:lnTo>
                      <a:lnTo>
                        <a:pt x="1316" y="14"/>
                      </a:lnTo>
                      <a:lnTo>
                        <a:pt x="1319" y="20"/>
                      </a:lnTo>
                      <a:lnTo>
                        <a:pt x="1322" y="26"/>
                      </a:lnTo>
                      <a:lnTo>
                        <a:pt x="1323" y="33"/>
                      </a:lnTo>
                      <a:lnTo>
                        <a:pt x="1323" y="760"/>
                      </a:lnTo>
                      <a:lnTo>
                        <a:pt x="1323" y="760"/>
                      </a:lnTo>
                      <a:lnTo>
                        <a:pt x="1322" y="767"/>
                      </a:lnTo>
                      <a:lnTo>
                        <a:pt x="1319" y="773"/>
                      </a:lnTo>
                      <a:lnTo>
                        <a:pt x="1316" y="778"/>
                      </a:lnTo>
                      <a:lnTo>
                        <a:pt x="1312" y="783"/>
                      </a:lnTo>
                      <a:lnTo>
                        <a:pt x="1308" y="788"/>
                      </a:lnTo>
                      <a:lnTo>
                        <a:pt x="1302" y="791"/>
                      </a:lnTo>
                      <a:lnTo>
                        <a:pt x="1296" y="793"/>
                      </a:lnTo>
                      <a:lnTo>
                        <a:pt x="1289" y="793"/>
                      </a:lnTo>
                      <a:lnTo>
                        <a:pt x="1289" y="793"/>
                      </a:lnTo>
                      <a:close/>
                      <a:moveTo>
                        <a:pt x="66" y="728"/>
                      </a:moveTo>
                      <a:lnTo>
                        <a:pt x="1256" y="728"/>
                      </a:lnTo>
                      <a:lnTo>
                        <a:pt x="1256" y="65"/>
                      </a:lnTo>
                      <a:lnTo>
                        <a:pt x="66" y="65"/>
                      </a:lnTo>
                      <a:lnTo>
                        <a:pt x="66" y="7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grpSp>
        <p:nvGrpSpPr>
          <p:cNvPr id="20" name="Group 19">
            <a:extLst>
              <a:ext uri="{FF2B5EF4-FFF2-40B4-BE49-F238E27FC236}">
                <a16:creationId xmlns:a16="http://schemas.microsoft.com/office/drawing/2014/main" id="{87DD3A45-41A8-441E-BEFE-9729CEB21326}"/>
              </a:ext>
            </a:extLst>
          </p:cNvPr>
          <p:cNvGrpSpPr/>
          <p:nvPr/>
        </p:nvGrpSpPr>
        <p:grpSpPr>
          <a:xfrm>
            <a:off x="388747" y="1873266"/>
            <a:ext cx="3630346" cy="1300356"/>
            <a:chOff x="377952" y="1679799"/>
            <a:chExt cx="3630346" cy="1300356"/>
          </a:xfrm>
        </p:grpSpPr>
        <p:sp>
          <p:nvSpPr>
            <p:cNvPr id="21" name="TextBox 20">
              <a:extLst>
                <a:ext uri="{FF2B5EF4-FFF2-40B4-BE49-F238E27FC236}">
                  <a16:creationId xmlns:a16="http://schemas.microsoft.com/office/drawing/2014/main" id="{DA6B1EAF-A324-4318-98E7-BD086F5A811C}"/>
                </a:ext>
              </a:extLst>
            </p:cNvPr>
            <p:cNvSpPr txBox="1"/>
            <p:nvPr/>
          </p:nvSpPr>
          <p:spPr>
            <a:xfrm>
              <a:off x="922189" y="1679799"/>
              <a:ext cx="3086109" cy="1300356"/>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300"/>
                </a:spcAft>
                <a:buClr>
                  <a:srgbClr val="000000"/>
                </a:buClr>
                <a:buSzPts val="15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n=146 (54.7%) received corticosteroids during anti-PD-(L)1 therapy</a:t>
              </a:r>
            </a:p>
            <a:p>
              <a:pPr marL="0" marR="0" lvl="0" indent="0" algn="l" defTabSz="914400" rtl="0" eaLnBrk="1" fontAlgn="auto" latinLnBrk="0" hangingPunct="1">
                <a:lnSpc>
                  <a:spcPct val="100000"/>
                </a:lnSpc>
                <a:spcBef>
                  <a:spcPts val="0"/>
                </a:spcBef>
                <a:spcAft>
                  <a:spcPts val="300"/>
                </a:spcAft>
                <a:buClr>
                  <a:srgbClr val="000000"/>
                </a:buClr>
                <a:buSzPts val="15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n=134 (91.8%) required ≥10 mg of prednisone equivalent per day</a:t>
              </a:r>
            </a:p>
            <a:p>
              <a:pPr marL="171450" marR="0" lvl="0" indent="-171450" algn="l" defTabSz="914400" rtl="0" eaLnBrk="1" fontAlgn="auto" latinLnBrk="0" hangingPunct="1">
                <a:lnSpc>
                  <a:spcPct val="100000"/>
                </a:lnSpc>
                <a:spcBef>
                  <a:spcPts val="0"/>
                </a:spcBef>
                <a:spcAft>
                  <a:spcPts val="300"/>
                </a:spcAft>
                <a:buClr>
                  <a:srgbClr val="000000"/>
                </a:buClr>
                <a:buSzPts val="1500"/>
                <a:buFont typeface="Arial" panose="020B0604020202020204" pitchFamily="34" charset="0"/>
                <a:buChar char="•"/>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59 patients (44%) for the treatment of </a:t>
              </a:r>
              <a:r>
                <a:rPr kumimoji="0" lang="en-US" sz="11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irAEs</a:t>
              </a:r>
              <a:r>
                <a:rPr kumimoji="0" lang="en-US"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a:t>
              </a:r>
            </a:p>
            <a:p>
              <a:pPr marL="171450" marR="0" lvl="0" indent="-171450" algn="l" defTabSz="914400" rtl="0" eaLnBrk="1" fontAlgn="auto" latinLnBrk="0" hangingPunct="1">
                <a:lnSpc>
                  <a:spcPct val="100000"/>
                </a:lnSpc>
                <a:spcBef>
                  <a:spcPts val="0"/>
                </a:spcBef>
                <a:spcAft>
                  <a:spcPts val="300"/>
                </a:spcAft>
                <a:buClr>
                  <a:srgbClr val="000000"/>
                </a:buClr>
                <a:buSzPts val="1500"/>
                <a:buFont typeface="Arial" panose="020B0604020202020204" pitchFamily="34" charset="0"/>
                <a:buChar char="•"/>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75 patients (56%) for the management of cancer-related symptoms</a:t>
              </a:r>
            </a:p>
          </p:txBody>
        </p:sp>
        <p:grpSp>
          <p:nvGrpSpPr>
            <p:cNvPr id="22" name="Group 21">
              <a:extLst>
                <a:ext uri="{FF2B5EF4-FFF2-40B4-BE49-F238E27FC236}">
                  <a16:creationId xmlns:a16="http://schemas.microsoft.com/office/drawing/2014/main" id="{31A2F083-2E56-446C-9588-02918573E8DE}"/>
                </a:ext>
              </a:extLst>
            </p:cNvPr>
            <p:cNvGrpSpPr/>
            <p:nvPr/>
          </p:nvGrpSpPr>
          <p:grpSpPr>
            <a:xfrm>
              <a:off x="377952" y="1716638"/>
              <a:ext cx="399846" cy="399846"/>
              <a:chOff x="377952" y="1716638"/>
              <a:chExt cx="399846" cy="399846"/>
            </a:xfrm>
          </p:grpSpPr>
          <p:sp>
            <p:nvSpPr>
              <p:cNvPr id="23" name="Rectangle 22">
                <a:extLst>
                  <a:ext uri="{FF2B5EF4-FFF2-40B4-BE49-F238E27FC236}">
                    <a16:creationId xmlns:a16="http://schemas.microsoft.com/office/drawing/2014/main" id="{5D3A378D-084F-41AB-939C-8F1DA35DCFA6}"/>
                  </a:ext>
                </a:extLst>
              </p:cNvPr>
              <p:cNvSpPr/>
              <p:nvPr/>
            </p:nvSpPr>
            <p:spPr>
              <a:xfrm>
                <a:off x="377952" y="1716638"/>
                <a:ext cx="399846" cy="3998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a:ln>
                    <a:noFill/>
                  </a:ln>
                  <a:solidFill>
                    <a:srgbClr val="FFFFFF"/>
                  </a:solidFill>
                  <a:effectLst/>
                  <a:uLnTx/>
                  <a:uFillTx/>
                  <a:latin typeface="Gene Sans Light" panose="00000400000000000000" pitchFamily="2" charset="0"/>
                  <a:ea typeface="+mn-ea"/>
                  <a:cs typeface="+mn-cs"/>
                  <a:sym typeface="Arial"/>
                </a:endParaRPr>
              </a:p>
            </p:txBody>
          </p:sp>
          <p:grpSp>
            <p:nvGrpSpPr>
              <p:cNvPr id="24" name="Group 23">
                <a:extLst>
                  <a:ext uri="{FF2B5EF4-FFF2-40B4-BE49-F238E27FC236}">
                    <a16:creationId xmlns:a16="http://schemas.microsoft.com/office/drawing/2014/main" id="{CD2DC39F-1DE9-4A6D-9030-46D97A186AC1}"/>
                  </a:ext>
                </a:extLst>
              </p:cNvPr>
              <p:cNvGrpSpPr/>
              <p:nvPr/>
            </p:nvGrpSpPr>
            <p:grpSpPr>
              <a:xfrm>
                <a:off x="473735" y="1812420"/>
                <a:ext cx="208281" cy="208281"/>
                <a:chOff x="9167813" y="1849441"/>
                <a:chExt cx="347663" cy="347664"/>
              </a:xfrm>
              <a:solidFill>
                <a:schemeClr val="bg1"/>
              </a:solidFill>
            </p:grpSpPr>
            <p:sp>
              <p:nvSpPr>
                <p:cNvPr id="25" name="Freeform 14">
                  <a:extLst>
                    <a:ext uri="{FF2B5EF4-FFF2-40B4-BE49-F238E27FC236}">
                      <a16:creationId xmlns:a16="http://schemas.microsoft.com/office/drawing/2014/main" id="{8C223200-CF30-45CF-9E67-C73BBA7F449B}"/>
                    </a:ext>
                  </a:extLst>
                </p:cNvPr>
                <p:cNvSpPr>
                  <a:spLocks noEditPoints="1"/>
                </p:cNvSpPr>
                <p:nvPr/>
              </p:nvSpPr>
              <p:spPr bwMode="auto">
                <a:xfrm>
                  <a:off x="9167813" y="1849441"/>
                  <a:ext cx="347663" cy="347664"/>
                </a:xfrm>
                <a:custGeom>
                  <a:avLst/>
                  <a:gdLst>
                    <a:gd name="T0" fmla="*/ 398 w 1536"/>
                    <a:gd name="T1" fmla="*/ 1531 h 1535"/>
                    <a:gd name="T2" fmla="*/ 290 w 1536"/>
                    <a:gd name="T3" fmla="*/ 1501 h 1535"/>
                    <a:gd name="T4" fmla="*/ 190 w 1536"/>
                    <a:gd name="T5" fmla="*/ 1446 h 1535"/>
                    <a:gd name="T6" fmla="*/ 119 w 1536"/>
                    <a:gd name="T7" fmla="*/ 1383 h 1535"/>
                    <a:gd name="T8" fmla="*/ 53 w 1536"/>
                    <a:gd name="T9" fmla="*/ 1288 h 1535"/>
                    <a:gd name="T10" fmla="*/ 14 w 1536"/>
                    <a:gd name="T11" fmla="*/ 1182 h 1535"/>
                    <a:gd name="T12" fmla="*/ 0 w 1536"/>
                    <a:gd name="T13" fmla="*/ 1072 h 1535"/>
                    <a:gd name="T14" fmla="*/ 14 w 1536"/>
                    <a:gd name="T15" fmla="*/ 962 h 1535"/>
                    <a:gd name="T16" fmla="*/ 54 w 1536"/>
                    <a:gd name="T17" fmla="*/ 856 h 1535"/>
                    <a:gd name="T18" fmla="*/ 120 w 1536"/>
                    <a:gd name="T19" fmla="*/ 761 h 1535"/>
                    <a:gd name="T20" fmla="*/ 781 w 1536"/>
                    <a:gd name="T21" fmla="*/ 103 h 1535"/>
                    <a:gd name="T22" fmla="*/ 878 w 1536"/>
                    <a:gd name="T23" fmla="*/ 42 h 1535"/>
                    <a:gd name="T24" fmla="*/ 984 w 1536"/>
                    <a:gd name="T25" fmla="*/ 8 h 1535"/>
                    <a:gd name="T26" fmla="*/ 1095 w 1536"/>
                    <a:gd name="T27" fmla="*/ 0 h 1535"/>
                    <a:gd name="T28" fmla="*/ 1205 w 1536"/>
                    <a:gd name="T29" fmla="*/ 18 h 1535"/>
                    <a:gd name="T30" fmla="*/ 1308 w 1536"/>
                    <a:gd name="T31" fmla="*/ 64 h 1535"/>
                    <a:gd name="T32" fmla="*/ 1401 w 1536"/>
                    <a:gd name="T33" fmla="*/ 135 h 1535"/>
                    <a:gd name="T34" fmla="*/ 1459 w 1536"/>
                    <a:gd name="T35" fmla="*/ 206 h 1535"/>
                    <a:gd name="T36" fmla="*/ 1509 w 1536"/>
                    <a:gd name="T37" fmla="*/ 306 h 1535"/>
                    <a:gd name="T38" fmla="*/ 1534 w 1536"/>
                    <a:gd name="T39" fmla="*/ 417 h 1535"/>
                    <a:gd name="T40" fmla="*/ 1534 w 1536"/>
                    <a:gd name="T41" fmla="*/ 509 h 1535"/>
                    <a:gd name="T42" fmla="*/ 1509 w 1536"/>
                    <a:gd name="T43" fmla="*/ 620 h 1535"/>
                    <a:gd name="T44" fmla="*/ 1459 w 1536"/>
                    <a:gd name="T45" fmla="*/ 721 h 1535"/>
                    <a:gd name="T46" fmla="*/ 792 w 1536"/>
                    <a:gd name="T47" fmla="*/ 1400 h 1535"/>
                    <a:gd name="T48" fmla="*/ 719 w 1536"/>
                    <a:gd name="T49" fmla="*/ 1460 h 1535"/>
                    <a:gd name="T50" fmla="*/ 618 w 1536"/>
                    <a:gd name="T51" fmla="*/ 1509 h 1535"/>
                    <a:gd name="T52" fmla="*/ 508 w 1536"/>
                    <a:gd name="T53" fmla="*/ 1533 h 1535"/>
                    <a:gd name="T54" fmla="*/ 1073 w 1536"/>
                    <a:gd name="T55" fmla="*/ 66 h 1535"/>
                    <a:gd name="T56" fmla="*/ 978 w 1536"/>
                    <a:gd name="T57" fmla="*/ 77 h 1535"/>
                    <a:gd name="T58" fmla="*/ 888 w 1536"/>
                    <a:gd name="T59" fmla="*/ 112 h 1535"/>
                    <a:gd name="T60" fmla="*/ 806 w 1536"/>
                    <a:gd name="T61" fmla="*/ 168 h 1535"/>
                    <a:gd name="T62" fmla="*/ 155 w 1536"/>
                    <a:gd name="T63" fmla="*/ 821 h 1535"/>
                    <a:gd name="T64" fmla="*/ 104 w 1536"/>
                    <a:gd name="T65" fmla="*/ 905 h 1535"/>
                    <a:gd name="T66" fmla="*/ 74 w 1536"/>
                    <a:gd name="T67" fmla="*/ 996 h 1535"/>
                    <a:gd name="T68" fmla="*/ 68 w 1536"/>
                    <a:gd name="T69" fmla="*/ 1091 h 1535"/>
                    <a:gd name="T70" fmla="*/ 83 w 1536"/>
                    <a:gd name="T71" fmla="*/ 1185 h 1535"/>
                    <a:gd name="T72" fmla="*/ 121 w 1536"/>
                    <a:gd name="T73" fmla="*/ 1274 h 1535"/>
                    <a:gd name="T74" fmla="*/ 183 w 1536"/>
                    <a:gd name="T75" fmla="*/ 1353 h 1535"/>
                    <a:gd name="T76" fmla="*/ 246 w 1536"/>
                    <a:gd name="T77" fmla="*/ 1404 h 1535"/>
                    <a:gd name="T78" fmla="*/ 332 w 1536"/>
                    <a:gd name="T79" fmla="*/ 1447 h 1535"/>
                    <a:gd name="T80" fmla="*/ 426 w 1536"/>
                    <a:gd name="T81" fmla="*/ 1468 h 1535"/>
                    <a:gd name="T82" fmla="*/ 521 w 1536"/>
                    <a:gd name="T83" fmla="*/ 1465 h 1535"/>
                    <a:gd name="T84" fmla="*/ 614 w 1536"/>
                    <a:gd name="T85" fmla="*/ 1440 h 1535"/>
                    <a:gd name="T86" fmla="*/ 699 w 1536"/>
                    <a:gd name="T87" fmla="*/ 1392 h 1535"/>
                    <a:gd name="T88" fmla="*/ 1354 w 1536"/>
                    <a:gd name="T89" fmla="*/ 744 h 1535"/>
                    <a:gd name="T90" fmla="*/ 1414 w 1536"/>
                    <a:gd name="T91" fmla="*/ 667 h 1535"/>
                    <a:gd name="T92" fmla="*/ 1453 w 1536"/>
                    <a:gd name="T93" fmla="*/ 579 h 1535"/>
                    <a:gd name="T94" fmla="*/ 1470 w 1536"/>
                    <a:gd name="T95" fmla="*/ 483 h 1535"/>
                    <a:gd name="T96" fmla="*/ 1466 w 1536"/>
                    <a:gd name="T97" fmla="*/ 404 h 1535"/>
                    <a:gd name="T98" fmla="*/ 1440 w 1536"/>
                    <a:gd name="T99" fmla="*/ 311 h 1535"/>
                    <a:gd name="T100" fmla="*/ 1392 w 1536"/>
                    <a:gd name="T101" fmla="*/ 226 h 1535"/>
                    <a:gd name="T102" fmla="*/ 1339 w 1536"/>
                    <a:gd name="T103" fmla="*/ 168 h 1535"/>
                    <a:gd name="T104" fmla="*/ 1258 w 1536"/>
                    <a:gd name="T105" fmla="*/ 112 h 1535"/>
                    <a:gd name="T106" fmla="*/ 1168 w 1536"/>
                    <a:gd name="T107" fmla="*/ 77 h 1535"/>
                    <a:gd name="T108" fmla="*/ 1073 w 1536"/>
                    <a:gd name="T109" fmla="*/ 66 h 1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36" h="1535">
                      <a:moveTo>
                        <a:pt x="464" y="1535"/>
                      </a:moveTo>
                      <a:lnTo>
                        <a:pt x="464" y="1535"/>
                      </a:lnTo>
                      <a:lnTo>
                        <a:pt x="442" y="1535"/>
                      </a:lnTo>
                      <a:lnTo>
                        <a:pt x="419" y="1533"/>
                      </a:lnTo>
                      <a:lnTo>
                        <a:pt x="398" y="1531"/>
                      </a:lnTo>
                      <a:lnTo>
                        <a:pt x="376" y="1527"/>
                      </a:lnTo>
                      <a:lnTo>
                        <a:pt x="353" y="1522"/>
                      </a:lnTo>
                      <a:lnTo>
                        <a:pt x="332" y="1516"/>
                      </a:lnTo>
                      <a:lnTo>
                        <a:pt x="311" y="1509"/>
                      </a:lnTo>
                      <a:lnTo>
                        <a:pt x="290" y="1501"/>
                      </a:lnTo>
                      <a:lnTo>
                        <a:pt x="268" y="1493"/>
                      </a:lnTo>
                      <a:lnTo>
                        <a:pt x="249" y="1482"/>
                      </a:lnTo>
                      <a:lnTo>
                        <a:pt x="228" y="1471"/>
                      </a:lnTo>
                      <a:lnTo>
                        <a:pt x="209" y="1460"/>
                      </a:lnTo>
                      <a:lnTo>
                        <a:pt x="190" y="1446"/>
                      </a:lnTo>
                      <a:lnTo>
                        <a:pt x="171" y="1432"/>
                      </a:lnTo>
                      <a:lnTo>
                        <a:pt x="153" y="1416"/>
                      </a:lnTo>
                      <a:lnTo>
                        <a:pt x="136" y="1400"/>
                      </a:lnTo>
                      <a:lnTo>
                        <a:pt x="136" y="1400"/>
                      </a:lnTo>
                      <a:lnTo>
                        <a:pt x="119" y="1383"/>
                      </a:lnTo>
                      <a:lnTo>
                        <a:pt x="105" y="1364"/>
                      </a:lnTo>
                      <a:lnTo>
                        <a:pt x="90" y="1346"/>
                      </a:lnTo>
                      <a:lnTo>
                        <a:pt x="77" y="1327"/>
                      </a:lnTo>
                      <a:lnTo>
                        <a:pt x="64" y="1308"/>
                      </a:lnTo>
                      <a:lnTo>
                        <a:pt x="53" y="1288"/>
                      </a:lnTo>
                      <a:lnTo>
                        <a:pt x="44" y="1267"/>
                      </a:lnTo>
                      <a:lnTo>
                        <a:pt x="34" y="1246"/>
                      </a:lnTo>
                      <a:lnTo>
                        <a:pt x="26" y="1226"/>
                      </a:lnTo>
                      <a:lnTo>
                        <a:pt x="20" y="1204"/>
                      </a:lnTo>
                      <a:lnTo>
                        <a:pt x="14" y="1182"/>
                      </a:lnTo>
                      <a:lnTo>
                        <a:pt x="9" y="1161"/>
                      </a:lnTo>
                      <a:lnTo>
                        <a:pt x="5" y="1139"/>
                      </a:lnTo>
                      <a:lnTo>
                        <a:pt x="2" y="1116"/>
                      </a:lnTo>
                      <a:lnTo>
                        <a:pt x="1" y="1094"/>
                      </a:lnTo>
                      <a:lnTo>
                        <a:pt x="0" y="1072"/>
                      </a:lnTo>
                      <a:lnTo>
                        <a:pt x="1" y="1050"/>
                      </a:lnTo>
                      <a:lnTo>
                        <a:pt x="2" y="1027"/>
                      </a:lnTo>
                      <a:lnTo>
                        <a:pt x="5" y="1005"/>
                      </a:lnTo>
                      <a:lnTo>
                        <a:pt x="9" y="984"/>
                      </a:lnTo>
                      <a:lnTo>
                        <a:pt x="14" y="962"/>
                      </a:lnTo>
                      <a:lnTo>
                        <a:pt x="20" y="940"/>
                      </a:lnTo>
                      <a:lnTo>
                        <a:pt x="26" y="919"/>
                      </a:lnTo>
                      <a:lnTo>
                        <a:pt x="34" y="898"/>
                      </a:lnTo>
                      <a:lnTo>
                        <a:pt x="44" y="877"/>
                      </a:lnTo>
                      <a:lnTo>
                        <a:pt x="54" y="856"/>
                      </a:lnTo>
                      <a:lnTo>
                        <a:pt x="64" y="837"/>
                      </a:lnTo>
                      <a:lnTo>
                        <a:pt x="77" y="817"/>
                      </a:lnTo>
                      <a:lnTo>
                        <a:pt x="90" y="797"/>
                      </a:lnTo>
                      <a:lnTo>
                        <a:pt x="105" y="779"/>
                      </a:lnTo>
                      <a:lnTo>
                        <a:pt x="120" y="761"/>
                      </a:lnTo>
                      <a:lnTo>
                        <a:pt x="136" y="744"/>
                      </a:lnTo>
                      <a:lnTo>
                        <a:pt x="745" y="135"/>
                      </a:lnTo>
                      <a:lnTo>
                        <a:pt x="745" y="135"/>
                      </a:lnTo>
                      <a:lnTo>
                        <a:pt x="763" y="119"/>
                      </a:lnTo>
                      <a:lnTo>
                        <a:pt x="781" y="103"/>
                      </a:lnTo>
                      <a:lnTo>
                        <a:pt x="799" y="89"/>
                      </a:lnTo>
                      <a:lnTo>
                        <a:pt x="818" y="76"/>
                      </a:lnTo>
                      <a:lnTo>
                        <a:pt x="837" y="64"/>
                      </a:lnTo>
                      <a:lnTo>
                        <a:pt x="857" y="53"/>
                      </a:lnTo>
                      <a:lnTo>
                        <a:pt x="878" y="42"/>
                      </a:lnTo>
                      <a:lnTo>
                        <a:pt x="899" y="34"/>
                      </a:lnTo>
                      <a:lnTo>
                        <a:pt x="919" y="26"/>
                      </a:lnTo>
                      <a:lnTo>
                        <a:pt x="941" y="18"/>
                      </a:lnTo>
                      <a:lnTo>
                        <a:pt x="963" y="13"/>
                      </a:lnTo>
                      <a:lnTo>
                        <a:pt x="984" y="8"/>
                      </a:lnTo>
                      <a:lnTo>
                        <a:pt x="1006" y="5"/>
                      </a:lnTo>
                      <a:lnTo>
                        <a:pt x="1029" y="2"/>
                      </a:lnTo>
                      <a:lnTo>
                        <a:pt x="1051" y="0"/>
                      </a:lnTo>
                      <a:lnTo>
                        <a:pt x="1073" y="0"/>
                      </a:lnTo>
                      <a:lnTo>
                        <a:pt x="1095" y="0"/>
                      </a:lnTo>
                      <a:lnTo>
                        <a:pt x="1118" y="2"/>
                      </a:lnTo>
                      <a:lnTo>
                        <a:pt x="1140" y="5"/>
                      </a:lnTo>
                      <a:lnTo>
                        <a:pt x="1161" y="8"/>
                      </a:lnTo>
                      <a:lnTo>
                        <a:pt x="1183" y="13"/>
                      </a:lnTo>
                      <a:lnTo>
                        <a:pt x="1205" y="18"/>
                      </a:lnTo>
                      <a:lnTo>
                        <a:pt x="1227" y="26"/>
                      </a:lnTo>
                      <a:lnTo>
                        <a:pt x="1247" y="34"/>
                      </a:lnTo>
                      <a:lnTo>
                        <a:pt x="1268" y="42"/>
                      </a:lnTo>
                      <a:lnTo>
                        <a:pt x="1289" y="53"/>
                      </a:lnTo>
                      <a:lnTo>
                        <a:pt x="1308" y="64"/>
                      </a:lnTo>
                      <a:lnTo>
                        <a:pt x="1328" y="76"/>
                      </a:lnTo>
                      <a:lnTo>
                        <a:pt x="1348" y="89"/>
                      </a:lnTo>
                      <a:lnTo>
                        <a:pt x="1366" y="103"/>
                      </a:lnTo>
                      <a:lnTo>
                        <a:pt x="1384" y="119"/>
                      </a:lnTo>
                      <a:lnTo>
                        <a:pt x="1401" y="135"/>
                      </a:lnTo>
                      <a:lnTo>
                        <a:pt x="1401" y="135"/>
                      </a:lnTo>
                      <a:lnTo>
                        <a:pt x="1417" y="152"/>
                      </a:lnTo>
                      <a:lnTo>
                        <a:pt x="1431" y="169"/>
                      </a:lnTo>
                      <a:lnTo>
                        <a:pt x="1446" y="187"/>
                      </a:lnTo>
                      <a:lnTo>
                        <a:pt x="1459" y="206"/>
                      </a:lnTo>
                      <a:lnTo>
                        <a:pt x="1471" y="225"/>
                      </a:lnTo>
                      <a:lnTo>
                        <a:pt x="1482" y="245"/>
                      </a:lnTo>
                      <a:lnTo>
                        <a:pt x="1493" y="265"/>
                      </a:lnTo>
                      <a:lnTo>
                        <a:pt x="1502" y="285"/>
                      </a:lnTo>
                      <a:lnTo>
                        <a:pt x="1509" y="306"/>
                      </a:lnTo>
                      <a:lnTo>
                        <a:pt x="1516" y="328"/>
                      </a:lnTo>
                      <a:lnTo>
                        <a:pt x="1523" y="350"/>
                      </a:lnTo>
                      <a:lnTo>
                        <a:pt x="1528" y="372"/>
                      </a:lnTo>
                      <a:lnTo>
                        <a:pt x="1532" y="394"/>
                      </a:lnTo>
                      <a:lnTo>
                        <a:pt x="1534" y="417"/>
                      </a:lnTo>
                      <a:lnTo>
                        <a:pt x="1536" y="440"/>
                      </a:lnTo>
                      <a:lnTo>
                        <a:pt x="1536" y="463"/>
                      </a:lnTo>
                      <a:lnTo>
                        <a:pt x="1536" y="463"/>
                      </a:lnTo>
                      <a:lnTo>
                        <a:pt x="1536" y="486"/>
                      </a:lnTo>
                      <a:lnTo>
                        <a:pt x="1534" y="509"/>
                      </a:lnTo>
                      <a:lnTo>
                        <a:pt x="1532" y="532"/>
                      </a:lnTo>
                      <a:lnTo>
                        <a:pt x="1528" y="554"/>
                      </a:lnTo>
                      <a:lnTo>
                        <a:pt x="1523" y="577"/>
                      </a:lnTo>
                      <a:lnTo>
                        <a:pt x="1516" y="599"/>
                      </a:lnTo>
                      <a:lnTo>
                        <a:pt x="1509" y="620"/>
                      </a:lnTo>
                      <a:lnTo>
                        <a:pt x="1502" y="641"/>
                      </a:lnTo>
                      <a:lnTo>
                        <a:pt x="1493" y="662"/>
                      </a:lnTo>
                      <a:lnTo>
                        <a:pt x="1482" y="682"/>
                      </a:lnTo>
                      <a:lnTo>
                        <a:pt x="1471" y="701"/>
                      </a:lnTo>
                      <a:lnTo>
                        <a:pt x="1459" y="721"/>
                      </a:lnTo>
                      <a:lnTo>
                        <a:pt x="1446" y="739"/>
                      </a:lnTo>
                      <a:lnTo>
                        <a:pt x="1431" y="757"/>
                      </a:lnTo>
                      <a:lnTo>
                        <a:pt x="1417" y="775"/>
                      </a:lnTo>
                      <a:lnTo>
                        <a:pt x="1401" y="791"/>
                      </a:lnTo>
                      <a:lnTo>
                        <a:pt x="792" y="1400"/>
                      </a:lnTo>
                      <a:lnTo>
                        <a:pt x="792" y="1400"/>
                      </a:lnTo>
                      <a:lnTo>
                        <a:pt x="774" y="1416"/>
                      </a:lnTo>
                      <a:lnTo>
                        <a:pt x="757" y="1432"/>
                      </a:lnTo>
                      <a:lnTo>
                        <a:pt x="738" y="1446"/>
                      </a:lnTo>
                      <a:lnTo>
                        <a:pt x="719" y="1460"/>
                      </a:lnTo>
                      <a:lnTo>
                        <a:pt x="700" y="1471"/>
                      </a:lnTo>
                      <a:lnTo>
                        <a:pt x="680" y="1482"/>
                      </a:lnTo>
                      <a:lnTo>
                        <a:pt x="659" y="1493"/>
                      </a:lnTo>
                      <a:lnTo>
                        <a:pt x="639" y="1501"/>
                      </a:lnTo>
                      <a:lnTo>
                        <a:pt x="618" y="1509"/>
                      </a:lnTo>
                      <a:lnTo>
                        <a:pt x="596" y="1516"/>
                      </a:lnTo>
                      <a:lnTo>
                        <a:pt x="575" y="1522"/>
                      </a:lnTo>
                      <a:lnTo>
                        <a:pt x="553" y="1527"/>
                      </a:lnTo>
                      <a:lnTo>
                        <a:pt x="531" y="1531"/>
                      </a:lnTo>
                      <a:lnTo>
                        <a:pt x="508" y="1533"/>
                      </a:lnTo>
                      <a:lnTo>
                        <a:pt x="487" y="1535"/>
                      </a:lnTo>
                      <a:lnTo>
                        <a:pt x="464" y="1535"/>
                      </a:lnTo>
                      <a:lnTo>
                        <a:pt x="464" y="1535"/>
                      </a:lnTo>
                      <a:close/>
                      <a:moveTo>
                        <a:pt x="1073" y="66"/>
                      </a:moveTo>
                      <a:lnTo>
                        <a:pt x="1073" y="66"/>
                      </a:lnTo>
                      <a:lnTo>
                        <a:pt x="1054" y="66"/>
                      </a:lnTo>
                      <a:lnTo>
                        <a:pt x="1035" y="68"/>
                      </a:lnTo>
                      <a:lnTo>
                        <a:pt x="1015" y="70"/>
                      </a:lnTo>
                      <a:lnTo>
                        <a:pt x="997" y="73"/>
                      </a:lnTo>
                      <a:lnTo>
                        <a:pt x="978" y="77"/>
                      </a:lnTo>
                      <a:lnTo>
                        <a:pt x="960" y="83"/>
                      </a:lnTo>
                      <a:lnTo>
                        <a:pt x="942" y="88"/>
                      </a:lnTo>
                      <a:lnTo>
                        <a:pt x="923" y="95"/>
                      </a:lnTo>
                      <a:lnTo>
                        <a:pt x="906" y="102"/>
                      </a:lnTo>
                      <a:lnTo>
                        <a:pt x="888" y="112"/>
                      </a:lnTo>
                      <a:lnTo>
                        <a:pt x="871" y="121"/>
                      </a:lnTo>
                      <a:lnTo>
                        <a:pt x="854" y="131"/>
                      </a:lnTo>
                      <a:lnTo>
                        <a:pt x="839" y="143"/>
                      </a:lnTo>
                      <a:lnTo>
                        <a:pt x="822" y="155"/>
                      </a:lnTo>
                      <a:lnTo>
                        <a:pt x="806" y="168"/>
                      </a:lnTo>
                      <a:lnTo>
                        <a:pt x="792" y="182"/>
                      </a:lnTo>
                      <a:lnTo>
                        <a:pt x="183" y="791"/>
                      </a:lnTo>
                      <a:lnTo>
                        <a:pt x="183" y="791"/>
                      </a:lnTo>
                      <a:lnTo>
                        <a:pt x="169" y="806"/>
                      </a:lnTo>
                      <a:lnTo>
                        <a:pt x="155" y="821"/>
                      </a:lnTo>
                      <a:lnTo>
                        <a:pt x="143" y="837"/>
                      </a:lnTo>
                      <a:lnTo>
                        <a:pt x="132" y="853"/>
                      </a:lnTo>
                      <a:lnTo>
                        <a:pt x="121" y="870"/>
                      </a:lnTo>
                      <a:lnTo>
                        <a:pt x="112" y="887"/>
                      </a:lnTo>
                      <a:lnTo>
                        <a:pt x="104" y="905"/>
                      </a:lnTo>
                      <a:lnTo>
                        <a:pt x="95" y="923"/>
                      </a:lnTo>
                      <a:lnTo>
                        <a:pt x="89" y="940"/>
                      </a:lnTo>
                      <a:lnTo>
                        <a:pt x="83" y="959"/>
                      </a:lnTo>
                      <a:lnTo>
                        <a:pt x="78" y="977"/>
                      </a:lnTo>
                      <a:lnTo>
                        <a:pt x="74" y="996"/>
                      </a:lnTo>
                      <a:lnTo>
                        <a:pt x="71" y="1015"/>
                      </a:lnTo>
                      <a:lnTo>
                        <a:pt x="69" y="1034"/>
                      </a:lnTo>
                      <a:lnTo>
                        <a:pt x="68" y="1053"/>
                      </a:lnTo>
                      <a:lnTo>
                        <a:pt x="66" y="1072"/>
                      </a:lnTo>
                      <a:lnTo>
                        <a:pt x="68" y="1091"/>
                      </a:lnTo>
                      <a:lnTo>
                        <a:pt x="69" y="1110"/>
                      </a:lnTo>
                      <a:lnTo>
                        <a:pt x="71" y="1130"/>
                      </a:lnTo>
                      <a:lnTo>
                        <a:pt x="74" y="1148"/>
                      </a:lnTo>
                      <a:lnTo>
                        <a:pt x="78" y="1167"/>
                      </a:lnTo>
                      <a:lnTo>
                        <a:pt x="83" y="1185"/>
                      </a:lnTo>
                      <a:lnTo>
                        <a:pt x="89" y="1203"/>
                      </a:lnTo>
                      <a:lnTo>
                        <a:pt x="95" y="1222"/>
                      </a:lnTo>
                      <a:lnTo>
                        <a:pt x="104" y="1239"/>
                      </a:lnTo>
                      <a:lnTo>
                        <a:pt x="112" y="1257"/>
                      </a:lnTo>
                      <a:lnTo>
                        <a:pt x="121" y="1274"/>
                      </a:lnTo>
                      <a:lnTo>
                        <a:pt x="132" y="1291"/>
                      </a:lnTo>
                      <a:lnTo>
                        <a:pt x="143" y="1308"/>
                      </a:lnTo>
                      <a:lnTo>
                        <a:pt x="155" y="1323"/>
                      </a:lnTo>
                      <a:lnTo>
                        <a:pt x="169" y="1339"/>
                      </a:lnTo>
                      <a:lnTo>
                        <a:pt x="183" y="1353"/>
                      </a:lnTo>
                      <a:lnTo>
                        <a:pt x="183" y="1353"/>
                      </a:lnTo>
                      <a:lnTo>
                        <a:pt x="198" y="1368"/>
                      </a:lnTo>
                      <a:lnTo>
                        <a:pt x="213" y="1380"/>
                      </a:lnTo>
                      <a:lnTo>
                        <a:pt x="229" y="1392"/>
                      </a:lnTo>
                      <a:lnTo>
                        <a:pt x="246" y="1404"/>
                      </a:lnTo>
                      <a:lnTo>
                        <a:pt x="262" y="1414"/>
                      </a:lnTo>
                      <a:lnTo>
                        <a:pt x="280" y="1423"/>
                      </a:lnTo>
                      <a:lnTo>
                        <a:pt x="296" y="1433"/>
                      </a:lnTo>
                      <a:lnTo>
                        <a:pt x="315" y="1440"/>
                      </a:lnTo>
                      <a:lnTo>
                        <a:pt x="332" y="1447"/>
                      </a:lnTo>
                      <a:lnTo>
                        <a:pt x="351" y="1452"/>
                      </a:lnTo>
                      <a:lnTo>
                        <a:pt x="370" y="1458"/>
                      </a:lnTo>
                      <a:lnTo>
                        <a:pt x="388" y="1462"/>
                      </a:lnTo>
                      <a:lnTo>
                        <a:pt x="407" y="1465"/>
                      </a:lnTo>
                      <a:lnTo>
                        <a:pt x="426" y="1468"/>
                      </a:lnTo>
                      <a:lnTo>
                        <a:pt x="445" y="1469"/>
                      </a:lnTo>
                      <a:lnTo>
                        <a:pt x="464" y="1469"/>
                      </a:lnTo>
                      <a:lnTo>
                        <a:pt x="484" y="1469"/>
                      </a:lnTo>
                      <a:lnTo>
                        <a:pt x="502" y="1468"/>
                      </a:lnTo>
                      <a:lnTo>
                        <a:pt x="521" y="1465"/>
                      </a:lnTo>
                      <a:lnTo>
                        <a:pt x="540" y="1462"/>
                      </a:lnTo>
                      <a:lnTo>
                        <a:pt x="559" y="1458"/>
                      </a:lnTo>
                      <a:lnTo>
                        <a:pt x="578" y="1452"/>
                      </a:lnTo>
                      <a:lnTo>
                        <a:pt x="595" y="1447"/>
                      </a:lnTo>
                      <a:lnTo>
                        <a:pt x="614" y="1440"/>
                      </a:lnTo>
                      <a:lnTo>
                        <a:pt x="632" y="1433"/>
                      </a:lnTo>
                      <a:lnTo>
                        <a:pt x="649" y="1423"/>
                      </a:lnTo>
                      <a:lnTo>
                        <a:pt x="666" y="1414"/>
                      </a:lnTo>
                      <a:lnTo>
                        <a:pt x="683" y="1404"/>
                      </a:lnTo>
                      <a:lnTo>
                        <a:pt x="699" y="1392"/>
                      </a:lnTo>
                      <a:lnTo>
                        <a:pt x="715" y="1380"/>
                      </a:lnTo>
                      <a:lnTo>
                        <a:pt x="730" y="1368"/>
                      </a:lnTo>
                      <a:lnTo>
                        <a:pt x="745" y="1353"/>
                      </a:lnTo>
                      <a:lnTo>
                        <a:pt x="1354" y="744"/>
                      </a:lnTo>
                      <a:lnTo>
                        <a:pt x="1354" y="744"/>
                      </a:lnTo>
                      <a:lnTo>
                        <a:pt x="1367" y="730"/>
                      </a:lnTo>
                      <a:lnTo>
                        <a:pt x="1381" y="715"/>
                      </a:lnTo>
                      <a:lnTo>
                        <a:pt x="1392" y="699"/>
                      </a:lnTo>
                      <a:lnTo>
                        <a:pt x="1404" y="684"/>
                      </a:lnTo>
                      <a:lnTo>
                        <a:pt x="1414" y="667"/>
                      </a:lnTo>
                      <a:lnTo>
                        <a:pt x="1423" y="651"/>
                      </a:lnTo>
                      <a:lnTo>
                        <a:pt x="1433" y="633"/>
                      </a:lnTo>
                      <a:lnTo>
                        <a:pt x="1440" y="615"/>
                      </a:lnTo>
                      <a:lnTo>
                        <a:pt x="1447" y="598"/>
                      </a:lnTo>
                      <a:lnTo>
                        <a:pt x="1453" y="579"/>
                      </a:lnTo>
                      <a:lnTo>
                        <a:pt x="1458" y="561"/>
                      </a:lnTo>
                      <a:lnTo>
                        <a:pt x="1463" y="542"/>
                      </a:lnTo>
                      <a:lnTo>
                        <a:pt x="1466" y="522"/>
                      </a:lnTo>
                      <a:lnTo>
                        <a:pt x="1468" y="503"/>
                      </a:lnTo>
                      <a:lnTo>
                        <a:pt x="1470" y="483"/>
                      </a:lnTo>
                      <a:lnTo>
                        <a:pt x="1470" y="463"/>
                      </a:lnTo>
                      <a:lnTo>
                        <a:pt x="1470" y="463"/>
                      </a:lnTo>
                      <a:lnTo>
                        <a:pt x="1470" y="444"/>
                      </a:lnTo>
                      <a:lnTo>
                        <a:pt x="1468" y="424"/>
                      </a:lnTo>
                      <a:lnTo>
                        <a:pt x="1466" y="404"/>
                      </a:lnTo>
                      <a:lnTo>
                        <a:pt x="1463" y="385"/>
                      </a:lnTo>
                      <a:lnTo>
                        <a:pt x="1458" y="366"/>
                      </a:lnTo>
                      <a:lnTo>
                        <a:pt x="1453" y="347"/>
                      </a:lnTo>
                      <a:lnTo>
                        <a:pt x="1447" y="329"/>
                      </a:lnTo>
                      <a:lnTo>
                        <a:pt x="1440" y="311"/>
                      </a:lnTo>
                      <a:lnTo>
                        <a:pt x="1433" y="293"/>
                      </a:lnTo>
                      <a:lnTo>
                        <a:pt x="1423" y="276"/>
                      </a:lnTo>
                      <a:lnTo>
                        <a:pt x="1414" y="260"/>
                      </a:lnTo>
                      <a:lnTo>
                        <a:pt x="1404" y="243"/>
                      </a:lnTo>
                      <a:lnTo>
                        <a:pt x="1392" y="226"/>
                      </a:lnTo>
                      <a:lnTo>
                        <a:pt x="1381" y="211"/>
                      </a:lnTo>
                      <a:lnTo>
                        <a:pt x="1367" y="196"/>
                      </a:lnTo>
                      <a:lnTo>
                        <a:pt x="1354" y="182"/>
                      </a:lnTo>
                      <a:lnTo>
                        <a:pt x="1354" y="182"/>
                      </a:lnTo>
                      <a:lnTo>
                        <a:pt x="1339" y="168"/>
                      </a:lnTo>
                      <a:lnTo>
                        <a:pt x="1324" y="155"/>
                      </a:lnTo>
                      <a:lnTo>
                        <a:pt x="1308" y="143"/>
                      </a:lnTo>
                      <a:lnTo>
                        <a:pt x="1292" y="131"/>
                      </a:lnTo>
                      <a:lnTo>
                        <a:pt x="1275" y="121"/>
                      </a:lnTo>
                      <a:lnTo>
                        <a:pt x="1258" y="112"/>
                      </a:lnTo>
                      <a:lnTo>
                        <a:pt x="1240" y="102"/>
                      </a:lnTo>
                      <a:lnTo>
                        <a:pt x="1222" y="95"/>
                      </a:lnTo>
                      <a:lnTo>
                        <a:pt x="1205" y="88"/>
                      </a:lnTo>
                      <a:lnTo>
                        <a:pt x="1186" y="83"/>
                      </a:lnTo>
                      <a:lnTo>
                        <a:pt x="1168" y="77"/>
                      </a:lnTo>
                      <a:lnTo>
                        <a:pt x="1149" y="73"/>
                      </a:lnTo>
                      <a:lnTo>
                        <a:pt x="1130" y="70"/>
                      </a:lnTo>
                      <a:lnTo>
                        <a:pt x="1111" y="68"/>
                      </a:lnTo>
                      <a:lnTo>
                        <a:pt x="1092" y="66"/>
                      </a:lnTo>
                      <a:lnTo>
                        <a:pt x="1073" y="66"/>
                      </a:lnTo>
                      <a:lnTo>
                        <a:pt x="107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6" name="Freeform 15">
                  <a:extLst>
                    <a:ext uri="{FF2B5EF4-FFF2-40B4-BE49-F238E27FC236}">
                      <a16:creationId xmlns:a16="http://schemas.microsoft.com/office/drawing/2014/main" id="{48884F79-59BB-497F-BCCA-88CBE620A913}"/>
                    </a:ext>
                  </a:extLst>
                </p:cNvPr>
                <p:cNvSpPr>
                  <a:spLocks/>
                </p:cNvSpPr>
                <p:nvPr/>
              </p:nvSpPr>
              <p:spPr bwMode="auto">
                <a:xfrm>
                  <a:off x="9264650" y="1946276"/>
                  <a:ext cx="153988" cy="153988"/>
                </a:xfrm>
                <a:custGeom>
                  <a:avLst/>
                  <a:gdLst>
                    <a:gd name="T0" fmla="*/ 642 w 676"/>
                    <a:gd name="T1" fmla="*/ 675 h 675"/>
                    <a:gd name="T2" fmla="*/ 642 w 676"/>
                    <a:gd name="T3" fmla="*/ 675 h 675"/>
                    <a:gd name="T4" fmla="*/ 636 w 676"/>
                    <a:gd name="T5" fmla="*/ 675 h 675"/>
                    <a:gd name="T6" fmla="*/ 630 w 676"/>
                    <a:gd name="T7" fmla="*/ 673 h 675"/>
                    <a:gd name="T8" fmla="*/ 624 w 676"/>
                    <a:gd name="T9" fmla="*/ 670 h 675"/>
                    <a:gd name="T10" fmla="*/ 619 w 676"/>
                    <a:gd name="T11" fmla="*/ 665 h 675"/>
                    <a:gd name="T12" fmla="*/ 10 w 676"/>
                    <a:gd name="T13" fmla="*/ 57 h 675"/>
                    <a:gd name="T14" fmla="*/ 10 w 676"/>
                    <a:gd name="T15" fmla="*/ 57 h 675"/>
                    <a:gd name="T16" fmla="*/ 5 w 676"/>
                    <a:gd name="T17" fmla="*/ 52 h 675"/>
                    <a:gd name="T18" fmla="*/ 3 w 676"/>
                    <a:gd name="T19" fmla="*/ 46 h 675"/>
                    <a:gd name="T20" fmla="*/ 1 w 676"/>
                    <a:gd name="T21" fmla="*/ 40 h 675"/>
                    <a:gd name="T22" fmla="*/ 0 w 676"/>
                    <a:gd name="T23" fmla="*/ 33 h 675"/>
                    <a:gd name="T24" fmla="*/ 1 w 676"/>
                    <a:gd name="T25" fmla="*/ 27 h 675"/>
                    <a:gd name="T26" fmla="*/ 3 w 676"/>
                    <a:gd name="T27" fmla="*/ 21 h 675"/>
                    <a:gd name="T28" fmla="*/ 5 w 676"/>
                    <a:gd name="T29" fmla="*/ 15 h 675"/>
                    <a:gd name="T30" fmla="*/ 10 w 676"/>
                    <a:gd name="T31" fmla="*/ 10 h 675"/>
                    <a:gd name="T32" fmla="*/ 10 w 676"/>
                    <a:gd name="T33" fmla="*/ 10 h 675"/>
                    <a:gd name="T34" fmla="*/ 15 w 676"/>
                    <a:gd name="T35" fmla="*/ 5 h 675"/>
                    <a:gd name="T36" fmla="*/ 20 w 676"/>
                    <a:gd name="T37" fmla="*/ 2 h 675"/>
                    <a:gd name="T38" fmla="*/ 27 w 676"/>
                    <a:gd name="T39" fmla="*/ 0 h 675"/>
                    <a:gd name="T40" fmla="*/ 33 w 676"/>
                    <a:gd name="T41" fmla="*/ 0 h 675"/>
                    <a:gd name="T42" fmla="*/ 39 w 676"/>
                    <a:gd name="T43" fmla="*/ 0 h 675"/>
                    <a:gd name="T44" fmla="*/ 45 w 676"/>
                    <a:gd name="T45" fmla="*/ 2 h 675"/>
                    <a:gd name="T46" fmla="*/ 52 w 676"/>
                    <a:gd name="T47" fmla="*/ 5 h 675"/>
                    <a:gd name="T48" fmla="*/ 57 w 676"/>
                    <a:gd name="T49" fmla="*/ 10 h 675"/>
                    <a:gd name="T50" fmla="*/ 665 w 676"/>
                    <a:gd name="T51" fmla="*/ 619 h 675"/>
                    <a:gd name="T52" fmla="*/ 665 w 676"/>
                    <a:gd name="T53" fmla="*/ 619 h 675"/>
                    <a:gd name="T54" fmla="*/ 669 w 676"/>
                    <a:gd name="T55" fmla="*/ 624 h 675"/>
                    <a:gd name="T56" fmla="*/ 672 w 676"/>
                    <a:gd name="T57" fmla="*/ 629 h 675"/>
                    <a:gd name="T58" fmla="*/ 674 w 676"/>
                    <a:gd name="T59" fmla="*/ 635 h 675"/>
                    <a:gd name="T60" fmla="*/ 676 w 676"/>
                    <a:gd name="T61" fmla="*/ 642 h 675"/>
                    <a:gd name="T62" fmla="*/ 674 w 676"/>
                    <a:gd name="T63" fmla="*/ 648 h 675"/>
                    <a:gd name="T64" fmla="*/ 672 w 676"/>
                    <a:gd name="T65" fmla="*/ 654 h 675"/>
                    <a:gd name="T66" fmla="*/ 669 w 676"/>
                    <a:gd name="T67" fmla="*/ 660 h 675"/>
                    <a:gd name="T68" fmla="*/ 665 w 676"/>
                    <a:gd name="T69" fmla="*/ 665 h 675"/>
                    <a:gd name="T70" fmla="*/ 665 w 676"/>
                    <a:gd name="T71" fmla="*/ 665 h 675"/>
                    <a:gd name="T72" fmla="*/ 660 w 676"/>
                    <a:gd name="T73" fmla="*/ 670 h 675"/>
                    <a:gd name="T74" fmla="*/ 655 w 676"/>
                    <a:gd name="T75" fmla="*/ 673 h 675"/>
                    <a:gd name="T76" fmla="*/ 649 w 676"/>
                    <a:gd name="T77" fmla="*/ 675 h 675"/>
                    <a:gd name="T78" fmla="*/ 642 w 676"/>
                    <a:gd name="T79" fmla="*/ 675 h 675"/>
                    <a:gd name="T80" fmla="*/ 642 w 676"/>
                    <a:gd name="T81" fmla="*/ 675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76" h="675">
                      <a:moveTo>
                        <a:pt x="642" y="675"/>
                      </a:moveTo>
                      <a:lnTo>
                        <a:pt x="642" y="675"/>
                      </a:lnTo>
                      <a:lnTo>
                        <a:pt x="636" y="675"/>
                      </a:lnTo>
                      <a:lnTo>
                        <a:pt x="630" y="673"/>
                      </a:lnTo>
                      <a:lnTo>
                        <a:pt x="624" y="670"/>
                      </a:lnTo>
                      <a:lnTo>
                        <a:pt x="619" y="665"/>
                      </a:lnTo>
                      <a:lnTo>
                        <a:pt x="10" y="57"/>
                      </a:lnTo>
                      <a:lnTo>
                        <a:pt x="10" y="57"/>
                      </a:lnTo>
                      <a:lnTo>
                        <a:pt x="5" y="52"/>
                      </a:lnTo>
                      <a:lnTo>
                        <a:pt x="3" y="46"/>
                      </a:lnTo>
                      <a:lnTo>
                        <a:pt x="1" y="40"/>
                      </a:lnTo>
                      <a:lnTo>
                        <a:pt x="0" y="33"/>
                      </a:lnTo>
                      <a:lnTo>
                        <a:pt x="1" y="27"/>
                      </a:lnTo>
                      <a:lnTo>
                        <a:pt x="3" y="21"/>
                      </a:lnTo>
                      <a:lnTo>
                        <a:pt x="5" y="15"/>
                      </a:lnTo>
                      <a:lnTo>
                        <a:pt x="10" y="10"/>
                      </a:lnTo>
                      <a:lnTo>
                        <a:pt x="10" y="10"/>
                      </a:lnTo>
                      <a:lnTo>
                        <a:pt x="15" y="5"/>
                      </a:lnTo>
                      <a:lnTo>
                        <a:pt x="20" y="2"/>
                      </a:lnTo>
                      <a:lnTo>
                        <a:pt x="27" y="0"/>
                      </a:lnTo>
                      <a:lnTo>
                        <a:pt x="33" y="0"/>
                      </a:lnTo>
                      <a:lnTo>
                        <a:pt x="39" y="0"/>
                      </a:lnTo>
                      <a:lnTo>
                        <a:pt x="45" y="2"/>
                      </a:lnTo>
                      <a:lnTo>
                        <a:pt x="52" y="5"/>
                      </a:lnTo>
                      <a:lnTo>
                        <a:pt x="57" y="10"/>
                      </a:lnTo>
                      <a:lnTo>
                        <a:pt x="665" y="619"/>
                      </a:lnTo>
                      <a:lnTo>
                        <a:pt x="665" y="619"/>
                      </a:lnTo>
                      <a:lnTo>
                        <a:pt x="669" y="624"/>
                      </a:lnTo>
                      <a:lnTo>
                        <a:pt x="672" y="629"/>
                      </a:lnTo>
                      <a:lnTo>
                        <a:pt x="674" y="635"/>
                      </a:lnTo>
                      <a:lnTo>
                        <a:pt x="676" y="642"/>
                      </a:lnTo>
                      <a:lnTo>
                        <a:pt x="674" y="648"/>
                      </a:lnTo>
                      <a:lnTo>
                        <a:pt x="672" y="654"/>
                      </a:lnTo>
                      <a:lnTo>
                        <a:pt x="669" y="660"/>
                      </a:lnTo>
                      <a:lnTo>
                        <a:pt x="665" y="665"/>
                      </a:lnTo>
                      <a:lnTo>
                        <a:pt x="665" y="665"/>
                      </a:lnTo>
                      <a:lnTo>
                        <a:pt x="660" y="670"/>
                      </a:lnTo>
                      <a:lnTo>
                        <a:pt x="655" y="673"/>
                      </a:lnTo>
                      <a:lnTo>
                        <a:pt x="649" y="675"/>
                      </a:lnTo>
                      <a:lnTo>
                        <a:pt x="642" y="675"/>
                      </a:lnTo>
                      <a:lnTo>
                        <a:pt x="642" y="6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7" name="Freeform 16">
                  <a:extLst>
                    <a:ext uri="{FF2B5EF4-FFF2-40B4-BE49-F238E27FC236}">
                      <a16:creationId xmlns:a16="http://schemas.microsoft.com/office/drawing/2014/main" id="{9D55BEEE-62D3-4C60-8B1E-0BDE5CDAB99E}"/>
                    </a:ext>
                  </a:extLst>
                </p:cNvPr>
                <p:cNvSpPr>
                  <a:spLocks/>
                </p:cNvSpPr>
                <p:nvPr/>
              </p:nvSpPr>
              <p:spPr bwMode="auto">
                <a:xfrm>
                  <a:off x="9323388" y="1892301"/>
                  <a:ext cx="131763" cy="63500"/>
                </a:xfrm>
                <a:custGeom>
                  <a:avLst/>
                  <a:gdLst>
                    <a:gd name="T0" fmla="*/ 34 w 582"/>
                    <a:gd name="T1" fmla="*/ 285 h 285"/>
                    <a:gd name="T2" fmla="*/ 21 w 582"/>
                    <a:gd name="T3" fmla="*/ 283 h 285"/>
                    <a:gd name="T4" fmla="*/ 11 w 582"/>
                    <a:gd name="T5" fmla="*/ 275 h 285"/>
                    <a:gd name="T6" fmla="*/ 7 w 582"/>
                    <a:gd name="T7" fmla="*/ 270 h 285"/>
                    <a:gd name="T8" fmla="*/ 1 w 582"/>
                    <a:gd name="T9" fmla="*/ 258 h 285"/>
                    <a:gd name="T10" fmla="*/ 1 w 582"/>
                    <a:gd name="T11" fmla="*/ 245 h 285"/>
                    <a:gd name="T12" fmla="*/ 7 w 582"/>
                    <a:gd name="T13" fmla="*/ 234 h 285"/>
                    <a:gd name="T14" fmla="*/ 151 w 582"/>
                    <a:gd name="T15" fmla="*/ 88 h 285"/>
                    <a:gd name="T16" fmla="*/ 162 w 582"/>
                    <a:gd name="T17" fmla="*/ 78 h 285"/>
                    <a:gd name="T18" fmla="*/ 186 w 582"/>
                    <a:gd name="T19" fmla="*/ 58 h 285"/>
                    <a:gd name="T20" fmla="*/ 211 w 582"/>
                    <a:gd name="T21" fmla="*/ 42 h 285"/>
                    <a:gd name="T22" fmla="*/ 236 w 582"/>
                    <a:gd name="T23" fmla="*/ 28 h 285"/>
                    <a:gd name="T24" fmla="*/ 263 w 582"/>
                    <a:gd name="T25" fmla="*/ 18 h 285"/>
                    <a:gd name="T26" fmla="*/ 290 w 582"/>
                    <a:gd name="T27" fmla="*/ 9 h 285"/>
                    <a:gd name="T28" fmla="*/ 319 w 582"/>
                    <a:gd name="T29" fmla="*/ 3 h 285"/>
                    <a:gd name="T30" fmla="*/ 347 w 582"/>
                    <a:gd name="T31" fmla="*/ 1 h 285"/>
                    <a:gd name="T32" fmla="*/ 376 w 582"/>
                    <a:gd name="T33" fmla="*/ 1 h 285"/>
                    <a:gd name="T34" fmla="*/ 404 w 582"/>
                    <a:gd name="T35" fmla="*/ 3 h 285"/>
                    <a:gd name="T36" fmla="*/ 433 w 582"/>
                    <a:gd name="T37" fmla="*/ 9 h 285"/>
                    <a:gd name="T38" fmla="*/ 460 w 582"/>
                    <a:gd name="T39" fmla="*/ 18 h 285"/>
                    <a:gd name="T40" fmla="*/ 487 w 582"/>
                    <a:gd name="T41" fmla="*/ 28 h 285"/>
                    <a:gd name="T42" fmla="*/ 514 w 582"/>
                    <a:gd name="T43" fmla="*/ 42 h 285"/>
                    <a:gd name="T44" fmla="*/ 538 w 582"/>
                    <a:gd name="T45" fmla="*/ 58 h 285"/>
                    <a:gd name="T46" fmla="*/ 561 w 582"/>
                    <a:gd name="T47" fmla="*/ 78 h 285"/>
                    <a:gd name="T48" fmla="*/ 573 w 582"/>
                    <a:gd name="T49" fmla="*/ 88 h 285"/>
                    <a:gd name="T50" fmla="*/ 580 w 582"/>
                    <a:gd name="T51" fmla="*/ 98 h 285"/>
                    <a:gd name="T52" fmla="*/ 582 w 582"/>
                    <a:gd name="T53" fmla="*/ 111 h 285"/>
                    <a:gd name="T54" fmla="*/ 580 w 582"/>
                    <a:gd name="T55" fmla="*/ 123 h 285"/>
                    <a:gd name="T56" fmla="*/ 573 w 582"/>
                    <a:gd name="T57" fmla="*/ 135 h 285"/>
                    <a:gd name="T58" fmla="*/ 568 w 582"/>
                    <a:gd name="T59" fmla="*/ 139 h 285"/>
                    <a:gd name="T60" fmla="*/ 555 w 582"/>
                    <a:gd name="T61" fmla="*/ 144 h 285"/>
                    <a:gd name="T62" fmla="*/ 543 w 582"/>
                    <a:gd name="T63" fmla="*/ 144 h 285"/>
                    <a:gd name="T64" fmla="*/ 531 w 582"/>
                    <a:gd name="T65" fmla="*/ 139 h 285"/>
                    <a:gd name="T66" fmla="*/ 526 w 582"/>
                    <a:gd name="T67" fmla="*/ 135 h 285"/>
                    <a:gd name="T68" fmla="*/ 489 w 582"/>
                    <a:gd name="T69" fmla="*/ 105 h 285"/>
                    <a:gd name="T70" fmla="*/ 449 w 582"/>
                    <a:gd name="T71" fmla="*/ 84 h 285"/>
                    <a:gd name="T72" fmla="*/ 406 w 582"/>
                    <a:gd name="T73" fmla="*/ 72 h 285"/>
                    <a:gd name="T74" fmla="*/ 362 w 582"/>
                    <a:gd name="T75" fmla="*/ 66 h 285"/>
                    <a:gd name="T76" fmla="*/ 317 w 582"/>
                    <a:gd name="T77" fmla="*/ 72 h 285"/>
                    <a:gd name="T78" fmla="*/ 275 w 582"/>
                    <a:gd name="T79" fmla="*/ 84 h 285"/>
                    <a:gd name="T80" fmla="*/ 234 w 582"/>
                    <a:gd name="T81" fmla="*/ 105 h 285"/>
                    <a:gd name="T82" fmla="*/ 198 w 582"/>
                    <a:gd name="T83" fmla="*/ 135 h 285"/>
                    <a:gd name="T84" fmla="*/ 57 w 582"/>
                    <a:gd name="T85" fmla="*/ 275 h 285"/>
                    <a:gd name="T86" fmla="*/ 46 w 582"/>
                    <a:gd name="T87" fmla="*/ 283 h 285"/>
                    <a:gd name="T88" fmla="*/ 34 w 582"/>
                    <a:gd name="T89" fmla="*/ 28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2" h="285">
                      <a:moveTo>
                        <a:pt x="34" y="285"/>
                      </a:moveTo>
                      <a:lnTo>
                        <a:pt x="34" y="285"/>
                      </a:lnTo>
                      <a:lnTo>
                        <a:pt x="27" y="285"/>
                      </a:lnTo>
                      <a:lnTo>
                        <a:pt x="21" y="283"/>
                      </a:lnTo>
                      <a:lnTo>
                        <a:pt x="16" y="279"/>
                      </a:lnTo>
                      <a:lnTo>
                        <a:pt x="11" y="275"/>
                      </a:lnTo>
                      <a:lnTo>
                        <a:pt x="11" y="275"/>
                      </a:lnTo>
                      <a:lnTo>
                        <a:pt x="7" y="270"/>
                      </a:lnTo>
                      <a:lnTo>
                        <a:pt x="4" y="264"/>
                      </a:lnTo>
                      <a:lnTo>
                        <a:pt x="1" y="258"/>
                      </a:lnTo>
                      <a:lnTo>
                        <a:pt x="0" y="252"/>
                      </a:lnTo>
                      <a:lnTo>
                        <a:pt x="1" y="245"/>
                      </a:lnTo>
                      <a:lnTo>
                        <a:pt x="4" y="239"/>
                      </a:lnTo>
                      <a:lnTo>
                        <a:pt x="7" y="234"/>
                      </a:lnTo>
                      <a:lnTo>
                        <a:pt x="11" y="229"/>
                      </a:lnTo>
                      <a:lnTo>
                        <a:pt x="151" y="88"/>
                      </a:lnTo>
                      <a:lnTo>
                        <a:pt x="151" y="88"/>
                      </a:lnTo>
                      <a:lnTo>
                        <a:pt x="162" y="78"/>
                      </a:lnTo>
                      <a:lnTo>
                        <a:pt x="173" y="67"/>
                      </a:lnTo>
                      <a:lnTo>
                        <a:pt x="186" y="58"/>
                      </a:lnTo>
                      <a:lnTo>
                        <a:pt x="198" y="50"/>
                      </a:lnTo>
                      <a:lnTo>
                        <a:pt x="211" y="42"/>
                      </a:lnTo>
                      <a:lnTo>
                        <a:pt x="223" y="34"/>
                      </a:lnTo>
                      <a:lnTo>
                        <a:pt x="236" y="28"/>
                      </a:lnTo>
                      <a:lnTo>
                        <a:pt x="250" y="23"/>
                      </a:lnTo>
                      <a:lnTo>
                        <a:pt x="263" y="18"/>
                      </a:lnTo>
                      <a:lnTo>
                        <a:pt x="277" y="13"/>
                      </a:lnTo>
                      <a:lnTo>
                        <a:pt x="290" y="9"/>
                      </a:lnTo>
                      <a:lnTo>
                        <a:pt x="305" y="6"/>
                      </a:lnTo>
                      <a:lnTo>
                        <a:pt x="319" y="3"/>
                      </a:lnTo>
                      <a:lnTo>
                        <a:pt x="333" y="2"/>
                      </a:lnTo>
                      <a:lnTo>
                        <a:pt x="347" y="1"/>
                      </a:lnTo>
                      <a:lnTo>
                        <a:pt x="362" y="0"/>
                      </a:lnTo>
                      <a:lnTo>
                        <a:pt x="376" y="1"/>
                      </a:lnTo>
                      <a:lnTo>
                        <a:pt x="391" y="2"/>
                      </a:lnTo>
                      <a:lnTo>
                        <a:pt x="404" y="3"/>
                      </a:lnTo>
                      <a:lnTo>
                        <a:pt x="419" y="6"/>
                      </a:lnTo>
                      <a:lnTo>
                        <a:pt x="433" y="9"/>
                      </a:lnTo>
                      <a:lnTo>
                        <a:pt x="446" y="13"/>
                      </a:lnTo>
                      <a:lnTo>
                        <a:pt x="460" y="18"/>
                      </a:lnTo>
                      <a:lnTo>
                        <a:pt x="474" y="23"/>
                      </a:lnTo>
                      <a:lnTo>
                        <a:pt x="487" y="28"/>
                      </a:lnTo>
                      <a:lnTo>
                        <a:pt x="500" y="34"/>
                      </a:lnTo>
                      <a:lnTo>
                        <a:pt x="514" y="42"/>
                      </a:lnTo>
                      <a:lnTo>
                        <a:pt x="526" y="50"/>
                      </a:lnTo>
                      <a:lnTo>
                        <a:pt x="538" y="58"/>
                      </a:lnTo>
                      <a:lnTo>
                        <a:pt x="550" y="67"/>
                      </a:lnTo>
                      <a:lnTo>
                        <a:pt x="561" y="78"/>
                      </a:lnTo>
                      <a:lnTo>
                        <a:pt x="573" y="88"/>
                      </a:lnTo>
                      <a:lnTo>
                        <a:pt x="573" y="88"/>
                      </a:lnTo>
                      <a:lnTo>
                        <a:pt x="577" y="93"/>
                      </a:lnTo>
                      <a:lnTo>
                        <a:pt x="580" y="98"/>
                      </a:lnTo>
                      <a:lnTo>
                        <a:pt x="582" y="105"/>
                      </a:lnTo>
                      <a:lnTo>
                        <a:pt x="582" y="111"/>
                      </a:lnTo>
                      <a:lnTo>
                        <a:pt x="582" y="117"/>
                      </a:lnTo>
                      <a:lnTo>
                        <a:pt x="580" y="123"/>
                      </a:lnTo>
                      <a:lnTo>
                        <a:pt x="577" y="129"/>
                      </a:lnTo>
                      <a:lnTo>
                        <a:pt x="573" y="135"/>
                      </a:lnTo>
                      <a:lnTo>
                        <a:pt x="573" y="135"/>
                      </a:lnTo>
                      <a:lnTo>
                        <a:pt x="568" y="139"/>
                      </a:lnTo>
                      <a:lnTo>
                        <a:pt x="561" y="142"/>
                      </a:lnTo>
                      <a:lnTo>
                        <a:pt x="555" y="144"/>
                      </a:lnTo>
                      <a:lnTo>
                        <a:pt x="549" y="144"/>
                      </a:lnTo>
                      <a:lnTo>
                        <a:pt x="543" y="144"/>
                      </a:lnTo>
                      <a:lnTo>
                        <a:pt x="537" y="142"/>
                      </a:lnTo>
                      <a:lnTo>
                        <a:pt x="531" y="139"/>
                      </a:lnTo>
                      <a:lnTo>
                        <a:pt x="526" y="135"/>
                      </a:lnTo>
                      <a:lnTo>
                        <a:pt x="526" y="135"/>
                      </a:lnTo>
                      <a:lnTo>
                        <a:pt x="509" y="119"/>
                      </a:lnTo>
                      <a:lnTo>
                        <a:pt x="489" y="105"/>
                      </a:lnTo>
                      <a:lnTo>
                        <a:pt x="469" y="93"/>
                      </a:lnTo>
                      <a:lnTo>
                        <a:pt x="449" y="84"/>
                      </a:lnTo>
                      <a:lnTo>
                        <a:pt x="428" y="77"/>
                      </a:lnTo>
                      <a:lnTo>
                        <a:pt x="406" y="72"/>
                      </a:lnTo>
                      <a:lnTo>
                        <a:pt x="384" y="67"/>
                      </a:lnTo>
                      <a:lnTo>
                        <a:pt x="362" y="66"/>
                      </a:lnTo>
                      <a:lnTo>
                        <a:pt x="340" y="67"/>
                      </a:lnTo>
                      <a:lnTo>
                        <a:pt x="317" y="72"/>
                      </a:lnTo>
                      <a:lnTo>
                        <a:pt x="295" y="77"/>
                      </a:lnTo>
                      <a:lnTo>
                        <a:pt x="275" y="84"/>
                      </a:lnTo>
                      <a:lnTo>
                        <a:pt x="254" y="93"/>
                      </a:lnTo>
                      <a:lnTo>
                        <a:pt x="234" y="105"/>
                      </a:lnTo>
                      <a:lnTo>
                        <a:pt x="216" y="119"/>
                      </a:lnTo>
                      <a:lnTo>
                        <a:pt x="198" y="135"/>
                      </a:lnTo>
                      <a:lnTo>
                        <a:pt x="57" y="275"/>
                      </a:lnTo>
                      <a:lnTo>
                        <a:pt x="57" y="275"/>
                      </a:lnTo>
                      <a:lnTo>
                        <a:pt x="52" y="279"/>
                      </a:lnTo>
                      <a:lnTo>
                        <a:pt x="46" y="283"/>
                      </a:lnTo>
                      <a:lnTo>
                        <a:pt x="40" y="285"/>
                      </a:lnTo>
                      <a:lnTo>
                        <a:pt x="34" y="285"/>
                      </a:lnTo>
                      <a:lnTo>
                        <a:pt x="34"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sp>
        <p:nvSpPr>
          <p:cNvPr id="28" name="TextBox 27">
            <a:extLst>
              <a:ext uri="{FF2B5EF4-FFF2-40B4-BE49-F238E27FC236}">
                <a16:creationId xmlns:a16="http://schemas.microsoft.com/office/drawing/2014/main" id="{22D9CDDB-8286-4093-A87E-FE019A362674}"/>
              </a:ext>
            </a:extLst>
          </p:cNvPr>
          <p:cNvSpPr txBox="1"/>
          <p:nvPr/>
        </p:nvSpPr>
        <p:spPr>
          <a:xfrm>
            <a:off x="932984" y="3807935"/>
            <a:ext cx="3086109" cy="169277"/>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300"/>
              </a:spcAft>
              <a:buClr>
                <a:srgbClr val="000000"/>
              </a:buClr>
              <a:buSzPts val="1500"/>
              <a:buFont typeface="Arial"/>
              <a:buNone/>
              <a:tabLst/>
              <a:defRPr/>
            </a:pPr>
            <a:endParaRPr kumimoji="0" lang="fr-FR" sz="11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endParaRPr>
          </a:p>
        </p:txBody>
      </p:sp>
      <p:sp>
        <p:nvSpPr>
          <p:cNvPr id="29" name="Rectangle 28">
            <a:extLst>
              <a:ext uri="{FF2B5EF4-FFF2-40B4-BE49-F238E27FC236}">
                <a16:creationId xmlns:a16="http://schemas.microsoft.com/office/drawing/2014/main" id="{F161A1F6-3942-4DDC-8E59-DF1F297768CC}"/>
              </a:ext>
            </a:extLst>
          </p:cNvPr>
          <p:cNvSpPr/>
          <p:nvPr/>
        </p:nvSpPr>
        <p:spPr>
          <a:xfrm>
            <a:off x="388747" y="3430909"/>
            <a:ext cx="399846" cy="3998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a:ln>
                <a:noFill/>
              </a:ln>
              <a:solidFill>
                <a:srgbClr val="FFFFFF"/>
              </a:solidFill>
              <a:effectLst/>
              <a:uLnTx/>
              <a:uFillTx/>
              <a:latin typeface="Gene Sans Light" panose="00000400000000000000" pitchFamily="2" charset="0"/>
              <a:ea typeface="+mn-ea"/>
              <a:cs typeface="+mn-cs"/>
              <a:sym typeface="Arial"/>
            </a:endParaRPr>
          </a:p>
        </p:txBody>
      </p:sp>
      <p:sp>
        <p:nvSpPr>
          <p:cNvPr id="30" name="Rectangle 29"/>
          <p:cNvSpPr/>
          <p:nvPr/>
        </p:nvSpPr>
        <p:spPr>
          <a:xfrm>
            <a:off x="886184" y="3480330"/>
            <a:ext cx="7326909" cy="964367"/>
          </a:xfrm>
          <a:prstGeom prst="rect">
            <a:avLst/>
          </a:prstGeom>
        </p:spPr>
        <p:txBody>
          <a:bodyPr wrap="square">
            <a:spAutoFit/>
          </a:bodyPr>
          <a:lstStyle/>
          <a:p>
            <a:pPr marL="0" marR="0" lvl="8" indent="0" algn="l" defTabSz="914400" rtl="0" eaLnBrk="1" fontAlgn="auto" latinLnBrk="0" hangingPunct="1">
              <a:lnSpc>
                <a:spcPct val="100000"/>
              </a:lnSpc>
              <a:spcBef>
                <a:spcPts val="0"/>
              </a:spcBef>
              <a:spcAft>
                <a:spcPts val="0"/>
              </a:spcAft>
              <a:buClr>
                <a:srgbClr val="000000"/>
              </a:buClr>
              <a:buSzPts val="15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No difference in OS was seen in patients receiving no corticosteroids or &lt;10 mg prednisone equivalent daily VS ≥10 mg for the management of </a:t>
            </a:r>
            <a:r>
              <a:rPr kumimoji="0" lang="en-US" sz="11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irAEs</a:t>
            </a: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a:t>
            </a:r>
            <a:r>
              <a:rPr kumimoji="0" lang="en-US" sz="1100" b="0" i="1"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p</a:t>
            </a: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 0.314</a:t>
            </a:r>
          </a:p>
          <a:p>
            <a:pPr marL="0" marR="0" lvl="8" indent="0" algn="l" defTabSz="914400" rtl="0" eaLnBrk="1" fontAlgn="auto" latinLnBrk="0" hangingPunct="1">
              <a:lnSpc>
                <a:spcPct val="100000"/>
              </a:lnSpc>
              <a:spcBef>
                <a:spcPts val="0"/>
              </a:spcBef>
              <a:spcAft>
                <a:spcPts val="0"/>
              </a:spcAft>
              <a:buClr>
                <a:srgbClr val="000000"/>
              </a:buClr>
              <a:buSzPts val="1500"/>
              <a:buFont typeface="Arial"/>
              <a:buNone/>
              <a:tabLst/>
              <a:defRPr/>
            </a:pPr>
            <a:endPar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a:p>
            <a:pPr marL="0" marR="0" lvl="8" indent="0" algn="l" defTabSz="914400" rtl="0" eaLnBrk="1" fontAlgn="auto" latinLnBrk="0" hangingPunct="1">
              <a:lnSpc>
                <a:spcPct val="100000"/>
              </a:lnSpc>
              <a:spcBef>
                <a:spcPts val="0"/>
              </a:spcBef>
              <a:spcAft>
                <a:spcPts val="0"/>
              </a:spcAft>
              <a:buClr>
                <a:srgbClr val="000000"/>
              </a:buClr>
              <a:buSzPts val="15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Patients receiving ≥10 mg for the management of cancer-related symptoms had a shorter OS than the rest of the study population*, </a:t>
            </a:r>
            <a:r>
              <a:rPr kumimoji="0" lang="en-US" sz="1100" b="0" i="1"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p</a:t>
            </a: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 0.001</a:t>
            </a:r>
            <a:endParaRPr kumimoji="0" lang="en-US" sz="900" b="0" i="0" u="none" strike="noStrike" kern="0" cap="none" spc="0" normalizeH="0" baseline="0" noProof="0" dirty="0">
              <a:ln>
                <a:noFill/>
              </a:ln>
              <a:solidFill>
                <a:srgbClr val="000000"/>
              </a:solidFill>
              <a:effectLst/>
              <a:uLnTx/>
              <a:uFillTx/>
              <a:latin typeface="Gene Sans Light" panose="00000400000000000000" pitchFamily="50" charset="0"/>
              <a:cs typeface="Arial"/>
              <a:sym typeface="Arial"/>
            </a:endParaRPr>
          </a:p>
        </p:txBody>
      </p:sp>
      <p:grpSp>
        <p:nvGrpSpPr>
          <p:cNvPr id="31" name="Group 30">
            <a:extLst>
              <a:ext uri="{FF2B5EF4-FFF2-40B4-BE49-F238E27FC236}">
                <a16:creationId xmlns:a16="http://schemas.microsoft.com/office/drawing/2014/main" id="{7114273E-AB68-4EF9-8DF0-37AE9008C7EB}"/>
              </a:ext>
            </a:extLst>
          </p:cNvPr>
          <p:cNvGrpSpPr>
            <a:grpSpLocks noChangeAspect="1"/>
          </p:cNvGrpSpPr>
          <p:nvPr/>
        </p:nvGrpSpPr>
        <p:grpSpPr>
          <a:xfrm>
            <a:off x="467588" y="3510203"/>
            <a:ext cx="242165" cy="241259"/>
            <a:chOff x="2892292" y="4072079"/>
            <a:chExt cx="429009" cy="427405"/>
          </a:xfrm>
          <a:solidFill>
            <a:schemeClr val="bg1"/>
          </a:solidFill>
        </p:grpSpPr>
        <p:sp>
          <p:nvSpPr>
            <p:cNvPr id="32" name="Freeform 406">
              <a:extLst>
                <a:ext uri="{FF2B5EF4-FFF2-40B4-BE49-F238E27FC236}">
                  <a16:creationId xmlns:a16="http://schemas.microsoft.com/office/drawing/2014/main" id="{07AAB60F-974E-45EF-9957-C03529831D9D}"/>
                </a:ext>
              </a:extLst>
            </p:cNvPr>
            <p:cNvSpPr>
              <a:spLocks/>
            </p:cNvSpPr>
            <p:nvPr/>
          </p:nvSpPr>
          <p:spPr bwMode="auto">
            <a:xfrm>
              <a:off x="2946018" y="4179531"/>
              <a:ext cx="99434" cy="17641"/>
            </a:xfrm>
            <a:custGeom>
              <a:avLst/>
              <a:gdLst>
                <a:gd name="T0" fmla="*/ 47 w 52"/>
                <a:gd name="T1" fmla="*/ 9 h 9"/>
                <a:gd name="T2" fmla="*/ 5 w 52"/>
                <a:gd name="T3" fmla="*/ 9 h 9"/>
                <a:gd name="T4" fmla="*/ 0 w 52"/>
                <a:gd name="T5" fmla="*/ 4 h 9"/>
                <a:gd name="T6" fmla="*/ 5 w 52"/>
                <a:gd name="T7" fmla="*/ 0 h 9"/>
                <a:gd name="T8" fmla="*/ 47 w 52"/>
                <a:gd name="T9" fmla="*/ 0 h 9"/>
                <a:gd name="T10" fmla="*/ 52 w 52"/>
                <a:gd name="T11" fmla="*/ 4 h 9"/>
                <a:gd name="T12" fmla="*/ 47 w 5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52" h="9">
                  <a:moveTo>
                    <a:pt x="47" y="9"/>
                  </a:moveTo>
                  <a:cubicBezTo>
                    <a:pt x="5" y="9"/>
                    <a:pt x="5" y="9"/>
                    <a:pt x="5" y="9"/>
                  </a:cubicBezTo>
                  <a:cubicBezTo>
                    <a:pt x="2" y="9"/>
                    <a:pt x="0" y="7"/>
                    <a:pt x="0" y="4"/>
                  </a:cubicBezTo>
                  <a:cubicBezTo>
                    <a:pt x="0" y="2"/>
                    <a:pt x="2" y="0"/>
                    <a:pt x="5" y="0"/>
                  </a:cubicBezTo>
                  <a:cubicBezTo>
                    <a:pt x="47" y="0"/>
                    <a:pt x="47" y="0"/>
                    <a:pt x="47" y="0"/>
                  </a:cubicBezTo>
                  <a:cubicBezTo>
                    <a:pt x="50" y="0"/>
                    <a:pt x="52" y="2"/>
                    <a:pt x="52" y="4"/>
                  </a:cubicBezTo>
                  <a:cubicBezTo>
                    <a:pt x="52" y="7"/>
                    <a:pt x="50" y="9"/>
                    <a:pt x="47"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AU"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Freeform 407">
              <a:extLst>
                <a:ext uri="{FF2B5EF4-FFF2-40B4-BE49-F238E27FC236}">
                  <a16:creationId xmlns:a16="http://schemas.microsoft.com/office/drawing/2014/main" id="{5305BE57-8670-4B13-AB1F-3410A1BA61AA}"/>
                </a:ext>
              </a:extLst>
            </p:cNvPr>
            <p:cNvSpPr>
              <a:spLocks/>
            </p:cNvSpPr>
            <p:nvPr/>
          </p:nvSpPr>
          <p:spPr bwMode="auto">
            <a:xfrm>
              <a:off x="2946018" y="4233258"/>
              <a:ext cx="160377" cy="17641"/>
            </a:xfrm>
            <a:custGeom>
              <a:avLst/>
              <a:gdLst>
                <a:gd name="T0" fmla="*/ 80 w 84"/>
                <a:gd name="T1" fmla="*/ 9 h 9"/>
                <a:gd name="T2" fmla="*/ 5 w 84"/>
                <a:gd name="T3" fmla="*/ 9 h 9"/>
                <a:gd name="T4" fmla="*/ 0 w 84"/>
                <a:gd name="T5" fmla="*/ 4 h 9"/>
                <a:gd name="T6" fmla="*/ 5 w 84"/>
                <a:gd name="T7" fmla="*/ 0 h 9"/>
                <a:gd name="T8" fmla="*/ 80 w 84"/>
                <a:gd name="T9" fmla="*/ 0 h 9"/>
                <a:gd name="T10" fmla="*/ 84 w 84"/>
                <a:gd name="T11" fmla="*/ 4 h 9"/>
                <a:gd name="T12" fmla="*/ 80 w 84"/>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84" h="9">
                  <a:moveTo>
                    <a:pt x="80" y="9"/>
                  </a:moveTo>
                  <a:cubicBezTo>
                    <a:pt x="5" y="9"/>
                    <a:pt x="5" y="9"/>
                    <a:pt x="5" y="9"/>
                  </a:cubicBezTo>
                  <a:cubicBezTo>
                    <a:pt x="2" y="9"/>
                    <a:pt x="0" y="7"/>
                    <a:pt x="0" y="4"/>
                  </a:cubicBezTo>
                  <a:cubicBezTo>
                    <a:pt x="0" y="2"/>
                    <a:pt x="2" y="0"/>
                    <a:pt x="5" y="0"/>
                  </a:cubicBezTo>
                  <a:cubicBezTo>
                    <a:pt x="80" y="0"/>
                    <a:pt x="80" y="0"/>
                    <a:pt x="80" y="0"/>
                  </a:cubicBezTo>
                  <a:cubicBezTo>
                    <a:pt x="82" y="0"/>
                    <a:pt x="84" y="2"/>
                    <a:pt x="84" y="4"/>
                  </a:cubicBezTo>
                  <a:cubicBezTo>
                    <a:pt x="84" y="7"/>
                    <a:pt x="82" y="9"/>
                    <a:pt x="8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AU"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Freeform 408">
              <a:extLst>
                <a:ext uri="{FF2B5EF4-FFF2-40B4-BE49-F238E27FC236}">
                  <a16:creationId xmlns:a16="http://schemas.microsoft.com/office/drawing/2014/main" id="{EAA52B1C-778F-4860-BCE8-D6AA6BC9EEF3}"/>
                </a:ext>
              </a:extLst>
            </p:cNvPr>
            <p:cNvSpPr>
              <a:spLocks/>
            </p:cNvSpPr>
            <p:nvPr/>
          </p:nvSpPr>
          <p:spPr bwMode="auto">
            <a:xfrm>
              <a:off x="2946018" y="4286984"/>
              <a:ext cx="125896" cy="17641"/>
            </a:xfrm>
            <a:custGeom>
              <a:avLst/>
              <a:gdLst>
                <a:gd name="T0" fmla="*/ 61 w 66"/>
                <a:gd name="T1" fmla="*/ 9 h 9"/>
                <a:gd name="T2" fmla="*/ 5 w 66"/>
                <a:gd name="T3" fmla="*/ 9 h 9"/>
                <a:gd name="T4" fmla="*/ 0 w 66"/>
                <a:gd name="T5" fmla="*/ 4 h 9"/>
                <a:gd name="T6" fmla="*/ 5 w 66"/>
                <a:gd name="T7" fmla="*/ 0 h 9"/>
                <a:gd name="T8" fmla="*/ 61 w 66"/>
                <a:gd name="T9" fmla="*/ 0 h 9"/>
                <a:gd name="T10" fmla="*/ 66 w 66"/>
                <a:gd name="T11" fmla="*/ 4 h 9"/>
                <a:gd name="T12" fmla="*/ 61 w 66"/>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66" h="9">
                  <a:moveTo>
                    <a:pt x="61" y="9"/>
                  </a:moveTo>
                  <a:cubicBezTo>
                    <a:pt x="5" y="9"/>
                    <a:pt x="5" y="9"/>
                    <a:pt x="5" y="9"/>
                  </a:cubicBezTo>
                  <a:cubicBezTo>
                    <a:pt x="2" y="9"/>
                    <a:pt x="0" y="7"/>
                    <a:pt x="0" y="4"/>
                  </a:cubicBezTo>
                  <a:cubicBezTo>
                    <a:pt x="0" y="2"/>
                    <a:pt x="2" y="0"/>
                    <a:pt x="5" y="0"/>
                  </a:cubicBezTo>
                  <a:cubicBezTo>
                    <a:pt x="61" y="0"/>
                    <a:pt x="61" y="0"/>
                    <a:pt x="61" y="0"/>
                  </a:cubicBezTo>
                  <a:cubicBezTo>
                    <a:pt x="64" y="0"/>
                    <a:pt x="66" y="2"/>
                    <a:pt x="66" y="4"/>
                  </a:cubicBezTo>
                  <a:cubicBezTo>
                    <a:pt x="66" y="7"/>
                    <a:pt x="64" y="9"/>
                    <a:pt x="6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AU"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Freeform 409">
              <a:extLst>
                <a:ext uri="{FF2B5EF4-FFF2-40B4-BE49-F238E27FC236}">
                  <a16:creationId xmlns:a16="http://schemas.microsoft.com/office/drawing/2014/main" id="{2001B43A-8B28-4C36-B9B4-453DF8C45D0C}"/>
                </a:ext>
              </a:extLst>
            </p:cNvPr>
            <p:cNvSpPr>
              <a:spLocks/>
            </p:cNvSpPr>
            <p:nvPr/>
          </p:nvSpPr>
          <p:spPr bwMode="auto">
            <a:xfrm>
              <a:off x="2946018" y="4339107"/>
              <a:ext cx="107453" cy="19245"/>
            </a:xfrm>
            <a:custGeom>
              <a:avLst/>
              <a:gdLst>
                <a:gd name="T0" fmla="*/ 52 w 56"/>
                <a:gd name="T1" fmla="*/ 10 h 10"/>
                <a:gd name="T2" fmla="*/ 5 w 56"/>
                <a:gd name="T3" fmla="*/ 10 h 10"/>
                <a:gd name="T4" fmla="*/ 0 w 56"/>
                <a:gd name="T5" fmla="*/ 5 h 10"/>
                <a:gd name="T6" fmla="*/ 5 w 56"/>
                <a:gd name="T7" fmla="*/ 0 h 10"/>
                <a:gd name="T8" fmla="*/ 52 w 56"/>
                <a:gd name="T9" fmla="*/ 0 h 10"/>
                <a:gd name="T10" fmla="*/ 56 w 56"/>
                <a:gd name="T11" fmla="*/ 5 h 10"/>
                <a:gd name="T12" fmla="*/ 52 w 56"/>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56" h="10">
                  <a:moveTo>
                    <a:pt x="52" y="10"/>
                  </a:moveTo>
                  <a:cubicBezTo>
                    <a:pt x="5" y="10"/>
                    <a:pt x="5" y="10"/>
                    <a:pt x="5" y="10"/>
                  </a:cubicBezTo>
                  <a:cubicBezTo>
                    <a:pt x="2" y="10"/>
                    <a:pt x="0" y="8"/>
                    <a:pt x="0" y="5"/>
                  </a:cubicBezTo>
                  <a:cubicBezTo>
                    <a:pt x="0" y="3"/>
                    <a:pt x="2" y="0"/>
                    <a:pt x="5" y="0"/>
                  </a:cubicBezTo>
                  <a:cubicBezTo>
                    <a:pt x="52" y="0"/>
                    <a:pt x="52" y="0"/>
                    <a:pt x="52" y="0"/>
                  </a:cubicBezTo>
                  <a:cubicBezTo>
                    <a:pt x="54" y="0"/>
                    <a:pt x="56" y="3"/>
                    <a:pt x="56" y="5"/>
                  </a:cubicBezTo>
                  <a:cubicBezTo>
                    <a:pt x="56" y="8"/>
                    <a:pt x="54" y="10"/>
                    <a:pt x="5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AU"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Freeform 410">
              <a:extLst>
                <a:ext uri="{FF2B5EF4-FFF2-40B4-BE49-F238E27FC236}">
                  <a16:creationId xmlns:a16="http://schemas.microsoft.com/office/drawing/2014/main" id="{3E060C71-1C73-4F1E-B752-AE548727EEDB}"/>
                </a:ext>
              </a:extLst>
            </p:cNvPr>
            <p:cNvSpPr>
              <a:spLocks noEditPoints="1"/>
            </p:cNvSpPr>
            <p:nvPr/>
          </p:nvSpPr>
          <p:spPr bwMode="auto">
            <a:xfrm>
              <a:off x="3089556" y="4267739"/>
              <a:ext cx="231745" cy="231745"/>
            </a:xfrm>
            <a:custGeom>
              <a:avLst/>
              <a:gdLst>
                <a:gd name="T0" fmla="*/ 60 w 121"/>
                <a:gd name="T1" fmla="*/ 121 h 121"/>
                <a:gd name="T2" fmla="*/ 0 w 121"/>
                <a:gd name="T3" fmla="*/ 60 h 121"/>
                <a:gd name="T4" fmla="*/ 60 w 121"/>
                <a:gd name="T5" fmla="*/ 0 h 121"/>
                <a:gd name="T6" fmla="*/ 121 w 121"/>
                <a:gd name="T7" fmla="*/ 60 h 121"/>
                <a:gd name="T8" fmla="*/ 60 w 121"/>
                <a:gd name="T9" fmla="*/ 121 h 121"/>
                <a:gd name="T10" fmla="*/ 60 w 121"/>
                <a:gd name="T11" fmla="*/ 9 h 121"/>
                <a:gd name="T12" fmla="*/ 9 w 121"/>
                <a:gd name="T13" fmla="*/ 60 h 121"/>
                <a:gd name="T14" fmla="*/ 60 w 121"/>
                <a:gd name="T15" fmla="*/ 112 h 121"/>
                <a:gd name="T16" fmla="*/ 112 w 121"/>
                <a:gd name="T17" fmla="*/ 60 h 121"/>
                <a:gd name="T18" fmla="*/ 60 w 121"/>
                <a:gd name="T19" fmla="*/ 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21">
                  <a:moveTo>
                    <a:pt x="60" y="121"/>
                  </a:moveTo>
                  <a:cubicBezTo>
                    <a:pt x="27" y="121"/>
                    <a:pt x="0" y="94"/>
                    <a:pt x="0" y="60"/>
                  </a:cubicBezTo>
                  <a:cubicBezTo>
                    <a:pt x="0" y="27"/>
                    <a:pt x="27" y="0"/>
                    <a:pt x="60" y="0"/>
                  </a:cubicBezTo>
                  <a:cubicBezTo>
                    <a:pt x="94" y="0"/>
                    <a:pt x="121" y="27"/>
                    <a:pt x="121" y="60"/>
                  </a:cubicBezTo>
                  <a:cubicBezTo>
                    <a:pt x="121" y="94"/>
                    <a:pt x="94" y="121"/>
                    <a:pt x="60" y="121"/>
                  </a:cubicBezTo>
                  <a:close/>
                  <a:moveTo>
                    <a:pt x="60" y="9"/>
                  </a:moveTo>
                  <a:cubicBezTo>
                    <a:pt x="32" y="9"/>
                    <a:pt x="9" y="32"/>
                    <a:pt x="9" y="60"/>
                  </a:cubicBezTo>
                  <a:cubicBezTo>
                    <a:pt x="9" y="89"/>
                    <a:pt x="32" y="112"/>
                    <a:pt x="60" y="112"/>
                  </a:cubicBezTo>
                  <a:cubicBezTo>
                    <a:pt x="89" y="112"/>
                    <a:pt x="112" y="89"/>
                    <a:pt x="112" y="60"/>
                  </a:cubicBezTo>
                  <a:cubicBezTo>
                    <a:pt x="112" y="32"/>
                    <a:pt x="89" y="9"/>
                    <a:pt x="60"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AU"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Freeform 411">
              <a:extLst>
                <a:ext uri="{FF2B5EF4-FFF2-40B4-BE49-F238E27FC236}">
                  <a16:creationId xmlns:a16="http://schemas.microsoft.com/office/drawing/2014/main" id="{BCDADED2-8304-464B-A859-FC9481CE9EFB}"/>
                </a:ext>
              </a:extLst>
            </p:cNvPr>
            <p:cNvSpPr>
              <a:spLocks/>
            </p:cNvSpPr>
            <p:nvPr/>
          </p:nvSpPr>
          <p:spPr bwMode="auto">
            <a:xfrm>
              <a:off x="3137669" y="4344720"/>
              <a:ext cx="135519" cy="93821"/>
            </a:xfrm>
            <a:custGeom>
              <a:avLst/>
              <a:gdLst>
                <a:gd name="T0" fmla="*/ 30 w 71"/>
                <a:gd name="T1" fmla="*/ 49 h 49"/>
                <a:gd name="T2" fmla="*/ 27 w 71"/>
                <a:gd name="T3" fmla="*/ 48 h 49"/>
                <a:gd name="T4" fmla="*/ 2 w 71"/>
                <a:gd name="T5" fmla="*/ 22 h 49"/>
                <a:gd name="T6" fmla="*/ 2 w 71"/>
                <a:gd name="T7" fmla="*/ 16 h 49"/>
                <a:gd name="T8" fmla="*/ 8 w 71"/>
                <a:gd name="T9" fmla="*/ 16 h 49"/>
                <a:gd name="T10" fmla="*/ 30 w 71"/>
                <a:gd name="T11" fmla="*/ 37 h 49"/>
                <a:gd name="T12" fmla="*/ 63 w 71"/>
                <a:gd name="T13" fmla="*/ 2 h 49"/>
                <a:gd name="T14" fmla="*/ 69 w 71"/>
                <a:gd name="T15" fmla="*/ 2 h 49"/>
                <a:gd name="T16" fmla="*/ 69 w 71"/>
                <a:gd name="T17" fmla="*/ 8 h 49"/>
                <a:gd name="T18" fmla="*/ 34 w 71"/>
                <a:gd name="T19" fmla="*/ 47 h 49"/>
                <a:gd name="T20" fmla="*/ 31 w 71"/>
                <a:gd name="T21" fmla="*/ 49 h 49"/>
                <a:gd name="T22" fmla="*/ 30 w 71"/>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49">
                  <a:moveTo>
                    <a:pt x="30" y="49"/>
                  </a:moveTo>
                  <a:cubicBezTo>
                    <a:pt x="29" y="49"/>
                    <a:pt x="28" y="48"/>
                    <a:pt x="27" y="48"/>
                  </a:cubicBezTo>
                  <a:cubicBezTo>
                    <a:pt x="2" y="22"/>
                    <a:pt x="2" y="22"/>
                    <a:pt x="2" y="22"/>
                  </a:cubicBezTo>
                  <a:cubicBezTo>
                    <a:pt x="0" y="20"/>
                    <a:pt x="0" y="17"/>
                    <a:pt x="2" y="16"/>
                  </a:cubicBezTo>
                  <a:cubicBezTo>
                    <a:pt x="4" y="14"/>
                    <a:pt x="6" y="14"/>
                    <a:pt x="8" y="16"/>
                  </a:cubicBezTo>
                  <a:cubicBezTo>
                    <a:pt x="30" y="37"/>
                    <a:pt x="30" y="37"/>
                    <a:pt x="30" y="37"/>
                  </a:cubicBezTo>
                  <a:cubicBezTo>
                    <a:pt x="63" y="2"/>
                    <a:pt x="63" y="2"/>
                    <a:pt x="63" y="2"/>
                  </a:cubicBezTo>
                  <a:cubicBezTo>
                    <a:pt x="64" y="0"/>
                    <a:pt x="67" y="0"/>
                    <a:pt x="69" y="2"/>
                  </a:cubicBezTo>
                  <a:cubicBezTo>
                    <a:pt x="71" y="4"/>
                    <a:pt x="71" y="6"/>
                    <a:pt x="69" y="8"/>
                  </a:cubicBezTo>
                  <a:cubicBezTo>
                    <a:pt x="34" y="47"/>
                    <a:pt x="34" y="47"/>
                    <a:pt x="34" y="47"/>
                  </a:cubicBezTo>
                  <a:cubicBezTo>
                    <a:pt x="33" y="48"/>
                    <a:pt x="32" y="49"/>
                    <a:pt x="31" y="49"/>
                  </a:cubicBezTo>
                  <a:cubicBezTo>
                    <a:pt x="30" y="49"/>
                    <a:pt x="30" y="49"/>
                    <a:pt x="30"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AU"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Freeform 412">
              <a:extLst>
                <a:ext uri="{FF2B5EF4-FFF2-40B4-BE49-F238E27FC236}">
                  <a16:creationId xmlns:a16="http://schemas.microsoft.com/office/drawing/2014/main" id="{E2A255B4-22AC-4229-B973-F27E274B1FA7}"/>
                </a:ext>
              </a:extLst>
            </p:cNvPr>
            <p:cNvSpPr>
              <a:spLocks/>
            </p:cNvSpPr>
            <p:nvPr/>
          </p:nvSpPr>
          <p:spPr bwMode="auto">
            <a:xfrm>
              <a:off x="2892292" y="4072079"/>
              <a:ext cx="304717" cy="392924"/>
            </a:xfrm>
            <a:custGeom>
              <a:avLst/>
              <a:gdLst>
                <a:gd name="T0" fmla="*/ 103 w 159"/>
                <a:gd name="T1" fmla="*/ 205 h 205"/>
                <a:gd name="T2" fmla="*/ 5 w 159"/>
                <a:gd name="T3" fmla="*/ 205 h 205"/>
                <a:gd name="T4" fmla="*/ 0 w 159"/>
                <a:gd name="T5" fmla="*/ 200 h 205"/>
                <a:gd name="T6" fmla="*/ 0 w 159"/>
                <a:gd name="T7" fmla="*/ 4 h 205"/>
                <a:gd name="T8" fmla="*/ 5 w 159"/>
                <a:gd name="T9" fmla="*/ 0 h 205"/>
                <a:gd name="T10" fmla="*/ 108 w 159"/>
                <a:gd name="T11" fmla="*/ 0 h 205"/>
                <a:gd name="T12" fmla="*/ 111 w 159"/>
                <a:gd name="T13" fmla="*/ 1 h 205"/>
                <a:gd name="T14" fmla="*/ 157 w 159"/>
                <a:gd name="T15" fmla="*/ 48 h 205"/>
                <a:gd name="T16" fmla="*/ 159 w 159"/>
                <a:gd name="T17" fmla="*/ 51 h 205"/>
                <a:gd name="T18" fmla="*/ 159 w 159"/>
                <a:gd name="T19" fmla="*/ 93 h 205"/>
                <a:gd name="T20" fmla="*/ 150 w 159"/>
                <a:gd name="T21" fmla="*/ 93 h 205"/>
                <a:gd name="T22" fmla="*/ 150 w 159"/>
                <a:gd name="T23" fmla="*/ 53 h 205"/>
                <a:gd name="T24" fmla="*/ 106 w 159"/>
                <a:gd name="T25" fmla="*/ 9 h 205"/>
                <a:gd name="T26" fmla="*/ 10 w 159"/>
                <a:gd name="T27" fmla="*/ 9 h 205"/>
                <a:gd name="T28" fmla="*/ 10 w 159"/>
                <a:gd name="T29" fmla="*/ 195 h 205"/>
                <a:gd name="T30" fmla="*/ 103 w 159"/>
                <a:gd name="T31" fmla="*/ 195 h 205"/>
                <a:gd name="T32" fmla="*/ 103 w 159"/>
                <a:gd name="T3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9" h="205">
                  <a:moveTo>
                    <a:pt x="103" y="205"/>
                  </a:moveTo>
                  <a:cubicBezTo>
                    <a:pt x="5" y="205"/>
                    <a:pt x="5" y="205"/>
                    <a:pt x="5" y="205"/>
                  </a:cubicBezTo>
                  <a:cubicBezTo>
                    <a:pt x="3" y="205"/>
                    <a:pt x="0" y="203"/>
                    <a:pt x="0" y="200"/>
                  </a:cubicBezTo>
                  <a:cubicBezTo>
                    <a:pt x="0" y="4"/>
                    <a:pt x="0" y="4"/>
                    <a:pt x="0" y="4"/>
                  </a:cubicBezTo>
                  <a:cubicBezTo>
                    <a:pt x="0" y="2"/>
                    <a:pt x="3" y="0"/>
                    <a:pt x="5" y="0"/>
                  </a:cubicBezTo>
                  <a:cubicBezTo>
                    <a:pt x="108" y="0"/>
                    <a:pt x="108" y="0"/>
                    <a:pt x="108" y="0"/>
                  </a:cubicBezTo>
                  <a:cubicBezTo>
                    <a:pt x="109" y="0"/>
                    <a:pt x="110" y="0"/>
                    <a:pt x="111" y="1"/>
                  </a:cubicBezTo>
                  <a:cubicBezTo>
                    <a:pt x="157" y="48"/>
                    <a:pt x="157" y="48"/>
                    <a:pt x="157" y="48"/>
                  </a:cubicBezTo>
                  <a:cubicBezTo>
                    <a:pt x="158" y="49"/>
                    <a:pt x="159" y="50"/>
                    <a:pt x="159" y="51"/>
                  </a:cubicBezTo>
                  <a:cubicBezTo>
                    <a:pt x="159" y="93"/>
                    <a:pt x="159" y="93"/>
                    <a:pt x="159" y="93"/>
                  </a:cubicBezTo>
                  <a:cubicBezTo>
                    <a:pt x="150" y="93"/>
                    <a:pt x="150" y="93"/>
                    <a:pt x="150" y="93"/>
                  </a:cubicBezTo>
                  <a:cubicBezTo>
                    <a:pt x="150" y="53"/>
                    <a:pt x="150" y="53"/>
                    <a:pt x="150" y="53"/>
                  </a:cubicBezTo>
                  <a:cubicBezTo>
                    <a:pt x="106" y="9"/>
                    <a:pt x="106" y="9"/>
                    <a:pt x="106" y="9"/>
                  </a:cubicBezTo>
                  <a:cubicBezTo>
                    <a:pt x="10" y="9"/>
                    <a:pt x="10" y="9"/>
                    <a:pt x="10" y="9"/>
                  </a:cubicBezTo>
                  <a:cubicBezTo>
                    <a:pt x="10" y="195"/>
                    <a:pt x="10" y="195"/>
                    <a:pt x="10" y="195"/>
                  </a:cubicBezTo>
                  <a:cubicBezTo>
                    <a:pt x="103" y="195"/>
                    <a:pt x="103" y="195"/>
                    <a:pt x="103" y="195"/>
                  </a:cubicBezTo>
                  <a:lnTo>
                    <a:pt x="103"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AU"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Freeform 413">
              <a:extLst>
                <a:ext uri="{FF2B5EF4-FFF2-40B4-BE49-F238E27FC236}">
                  <a16:creationId xmlns:a16="http://schemas.microsoft.com/office/drawing/2014/main" id="{E18788FF-AE5F-49D1-B175-731162C434E4}"/>
                </a:ext>
              </a:extLst>
            </p:cNvPr>
            <p:cNvSpPr>
              <a:spLocks/>
            </p:cNvSpPr>
            <p:nvPr/>
          </p:nvSpPr>
          <p:spPr bwMode="auto">
            <a:xfrm>
              <a:off x="3089556" y="4072079"/>
              <a:ext cx="107453" cy="107453"/>
            </a:xfrm>
            <a:custGeom>
              <a:avLst/>
              <a:gdLst>
                <a:gd name="T0" fmla="*/ 51 w 56"/>
                <a:gd name="T1" fmla="*/ 56 h 56"/>
                <a:gd name="T2" fmla="*/ 5 w 56"/>
                <a:gd name="T3" fmla="*/ 56 h 56"/>
                <a:gd name="T4" fmla="*/ 0 w 56"/>
                <a:gd name="T5" fmla="*/ 51 h 56"/>
                <a:gd name="T6" fmla="*/ 0 w 56"/>
                <a:gd name="T7" fmla="*/ 4 h 56"/>
                <a:gd name="T8" fmla="*/ 5 w 56"/>
                <a:gd name="T9" fmla="*/ 0 h 56"/>
                <a:gd name="T10" fmla="*/ 9 w 56"/>
                <a:gd name="T11" fmla="*/ 4 h 56"/>
                <a:gd name="T12" fmla="*/ 9 w 56"/>
                <a:gd name="T13" fmla="*/ 46 h 56"/>
                <a:gd name="T14" fmla="*/ 51 w 56"/>
                <a:gd name="T15" fmla="*/ 46 h 56"/>
                <a:gd name="T16" fmla="*/ 56 w 56"/>
                <a:gd name="T17" fmla="*/ 51 h 56"/>
                <a:gd name="T18" fmla="*/ 51 w 56"/>
                <a:gd name="T19"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51" y="56"/>
                  </a:moveTo>
                  <a:cubicBezTo>
                    <a:pt x="5" y="56"/>
                    <a:pt x="5" y="56"/>
                    <a:pt x="5" y="56"/>
                  </a:cubicBezTo>
                  <a:cubicBezTo>
                    <a:pt x="2" y="56"/>
                    <a:pt x="0" y="54"/>
                    <a:pt x="0" y="51"/>
                  </a:cubicBezTo>
                  <a:cubicBezTo>
                    <a:pt x="0" y="4"/>
                    <a:pt x="0" y="4"/>
                    <a:pt x="0" y="4"/>
                  </a:cubicBezTo>
                  <a:cubicBezTo>
                    <a:pt x="0" y="2"/>
                    <a:pt x="2" y="0"/>
                    <a:pt x="5" y="0"/>
                  </a:cubicBezTo>
                  <a:cubicBezTo>
                    <a:pt x="7" y="0"/>
                    <a:pt x="9" y="2"/>
                    <a:pt x="9" y="4"/>
                  </a:cubicBezTo>
                  <a:cubicBezTo>
                    <a:pt x="9" y="46"/>
                    <a:pt x="9" y="46"/>
                    <a:pt x="9" y="46"/>
                  </a:cubicBezTo>
                  <a:cubicBezTo>
                    <a:pt x="51" y="46"/>
                    <a:pt x="51" y="46"/>
                    <a:pt x="51" y="46"/>
                  </a:cubicBezTo>
                  <a:cubicBezTo>
                    <a:pt x="54" y="46"/>
                    <a:pt x="56" y="48"/>
                    <a:pt x="56" y="51"/>
                  </a:cubicBezTo>
                  <a:cubicBezTo>
                    <a:pt x="56" y="54"/>
                    <a:pt x="54" y="56"/>
                    <a:pt x="51"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AU"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0" name="Group 39">
            <a:extLst>
              <a:ext uri="{FF2B5EF4-FFF2-40B4-BE49-F238E27FC236}">
                <a16:creationId xmlns:a16="http://schemas.microsoft.com/office/drawing/2014/main" id="{26743E58-D508-4EB4-991F-233244D8ADDE}"/>
              </a:ext>
            </a:extLst>
          </p:cNvPr>
          <p:cNvGrpSpPr/>
          <p:nvPr/>
        </p:nvGrpSpPr>
        <p:grpSpPr>
          <a:xfrm>
            <a:off x="4282159" y="1238250"/>
            <a:ext cx="4442345" cy="2229519"/>
            <a:chOff x="4282159" y="1241312"/>
            <a:chExt cx="4442345" cy="2226457"/>
          </a:xfrm>
        </p:grpSpPr>
        <p:grpSp>
          <p:nvGrpSpPr>
            <p:cNvPr id="41" name="Group 40">
              <a:extLst>
                <a:ext uri="{FF2B5EF4-FFF2-40B4-BE49-F238E27FC236}">
                  <a16:creationId xmlns:a16="http://schemas.microsoft.com/office/drawing/2014/main" id="{77451548-E248-4112-BF7A-6AE60604B1FF}"/>
                </a:ext>
              </a:extLst>
            </p:cNvPr>
            <p:cNvGrpSpPr/>
            <p:nvPr/>
          </p:nvGrpSpPr>
          <p:grpSpPr>
            <a:xfrm>
              <a:off x="4713912" y="1272540"/>
              <a:ext cx="3708728" cy="1861492"/>
              <a:chOff x="4734232" y="1272540"/>
              <a:chExt cx="3657928" cy="1861492"/>
            </a:xfrm>
          </p:grpSpPr>
          <p:cxnSp>
            <p:nvCxnSpPr>
              <p:cNvPr id="314" name="Straight Connector 313">
                <a:extLst>
                  <a:ext uri="{FF2B5EF4-FFF2-40B4-BE49-F238E27FC236}">
                    <a16:creationId xmlns:a16="http://schemas.microsoft.com/office/drawing/2014/main" id="{927FA779-45DC-4289-913A-30BF0F26C26A}"/>
                  </a:ext>
                </a:extLst>
              </p:cNvPr>
              <p:cNvCxnSpPr>
                <a:cxnSpLocks/>
              </p:cNvCxnSpPr>
              <p:nvPr/>
            </p:nvCxnSpPr>
            <p:spPr>
              <a:xfrm>
                <a:off x="4734232" y="1272540"/>
                <a:ext cx="0" cy="1861492"/>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0A390F67-37C9-4922-A807-D2330913BD94}"/>
                  </a:ext>
                </a:extLst>
              </p:cNvPr>
              <p:cNvCxnSpPr>
                <a:cxnSpLocks/>
              </p:cNvCxnSpPr>
              <p:nvPr/>
            </p:nvCxnSpPr>
            <p:spPr>
              <a:xfrm flipH="1">
                <a:off x="4734232" y="3134032"/>
                <a:ext cx="3657928"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2" name="TextBox 41">
              <a:extLst>
                <a:ext uri="{FF2B5EF4-FFF2-40B4-BE49-F238E27FC236}">
                  <a16:creationId xmlns:a16="http://schemas.microsoft.com/office/drawing/2014/main" id="{20E919FC-B4A2-4110-A942-FD3CCEB8FC61}"/>
                </a:ext>
              </a:extLst>
            </p:cNvPr>
            <p:cNvSpPr txBox="1"/>
            <p:nvPr/>
          </p:nvSpPr>
          <p:spPr>
            <a:xfrm>
              <a:off x="4461467" y="1284973"/>
              <a:ext cx="205184" cy="138499"/>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100</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43" name="TextBox 42">
              <a:extLst>
                <a:ext uri="{FF2B5EF4-FFF2-40B4-BE49-F238E27FC236}">
                  <a16:creationId xmlns:a16="http://schemas.microsoft.com/office/drawing/2014/main" id="{66361E02-CE56-4EE4-A338-876F3AEC5260}"/>
                </a:ext>
              </a:extLst>
            </p:cNvPr>
            <p:cNvSpPr txBox="1"/>
            <p:nvPr/>
          </p:nvSpPr>
          <p:spPr>
            <a:xfrm>
              <a:off x="4461467" y="1621269"/>
              <a:ext cx="205184" cy="138499"/>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80</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44" name="TextBox 43">
              <a:extLst>
                <a:ext uri="{FF2B5EF4-FFF2-40B4-BE49-F238E27FC236}">
                  <a16:creationId xmlns:a16="http://schemas.microsoft.com/office/drawing/2014/main" id="{E10BA55F-C013-4CEB-B2E3-B47F2BE08DF4}"/>
                </a:ext>
              </a:extLst>
            </p:cNvPr>
            <p:cNvSpPr txBox="1"/>
            <p:nvPr/>
          </p:nvSpPr>
          <p:spPr>
            <a:xfrm>
              <a:off x="4461467" y="1957565"/>
              <a:ext cx="205184" cy="138499"/>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60</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45" name="TextBox 44">
              <a:extLst>
                <a:ext uri="{FF2B5EF4-FFF2-40B4-BE49-F238E27FC236}">
                  <a16:creationId xmlns:a16="http://schemas.microsoft.com/office/drawing/2014/main" id="{C527D456-8519-4848-AE9C-0058232A7CAE}"/>
                </a:ext>
              </a:extLst>
            </p:cNvPr>
            <p:cNvSpPr txBox="1"/>
            <p:nvPr/>
          </p:nvSpPr>
          <p:spPr>
            <a:xfrm>
              <a:off x="4461467" y="2293861"/>
              <a:ext cx="205184" cy="138499"/>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40</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46" name="TextBox 45">
              <a:extLst>
                <a:ext uri="{FF2B5EF4-FFF2-40B4-BE49-F238E27FC236}">
                  <a16:creationId xmlns:a16="http://schemas.microsoft.com/office/drawing/2014/main" id="{EE4FEE9F-F539-4CC0-9E34-0524B2095A11}"/>
                </a:ext>
              </a:extLst>
            </p:cNvPr>
            <p:cNvSpPr txBox="1"/>
            <p:nvPr/>
          </p:nvSpPr>
          <p:spPr>
            <a:xfrm>
              <a:off x="4461467" y="2630157"/>
              <a:ext cx="205184" cy="138499"/>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20</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47" name="TextBox 46">
              <a:extLst>
                <a:ext uri="{FF2B5EF4-FFF2-40B4-BE49-F238E27FC236}">
                  <a16:creationId xmlns:a16="http://schemas.microsoft.com/office/drawing/2014/main" id="{04E2DA38-D67A-4F7D-B7C3-0B95102D8DA0}"/>
                </a:ext>
              </a:extLst>
            </p:cNvPr>
            <p:cNvSpPr txBox="1"/>
            <p:nvPr/>
          </p:nvSpPr>
          <p:spPr>
            <a:xfrm>
              <a:off x="4461467" y="2966453"/>
              <a:ext cx="205184" cy="138499"/>
            </a:xfrm>
            <a:prstGeom prst="rect">
              <a:avLst/>
            </a:prstGeom>
            <a:noFill/>
          </p:spPr>
          <p:txBody>
            <a:bodyPr wrap="none" lIns="0" tIns="0" rIns="0" bIns="0" rtlCol="0" anchor="ctr">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0</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48" name="TextBox 47">
              <a:extLst>
                <a:ext uri="{FF2B5EF4-FFF2-40B4-BE49-F238E27FC236}">
                  <a16:creationId xmlns:a16="http://schemas.microsoft.com/office/drawing/2014/main" id="{6DD1E238-C569-46BF-B31D-D9E373C90635}"/>
                </a:ext>
              </a:extLst>
            </p:cNvPr>
            <p:cNvSpPr txBox="1"/>
            <p:nvPr/>
          </p:nvSpPr>
          <p:spPr>
            <a:xfrm rot="16200000">
              <a:off x="3886271" y="2134037"/>
              <a:ext cx="930276" cy="138499"/>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Overall Survival, %</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49" name="TextBox 48">
              <a:extLst>
                <a:ext uri="{FF2B5EF4-FFF2-40B4-BE49-F238E27FC236}">
                  <a16:creationId xmlns:a16="http://schemas.microsoft.com/office/drawing/2014/main" id="{8BE2DD09-A0AA-4E1F-9801-B438BE09FEB0}"/>
                </a:ext>
              </a:extLst>
            </p:cNvPr>
            <p:cNvSpPr txBox="1"/>
            <p:nvPr/>
          </p:nvSpPr>
          <p:spPr>
            <a:xfrm>
              <a:off x="4808812" y="3163176"/>
              <a:ext cx="205184" cy="138499"/>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0</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50" name="TextBox 49">
              <a:extLst>
                <a:ext uri="{FF2B5EF4-FFF2-40B4-BE49-F238E27FC236}">
                  <a16:creationId xmlns:a16="http://schemas.microsoft.com/office/drawing/2014/main" id="{362409AE-1E25-40AF-B00B-26C642AA29D7}"/>
                </a:ext>
              </a:extLst>
            </p:cNvPr>
            <p:cNvSpPr txBox="1"/>
            <p:nvPr/>
          </p:nvSpPr>
          <p:spPr>
            <a:xfrm>
              <a:off x="5470990" y="3163176"/>
              <a:ext cx="205184" cy="138499"/>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12</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51" name="TextBox 50">
              <a:extLst>
                <a:ext uri="{FF2B5EF4-FFF2-40B4-BE49-F238E27FC236}">
                  <a16:creationId xmlns:a16="http://schemas.microsoft.com/office/drawing/2014/main" id="{3534C74E-BFEA-4223-BAB7-ACBD199B0609}"/>
                </a:ext>
              </a:extLst>
            </p:cNvPr>
            <p:cNvSpPr txBox="1"/>
            <p:nvPr/>
          </p:nvSpPr>
          <p:spPr>
            <a:xfrm>
              <a:off x="6133168" y="3163176"/>
              <a:ext cx="205184" cy="138499"/>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24</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52" name="TextBox 51">
              <a:extLst>
                <a:ext uri="{FF2B5EF4-FFF2-40B4-BE49-F238E27FC236}">
                  <a16:creationId xmlns:a16="http://schemas.microsoft.com/office/drawing/2014/main" id="{C974F000-0603-47AC-95B9-1C8DF87AF9D3}"/>
                </a:ext>
              </a:extLst>
            </p:cNvPr>
            <p:cNvSpPr txBox="1"/>
            <p:nvPr/>
          </p:nvSpPr>
          <p:spPr>
            <a:xfrm>
              <a:off x="6795346" y="3163176"/>
              <a:ext cx="205184" cy="138499"/>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36</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53" name="TextBox 52">
              <a:extLst>
                <a:ext uri="{FF2B5EF4-FFF2-40B4-BE49-F238E27FC236}">
                  <a16:creationId xmlns:a16="http://schemas.microsoft.com/office/drawing/2014/main" id="{B0409CDA-0E2A-417D-B564-6E01C1AD0EF6}"/>
                </a:ext>
              </a:extLst>
            </p:cNvPr>
            <p:cNvSpPr txBox="1"/>
            <p:nvPr/>
          </p:nvSpPr>
          <p:spPr>
            <a:xfrm>
              <a:off x="7457524" y="3163176"/>
              <a:ext cx="205184" cy="138499"/>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48</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54" name="TextBox 53">
              <a:extLst>
                <a:ext uri="{FF2B5EF4-FFF2-40B4-BE49-F238E27FC236}">
                  <a16:creationId xmlns:a16="http://schemas.microsoft.com/office/drawing/2014/main" id="{E9AFE241-B543-4EFD-9623-FF1A9EDFC6B2}"/>
                </a:ext>
              </a:extLst>
            </p:cNvPr>
            <p:cNvSpPr txBox="1"/>
            <p:nvPr/>
          </p:nvSpPr>
          <p:spPr>
            <a:xfrm>
              <a:off x="8119702" y="3163176"/>
              <a:ext cx="205184" cy="138499"/>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60</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55" name="TextBox 54">
              <a:extLst>
                <a:ext uri="{FF2B5EF4-FFF2-40B4-BE49-F238E27FC236}">
                  <a16:creationId xmlns:a16="http://schemas.microsoft.com/office/drawing/2014/main" id="{5E2C1FE2-542E-48E2-8852-6407D3503ABC}"/>
                </a:ext>
              </a:extLst>
            </p:cNvPr>
            <p:cNvSpPr txBox="1"/>
            <p:nvPr/>
          </p:nvSpPr>
          <p:spPr>
            <a:xfrm>
              <a:off x="6082434" y="3329270"/>
              <a:ext cx="971684" cy="138499"/>
            </a:xfrm>
            <a:prstGeom prst="rect">
              <a:avLst/>
            </a:prstGeom>
            <a:no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Time, months</a:t>
              </a:r>
              <a:endParaRPr kumimoji="0" lang="en-US" sz="900" b="1"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grpSp>
          <p:nvGrpSpPr>
            <p:cNvPr id="56" name="Group 55">
              <a:extLst>
                <a:ext uri="{FF2B5EF4-FFF2-40B4-BE49-F238E27FC236}">
                  <a16:creationId xmlns:a16="http://schemas.microsoft.com/office/drawing/2014/main" id="{950827F4-675D-4788-AB2B-91B7C3C2F954}"/>
                </a:ext>
              </a:extLst>
            </p:cNvPr>
            <p:cNvGrpSpPr/>
            <p:nvPr/>
          </p:nvGrpSpPr>
          <p:grpSpPr>
            <a:xfrm>
              <a:off x="5585460" y="1241312"/>
              <a:ext cx="3031644" cy="138499"/>
              <a:chOff x="5585460" y="1241312"/>
              <a:chExt cx="3031644" cy="138499"/>
            </a:xfrm>
          </p:grpSpPr>
          <p:sp>
            <p:nvSpPr>
              <p:cNvPr id="312" name="Rectangle 311">
                <a:extLst>
                  <a:ext uri="{FF2B5EF4-FFF2-40B4-BE49-F238E27FC236}">
                    <a16:creationId xmlns:a16="http://schemas.microsoft.com/office/drawing/2014/main" id="{91CDB935-E188-4876-B428-24FCE9EC8558}"/>
                  </a:ext>
                </a:extLst>
              </p:cNvPr>
              <p:cNvSpPr/>
              <p:nvPr/>
            </p:nvSpPr>
            <p:spPr>
              <a:xfrm>
                <a:off x="5848717" y="1241312"/>
                <a:ext cx="2768387" cy="138499"/>
              </a:xfrm>
              <a:prstGeom prst="rect">
                <a:avLst/>
              </a:prstGeom>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no corticosteroids or &lt;10mg prednisone equivalent/day</a:t>
                </a:r>
              </a:p>
            </p:txBody>
          </p:sp>
          <p:cxnSp>
            <p:nvCxnSpPr>
              <p:cNvPr id="313" name="Straight Connector 312">
                <a:extLst>
                  <a:ext uri="{FF2B5EF4-FFF2-40B4-BE49-F238E27FC236}">
                    <a16:creationId xmlns:a16="http://schemas.microsoft.com/office/drawing/2014/main" id="{A65DCC8B-4216-4C78-9858-ABCB2CEB70B9}"/>
                  </a:ext>
                </a:extLst>
              </p:cNvPr>
              <p:cNvCxnSpPr/>
              <p:nvPr/>
            </p:nvCxnSpPr>
            <p:spPr>
              <a:xfrm>
                <a:off x="5585460" y="1310561"/>
                <a:ext cx="16383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F099BE2A-71A1-4AF3-BC71-7FADC175979B}"/>
                </a:ext>
              </a:extLst>
            </p:cNvPr>
            <p:cNvGrpSpPr/>
            <p:nvPr/>
          </p:nvGrpSpPr>
          <p:grpSpPr>
            <a:xfrm>
              <a:off x="5585460" y="1410522"/>
              <a:ext cx="3139044" cy="138499"/>
              <a:chOff x="5585460" y="1410522"/>
              <a:chExt cx="3139044" cy="138499"/>
            </a:xfrm>
          </p:grpSpPr>
          <p:sp>
            <p:nvSpPr>
              <p:cNvPr id="310" name="Rectangle 309">
                <a:extLst>
                  <a:ext uri="{FF2B5EF4-FFF2-40B4-BE49-F238E27FC236}">
                    <a16:creationId xmlns:a16="http://schemas.microsoft.com/office/drawing/2014/main" id="{15B6574F-AB1F-448F-811C-92FB920F84E6}"/>
                  </a:ext>
                </a:extLst>
              </p:cNvPr>
              <p:cNvSpPr/>
              <p:nvPr/>
            </p:nvSpPr>
            <p:spPr>
              <a:xfrm>
                <a:off x="5848717" y="1410522"/>
                <a:ext cx="2875787" cy="138499"/>
              </a:xfrm>
              <a:prstGeom prst="rect">
                <a:avLst/>
              </a:prstGeom>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10mg prednisone equivalent for management of  </a:t>
                </a:r>
                <a:r>
                  <a:rPr kumimoji="0" lang="en-US" sz="9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irAEs</a:t>
                </a:r>
                <a:endPar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cxnSp>
            <p:nvCxnSpPr>
              <p:cNvPr id="311" name="Straight Connector 310">
                <a:extLst>
                  <a:ext uri="{FF2B5EF4-FFF2-40B4-BE49-F238E27FC236}">
                    <a16:creationId xmlns:a16="http://schemas.microsoft.com/office/drawing/2014/main" id="{7831C323-F4A1-4AE8-8C0B-691364824FA4}"/>
                  </a:ext>
                </a:extLst>
              </p:cNvPr>
              <p:cNvCxnSpPr/>
              <p:nvPr/>
            </p:nvCxnSpPr>
            <p:spPr>
              <a:xfrm>
                <a:off x="5585460" y="1479771"/>
                <a:ext cx="16383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E41E3F5C-D57E-4D7F-948E-99936057C6BC}"/>
                </a:ext>
              </a:extLst>
            </p:cNvPr>
            <p:cNvGrpSpPr/>
            <p:nvPr/>
          </p:nvGrpSpPr>
          <p:grpSpPr>
            <a:xfrm>
              <a:off x="5585460" y="1558784"/>
              <a:ext cx="2650129" cy="318897"/>
              <a:chOff x="5585460" y="1558784"/>
              <a:chExt cx="2650129" cy="318897"/>
            </a:xfrm>
          </p:grpSpPr>
          <p:sp>
            <p:nvSpPr>
              <p:cNvPr id="308" name="Rectangle 307">
                <a:extLst>
                  <a:ext uri="{FF2B5EF4-FFF2-40B4-BE49-F238E27FC236}">
                    <a16:creationId xmlns:a16="http://schemas.microsoft.com/office/drawing/2014/main" id="{BB38CC3F-2317-497A-9BD5-87E446453DB0}"/>
                  </a:ext>
                </a:extLst>
              </p:cNvPr>
              <p:cNvSpPr/>
              <p:nvPr/>
            </p:nvSpPr>
            <p:spPr>
              <a:xfrm>
                <a:off x="5848717" y="1558784"/>
                <a:ext cx="2386872" cy="318897"/>
              </a:xfrm>
              <a:prstGeom prst="rect">
                <a:avLst/>
              </a:prstGeom>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10mg prednisone equivalent for management </a:t>
                </a:r>
                <a:b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br>
                <a:r>
                  <a:rPr kumimoji="0" lang="en-US" sz="9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of cancer-related symptoms</a:t>
                </a:r>
              </a:p>
            </p:txBody>
          </p:sp>
          <p:cxnSp>
            <p:nvCxnSpPr>
              <p:cNvPr id="309" name="Straight Connector 308">
                <a:extLst>
                  <a:ext uri="{FF2B5EF4-FFF2-40B4-BE49-F238E27FC236}">
                    <a16:creationId xmlns:a16="http://schemas.microsoft.com/office/drawing/2014/main" id="{BD0E5D7A-11A8-4151-97A4-BC6A42EC75E1}"/>
                  </a:ext>
                </a:extLst>
              </p:cNvPr>
              <p:cNvCxnSpPr/>
              <p:nvPr/>
            </p:nvCxnSpPr>
            <p:spPr>
              <a:xfrm>
                <a:off x="5585460" y="1666461"/>
                <a:ext cx="1638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405066B3-6A6F-493C-92ED-5C721611DFBD}"/>
                </a:ext>
              </a:extLst>
            </p:cNvPr>
            <p:cNvGrpSpPr/>
            <p:nvPr/>
          </p:nvGrpSpPr>
          <p:grpSpPr>
            <a:xfrm>
              <a:off x="4898921" y="1356360"/>
              <a:ext cx="3101102" cy="1221228"/>
              <a:chOff x="4898921" y="1356360"/>
              <a:chExt cx="3101102" cy="1221228"/>
            </a:xfrm>
          </p:grpSpPr>
          <p:sp>
            <p:nvSpPr>
              <p:cNvPr id="198" name="Freeform 7">
                <a:extLst>
                  <a:ext uri="{FF2B5EF4-FFF2-40B4-BE49-F238E27FC236}">
                    <a16:creationId xmlns:a16="http://schemas.microsoft.com/office/drawing/2014/main" id="{11849F7E-57A2-4C68-B856-1D14DDD35D98}"/>
                  </a:ext>
                </a:extLst>
              </p:cNvPr>
              <p:cNvSpPr>
                <a:spLocks/>
              </p:cNvSpPr>
              <p:nvPr/>
            </p:nvSpPr>
            <p:spPr bwMode="auto">
              <a:xfrm>
                <a:off x="4898921" y="1356360"/>
                <a:ext cx="3101102" cy="1192119"/>
              </a:xfrm>
              <a:custGeom>
                <a:avLst/>
                <a:gdLst>
                  <a:gd name="T0" fmla="*/ 18 w 4038"/>
                  <a:gd name="T1" fmla="*/ 40 h 2147"/>
                  <a:gd name="T2" fmla="*/ 56 w 4038"/>
                  <a:gd name="T3" fmla="*/ 96 h 2147"/>
                  <a:gd name="T4" fmla="*/ 73 w 4038"/>
                  <a:gd name="T5" fmla="*/ 168 h 2147"/>
                  <a:gd name="T6" fmla="*/ 90 w 4038"/>
                  <a:gd name="T7" fmla="*/ 201 h 2147"/>
                  <a:gd name="T8" fmla="*/ 135 w 4038"/>
                  <a:gd name="T9" fmla="*/ 297 h 2147"/>
                  <a:gd name="T10" fmla="*/ 180 w 4038"/>
                  <a:gd name="T11" fmla="*/ 321 h 2147"/>
                  <a:gd name="T12" fmla="*/ 187 w 4038"/>
                  <a:gd name="T13" fmla="*/ 349 h 2147"/>
                  <a:gd name="T14" fmla="*/ 233 w 4038"/>
                  <a:gd name="T15" fmla="*/ 392 h 2147"/>
                  <a:gd name="T16" fmla="*/ 246 w 4038"/>
                  <a:gd name="T17" fmla="*/ 442 h 2147"/>
                  <a:gd name="T18" fmla="*/ 308 w 4038"/>
                  <a:gd name="T19" fmla="*/ 473 h 2147"/>
                  <a:gd name="T20" fmla="*/ 325 w 4038"/>
                  <a:gd name="T21" fmla="*/ 517 h 2147"/>
                  <a:gd name="T22" fmla="*/ 388 w 4038"/>
                  <a:gd name="T23" fmla="*/ 537 h 2147"/>
                  <a:gd name="T24" fmla="*/ 408 w 4038"/>
                  <a:gd name="T25" fmla="*/ 593 h 2147"/>
                  <a:gd name="T26" fmla="*/ 481 w 4038"/>
                  <a:gd name="T27" fmla="*/ 640 h 2147"/>
                  <a:gd name="T28" fmla="*/ 512 w 4038"/>
                  <a:gd name="T29" fmla="*/ 699 h 2147"/>
                  <a:gd name="T30" fmla="*/ 537 w 4038"/>
                  <a:gd name="T31" fmla="*/ 723 h 2147"/>
                  <a:gd name="T32" fmla="*/ 564 w 4038"/>
                  <a:gd name="T33" fmla="*/ 766 h 2147"/>
                  <a:gd name="T34" fmla="*/ 575 w 4038"/>
                  <a:gd name="T35" fmla="*/ 784 h 2147"/>
                  <a:gd name="T36" fmla="*/ 598 w 4038"/>
                  <a:gd name="T37" fmla="*/ 835 h 2147"/>
                  <a:gd name="T38" fmla="*/ 626 w 4038"/>
                  <a:gd name="T39" fmla="*/ 885 h 2147"/>
                  <a:gd name="T40" fmla="*/ 652 w 4038"/>
                  <a:gd name="T41" fmla="*/ 927 h 2147"/>
                  <a:gd name="T42" fmla="*/ 665 w 4038"/>
                  <a:gd name="T43" fmla="*/ 969 h 2147"/>
                  <a:gd name="T44" fmla="*/ 723 w 4038"/>
                  <a:gd name="T45" fmla="*/ 1002 h 2147"/>
                  <a:gd name="T46" fmla="*/ 727 w 4038"/>
                  <a:gd name="T47" fmla="*/ 1097 h 2147"/>
                  <a:gd name="T48" fmla="*/ 771 w 4038"/>
                  <a:gd name="T49" fmla="*/ 1126 h 2147"/>
                  <a:gd name="T50" fmla="*/ 780 w 4038"/>
                  <a:gd name="T51" fmla="*/ 1164 h 2147"/>
                  <a:gd name="T52" fmla="*/ 847 w 4038"/>
                  <a:gd name="T53" fmla="*/ 1187 h 2147"/>
                  <a:gd name="T54" fmla="*/ 891 w 4038"/>
                  <a:gd name="T55" fmla="*/ 1256 h 2147"/>
                  <a:gd name="T56" fmla="*/ 924 w 4038"/>
                  <a:gd name="T57" fmla="*/ 1293 h 2147"/>
                  <a:gd name="T58" fmla="*/ 928 w 4038"/>
                  <a:gd name="T59" fmla="*/ 1362 h 2147"/>
                  <a:gd name="T60" fmla="*/ 1001 w 4038"/>
                  <a:gd name="T61" fmla="*/ 1394 h 2147"/>
                  <a:gd name="T62" fmla="*/ 1014 w 4038"/>
                  <a:gd name="T63" fmla="*/ 1496 h 2147"/>
                  <a:gd name="T64" fmla="*/ 1142 w 4038"/>
                  <a:gd name="T65" fmla="*/ 1536 h 2147"/>
                  <a:gd name="T66" fmla="*/ 1187 w 4038"/>
                  <a:gd name="T67" fmla="*/ 1623 h 2147"/>
                  <a:gd name="T68" fmla="*/ 1215 w 4038"/>
                  <a:gd name="T69" fmla="*/ 1648 h 2147"/>
                  <a:gd name="T70" fmla="*/ 1400 w 4038"/>
                  <a:gd name="T71" fmla="*/ 1726 h 2147"/>
                  <a:gd name="T72" fmla="*/ 1413 w 4038"/>
                  <a:gd name="T73" fmla="*/ 1740 h 2147"/>
                  <a:gd name="T74" fmla="*/ 1427 w 4038"/>
                  <a:gd name="T75" fmla="*/ 1812 h 2147"/>
                  <a:gd name="T76" fmla="*/ 1598 w 4038"/>
                  <a:gd name="T77" fmla="*/ 1842 h 2147"/>
                  <a:gd name="T78" fmla="*/ 1654 w 4038"/>
                  <a:gd name="T79" fmla="*/ 1937 h 2147"/>
                  <a:gd name="T80" fmla="*/ 1919 w 4038"/>
                  <a:gd name="T81" fmla="*/ 1985 h 2147"/>
                  <a:gd name="T82" fmla="*/ 2036 w 4038"/>
                  <a:gd name="T83" fmla="*/ 2086 h 2147"/>
                  <a:gd name="T84" fmla="*/ 4038 w 4038"/>
                  <a:gd name="T85" fmla="*/ 2147 h 2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38" h="2147">
                    <a:moveTo>
                      <a:pt x="0" y="0"/>
                    </a:moveTo>
                    <a:lnTo>
                      <a:pt x="18" y="0"/>
                    </a:lnTo>
                    <a:lnTo>
                      <a:pt x="18" y="40"/>
                    </a:lnTo>
                    <a:lnTo>
                      <a:pt x="46" y="40"/>
                    </a:lnTo>
                    <a:lnTo>
                      <a:pt x="46" y="96"/>
                    </a:lnTo>
                    <a:lnTo>
                      <a:pt x="56" y="96"/>
                    </a:lnTo>
                    <a:lnTo>
                      <a:pt x="56" y="112"/>
                    </a:lnTo>
                    <a:lnTo>
                      <a:pt x="73" y="112"/>
                    </a:lnTo>
                    <a:lnTo>
                      <a:pt x="73" y="168"/>
                    </a:lnTo>
                    <a:lnTo>
                      <a:pt x="87" y="168"/>
                    </a:lnTo>
                    <a:lnTo>
                      <a:pt x="87" y="201"/>
                    </a:lnTo>
                    <a:lnTo>
                      <a:pt x="90" y="201"/>
                    </a:lnTo>
                    <a:lnTo>
                      <a:pt x="90" y="230"/>
                    </a:lnTo>
                    <a:lnTo>
                      <a:pt x="135" y="230"/>
                    </a:lnTo>
                    <a:lnTo>
                      <a:pt x="135" y="297"/>
                    </a:lnTo>
                    <a:lnTo>
                      <a:pt x="154" y="297"/>
                    </a:lnTo>
                    <a:lnTo>
                      <a:pt x="154" y="321"/>
                    </a:lnTo>
                    <a:lnTo>
                      <a:pt x="180" y="321"/>
                    </a:lnTo>
                    <a:lnTo>
                      <a:pt x="180" y="330"/>
                    </a:lnTo>
                    <a:lnTo>
                      <a:pt x="187" y="330"/>
                    </a:lnTo>
                    <a:lnTo>
                      <a:pt x="187" y="349"/>
                    </a:lnTo>
                    <a:lnTo>
                      <a:pt x="213" y="349"/>
                    </a:lnTo>
                    <a:lnTo>
                      <a:pt x="213" y="392"/>
                    </a:lnTo>
                    <a:lnTo>
                      <a:pt x="233" y="392"/>
                    </a:lnTo>
                    <a:lnTo>
                      <a:pt x="233" y="424"/>
                    </a:lnTo>
                    <a:lnTo>
                      <a:pt x="246" y="424"/>
                    </a:lnTo>
                    <a:lnTo>
                      <a:pt x="246" y="442"/>
                    </a:lnTo>
                    <a:lnTo>
                      <a:pt x="300" y="442"/>
                    </a:lnTo>
                    <a:lnTo>
                      <a:pt x="300" y="473"/>
                    </a:lnTo>
                    <a:lnTo>
                      <a:pt x="308" y="473"/>
                    </a:lnTo>
                    <a:lnTo>
                      <a:pt x="308" y="492"/>
                    </a:lnTo>
                    <a:lnTo>
                      <a:pt x="325" y="492"/>
                    </a:lnTo>
                    <a:lnTo>
                      <a:pt x="325" y="517"/>
                    </a:lnTo>
                    <a:lnTo>
                      <a:pt x="378" y="517"/>
                    </a:lnTo>
                    <a:lnTo>
                      <a:pt x="378" y="537"/>
                    </a:lnTo>
                    <a:lnTo>
                      <a:pt x="388" y="537"/>
                    </a:lnTo>
                    <a:lnTo>
                      <a:pt x="388" y="572"/>
                    </a:lnTo>
                    <a:lnTo>
                      <a:pt x="408" y="572"/>
                    </a:lnTo>
                    <a:lnTo>
                      <a:pt x="408" y="593"/>
                    </a:lnTo>
                    <a:lnTo>
                      <a:pt x="426" y="593"/>
                    </a:lnTo>
                    <a:lnTo>
                      <a:pt x="426" y="640"/>
                    </a:lnTo>
                    <a:lnTo>
                      <a:pt x="481" y="640"/>
                    </a:lnTo>
                    <a:lnTo>
                      <a:pt x="481" y="665"/>
                    </a:lnTo>
                    <a:lnTo>
                      <a:pt x="512" y="665"/>
                    </a:lnTo>
                    <a:lnTo>
                      <a:pt x="512" y="699"/>
                    </a:lnTo>
                    <a:lnTo>
                      <a:pt x="534" y="699"/>
                    </a:lnTo>
                    <a:lnTo>
                      <a:pt x="534" y="723"/>
                    </a:lnTo>
                    <a:lnTo>
                      <a:pt x="537" y="723"/>
                    </a:lnTo>
                    <a:lnTo>
                      <a:pt x="537" y="748"/>
                    </a:lnTo>
                    <a:lnTo>
                      <a:pt x="564" y="748"/>
                    </a:lnTo>
                    <a:lnTo>
                      <a:pt x="564" y="766"/>
                    </a:lnTo>
                    <a:lnTo>
                      <a:pt x="567" y="766"/>
                    </a:lnTo>
                    <a:lnTo>
                      <a:pt x="567" y="784"/>
                    </a:lnTo>
                    <a:lnTo>
                      <a:pt x="575" y="784"/>
                    </a:lnTo>
                    <a:lnTo>
                      <a:pt x="575" y="804"/>
                    </a:lnTo>
                    <a:lnTo>
                      <a:pt x="598" y="804"/>
                    </a:lnTo>
                    <a:lnTo>
                      <a:pt x="598" y="835"/>
                    </a:lnTo>
                    <a:lnTo>
                      <a:pt x="626" y="835"/>
                    </a:lnTo>
                    <a:lnTo>
                      <a:pt x="626" y="869"/>
                    </a:lnTo>
                    <a:lnTo>
                      <a:pt x="626" y="885"/>
                    </a:lnTo>
                    <a:lnTo>
                      <a:pt x="634" y="885"/>
                    </a:lnTo>
                    <a:lnTo>
                      <a:pt x="634" y="927"/>
                    </a:lnTo>
                    <a:lnTo>
                      <a:pt x="652" y="927"/>
                    </a:lnTo>
                    <a:lnTo>
                      <a:pt x="652" y="949"/>
                    </a:lnTo>
                    <a:lnTo>
                      <a:pt x="665" y="949"/>
                    </a:lnTo>
                    <a:lnTo>
                      <a:pt x="665" y="969"/>
                    </a:lnTo>
                    <a:lnTo>
                      <a:pt x="715" y="969"/>
                    </a:lnTo>
                    <a:lnTo>
                      <a:pt x="715" y="1002"/>
                    </a:lnTo>
                    <a:lnTo>
                      <a:pt x="723" y="1002"/>
                    </a:lnTo>
                    <a:lnTo>
                      <a:pt x="723" y="1069"/>
                    </a:lnTo>
                    <a:lnTo>
                      <a:pt x="727" y="1069"/>
                    </a:lnTo>
                    <a:lnTo>
                      <a:pt x="727" y="1097"/>
                    </a:lnTo>
                    <a:lnTo>
                      <a:pt x="763" y="1097"/>
                    </a:lnTo>
                    <a:lnTo>
                      <a:pt x="763" y="1126"/>
                    </a:lnTo>
                    <a:lnTo>
                      <a:pt x="771" y="1126"/>
                    </a:lnTo>
                    <a:lnTo>
                      <a:pt x="771" y="1147"/>
                    </a:lnTo>
                    <a:lnTo>
                      <a:pt x="780" y="1147"/>
                    </a:lnTo>
                    <a:lnTo>
                      <a:pt x="780" y="1164"/>
                    </a:lnTo>
                    <a:lnTo>
                      <a:pt x="841" y="1164"/>
                    </a:lnTo>
                    <a:lnTo>
                      <a:pt x="841" y="1187"/>
                    </a:lnTo>
                    <a:lnTo>
                      <a:pt x="847" y="1187"/>
                    </a:lnTo>
                    <a:lnTo>
                      <a:pt x="847" y="1223"/>
                    </a:lnTo>
                    <a:lnTo>
                      <a:pt x="891" y="1223"/>
                    </a:lnTo>
                    <a:lnTo>
                      <a:pt x="891" y="1256"/>
                    </a:lnTo>
                    <a:lnTo>
                      <a:pt x="900" y="1256"/>
                    </a:lnTo>
                    <a:lnTo>
                      <a:pt x="900" y="1293"/>
                    </a:lnTo>
                    <a:lnTo>
                      <a:pt x="924" y="1293"/>
                    </a:lnTo>
                    <a:lnTo>
                      <a:pt x="924" y="1332"/>
                    </a:lnTo>
                    <a:lnTo>
                      <a:pt x="928" y="1332"/>
                    </a:lnTo>
                    <a:lnTo>
                      <a:pt x="928" y="1362"/>
                    </a:lnTo>
                    <a:lnTo>
                      <a:pt x="952" y="1362"/>
                    </a:lnTo>
                    <a:lnTo>
                      <a:pt x="952" y="1394"/>
                    </a:lnTo>
                    <a:lnTo>
                      <a:pt x="1001" y="1394"/>
                    </a:lnTo>
                    <a:lnTo>
                      <a:pt x="1001" y="1460"/>
                    </a:lnTo>
                    <a:lnTo>
                      <a:pt x="1014" y="1460"/>
                    </a:lnTo>
                    <a:lnTo>
                      <a:pt x="1014" y="1496"/>
                    </a:lnTo>
                    <a:lnTo>
                      <a:pt x="1058" y="1496"/>
                    </a:lnTo>
                    <a:lnTo>
                      <a:pt x="1058" y="1536"/>
                    </a:lnTo>
                    <a:lnTo>
                      <a:pt x="1142" y="1536"/>
                    </a:lnTo>
                    <a:lnTo>
                      <a:pt x="1142" y="1574"/>
                    </a:lnTo>
                    <a:lnTo>
                      <a:pt x="1187" y="1574"/>
                    </a:lnTo>
                    <a:lnTo>
                      <a:pt x="1187" y="1623"/>
                    </a:lnTo>
                    <a:lnTo>
                      <a:pt x="1192" y="1623"/>
                    </a:lnTo>
                    <a:lnTo>
                      <a:pt x="1192" y="1648"/>
                    </a:lnTo>
                    <a:lnTo>
                      <a:pt x="1215" y="1648"/>
                    </a:lnTo>
                    <a:lnTo>
                      <a:pt x="1215" y="1686"/>
                    </a:lnTo>
                    <a:lnTo>
                      <a:pt x="1400" y="1686"/>
                    </a:lnTo>
                    <a:lnTo>
                      <a:pt x="1400" y="1726"/>
                    </a:lnTo>
                    <a:lnTo>
                      <a:pt x="1408" y="1726"/>
                    </a:lnTo>
                    <a:lnTo>
                      <a:pt x="1408" y="1740"/>
                    </a:lnTo>
                    <a:lnTo>
                      <a:pt x="1413" y="1740"/>
                    </a:lnTo>
                    <a:lnTo>
                      <a:pt x="1413" y="1772"/>
                    </a:lnTo>
                    <a:lnTo>
                      <a:pt x="1427" y="1772"/>
                    </a:lnTo>
                    <a:lnTo>
                      <a:pt x="1427" y="1812"/>
                    </a:lnTo>
                    <a:lnTo>
                      <a:pt x="1481" y="1812"/>
                    </a:lnTo>
                    <a:lnTo>
                      <a:pt x="1481" y="1842"/>
                    </a:lnTo>
                    <a:lnTo>
                      <a:pt x="1598" y="1842"/>
                    </a:lnTo>
                    <a:lnTo>
                      <a:pt x="1598" y="1887"/>
                    </a:lnTo>
                    <a:lnTo>
                      <a:pt x="1654" y="1887"/>
                    </a:lnTo>
                    <a:lnTo>
                      <a:pt x="1654" y="1937"/>
                    </a:lnTo>
                    <a:lnTo>
                      <a:pt x="1795" y="1937"/>
                    </a:lnTo>
                    <a:lnTo>
                      <a:pt x="1795" y="1985"/>
                    </a:lnTo>
                    <a:lnTo>
                      <a:pt x="1919" y="1985"/>
                    </a:lnTo>
                    <a:lnTo>
                      <a:pt x="1919" y="2030"/>
                    </a:lnTo>
                    <a:lnTo>
                      <a:pt x="2036" y="2030"/>
                    </a:lnTo>
                    <a:lnTo>
                      <a:pt x="2036" y="2086"/>
                    </a:lnTo>
                    <a:lnTo>
                      <a:pt x="2069" y="2086"/>
                    </a:lnTo>
                    <a:lnTo>
                      <a:pt x="2069" y="2147"/>
                    </a:lnTo>
                    <a:lnTo>
                      <a:pt x="4038" y="2147"/>
                    </a:lnTo>
                  </a:path>
                </a:pathLst>
              </a:custGeom>
              <a:noFill/>
              <a:ln w="19050" cap="flat">
                <a:solidFill>
                  <a:schemeClr val="accent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nvGrpSpPr>
              <p:cNvPr id="199" name="Group 198">
                <a:extLst>
                  <a:ext uri="{FF2B5EF4-FFF2-40B4-BE49-F238E27FC236}">
                    <a16:creationId xmlns:a16="http://schemas.microsoft.com/office/drawing/2014/main" id="{516F16FF-2BEB-4ACB-B95F-37BC651DC82F}"/>
                  </a:ext>
                </a:extLst>
              </p:cNvPr>
              <p:cNvGrpSpPr/>
              <p:nvPr/>
            </p:nvGrpSpPr>
            <p:grpSpPr>
              <a:xfrm>
                <a:off x="4944630" y="1453497"/>
                <a:ext cx="3050270" cy="1124091"/>
                <a:chOff x="4944630" y="1453497"/>
                <a:chExt cx="3050270" cy="1124091"/>
              </a:xfrm>
            </p:grpSpPr>
            <p:grpSp>
              <p:nvGrpSpPr>
                <p:cNvPr id="200" name="Shape1_20211201_133011">
                  <a:extLst>
                    <a:ext uri="{FF2B5EF4-FFF2-40B4-BE49-F238E27FC236}">
                      <a16:creationId xmlns:a16="http://schemas.microsoft.com/office/drawing/2014/main" id="{58B978B0-1963-4F77-83B6-BF9DCD77741A}"/>
                    </a:ext>
                  </a:extLst>
                </p:cNvPr>
                <p:cNvGrpSpPr/>
                <p:nvPr/>
              </p:nvGrpSpPr>
              <p:grpSpPr>
                <a:xfrm>
                  <a:off x="7937385" y="2520073"/>
                  <a:ext cx="57515" cy="57515"/>
                  <a:chOff x="4001361" y="3450225"/>
                  <a:chExt cx="57515" cy="57515"/>
                </a:xfrm>
              </p:grpSpPr>
              <p:cxnSp>
                <p:nvCxnSpPr>
                  <p:cNvPr id="306" name="Straight Connector 305">
                    <a:extLst>
                      <a:ext uri="{FF2B5EF4-FFF2-40B4-BE49-F238E27FC236}">
                        <a16:creationId xmlns:a16="http://schemas.microsoft.com/office/drawing/2014/main" id="{F1A1A66B-51B8-453E-8266-D45773D94F53}"/>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8307FA69-1C1A-4FB1-8619-437691533F90}"/>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01" name="Shape2_20211201_133011">
                  <a:extLst>
                    <a:ext uri="{FF2B5EF4-FFF2-40B4-BE49-F238E27FC236}">
                      <a16:creationId xmlns:a16="http://schemas.microsoft.com/office/drawing/2014/main" id="{90B235FB-DD36-4824-8AD5-46116B56E60B}"/>
                    </a:ext>
                  </a:extLst>
                </p:cNvPr>
                <p:cNvGrpSpPr/>
                <p:nvPr/>
              </p:nvGrpSpPr>
              <p:grpSpPr>
                <a:xfrm>
                  <a:off x="7758315" y="2520073"/>
                  <a:ext cx="57515" cy="57515"/>
                  <a:chOff x="4001361" y="3450225"/>
                  <a:chExt cx="57515" cy="57515"/>
                </a:xfrm>
              </p:grpSpPr>
              <p:cxnSp>
                <p:nvCxnSpPr>
                  <p:cNvPr id="304" name="Straight Connector 303">
                    <a:extLst>
                      <a:ext uri="{FF2B5EF4-FFF2-40B4-BE49-F238E27FC236}">
                        <a16:creationId xmlns:a16="http://schemas.microsoft.com/office/drawing/2014/main" id="{1A31D4FA-93F3-4B3D-8F48-C644503AD9A9}"/>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EFE8149E-1032-4B93-A97E-927FCC0BAA37}"/>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02" name="Shape3_20211201_133011">
                  <a:extLst>
                    <a:ext uri="{FF2B5EF4-FFF2-40B4-BE49-F238E27FC236}">
                      <a16:creationId xmlns:a16="http://schemas.microsoft.com/office/drawing/2014/main" id="{5A8D2E55-010E-4A9C-876B-A6B7BAAEEADD}"/>
                    </a:ext>
                  </a:extLst>
                </p:cNvPr>
                <p:cNvGrpSpPr/>
                <p:nvPr/>
              </p:nvGrpSpPr>
              <p:grpSpPr>
                <a:xfrm>
                  <a:off x="7630680" y="2520073"/>
                  <a:ext cx="57515" cy="57515"/>
                  <a:chOff x="4001361" y="3450225"/>
                  <a:chExt cx="57515" cy="57515"/>
                </a:xfrm>
              </p:grpSpPr>
              <p:cxnSp>
                <p:nvCxnSpPr>
                  <p:cNvPr id="302" name="Straight Connector 301">
                    <a:extLst>
                      <a:ext uri="{FF2B5EF4-FFF2-40B4-BE49-F238E27FC236}">
                        <a16:creationId xmlns:a16="http://schemas.microsoft.com/office/drawing/2014/main" id="{E6E65919-95CC-40C8-8BFB-EA907A80B19E}"/>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668F8771-4FDE-48FA-B284-FDC32F11C0F1}"/>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03" name="Shape4_20211201_133011">
                  <a:extLst>
                    <a:ext uri="{FF2B5EF4-FFF2-40B4-BE49-F238E27FC236}">
                      <a16:creationId xmlns:a16="http://schemas.microsoft.com/office/drawing/2014/main" id="{D27B420E-0083-4641-AFAE-CEC2A113653A}"/>
                    </a:ext>
                  </a:extLst>
                </p:cNvPr>
                <p:cNvGrpSpPr/>
                <p:nvPr/>
              </p:nvGrpSpPr>
              <p:grpSpPr>
                <a:xfrm>
                  <a:off x="7434465" y="2520073"/>
                  <a:ext cx="57515" cy="57515"/>
                  <a:chOff x="4001361" y="3450225"/>
                  <a:chExt cx="57515" cy="57515"/>
                </a:xfrm>
              </p:grpSpPr>
              <p:cxnSp>
                <p:nvCxnSpPr>
                  <p:cNvPr id="300" name="Straight Connector 299">
                    <a:extLst>
                      <a:ext uri="{FF2B5EF4-FFF2-40B4-BE49-F238E27FC236}">
                        <a16:creationId xmlns:a16="http://schemas.microsoft.com/office/drawing/2014/main" id="{8D2F0820-B085-4005-A087-9DA92EE2D08C}"/>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79165B96-E2AA-476C-ABDD-5146B1E377A1}"/>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04" name="Shape5_20211201_133011">
                  <a:extLst>
                    <a:ext uri="{FF2B5EF4-FFF2-40B4-BE49-F238E27FC236}">
                      <a16:creationId xmlns:a16="http://schemas.microsoft.com/office/drawing/2014/main" id="{C883ED39-9845-4789-8987-DFC53C3AA4F3}"/>
                    </a:ext>
                  </a:extLst>
                </p:cNvPr>
                <p:cNvGrpSpPr/>
                <p:nvPr/>
              </p:nvGrpSpPr>
              <p:grpSpPr>
                <a:xfrm>
                  <a:off x="7341120" y="2520073"/>
                  <a:ext cx="57515" cy="57515"/>
                  <a:chOff x="4001361" y="3450225"/>
                  <a:chExt cx="57515" cy="57515"/>
                </a:xfrm>
              </p:grpSpPr>
              <p:cxnSp>
                <p:nvCxnSpPr>
                  <p:cNvPr id="298" name="Straight Connector 297">
                    <a:extLst>
                      <a:ext uri="{FF2B5EF4-FFF2-40B4-BE49-F238E27FC236}">
                        <a16:creationId xmlns:a16="http://schemas.microsoft.com/office/drawing/2014/main" id="{FEF9FC86-94B4-414A-A2C7-B5DA9C53B56A}"/>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a:extLst>
                      <a:ext uri="{FF2B5EF4-FFF2-40B4-BE49-F238E27FC236}">
                        <a16:creationId xmlns:a16="http://schemas.microsoft.com/office/drawing/2014/main" id="{FC95E940-D4FC-4954-B4BF-45F3C058FBCB}"/>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05" name="Shape6_20211201_133011">
                  <a:extLst>
                    <a:ext uri="{FF2B5EF4-FFF2-40B4-BE49-F238E27FC236}">
                      <a16:creationId xmlns:a16="http://schemas.microsoft.com/office/drawing/2014/main" id="{C57FE680-045D-4EA8-B591-185CAFA668DA}"/>
                    </a:ext>
                  </a:extLst>
                </p:cNvPr>
                <p:cNvGrpSpPr/>
                <p:nvPr/>
              </p:nvGrpSpPr>
              <p:grpSpPr>
                <a:xfrm>
                  <a:off x="7221105" y="2520073"/>
                  <a:ext cx="57515" cy="57515"/>
                  <a:chOff x="4001361" y="3450225"/>
                  <a:chExt cx="57515" cy="57515"/>
                </a:xfrm>
              </p:grpSpPr>
              <p:cxnSp>
                <p:nvCxnSpPr>
                  <p:cNvPr id="296" name="Straight Connector 295">
                    <a:extLst>
                      <a:ext uri="{FF2B5EF4-FFF2-40B4-BE49-F238E27FC236}">
                        <a16:creationId xmlns:a16="http://schemas.microsoft.com/office/drawing/2014/main" id="{A37D56C4-6070-4486-8E89-5A01A82D48A0}"/>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5D034D16-7E80-49F2-8E7E-F195BE017DD1}"/>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06" name="Shape7_20211201_133011">
                  <a:extLst>
                    <a:ext uri="{FF2B5EF4-FFF2-40B4-BE49-F238E27FC236}">
                      <a16:creationId xmlns:a16="http://schemas.microsoft.com/office/drawing/2014/main" id="{2B8E3620-FB2C-4162-99E3-43A0897C8702}"/>
                    </a:ext>
                  </a:extLst>
                </p:cNvPr>
                <p:cNvGrpSpPr/>
                <p:nvPr/>
              </p:nvGrpSpPr>
              <p:grpSpPr>
                <a:xfrm>
                  <a:off x="7213485" y="2520073"/>
                  <a:ext cx="57515" cy="57515"/>
                  <a:chOff x="4001361" y="3450225"/>
                  <a:chExt cx="57515" cy="57515"/>
                </a:xfrm>
              </p:grpSpPr>
              <p:cxnSp>
                <p:nvCxnSpPr>
                  <p:cNvPr id="294" name="Straight Connector 293">
                    <a:extLst>
                      <a:ext uri="{FF2B5EF4-FFF2-40B4-BE49-F238E27FC236}">
                        <a16:creationId xmlns:a16="http://schemas.microsoft.com/office/drawing/2014/main" id="{E71ADC95-7FC6-4C90-8CFB-0D27C0ECFEF1}"/>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4E68A959-7F82-4CAE-9888-0A4A85F4C151}"/>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07" name="Shape8_20211201_133011">
                  <a:extLst>
                    <a:ext uri="{FF2B5EF4-FFF2-40B4-BE49-F238E27FC236}">
                      <a16:creationId xmlns:a16="http://schemas.microsoft.com/office/drawing/2014/main" id="{EA7C09AE-F5C4-49FB-A12C-C0F3C1FCD84D}"/>
                    </a:ext>
                  </a:extLst>
                </p:cNvPr>
                <p:cNvGrpSpPr/>
                <p:nvPr/>
              </p:nvGrpSpPr>
              <p:grpSpPr>
                <a:xfrm>
                  <a:off x="6885825" y="2520073"/>
                  <a:ext cx="57515" cy="57515"/>
                  <a:chOff x="4001361" y="3450225"/>
                  <a:chExt cx="57515" cy="57515"/>
                </a:xfrm>
              </p:grpSpPr>
              <p:cxnSp>
                <p:nvCxnSpPr>
                  <p:cNvPr id="292" name="Straight Connector 291">
                    <a:extLst>
                      <a:ext uri="{FF2B5EF4-FFF2-40B4-BE49-F238E27FC236}">
                        <a16:creationId xmlns:a16="http://schemas.microsoft.com/office/drawing/2014/main" id="{C4D8297F-456F-421A-9950-1633D5B54834}"/>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4FE39204-7EFB-4CF2-A5C2-23C2DF909F41}"/>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08" name="Shape9_20211201_133011">
                  <a:extLst>
                    <a:ext uri="{FF2B5EF4-FFF2-40B4-BE49-F238E27FC236}">
                      <a16:creationId xmlns:a16="http://schemas.microsoft.com/office/drawing/2014/main" id="{65EF6545-6740-4A08-BD8F-203039D0B762}"/>
                    </a:ext>
                  </a:extLst>
                </p:cNvPr>
                <p:cNvGrpSpPr/>
                <p:nvPr/>
              </p:nvGrpSpPr>
              <p:grpSpPr>
                <a:xfrm>
                  <a:off x="6847725" y="2520073"/>
                  <a:ext cx="57515" cy="57515"/>
                  <a:chOff x="4001361" y="3450225"/>
                  <a:chExt cx="57515" cy="57515"/>
                </a:xfrm>
              </p:grpSpPr>
              <p:cxnSp>
                <p:nvCxnSpPr>
                  <p:cNvPr id="290" name="Straight Connector 289">
                    <a:extLst>
                      <a:ext uri="{FF2B5EF4-FFF2-40B4-BE49-F238E27FC236}">
                        <a16:creationId xmlns:a16="http://schemas.microsoft.com/office/drawing/2014/main" id="{81640231-B673-4CAB-8026-1D70B8D49FA7}"/>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B35F6CAB-7462-45A0-A904-12DF2B0BD081}"/>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09" name="Shape10_20211201_133011">
                  <a:extLst>
                    <a:ext uri="{FF2B5EF4-FFF2-40B4-BE49-F238E27FC236}">
                      <a16:creationId xmlns:a16="http://schemas.microsoft.com/office/drawing/2014/main" id="{B1B181D8-68D3-484D-9D94-5F13B7072203}"/>
                    </a:ext>
                  </a:extLst>
                </p:cNvPr>
                <p:cNvGrpSpPr/>
                <p:nvPr/>
              </p:nvGrpSpPr>
              <p:grpSpPr>
                <a:xfrm>
                  <a:off x="6796290" y="2520073"/>
                  <a:ext cx="57515" cy="57515"/>
                  <a:chOff x="4001361" y="3450225"/>
                  <a:chExt cx="57515" cy="57515"/>
                </a:xfrm>
              </p:grpSpPr>
              <p:cxnSp>
                <p:nvCxnSpPr>
                  <p:cNvPr id="288" name="Straight Connector 287">
                    <a:extLst>
                      <a:ext uri="{FF2B5EF4-FFF2-40B4-BE49-F238E27FC236}">
                        <a16:creationId xmlns:a16="http://schemas.microsoft.com/office/drawing/2014/main" id="{702693A7-3BA4-4A93-8508-A71390C1C503}"/>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8D63A6C2-0E81-4247-8C4B-421BF0F819B5}"/>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10" name="Shape11_20211201_133011">
                  <a:extLst>
                    <a:ext uri="{FF2B5EF4-FFF2-40B4-BE49-F238E27FC236}">
                      <a16:creationId xmlns:a16="http://schemas.microsoft.com/office/drawing/2014/main" id="{4EAF1953-36A0-4969-82A9-A1F8E2E7FA6D}"/>
                    </a:ext>
                  </a:extLst>
                </p:cNvPr>
                <p:cNvGrpSpPr/>
                <p:nvPr/>
              </p:nvGrpSpPr>
              <p:grpSpPr>
                <a:xfrm>
                  <a:off x="6714375" y="2520073"/>
                  <a:ext cx="57515" cy="57515"/>
                  <a:chOff x="4001361" y="3450225"/>
                  <a:chExt cx="57515" cy="57515"/>
                </a:xfrm>
              </p:grpSpPr>
              <p:cxnSp>
                <p:nvCxnSpPr>
                  <p:cNvPr id="286" name="Straight Connector 285">
                    <a:extLst>
                      <a:ext uri="{FF2B5EF4-FFF2-40B4-BE49-F238E27FC236}">
                        <a16:creationId xmlns:a16="http://schemas.microsoft.com/office/drawing/2014/main" id="{6612F8DD-6383-4023-B90B-AD6A55B4DC3A}"/>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77006F4C-7473-4D81-9AB9-76EAC3D091C0}"/>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11" name="Shape12_20211201_133011">
                  <a:extLst>
                    <a:ext uri="{FF2B5EF4-FFF2-40B4-BE49-F238E27FC236}">
                      <a16:creationId xmlns:a16="http://schemas.microsoft.com/office/drawing/2014/main" id="{202B824F-E0A1-4AFB-B7B6-7AE1AECAD4FF}"/>
                    </a:ext>
                  </a:extLst>
                </p:cNvPr>
                <p:cNvGrpSpPr/>
                <p:nvPr/>
              </p:nvGrpSpPr>
              <p:grpSpPr>
                <a:xfrm>
                  <a:off x="6687705" y="2520073"/>
                  <a:ext cx="57515" cy="57515"/>
                  <a:chOff x="4001361" y="3450225"/>
                  <a:chExt cx="57515" cy="57515"/>
                </a:xfrm>
              </p:grpSpPr>
              <p:cxnSp>
                <p:nvCxnSpPr>
                  <p:cNvPr id="284" name="Straight Connector 283">
                    <a:extLst>
                      <a:ext uri="{FF2B5EF4-FFF2-40B4-BE49-F238E27FC236}">
                        <a16:creationId xmlns:a16="http://schemas.microsoft.com/office/drawing/2014/main" id="{26AF2202-894F-46D1-9198-5026AE7F2B8D}"/>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978ACBF5-11CF-4C44-9E73-69D0177C67F5}"/>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12" name="Shape13_20211201_133011">
                  <a:extLst>
                    <a:ext uri="{FF2B5EF4-FFF2-40B4-BE49-F238E27FC236}">
                      <a16:creationId xmlns:a16="http://schemas.microsoft.com/office/drawing/2014/main" id="{9F7C0EC5-525E-4F23-A0C1-E98A04E670B2}"/>
                    </a:ext>
                  </a:extLst>
                </p:cNvPr>
                <p:cNvGrpSpPr/>
                <p:nvPr/>
              </p:nvGrpSpPr>
              <p:grpSpPr>
                <a:xfrm>
                  <a:off x="6541020" y="2520073"/>
                  <a:ext cx="57515" cy="57515"/>
                  <a:chOff x="4001361" y="3450225"/>
                  <a:chExt cx="57515" cy="57515"/>
                </a:xfrm>
              </p:grpSpPr>
              <p:cxnSp>
                <p:nvCxnSpPr>
                  <p:cNvPr id="282" name="Straight Connector 281">
                    <a:extLst>
                      <a:ext uri="{FF2B5EF4-FFF2-40B4-BE49-F238E27FC236}">
                        <a16:creationId xmlns:a16="http://schemas.microsoft.com/office/drawing/2014/main" id="{7CF6ABCF-7F6F-43E0-A7B0-FA040EF98B17}"/>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447C7CCB-07CA-412C-B0E3-60FCC952C95A}"/>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13" name="Shape14_20211201_133011">
                  <a:extLst>
                    <a:ext uri="{FF2B5EF4-FFF2-40B4-BE49-F238E27FC236}">
                      <a16:creationId xmlns:a16="http://schemas.microsoft.com/office/drawing/2014/main" id="{4CBABF9E-69B4-4C7A-AA31-251682AD87F3}"/>
                    </a:ext>
                  </a:extLst>
                </p:cNvPr>
                <p:cNvGrpSpPr/>
                <p:nvPr/>
              </p:nvGrpSpPr>
              <p:grpSpPr>
                <a:xfrm>
                  <a:off x="6422910" y="2457208"/>
                  <a:ext cx="57515" cy="57515"/>
                  <a:chOff x="4001361" y="3450225"/>
                  <a:chExt cx="57515" cy="57515"/>
                </a:xfrm>
              </p:grpSpPr>
              <p:cxnSp>
                <p:nvCxnSpPr>
                  <p:cNvPr id="280" name="Straight Connector 279">
                    <a:extLst>
                      <a:ext uri="{FF2B5EF4-FFF2-40B4-BE49-F238E27FC236}">
                        <a16:creationId xmlns:a16="http://schemas.microsoft.com/office/drawing/2014/main" id="{CE1330A8-2F4C-4BBB-BF8C-F87E59CD4FF8}"/>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C5A96D49-BE85-407F-9BEC-1ACFC341D8D7}"/>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14" name="Shape15_20211201_133011">
                  <a:extLst>
                    <a:ext uri="{FF2B5EF4-FFF2-40B4-BE49-F238E27FC236}">
                      <a16:creationId xmlns:a16="http://schemas.microsoft.com/office/drawing/2014/main" id="{331AB534-C7ED-4000-9639-B7A2A5BBCE8E}"/>
                    </a:ext>
                  </a:extLst>
                </p:cNvPr>
                <p:cNvGrpSpPr/>
                <p:nvPr/>
              </p:nvGrpSpPr>
              <p:grpSpPr>
                <a:xfrm>
                  <a:off x="6112395" y="2382913"/>
                  <a:ext cx="57515" cy="57515"/>
                  <a:chOff x="4001361" y="3450225"/>
                  <a:chExt cx="57515" cy="57515"/>
                </a:xfrm>
              </p:grpSpPr>
              <p:cxnSp>
                <p:nvCxnSpPr>
                  <p:cNvPr id="278" name="Straight Connector 277">
                    <a:extLst>
                      <a:ext uri="{FF2B5EF4-FFF2-40B4-BE49-F238E27FC236}">
                        <a16:creationId xmlns:a16="http://schemas.microsoft.com/office/drawing/2014/main" id="{02AC0EFD-2E08-4A38-AA7E-BE7F685F6ECA}"/>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55035BA3-D523-43FB-B815-45321D06466F}"/>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15" name="Shape16_20211201_133011">
                  <a:extLst>
                    <a:ext uri="{FF2B5EF4-FFF2-40B4-BE49-F238E27FC236}">
                      <a16:creationId xmlns:a16="http://schemas.microsoft.com/office/drawing/2014/main" id="{77A59D69-A3ED-4B37-898E-62222504EA94}"/>
                    </a:ext>
                  </a:extLst>
                </p:cNvPr>
                <p:cNvGrpSpPr/>
                <p:nvPr/>
              </p:nvGrpSpPr>
              <p:grpSpPr>
                <a:xfrm>
                  <a:off x="6093345" y="2354338"/>
                  <a:ext cx="57515" cy="57515"/>
                  <a:chOff x="4001361" y="3450225"/>
                  <a:chExt cx="57515" cy="57515"/>
                </a:xfrm>
              </p:grpSpPr>
              <p:cxnSp>
                <p:nvCxnSpPr>
                  <p:cNvPr id="276" name="Straight Connector 275">
                    <a:extLst>
                      <a:ext uri="{FF2B5EF4-FFF2-40B4-BE49-F238E27FC236}">
                        <a16:creationId xmlns:a16="http://schemas.microsoft.com/office/drawing/2014/main" id="{CF66E511-33C6-4709-8917-5C4383640B91}"/>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93267BDC-D81C-44B3-96FE-DEBC5309A7B0}"/>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16" name="Shape17_20211201_133011">
                  <a:extLst>
                    <a:ext uri="{FF2B5EF4-FFF2-40B4-BE49-F238E27FC236}">
                      <a16:creationId xmlns:a16="http://schemas.microsoft.com/office/drawing/2014/main" id="{3E81195F-825B-4F8E-B1B4-97498ACD94BC}"/>
                    </a:ext>
                  </a:extLst>
                </p:cNvPr>
                <p:cNvGrpSpPr/>
                <p:nvPr/>
              </p:nvGrpSpPr>
              <p:grpSpPr>
                <a:xfrm>
                  <a:off x="6015240" y="2354338"/>
                  <a:ext cx="57515" cy="57515"/>
                  <a:chOff x="4001361" y="3450225"/>
                  <a:chExt cx="57515" cy="57515"/>
                </a:xfrm>
              </p:grpSpPr>
              <p:cxnSp>
                <p:nvCxnSpPr>
                  <p:cNvPr id="274" name="Straight Connector 273">
                    <a:extLst>
                      <a:ext uri="{FF2B5EF4-FFF2-40B4-BE49-F238E27FC236}">
                        <a16:creationId xmlns:a16="http://schemas.microsoft.com/office/drawing/2014/main" id="{44382F4A-CB6D-4FFE-8A6A-50BAE64395D8}"/>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13CC250A-DE82-43A6-AA10-15E1546AD9F6}"/>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17" name="Shape18_20211201_133011">
                  <a:extLst>
                    <a:ext uri="{FF2B5EF4-FFF2-40B4-BE49-F238E27FC236}">
                      <a16:creationId xmlns:a16="http://schemas.microsoft.com/office/drawing/2014/main" id="{463A1D9E-6B16-49E6-BFE3-C3ACD2B8AE64}"/>
                    </a:ext>
                  </a:extLst>
                </p:cNvPr>
                <p:cNvGrpSpPr/>
                <p:nvPr/>
              </p:nvGrpSpPr>
              <p:grpSpPr>
                <a:xfrm>
                  <a:off x="5959995" y="2306713"/>
                  <a:ext cx="57515" cy="57515"/>
                  <a:chOff x="4001361" y="3450225"/>
                  <a:chExt cx="57515" cy="57515"/>
                </a:xfrm>
              </p:grpSpPr>
              <p:cxnSp>
                <p:nvCxnSpPr>
                  <p:cNvPr id="272" name="Straight Connector 271">
                    <a:extLst>
                      <a:ext uri="{FF2B5EF4-FFF2-40B4-BE49-F238E27FC236}">
                        <a16:creationId xmlns:a16="http://schemas.microsoft.com/office/drawing/2014/main" id="{BDC55538-9DD1-42F5-A2D4-EF093FBF5CEB}"/>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1A9D295C-CF50-4414-B6B7-30CDE0A4E241}"/>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18" name="Shape19_20211201_133011">
                  <a:extLst>
                    <a:ext uri="{FF2B5EF4-FFF2-40B4-BE49-F238E27FC236}">
                      <a16:creationId xmlns:a16="http://schemas.microsoft.com/office/drawing/2014/main" id="{377C4FA0-75AD-4284-A6A1-1F615ECB8C06}"/>
                    </a:ext>
                  </a:extLst>
                </p:cNvPr>
                <p:cNvGrpSpPr/>
                <p:nvPr/>
              </p:nvGrpSpPr>
              <p:grpSpPr>
                <a:xfrm>
                  <a:off x="5931420" y="2260993"/>
                  <a:ext cx="57515" cy="57515"/>
                  <a:chOff x="4001361" y="3450225"/>
                  <a:chExt cx="57515" cy="57515"/>
                </a:xfrm>
              </p:grpSpPr>
              <p:cxnSp>
                <p:nvCxnSpPr>
                  <p:cNvPr id="270" name="Straight Connector 269">
                    <a:extLst>
                      <a:ext uri="{FF2B5EF4-FFF2-40B4-BE49-F238E27FC236}">
                        <a16:creationId xmlns:a16="http://schemas.microsoft.com/office/drawing/2014/main" id="{E95FD0DD-ED6B-4C3B-A29A-8CE561EC6F90}"/>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60D211B8-9F60-4C6F-8A86-1290E4ADD6DD}"/>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19" name="Shape20_20211201_133011">
                  <a:extLst>
                    <a:ext uri="{FF2B5EF4-FFF2-40B4-BE49-F238E27FC236}">
                      <a16:creationId xmlns:a16="http://schemas.microsoft.com/office/drawing/2014/main" id="{BE7DD345-3F8A-4DD1-B4B6-00E8A0ED4EEE}"/>
                    </a:ext>
                  </a:extLst>
                </p:cNvPr>
                <p:cNvGrpSpPr/>
                <p:nvPr/>
              </p:nvGrpSpPr>
              <p:grpSpPr>
                <a:xfrm>
                  <a:off x="5864745" y="2260993"/>
                  <a:ext cx="57515" cy="57515"/>
                  <a:chOff x="4001361" y="3450225"/>
                  <a:chExt cx="57515" cy="57515"/>
                </a:xfrm>
              </p:grpSpPr>
              <p:cxnSp>
                <p:nvCxnSpPr>
                  <p:cNvPr id="268" name="Straight Connector 267">
                    <a:extLst>
                      <a:ext uri="{FF2B5EF4-FFF2-40B4-BE49-F238E27FC236}">
                        <a16:creationId xmlns:a16="http://schemas.microsoft.com/office/drawing/2014/main" id="{020B0273-C8B1-4ED5-8567-A301F21829CE}"/>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FBC6D9AD-C154-4108-B6CE-D55324E5A58B}"/>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20" name="Shape21_20211201_133011">
                  <a:extLst>
                    <a:ext uri="{FF2B5EF4-FFF2-40B4-BE49-F238E27FC236}">
                      <a16:creationId xmlns:a16="http://schemas.microsoft.com/office/drawing/2014/main" id="{ACE8BDEE-C431-4833-94EF-798E42C80FA4}"/>
                    </a:ext>
                  </a:extLst>
                </p:cNvPr>
                <p:cNvGrpSpPr/>
                <p:nvPr/>
              </p:nvGrpSpPr>
              <p:grpSpPr>
                <a:xfrm>
                  <a:off x="5742825" y="2184793"/>
                  <a:ext cx="57515" cy="57515"/>
                  <a:chOff x="4001361" y="3450225"/>
                  <a:chExt cx="57515" cy="57515"/>
                </a:xfrm>
              </p:grpSpPr>
              <p:cxnSp>
                <p:nvCxnSpPr>
                  <p:cNvPr id="266" name="Straight Connector 265">
                    <a:extLst>
                      <a:ext uri="{FF2B5EF4-FFF2-40B4-BE49-F238E27FC236}">
                        <a16:creationId xmlns:a16="http://schemas.microsoft.com/office/drawing/2014/main" id="{60B54951-01D8-4695-A8F6-75CF21A55F1A}"/>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8398A6E9-B147-4309-9CA5-BD82B8FB1840}"/>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21" name="Shape22_20211201_133011">
                  <a:extLst>
                    <a:ext uri="{FF2B5EF4-FFF2-40B4-BE49-F238E27FC236}">
                      <a16:creationId xmlns:a16="http://schemas.microsoft.com/office/drawing/2014/main" id="{37AEFFAB-5420-483B-AB94-D45C80C8D68A}"/>
                    </a:ext>
                  </a:extLst>
                </p:cNvPr>
                <p:cNvGrpSpPr/>
                <p:nvPr/>
              </p:nvGrpSpPr>
              <p:grpSpPr>
                <a:xfrm>
                  <a:off x="5586615" y="2062873"/>
                  <a:ext cx="57515" cy="57515"/>
                  <a:chOff x="4001361" y="3450225"/>
                  <a:chExt cx="57515" cy="57515"/>
                </a:xfrm>
              </p:grpSpPr>
              <p:cxnSp>
                <p:nvCxnSpPr>
                  <p:cNvPr id="264" name="Straight Connector 263">
                    <a:extLst>
                      <a:ext uri="{FF2B5EF4-FFF2-40B4-BE49-F238E27FC236}">
                        <a16:creationId xmlns:a16="http://schemas.microsoft.com/office/drawing/2014/main" id="{1D409BC8-CF56-4B2E-8D97-B86B9A5CC131}"/>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F6180FC6-E593-40D8-83F8-4FF18005E6E1}"/>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22" name="Shape23_20211201_133011">
                  <a:extLst>
                    <a:ext uri="{FF2B5EF4-FFF2-40B4-BE49-F238E27FC236}">
                      <a16:creationId xmlns:a16="http://schemas.microsoft.com/office/drawing/2014/main" id="{EE39A711-8038-4BF0-A489-A51B9D9FA1C9}"/>
                    </a:ext>
                  </a:extLst>
                </p:cNvPr>
                <p:cNvGrpSpPr/>
                <p:nvPr/>
              </p:nvGrpSpPr>
              <p:grpSpPr>
                <a:xfrm>
                  <a:off x="5641860" y="2142883"/>
                  <a:ext cx="57515" cy="57515"/>
                  <a:chOff x="4001361" y="3450225"/>
                  <a:chExt cx="57515" cy="57515"/>
                </a:xfrm>
              </p:grpSpPr>
              <p:cxnSp>
                <p:nvCxnSpPr>
                  <p:cNvPr id="262" name="Straight Connector 261">
                    <a:extLst>
                      <a:ext uri="{FF2B5EF4-FFF2-40B4-BE49-F238E27FC236}">
                        <a16:creationId xmlns:a16="http://schemas.microsoft.com/office/drawing/2014/main" id="{698A79F0-9E2B-40F4-89BC-E525C5388717}"/>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684BF0C3-8ADE-49B9-B8BF-1693DED5F0C7}"/>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23" name="Shape24_20211201_133011">
                  <a:extLst>
                    <a:ext uri="{FF2B5EF4-FFF2-40B4-BE49-F238E27FC236}">
                      <a16:creationId xmlns:a16="http://schemas.microsoft.com/office/drawing/2014/main" id="{07B1D07B-6F9C-4DEC-872A-E307716E51A3}"/>
                    </a:ext>
                  </a:extLst>
                </p:cNvPr>
                <p:cNvGrpSpPr/>
                <p:nvPr/>
              </p:nvGrpSpPr>
              <p:grpSpPr>
                <a:xfrm>
                  <a:off x="5607570" y="2097163"/>
                  <a:ext cx="57515" cy="57515"/>
                  <a:chOff x="4001361" y="3450225"/>
                  <a:chExt cx="57515" cy="57515"/>
                </a:xfrm>
              </p:grpSpPr>
              <p:cxnSp>
                <p:nvCxnSpPr>
                  <p:cNvPr id="260" name="Straight Connector 259">
                    <a:extLst>
                      <a:ext uri="{FF2B5EF4-FFF2-40B4-BE49-F238E27FC236}">
                        <a16:creationId xmlns:a16="http://schemas.microsoft.com/office/drawing/2014/main" id="{DE6C16E3-54AB-428F-AC53-9B3A061DA2FC}"/>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6668063C-5E69-4D91-A240-51756E60B130}"/>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24" name="Shape25_20211201_133011">
                  <a:extLst>
                    <a:ext uri="{FF2B5EF4-FFF2-40B4-BE49-F238E27FC236}">
                      <a16:creationId xmlns:a16="http://schemas.microsoft.com/office/drawing/2014/main" id="{C2C2E04E-36A7-4354-977D-6A8BE81BF9F2}"/>
                    </a:ext>
                  </a:extLst>
                </p:cNvPr>
                <p:cNvGrpSpPr/>
                <p:nvPr/>
              </p:nvGrpSpPr>
              <p:grpSpPr>
                <a:xfrm>
                  <a:off x="5489460" y="1973562"/>
                  <a:ext cx="57515" cy="57515"/>
                  <a:chOff x="4001361" y="3450225"/>
                  <a:chExt cx="57515" cy="57515"/>
                </a:xfrm>
              </p:grpSpPr>
              <p:cxnSp>
                <p:nvCxnSpPr>
                  <p:cNvPr id="258" name="Straight Connector 257">
                    <a:extLst>
                      <a:ext uri="{FF2B5EF4-FFF2-40B4-BE49-F238E27FC236}">
                        <a16:creationId xmlns:a16="http://schemas.microsoft.com/office/drawing/2014/main" id="{B42192E8-F3D3-4A67-99AF-5CE9994E2761}"/>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0F9B13D0-2B12-47EE-83D4-98B1A912CA9F}"/>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25" name="Shape26_20211201_133011">
                  <a:extLst>
                    <a:ext uri="{FF2B5EF4-FFF2-40B4-BE49-F238E27FC236}">
                      <a16:creationId xmlns:a16="http://schemas.microsoft.com/office/drawing/2014/main" id="{6071B31A-E413-4E91-8907-E47AF226A02E}"/>
                    </a:ext>
                  </a:extLst>
                </p:cNvPr>
                <p:cNvGrpSpPr/>
                <p:nvPr/>
              </p:nvGrpSpPr>
              <p:grpSpPr>
                <a:xfrm>
                  <a:off x="5409450" y="1872597"/>
                  <a:ext cx="57515" cy="57515"/>
                  <a:chOff x="4001361" y="3450225"/>
                  <a:chExt cx="57515" cy="57515"/>
                </a:xfrm>
              </p:grpSpPr>
              <p:cxnSp>
                <p:nvCxnSpPr>
                  <p:cNvPr id="256" name="Straight Connector 255">
                    <a:extLst>
                      <a:ext uri="{FF2B5EF4-FFF2-40B4-BE49-F238E27FC236}">
                        <a16:creationId xmlns:a16="http://schemas.microsoft.com/office/drawing/2014/main" id="{0D40EC5D-8969-4DA8-9FC4-854211DAE532}"/>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489A4186-E55B-401D-8C8E-9118CD54C956}"/>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26" name="Shape27_20211201_133011">
                  <a:extLst>
                    <a:ext uri="{FF2B5EF4-FFF2-40B4-BE49-F238E27FC236}">
                      <a16:creationId xmlns:a16="http://schemas.microsoft.com/office/drawing/2014/main" id="{67DDB75C-4D84-4A0E-AB81-66E2B8379B33}"/>
                    </a:ext>
                  </a:extLst>
                </p:cNvPr>
                <p:cNvGrpSpPr/>
                <p:nvPr/>
              </p:nvGrpSpPr>
              <p:grpSpPr>
                <a:xfrm>
                  <a:off x="5390400" y="1859262"/>
                  <a:ext cx="57515" cy="57515"/>
                  <a:chOff x="4001361" y="3450225"/>
                  <a:chExt cx="57515" cy="57515"/>
                </a:xfrm>
              </p:grpSpPr>
              <p:cxnSp>
                <p:nvCxnSpPr>
                  <p:cNvPr id="254" name="Straight Connector 253">
                    <a:extLst>
                      <a:ext uri="{FF2B5EF4-FFF2-40B4-BE49-F238E27FC236}">
                        <a16:creationId xmlns:a16="http://schemas.microsoft.com/office/drawing/2014/main" id="{C4D048A2-F8BB-4C40-978B-7CD5E4DDC56E}"/>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A978BEF4-6668-4A77-B49F-72975FD54057}"/>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27" name="Shape28_20211201_133011">
                  <a:extLst>
                    <a:ext uri="{FF2B5EF4-FFF2-40B4-BE49-F238E27FC236}">
                      <a16:creationId xmlns:a16="http://schemas.microsoft.com/office/drawing/2014/main" id="{D93FA3F8-EE1A-49F0-B9EB-C630937F4A56}"/>
                    </a:ext>
                  </a:extLst>
                </p:cNvPr>
                <p:cNvGrpSpPr/>
                <p:nvPr/>
              </p:nvGrpSpPr>
              <p:grpSpPr>
                <a:xfrm>
                  <a:off x="5358015" y="1823067"/>
                  <a:ext cx="57515" cy="57515"/>
                  <a:chOff x="4001361" y="3450225"/>
                  <a:chExt cx="57515" cy="57515"/>
                </a:xfrm>
              </p:grpSpPr>
              <p:cxnSp>
                <p:nvCxnSpPr>
                  <p:cNvPr id="252" name="Straight Connector 251">
                    <a:extLst>
                      <a:ext uri="{FF2B5EF4-FFF2-40B4-BE49-F238E27FC236}">
                        <a16:creationId xmlns:a16="http://schemas.microsoft.com/office/drawing/2014/main" id="{A8F765C2-494E-4635-A092-8B4F321FAF48}"/>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281F444E-E50E-4191-8B59-8F646C1E23D0}"/>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28" name="Shape29_20211201_133011">
                  <a:extLst>
                    <a:ext uri="{FF2B5EF4-FFF2-40B4-BE49-F238E27FC236}">
                      <a16:creationId xmlns:a16="http://schemas.microsoft.com/office/drawing/2014/main" id="{6D1FED2A-93FC-4E87-9709-A320B9D34768}"/>
                    </a:ext>
                  </a:extLst>
                </p:cNvPr>
                <p:cNvGrpSpPr/>
                <p:nvPr/>
              </p:nvGrpSpPr>
              <p:grpSpPr>
                <a:xfrm>
                  <a:off x="5354205" y="1798302"/>
                  <a:ext cx="57515" cy="57515"/>
                  <a:chOff x="4001361" y="3450225"/>
                  <a:chExt cx="57515" cy="57515"/>
                </a:xfrm>
              </p:grpSpPr>
              <p:cxnSp>
                <p:nvCxnSpPr>
                  <p:cNvPr id="250" name="Straight Connector 249">
                    <a:extLst>
                      <a:ext uri="{FF2B5EF4-FFF2-40B4-BE49-F238E27FC236}">
                        <a16:creationId xmlns:a16="http://schemas.microsoft.com/office/drawing/2014/main" id="{03C3AC18-49DC-49BD-A888-CB6947CF9430}"/>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079BE322-7C4E-4C39-B512-D1800A9F7EBA}"/>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29" name="Shape30_20211201_133011">
                  <a:extLst>
                    <a:ext uri="{FF2B5EF4-FFF2-40B4-BE49-F238E27FC236}">
                      <a16:creationId xmlns:a16="http://schemas.microsoft.com/office/drawing/2014/main" id="{6F92B355-CBC5-497C-A23C-7F8B4835639B}"/>
                    </a:ext>
                  </a:extLst>
                </p:cNvPr>
                <p:cNvGrpSpPr/>
                <p:nvPr/>
              </p:nvGrpSpPr>
              <p:grpSpPr>
                <a:xfrm>
                  <a:off x="5262765" y="1699242"/>
                  <a:ext cx="57515" cy="57515"/>
                  <a:chOff x="4001361" y="3450225"/>
                  <a:chExt cx="57515" cy="57515"/>
                </a:xfrm>
              </p:grpSpPr>
              <p:cxnSp>
                <p:nvCxnSpPr>
                  <p:cNvPr id="248" name="Straight Connector 247">
                    <a:extLst>
                      <a:ext uri="{FF2B5EF4-FFF2-40B4-BE49-F238E27FC236}">
                        <a16:creationId xmlns:a16="http://schemas.microsoft.com/office/drawing/2014/main" id="{F76A447E-173F-444C-9FFB-6E5F12909773}"/>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34277C99-8627-4C23-9E1A-6868D5193722}"/>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30" name="Shape31_20211201_133011">
                  <a:extLst>
                    <a:ext uri="{FF2B5EF4-FFF2-40B4-BE49-F238E27FC236}">
                      <a16:creationId xmlns:a16="http://schemas.microsoft.com/office/drawing/2014/main" id="{1D95474A-AF26-4B67-9A10-B7CA9C4AA715}"/>
                    </a:ext>
                  </a:extLst>
                </p:cNvPr>
                <p:cNvGrpSpPr/>
                <p:nvPr/>
              </p:nvGrpSpPr>
              <p:grpSpPr>
                <a:xfrm>
                  <a:off x="5137035" y="1613517"/>
                  <a:ext cx="57515" cy="57515"/>
                  <a:chOff x="4001361" y="3450225"/>
                  <a:chExt cx="57515" cy="57515"/>
                </a:xfrm>
              </p:grpSpPr>
              <p:cxnSp>
                <p:nvCxnSpPr>
                  <p:cNvPr id="246" name="Straight Connector 245">
                    <a:extLst>
                      <a:ext uri="{FF2B5EF4-FFF2-40B4-BE49-F238E27FC236}">
                        <a16:creationId xmlns:a16="http://schemas.microsoft.com/office/drawing/2014/main" id="{3C661E90-AC3B-46E0-AC93-2A67C3163501}"/>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777CCCE6-9A57-45C7-849F-F6A845D1E715}"/>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31" name="Shape32_20211201_133011">
                  <a:extLst>
                    <a:ext uri="{FF2B5EF4-FFF2-40B4-BE49-F238E27FC236}">
                      <a16:creationId xmlns:a16="http://schemas.microsoft.com/office/drawing/2014/main" id="{669C815A-9FED-477E-ADBF-4AE553714D29}"/>
                    </a:ext>
                  </a:extLst>
                </p:cNvPr>
                <p:cNvGrpSpPr/>
                <p:nvPr/>
              </p:nvGrpSpPr>
              <p:grpSpPr>
                <a:xfrm>
                  <a:off x="5102745" y="1577322"/>
                  <a:ext cx="57515" cy="57515"/>
                  <a:chOff x="4001361" y="3450225"/>
                  <a:chExt cx="57515" cy="57515"/>
                </a:xfrm>
              </p:grpSpPr>
              <p:cxnSp>
                <p:nvCxnSpPr>
                  <p:cNvPr id="244" name="Straight Connector 243">
                    <a:extLst>
                      <a:ext uri="{FF2B5EF4-FFF2-40B4-BE49-F238E27FC236}">
                        <a16:creationId xmlns:a16="http://schemas.microsoft.com/office/drawing/2014/main" id="{17C699CD-7FA3-4ECD-AEF6-B081EE3C20E0}"/>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B1BC7CCD-91CC-496D-8094-E483AA842DB1}"/>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32" name="Shape33_20211201_133011">
                  <a:extLst>
                    <a:ext uri="{FF2B5EF4-FFF2-40B4-BE49-F238E27FC236}">
                      <a16:creationId xmlns:a16="http://schemas.microsoft.com/office/drawing/2014/main" id="{F0A47269-5F88-4662-AC80-3C7A824749A0}"/>
                    </a:ext>
                  </a:extLst>
                </p:cNvPr>
                <p:cNvGrpSpPr/>
                <p:nvPr/>
              </p:nvGrpSpPr>
              <p:grpSpPr>
                <a:xfrm>
                  <a:off x="5077980" y="1569702"/>
                  <a:ext cx="57515" cy="57515"/>
                  <a:chOff x="4001361" y="3450225"/>
                  <a:chExt cx="57515" cy="57515"/>
                </a:xfrm>
              </p:grpSpPr>
              <p:cxnSp>
                <p:nvCxnSpPr>
                  <p:cNvPr id="242" name="Straight Connector 241">
                    <a:extLst>
                      <a:ext uri="{FF2B5EF4-FFF2-40B4-BE49-F238E27FC236}">
                        <a16:creationId xmlns:a16="http://schemas.microsoft.com/office/drawing/2014/main" id="{8D83FF98-69BF-4D55-81B2-77A893D1E9CE}"/>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31EB72AB-79C2-4EDA-90E8-FD72EFE33601}"/>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33" name="Shape34_20211201_133011">
                  <a:extLst>
                    <a:ext uri="{FF2B5EF4-FFF2-40B4-BE49-F238E27FC236}">
                      <a16:creationId xmlns:a16="http://schemas.microsoft.com/office/drawing/2014/main" id="{E3C1C5BC-B560-4CFD-9D78-29B057BB0F8F}"/>
                    </a:ext>
                  </a:extLst>
                </p:cNvPr>
                <p:cNvGrpSpPr/>
                <p:nvPr/>
              </p:nvGrpSpPr>
              <p:grpSpPr>
                <a:xfrm>
                  <a:off x="5222760" y="1682097"/>
                  <a:ext cx="57515" cy="57515"/>
                  <a:chOff x="4001361" y="3450225"/>
                  <a:chExt cx="57515" cy="57515"/>
                </a:xfrm>
              </p:grpSpPr>
              <p:cxnSp>
                <p:nvCxnSpPr>
                  <p:cNvPr id="240" name="Straight Connector 239">
                    <a:extLst>
                      <a:ext uri="{FF2B5EF4-FFF2-40B4-BE49-F238E27FC236}">
                        <a16:creationId xmlns:a16="http://schemas.microsoft.com/office/drawing/2014/main" id="{2B8576CB-8648-43EB-B9A1-9E1E8752C0D2}"/>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E5F2EA85-A6F0-478C-9D58-3CE98CC2D054}"/>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34" name="Shape35_20211201_133011">
                  <a:extLst>
                    <a:ext uri="{FF2B5EF4-FFF2-40B4-BE49-F238E27FC236}">
                      <a16:creationId xmlns:a16="http://schemas.microsoft.com/office/drawing/2014/main" id="{AC9EC14C-A6B6-4311-9400-1E935DC877D5}"/>
                    </a:ext>
                  </a:extLst>
                </p:cNvPr>
                <p:cNvGrpSpPr/>
                <p:nvPr/>
              </p:nvGrpSpPr>
              <p:grpSpPr>
                <a:xfrm>
                  <a:off x="4944630" y="1453497"/>
                  <a:ext cx="57515" cy="57515"/>
                  <a:chOff x="4001361" y="3450225"/>
                  <a:chExt cx="57515" cy="57515"/>
                </a:xfrm>
              </p:grpSpPr>
              <p:cxnSp>
                <p:nvCxnSpPr>
                  <p:cNvPr id="238" name="Straight Connector 237">
                    <a:extLst>
                      <a:ext uri="{FF2B5EF4-FFF2-40B4-BE49-F238E27FC236}">
                        <a16:creationId xmlns:a16="http://schemas.microsoft.com/office/drawing/2014/main" id="{0BCC07D2-C1B5-492C-969D-E56320029222}"/>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62D6871D-7D64-42F0-A45D-C036506AFF0E}"/>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35" name="Shape36_20211201_133011">
                  <a:extLst>
                    <a:ext uri="{FF2B5EF4-FFF2-40B4-BE49-F238E27FC236}">
                      <a16:creationId xmlns:a16="http://schemas.microsoft.com/office/drawing/2014/main" id="{6159AE85-B11C-4EE4-93A4-172F6B5903F1}"/>
                    </a:ext>
                  </a:extLst>
                </p:cNvPr>
                <p:cNvGrpSpPr/>
                <p:nvPr/>
              </p:nvGrpSpPr>
              <p:grpSpPr>
                <a:xfrm>
                  <a:off x="5194185" y="1661142"/>
                  <a:ext cx="57515" cy="57515"/>
                  <a:chOff x="4001361" y="3450225"/>
                  <a:chExt cx="57515" cy="57515"/>
                </a:xfrm>
              </p:grpSpPr>
              <p:cxnSp>
                <p:nvCxnSpPr>
                  <p:cNvPr id="236" name="Straight Connector 235">
                    <a:extLst>
                      <a:ext uri="{FF2B5EF4-FFF2-40B4-BE49-F238E27FC236}">
                        <a16:creationId xmlns:a16="http://schemas.microsoft.com/office/drawing/2014/main" id="{6F19E6AE-3CDB-440F-AA74-A46F013DD7CB}"/>
                      </a:ext>
                    </a:extLst>
                  </p:cNvPr>
                  <p:cNvCxnSpPr/>
                  <p:nvPr/>
                </p:nvCxnSpPr>
                <p:spPr>
                  <a:xfrm>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BCE3503D-D1A5-42AF-9AC4-94E5B2517AA7}"/>
                      </a:ext>
                    </a:extLst>
                  </p:cNvPr>
                  <p:cNvCxnSpPr>
                    <a:cxnSpLocks/>
                  </p:cNvCxnSpPr>
                  <p:nvPr/>
                </p:nvCxnSpPr>
                <p:spPr>
                  <a:xfrm rot="5400000">
                    <a:off x="4030119" y="3450225"/>
                    <a:ext cx="0" cy="5751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grpSp>
        <p:grpSp>
          <p:nvGrpSpPr>
            <p:cNvPr id="60" name="Group 59">
              <a:extLst>
                <a:ext uri="{FF2B5EF4-FFF2-40B4-BE49-F238E27FC236}">
                  <a16:creationId xmlns:a16="http://schemas.microsoft.com/office/drawing/2014/main" id="{20ED562D-3160-49E9-9E5F-EDEDB9D1FF75}"/>
                </a:ext>
              </a:extLst>
            </p:cNvPr>
            <p:cNvGrpSpPr/>
            <p:nvPr/>
          </p:nvGrpSpPr>
          <p:grpSpPr>
            <a:xfrm>
              <a:off x="4897385" y="1356360"/>
              <a:ext cx="3132343" cy="1219688"/>
              <a:chOff x="4897385" y="1356360"/>
              <a:chExt cx="3132343" cy="1219688"/>
            </a:xfrm>
          </p:grpSpPr>
          <p:sp>
            <p:nvSpPr>
              <p:cNvPr id="124" name="Freeform 6">
                <a:extLst>
                  <a:ext uri="{FF2B5EF4-FFF2-40B4-BE49-F238E27FC236}">
                    <a16:creationId xmlns:a16="http://schemas.microsoft.com/office/drawing/2014/main" id="{AC73BD8C-4FD5-49D1-BFEA-0B46F4A00A17}"/>
                  </a:ext>
                </a:extLst>
              </p:cNvPr>
              <p:cNvSpPr>
                <a:spLocks/>
              </p:cNvSpPr>
              <p:nvPr/>
            </p:nvSpPr>
            <p:spPr bwMode="auto">
              <a:xfrm>
                <a:off x="4897385" y="1356360"/>
                <a:ext cx="3102638" cy="1189898"/>
              </a:xfrm>
              <a:custGeom>
                <a:avLst/>
                <a:gdLst>
                  <a:gd name="T0" fmla="*/ 20 w 4040"/>
                  <a:gd name="T1" fmla="*/ 0 h 2143"/>
                  <a:gd name="T2" fmla="*/ 48 w 4040"/>
                  <a:gd name="T3" fmla="*/ 53 h 2143"/>
                  <a:gd name="T4" fmla="*/ 61 w 4040"/>
                  <a:gd name="T5" fmla="*/ 95 h 2143"/>
                  <a:gd name="T6" fmla="*/ 75 w 4040"/>
                  <a:gd name="T7" fmla="*/ 123 h 2143"/>
                  <a:gd name="T8" fmla="*/ 104 w 4040"/>
                  <a:gd name="T9" fmla="*/ 156 h 2143"/>
                  <a:gd name="T10" fmla="*/ 115 w 4040"/>
                  <a:gd name="T11" fmla="*/ 192 h 2143"/>
                  <a:gd name="T12" fmla="*/ 203 w 4040"/>
                  <a:gd name="T13" fmla="*/ 207 h 2143"/>
                  <a:gd name="T14" fmla="*/ 206 w 4040"/>
                  <a:gd name="T15" fmla="*/ 251 h 2143"/>
                  <a:gd name="T16" fmla="*/ 220 w 4040"/>
                  <a:gd name="T17" fmla="*/ 263 h 2143"/>
                  <a:gd name="T18" fmla="*/ 226 w 4040"/>
                  <a:gd name="T19" fmla="*/ 310 h 2143"/>
                  <a:gd name="T20" fmla="*/ 237 w 4040"/>
                  <a:gd name="T21" fmla="*/ 405 h 2143"/>
                  <a:gd name="T22" fmla="*/ 265 w 4040"/>
                  <a:gd name="T23" fmla="*/ 415 h 2143"/>
                  <a:gd name="T24" fmla="*/ 298 w 4040"/>
                  <a:gd name="T25" fmla="*/ 469 h 2143"/>
                  <a:gd name="T26" fmla="*/ 327 w 4040"/>
                  <a:gd name="T27" fmla="*/ 519 h 2143"/>
                  <a:gd name="T28" fmla="*/ 354 w 4040"/>
                  <a:gd name="T29" fmla="*/ 575 h 2143"/>
                  <a:gd name="T30" fmla="*/ 410 w 4040"/>
                  <a:gd name="T31" fmla="*/ 631 h 2143"/>
                  <a:gd name="T32" fmla="*/ 413 w 4040"/>
                  <a:gd name="T33" fmla="*/ 659 h 2143"/>
                  <a:gd name="T34" fmla="*/ 430 w 4040"/>
                  <a:gd name="T35" fmla="*/ 690 h 2143"/>
                  <a:gd name="T36" fmla="*/ 433 w 4040"/>
                  <a:gd name="T37" fmla="*/ 742 h 2143"/>
                  <a:gd name="T38" fmla="*/ 457 w 4040"/>
                  <a:gd name="T39" fmla="*/ 745 h 2143"/>
                  <a:gd name="T40" fmla="*/ 538 w 4040"/>
                  <a:gd name="T41" fmla="*/ 801 h 2143"/>
                  <a:gd name="T42" fmla="*/ 553 w 4040"/>
                  <a:gd name="T43" fmla="*/ 868 h 2143"/>
                  <a:gd name="T44" fmla="*/ 653 w 4040"/>
                  <a:gd name="T45" fmla="*/ 930 h 2143"/>
                  <a:gd name="T46" fmla="*/ 656 w 4040"/>
                  <a:gd name="T47" fmla="*/ 996 h 2143"/>
                  <a:gd name="T48" fmla="*/ 690 w 4040"/>
                  <a:gd name="T49" fmla="*/ 1054 h 2143"/>
                  <a:gd name="T50" fmla="*/ 732 w 4040"/>
                  <a:gd name="T51" fmla="*/ 1121 h 2143"/>
                  <a:gd name="T52" fmla="*/ 929 w 4040"/>
                  <a:gd name="T53" fmla="*/ 1189 h 2143"/>
                  <a:gd name="T54" fmla="*/ 978 w 4040"/>
                  <a:gd name="T55" fmla="*/ 1272 h 2143"/>
                  <a:gd name="T56" fmla="*/ 983 w 4040"/>
                  <a:gd name="T57" fmla="*/ 1357 h 2143"/>
                  <a:gd name="T58" fmla="*/ 999 w 4040"/>
                  <a:gd name="T59" fmla="*/ 1367 h 2143"/>
                  <a:gd name="T60" fmla="*/ 1003 w 4040"/>
                  <a:gd name="T61" fmla="*/ 1384 h 2143"/>
                  <a:gd name="T62" fmla="*/ 1410 w 4040"/>
                  <a:gd name="T63" fmla="*/ 1462 h 2143"/>
                  <a:gd name="T64" fmla="*/ 1663 w 4040"/>
                  <a:gd name="T65" fmla="*/ 1616 h 2143"/>
                  <a:gd name="T66" fmla="*/ 1957 w 4040"/>
                  <a:gd name="T67" fmla="*/ 1853 h 2143"/>
                  <a:gd name="T68" fmla="*/ 4040 w 4040"/>
                  <a:gd name="T69" fmla="*/ 2143 h 2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40" h="2143">
                    <a:moveTo>
                      <a:pt x="0" y="0"/>
                    </a:moveTo>
                    <a:lnTo>
                      <a:pt x="20" y="0"/>
                    </a:lnTo>
                    <a:lnTo>
                      <a:pt x="20" y="53"/>
                    </a:lnTo>
                    <a:lnTo>
                      <a:pt x="48" y="53"/>
                    </a:lnTo>
                    <a:lnTo>
                      <a:pt x="48" y="95"/>
                    </a:lnTo>
                    <a:lnTo>
                      <a:pt x="61" y="95"/>
                    </a:lnTo>
                    <a:lnTo>
                      <a:pt x="61" y="123"/>
                    </a:lnTo>
                    <a:lnTo>
                      <a:pt x="75" y="123"/>
                    </a:lnTo>
                    <a:lnTo>
                      <a:pt x="75" y="156"/>
                    </a:lnTo>
                    <a:lnTo>
                      <a:pt x="104" y="156"/>
                    </a:lnTo>
                    <a:lnTo>
                      <a:pt x="104" y="192"/>
                    </a:lnTo>
                    <a:lnTo>
                      <a:pt x="115" y="192"/>
                    </a:lnTo>
                    <a:lnTo>
                      <a:pt x="115" y="207"/>
                    </a:lnTo>
                    <a:lnTo>
                      <a:pt x="203" y="207"/>
                    </a:lnTo>
                    <a:lnTo>
                      <a:pt x="203" y="251"/>
                    </a:lnTo>
                    <a:lnTo>
                      <a:pt x="206" y="251"/>
                    </a:lnTo>
                    <a:lnTo>
                      <a:pt x="206" y="263"/>
                    </a:lnTo>
                    <a:lnTo>
                      <a:pt x="220" y="263"/>
                    </a:lnTo>
                    <a:lnTo>
                      <a:pt x="220" y="310"/>
                    </a:lnTo>
                    <a:lnTo>
                      <a:pt x="226" y="310"/>
                    </a:lnTo>
                    <a:lnTo>
                      <a:pt x="226" y="405"/>
                    </a:lnTo>
                    <a:lnTo>
                      <a:pt x="237" y="405"/>
                    </a:lnTo>
                    <a:lnTo>
                      <a:pt x="237" y="415"/>
                    </a:lnTo>
                    <a:lnTo>
                      <a:pt x="265" y="415"/>
                    </a:lnTo>
                    <a:lnTo>
                      <a:pt x="265" y="469"/>
                    </a:lnTo>
                    <a:lnTo>
                      <a:pt x="298" y="469"/>
                    </a:lnTo>
                    <a:lnTo>
                      <a:pt x="298" y="519"/>
                    </a:lnTo>
                    <a:lnTo>
                      <a:pt x="327" y="519"/>
                    </a:lnTo>
                    <a:lnTo>
                      <a:pt x="327" y="575"/>
                    </a:lnTo>
                    <a:lnTo>
                      <a:pt x="354" y="575"/>
                    </a:lnTo>
                    <a:lnTo>
                      <a:pt x="354" y="631"/>
                    </a:lnTo>
                    <a:lnTo>
                      <a:pt x="410" y="631"/>
                    </a:lnTo>
                    <a:lnTo>
                      <a:pt x="410" y="659"/>
                    </a:lnTo>
                    <a:lnTo>
                      <a:pt x="413" y="659"/>
                    </a:lnTo>
                    <a:lnTo>
                      <a:pt x="413" y="690"/>
                    </a:lnTo>
                    <a:lnTo>
                      <a:pt x="430" y="690"/>
                    </a:lnTo>
                    <a:lnTo>
                      <a:pt x="430" y="742"/>
                    </a:lnTo>
                    <a:lnTo>
                      <a:pt x="433" y="742"/>
                    </a:lnTo>
                    <a:lnTo>
                      <a:pt x="433" y="745"/>
                    </a:lnTo>
                    <a:lnTo>
                      <a:pt x="457" y="745"/>
                    </a:lnTo>
                    <a:lnTo>
                      <a:pt x="457" y="801"/>
                    </a:lnTo>
                    <a:lnTo>
                      <a:pt x="538" y="801"/>
                    </a:lnTo>
                    <a:lnTo>
                      <a:pt x="538" y="868"/>
                    </a:lnTo>
                    <a:lnTo>
                      <a:pt x="553" y="868"/>
                    </a:lnTo>
                    <a:lnTo>
                      <a:pt x="553" y="930"/>
                    </a:lnTo>
                    <a:lnTo>
                      <a:pt x="653" y="930"/>
                    </a:lnTo>
                    <a:lnTo>
                      <a:pt x="653" y="996"/>
                    </a:lnTo>
                    <a:lnTo>
                      <a:pt x="656" y="996"/>
                    </a:lnTo>
                    <a:lnTo>
                      <a:pt x="656" y="1054"/>
                    </a:lnTo>
                    <a:lnTo>
                      <a:pt x="690" y="1054"/>
                    </a:lnTo>
                    <a:lnTo>
                      <a:pt x="690" y="1121"/>
                    </a:lnTo>
                    <a:lnTo>
                      <a:pt x="732" y="1121"/>
                    </a:lnTo>
                    <a:lnTo>
                      <a:pt x="732" y="1189"/>
                    </a:lnTo>
                    <a:lnTo>
                      <a:pt x="929" y="1189"/>
                    </a:lnTo>
                    <a:lnTo>
                      <a:pt x="929" y="1272"/>
                    </a:lnTo>
                    <a:lnTo>
                      <a:pt x="978" y="1272"/>
                    </a:lnTo>
                    <a:lnTo>
                      <a:pt x="978" y="1357"/>
                    </a:lnTo>
                    <a:lnTo>
                      <a:pt x="983" y="1357"/>
                    </a:lnTo>
                    <a:lnTo>
                      <a:pt x="983" y="1367"/>
                    </a:lnTo>
                    <a:lnTo>
                      <a:pt x="999" y="1367"/>
                    </a:lnTo>
                    <a:lnTo>
                      <a:pt x="999" y="1384"/>
                    </a:lnTo>
                    <a:lnTo>
                      <a:pt x="1003" y="1384"/>
                    </a:lnTo>
                    <a:lnTo>
                      <a:pt x="1003" y="1462"/>
                    </a:lnTo>
                    <a:lnTo>
                      <a:pt x="1410" y="1462"/>
                    </a:lnTo>
                    <a:lnTo>
                      <a:pt x="1410" y="1616"/>
                    </a:lnTo>
                    <a:lnTo>
                      <a:pt x="1663" y="1616"/>
                    </a:lnTo>
                    <a:lnTo>
                      <a:pt x="1663" y="1853"/>
                    </a:lnTo>
                    <a:lnTo>
                      <a:pt x="1957" y="1853"/>
                    </a:lnTo>
                    <a:lnTo>
                      <a:pt x="1957" y="2143"/>
                    </a:lnTo>
                    <a:lnTo>
                      <a:pt x="4040" y="2143"/>
                    </a:lnTo>
                  </a:path>
                </a:pathLst>
              </a:custGeom>
              <a:noFill/>
              <a:ln w="19050"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nvGrpSpPr>
              <p:cNvPr id="125" name="Group 124">
                <a:extLst>
                  <a:ext uri="{FF2B5EF4-FFF2-40B4-BE49-F238E27FC236}">
                    <a16:creationId xmlns:a16="http://schemas.microsoft.com/office/drawing/2014/main" id="{67AE885B-E6A0-4FA3-8B73-6E59249EB830}"/>
                  </a:ext>
                </a:extLst>
              </p:cNvPr>
              <p:cNvGrpSpPr/>
              <p:nvPr/>
            </p:nvGrpSpPr>
            <p:grpSpPr>
              <a:xfrm>
                <a:off x="5027083" y="1446018"/>
                <a:ext cx="3002645" cy="1130030"/>
                <a:chOff x="5027083" y="1446018"/>
                <a:chExt cx="3002645" cy="1130030"/>
              </a:xfrm>
            </p:grpSpPr>
            <p:grpSp>
              <p:nvGrpSpPr>
                <p:cNvPr id="126" name="Shape1_20211201_133150">
                  <a:extLst>
                    <a:ext uri="{FF2B5EF4-FFF2-40B4-BE49-F238E27FC236}">
                      <a16:creationId xmlns:a16="http://schemas.microsoft.com/office/drawing/2014/main" id="{232EF74D-87ED-431B-8A80-13E660E8547F}"/>
                    </a:ext>
                  </a:extLst>
                </p:cNvPr>
                <p:cNvGrpSpPr/>
                <p:nvPr/>
              </p:nvGrpSpPr>
              <p:grpSpPr>
                <a:xfrm>
                  <a:off x="7972213" y="2518533"/>
                  <a:ext cx="57515" cy="57515"/>
                  <a:chOff x="4001361" y="3450225"/>
                  <a:chExt cx="57515" cy="57515"/>
                </a:xfrm>
              </p:grpSpPr>
              <p:cxnSp>
                <p:nvCxnSpPr>
                  <p:cNvPr id="196" name="Straight Connector 195">
                    <a:extLst>
                      <a:ext uri="{FF2B5EF4-FFF2-40B4-BE49-F238E27FC236}">
                        <a16:creationId xmlns:a16="http://schemas.microsoft.com/office/drawing/2014/main" id="{2ADF334C-5CAF-4BFC-A40F-F3ABFE6C0588}"/>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F4A1BCBA-CC3D-4E19-AA66-5D643230A5E0}"/>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27" name="Shape2_20211201_133150">
                  <a:extLst>
                    <a:ext uri="{FF2B5EF4-FFF2-40B4-BE49-F238E27FC236}">
                      <a16:creationId xmlns:a16="http://schemas.microsoft.com/office/drawing/2014/main" id="{078DE0D7-3969-4EEB-AFED-F9D11F3ED58A}"/>
                    </a:ext>
                  </a:extLst>
                </p:cNvPr>
                <p:cNvGrpSpPr/>
                <p:nvPr/>
              </p:nvGrpSpPr>
              <p:grpSpPr>
                <a:xfrm>
                  <a:off x="7076863" y="2518533"/>
                  <a:ext cx="57515" cy="57515"/>
                  <a:chOff x="4001361" y="3450225"/>
                  <a:chExt cx="57515" cy="57515"/>
                </a:xfrm>
              </p:grpSpPr>
              <p:cxnSp>
                <p:nvCxnSpPr>
                  <p:cNvPr id="194" name="Straight Connector 193">
                    <a:extLst>
                      <a:ext uri="{FF2B5EF4-FFF2-40B4-BE49-F238E27FC236}">
                        <a16:creationId xmlns:a16="http://schemas.microsoft.com/office/drawing/2014/main" id="{B3343A31-D270-4A21-9D17-23EF0C5BD731}"/>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AED63911-30D1-45B8-99B7-1525D00C4AE8}"/>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28" name="Shape3_20211201_133150">
                  <a:extLst>
                    <a:ext uri="{FF2B5EF4-FFF2-40B4-BE49-F238E27FC236}">
                      <a16:creationId xmlns:a16="http://schemas.microsoft.com/office/drawing/2014/main" id="{9A45ED0C-7454-4D4A-B209-4B0BFD62E837}"/>
                    </a:ext>
                  </a:extLst>
                </p:cNvPr>
                <p:cNvGrpSpPr/>
                <p:nvPr/>
              </p:nvGrpSpPr>
              <p:grpSpPr>
                <a:xfrm>
                  <a:off x="6953038" y="2518533"/>
                  <a:ext cx="57515" cy="57515"/>
                  <a:chOff x="4001361" y="3450225"/>
                  <a:chExt cx="57515" cy="57515"/>
                </a:xfrm>
              </p:grpSpPr>
              <p:cxnSp>
                <p:nvCxnSpPr>
                  <p:cNvPr id="192" name="Straight Connector 191">
                    <a:extLst>
                      <a:ext uri="{FF2B5EF4-FFF2-40B4-BE49-F238E27FC236}">
                        <a16:creationId xmlns:a16="http://schemas.microsoft.com/office/drawing/2014/main" id="{0B1377DD-EC6B-4EFD-A200-F0F97317561A}"/>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2B263A3E-5384-4127-80EB-F0F73C1FF1C9}"/>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29" name="Shape4_20211201_133150">
                  <a:extLst>
                    <a:ext uri="{FF2B5EF4-FFF2-40B4-BE49-F238E27FC236}">
                      <a16:creationId xmlns:a16="http://schemas.microsoft.com/office/drawing/2014/main" id="{37601098-F02C-4F38-9C28-78EA61B60392}"/>
                    </a:ext>
                  </a:extLst>
                </p:cNvPr>
                <p:cNvGrpSpPr/>
                <p:nvPr/>
              </p:nvGrpSpPr>
              <p:grpSpPr>
                <a:xfrm>
                  <a:off x="6947323" y="2518533"/>
                  <a:ext cx="57515" cy="57515"/>
                  <a:chOff x="4001361" y="3450225"/>
                  <a:chExt cx="57515" cy="57515"/>
                </a:xfrm>
              </p:grpSpPr>
              <p:cxnSp>
                <p:nvCxnSpPr>
                  <p:cNvPr id="190" name="Straight Connector 189">
                    <a:extLst>
                      <a:ext uri="{FF2B5EF4-FFF2-40B4-BE49-F238E27FC236}">
                        <a16:creationId xmlns:a16="http://schemas.microsoft.com/office/drawing/2014/main" id="{392A8483-97CD-431B-96BD-D367DD73E014}"/>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12130569-EC5B-4179-8E06-7C6CDD1D7113}"/>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30" name="Shape5_20211201_133150">
                  <a:extLst>
                    <a:ext uri="{FF2B5EF4-FFF2-40B4-BE49-F238E27FC236}">
                      <a16:creationId xmlns:a16="http://schemas.microsoft.com/office/drawing/2014/main" id="{CDF499C0-1F5C-4C88-8FFF-CFE811ADD359}"/>
                    </a:ext>
                  </a:extLst>
                </p:cNvPr>
                <p:cNvGrpSpPr/>
                <p:nvPr/>
              </p:nvGrpSpPr>
              <p:grpSpPr>
                <a:xfrm>
                  <a:off x="6311053" y="2360418"/>
                  <a:ext cx="57515" cy="57515"/>
                  <a:chOff x="4001361" y="3450225"/>
                  <a:chExt cx="57515" cy="57515"/>
                </a:xfrm>
              </p:grpSpPr>
              <p:cxnSp>
                <p:nvCxnSpPr>
                  <p:cNvPr id="188" name="Straight Connector 187">
                    <a:extLst>
                      <a:ext uri="{FF2B5EF4-FFF2-40B4-BE49-F238E27FC236}">
                        <a16:creationId xmlns:a16="http://schemas.microsoft.com/office/drawing/2014/main" id="{B485882F-22B1-4364-91AD-FFF5460C61D4}"/>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1D2C1569-440C-454B-A5AD-E4098D6F5EE1}"/>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31" name="Shape6_20211201_133150">
                  <a:extLst>
                    <a:ext uri="{FF2B5EF4-FFF2-40B4-BE49-F238E27FC236}">
                      <a16:creationId xmlns:a16="http://schemas.microsoft.com/office/drawing/2014/main" id="{CBAFEF21-AC61-4A09-901C-B2D7C0CB3448}"/>
                    </a:ext>
                  </a:extLst>
                </p:cNvPr>
                <p:cNvGrpSpPr/>
                <p:nvPr/>
              </p:nvGrpSpPr>
              <p:grpSpPr>
                <a:xfrm>
                  <a:off x="6139603" y="2227068"/>
                  <a:ext cx="57515" cy="57515"/>
                  <a:chOff x="4001361" y="3450225"/>
                  <a:chExt cx="57515" cy="57515"/>
                </a:xfrm>
              </p:grpSpPr>
              <p:cxnSp>
                <p:nvCxnSpPr>
                  <p:cNvPr id="186" name="Straight Connector 185">
                    <a:extLst>
                      <a:ext uri="{FF2B5EF4-FFF2-40B4-BE49-F238E27FC236}">
                        <a16:creationId xmlns:a16="http://schemas.microsoft.com/office/drawing/2014/main" id="{AA7F63C1-5AE0-4F3D-B4DA-33953A995AD0}"/>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EF5866E8-3886-4B3D-967A-6A52D01AD006}"/>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32" name="Shape7_20211201_133150">
                  <a:extLst>
                    <a:ext uri="{FF2B5EF4-FFF2-40B4-BE49-F238E27FC236}">
                      <a16:creationId xmlns:a16="http://schemas.microsoft.com/office/drawing/2014/main" id="{842BAD87-E8EE-4EF1-A92E-86282DE1D894}"/>
                    </a:ext>
                  </a:extLst>
                </p:cNvPr>
                <p:cNvGrpSpPr/>
                <p:nvPr/>
              </p:nvGrpSpPr>
              <p:grpSpPr>
                <a:xfrm>
                  <a:off x="6097693" y="2227068"/>
                  <a:ext cx="57515" cy="57515"/>
                  <a:chOff x="4001361" y="3450225"/>
                  <a:chExt cx="57515" cy="57515"/>
                </a:xfrm>
              </p:grpSpPr>
              <p:cxnSp>
                <p:nvCxnSpPr>
                  <p:cNvPr id="184" name="Straight Connector 183">
                    <a:extLst>
                      <a:ext uri="{FF2B5EF4-FFF2-40B4-BE49-F238E27FC236}">
                        <a16:creationId xmlns:a16="http://schemas.microsoft.com/office/drawing/2014/main" id="{2DCCCDDC-D345-4A29-B3DD-26301C0CD479}"/>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BF9EDC43-30A2-404F-9FD7-54F67CBBA4D4}"/>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33" name="Shape8_20211201_133150">
                  <a:extLst>
                    <a:ext uri="{FF2B5EF4-FFF2-40B4-BE49-F238E27FC236}">
                      <a16:creationId xmlns:a16="http://schemas.microsoft.com/office/drawing/2014/main" id="{7B004D73-75F4-48AB-AF4C-9670392059D0}"/>
                    </a:ext>
                  </a:extLst>
                </p:cNvPr>
                <p:cNvGrpSpPr/>
                <p:nvPr/>
              </p:nvGrpSpPr>
              <p:grpSpPr>
                <a:xfrm>
                  <a:off x="6000538" y="2227068"/>
                  <a:ext cx="57515" cy="57515"/>
                  <a:chOff x="4001361" y="3450225"/>
                  <a:chExt cx="57515" cy="57515"/>
                </a:xfrm>
              </p:grpSpPr>
              <p:cxnSp>
                <p:nvCxnSpPr>
                  <p:cNvPr id="182" name="Straight Connector 181">
                    <a:extLst>
                      <a:ext uri="{FF2B5EF4-FFF2-40B4-BE49-F238E27FC236}">
                        <a16:creationId xmlns:a16="http://schemas.microsoft.com/office/drawing/2014/main" id="{4CB01E3C-2B7E-4109-A8A6-B917197D346B}"/>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A37AB453-2226-43A0-86A1-2C3402D94EC5}"/>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34" name="Shape9_20211201_133150">
                  <a:extLst>
                    <a:ext uri="{FF2B5EF4-FFF2-40B4-BE49-F238E27FC236}">
                      <a16:creationId xmlns:a16="http://schemas.microsoft.com/office/drawing/2014/main" id="{E7EB6C53-1822-4463-AFBB-CAE1119356DE}"/>
                    </a:ext>
                  </a:extLst>
                </p:cNvPr>
                <p:cNvGrpSpPr/>
                <p:nvPr/>
              </p:nvGrpSpPr>
              <p:grpSpPr>
                <a:xfrm>
                  <a:off x="5947198" y="2137533"/>
                  <a:ext cx="57515" cy="57515"/>
                  <a:chOff x="4001361" y="3450225"/>
                  <a:chExt cx="57515" cy="57515"/>
                </a:xfrm>
              </p:grpSpPr>
              <p:cxnSp>
                <p:nvCxnSpPr>
                  <p:cNvPr id="180" name="Straight Connector 179">
                    <a:extLst>
                      <a:ext uri="{FF2B5EF4-FFF2-40B4-BE49-F238E27FC236}">
                        <a16:creationId xmlns:a16="http://schemas.microsoft.com/office/drawing/2014/main" id="{15A2D8D2-55C6-4074-8289-E15F1A50D05E}"/>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A4A2EEE7-D190-41F4-B88A-62E3185E0C0A}"/>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35" name="Shape10_20211201_133150">
                  <a:extLst>
                    <a:ext uri="{FF2B5EF4-FFF2-40B4-BE49-F238E27FC236}">
                      <a16:creationId xmlns:a16="http://schemas.microsoft.com/office/drawing/2014/main" id="{618E74AC-C607-4CD4-B5ED-F2CF2BC02EA1}"/>
                    </a:ext>
                  </a:extLst>
                </p:cNvPr>
                <p:cNvGrpSpPr/>
                <p:nvPr/>
              </p:nvGrpSpPr>
              <p:grpSpPr>
                <a:xfrm>
                  <a:off x="5878618" y="2137533"/>
                  <a:ext cx="57515" cy="57515"/>
                  <a:chOff x="4001361" y="3450225"/>
                  <a:chExt cx="57515" cy="57515"/>
                </a:xfrm>
              </p:grpSpPr>
              <p:cxnSp>
                <p:nvCxnSpPr>
                  <p:cNvPr id="178" name="Straight Connector 177">
                    <a:extLst>
                      <a:ext uri="{FF2B5EF4-FFF2-40B4-BE49-F238E27FC236}">
                        <a16:creationId xmlns:a16="http://schemas.microsoft.com/office/drawing/2014/main" id="{1A2D5BE8-C8B0-4409-A2DE-912CF7ACFCCA}"/>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753018F2-DE51-4EE6-894F-838069EC689D}"/>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36" name="Shape11_20211201_133150">
                  <a:extLst>
                    <a:ext uri="{FF2B5EF4-FFF2-40B4-BE49-F238E27FC236}">
                      <a16:creationId xmlns:a16="http://schemas.microsoft.com/office/drawing/2014/main" id="{D317396A-338C-4A54-BA4F-FF2B557F68D8}"/>
                    </a:ext>
                  </a:extLst>
                </p:cNvPr>
                <p:cNvGrpSpPr/>
                <p:nvPr/>
              </p:nvGrpSpPr>
              <p:grpSpPr>
                <a:xfrm>
                  <a:off x="5819563" y="2137533"/>
                  <a:ext cx="57515" cy="57515"/>
                  <a:chOff x="4001361" y="3450225"/>
                  <a:chExt cx="57515" cy="57515"/>
                </a:xfrm>
              </p:grpSpPr>
              <p:cxnSp>
                <p:nvCxnSpPr>
                  <p:cNvPr id="176" name="Straight Connector 175">
                    <a:extLst>
                      <a:ext uri="{FF2B5EF4-FFF2-40B4-BE49-F238E27FC236}">
                        <a16:creationId xmlns:a16="http://schemas.microsoft.com/office/drawing/2014/main" id="{A6CCD8F1-88CF-401E-B06D-53871F6D8733}"/>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BF202513-D3A4-4ABC-A541-A44E0DB0A039}"/>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37" name="Shape12_20211201_133150">
                  <a:extLst>
                    <a:ext uri="{FF2B5EF4-FFF2-40B4-BE49-F238E27FC236}">
                      <a16:creationId xmlns:a16="http://schemas.microsoft.com/office/drawing/2014/main" id="{9F172E39-7152-43ED-963C-E95DA63595C8}"/>
                    </a:ext>
                  </a:extLst>
                </p:cNvPr>
                <p:cNvGrpSpPr/>
                <p:nvPr/>
              </p:nvGrpSpPr>
              <p:grpSpPr>
                <a:xfrm>
                  <a:off x="5794798" y="2137533"/>
                  <a:ext cx="57515" cy="57515"/>
                  <a:chOff x="4001361" y="3450225"/>
                  <a:chExt cx="57515" cy="57515"/>
                </a:xfrm>
              </p:grpSpPr>
              <p:cxnSp>
                <p:nvCxnSpPr>
                  <p:cNvPr id="174" name="Straight Connector 173">
                    <a:extLst>
                      <a:ext uri="{FF2B5EF4-FFF2-40B4-BE49-F238E27FC236}">
                        <a16:creationId xmlns:a16="http://schemas.microsoft.com/office/drawing/2014/main" id="{752DC2C5-B112-4B81-BCCB-8608CF157542}"/>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4AFEF5D1-9C48-4FDE-B717-DB7D467EBF5E}"/>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38" name="Shape13_20211201_133150">
                  <a:extLst>
                    <a:ext uri="{FF2B5EF4-FFF2-40B4-BE49-F238E27FC236}">
                      <a16:creationId xmlns:a16="http://schemas.microsoft.com/office/drawing/2014/main" id="{54C08D5E-7089-48FD-861D-0B54468F6877}"/>
                    </a:ext>
                  </a:extLst>
                </p:cNvPr>
                <p:cNvGrpSpPr/>
                <p:nvPr/>
              </p:nvGrpSpPr>
              <p:grpSpPr>
                <a:xfrm>
                  <a:off x="5745268" y="2137533"/>
                  <a:ext cx="57515" cy="57515"/>
                  <a:chOff x="4001361" y="3450225"/>
                  <a:chExt cx="57515" cy="57515"/>
                </a:xfrm>
              </p:grpSpPr>
              <p:cxnSp>
                <p:nvCxnSpPr>
                  <p:cNvPr id="172" name="Straight Connector 171">
                    <a:extLst>
                      <a:ext uri="{FF2B5EF4-FFF2-40B4-BE49-F238E27FC236}">
                        <a16:creationId xmlns:a16="http://schemas.microsoft.com/office/drawing/2014/main" id="{115E3406-846E-4EE9-BCDC-8BF447195568}"/>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754A903A-0D65-4FA0-94AF-D95C921D5674}"/>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39" name="Shape14_20211201_133150">
                  <a:extLst>
                    <a:ext uri="{FF2B5EF4-FFF2-40B4-BE49-F238E27FC236}">
                      <a16:creationId xmlns:a16="http://schemas.microsoft.com/office/drawing/2014/main" id="{CBCFC5D1-DBE1-4626-AD99-5D206B4913B9}"/>
                    </a:ext>
                  </a:extLst>
                </p:cNvPr>
                <p:cNvGrpSpPr/>
                <p:nvPr/>
              </p:nvGrpSpPr>
              <p:grpSpPr>
                <a:xfrm>
                  <a:off x="5566198" y="1988943"/>
                  <a:ext cx="57515" cy="57515"/>
                  <a:chOff x="4001361" y="3450225"/>
                  <a:chExt cx="57515" cy="57515"/>
                </a:xfrm>
              </p:grpSpPr>
              <p:cxnSp>
                <p:nvCxnSpPr>
                  <p:cNvPr id="170" name="Straight Connector 169">
                    <a:extLst>
                      <a:ext uri="{FF2B5EF4-FFF2-40B4-BE49-F238E27FC236}">
                        <a16:creationId xmlns:a16="http://schemas.microsoft.com/office/drawing/2014/main" id="{AD60BC52-9F86-42E5-9D09-1B757A92034C}"/>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5C0A1E25-D5B5-4344-9AC4-FEA8A2C1B91E}"/>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40" name="Shape15_20211201_133150">
                  <a:extLst>
                    <a:ext uri="{FF2B5EF4-FFF2-40B4-BE49-F238E27FC236}">
                      <a16:creationId xmlns:a16="http://schemas.microsoft.com/office/drawing/2014/main" id="{38667A38-5661-4C5C-ABDF-3905B020E695}"/>
                    </a:ext>
                  </a:extLst>
                </p:cNvPr>
                <p:cNvGrpSpPr/>
                <p:nvPr/>
              </p:nvGrpSpPr>
              <p:grpSpPr>
                <a:xfrm>
                  <a:off x="5552863" y="1988943"/>
                  <a:ext cx="57515" cy="57515"/>
                  <a:chOff x="4001361" y="3450225"/>
                  <a:chExt cx="57515" cy="57515"/>
                </a:xfrm>
              </p:grpSpPr>
              <p:cxnSp>
                <p:nvCxnSpPr>
                  <p:cNvPr id="168" name="Straight Connector 167">
                    <a:extLst>
                      <a:ext uri="{FF2B5EF4-FFF2-40B4-BE49-F238E27FC236}">
                        <a16:creationId xmlns:a16="http://schemas.microsoft.com/office/drawing/2014/main" id="{C9B66B62-64F6-48E5-8944-57E845E75300}"/>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F89D49C7-1B66-44E3-8B10-EF4DD291D5C1}"/>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41" name="Shape16_20211201_133150">
                  <a:extLst>
                    <a:ext uri="{FF2B5EF4-FFF2-40B4-BE49-F238E27FC236}">
                      <a16:creationId xmlns:a16="http://schemas.microsoft.com/office/drawing/2014/main" id="{A031A5F4-AD69-4091-BE0B-153841DC04CF}"/>
                    </a:ext>
                  </a:extLst>
                </p:cNvPr>
                <p:cNvGrpSpPr/>
                <p:nvPr/>
              </p:nvGrpSpPr>
              <p:grpSpPr>
                <a:xfrm>
                  <a:off x="5520478" y="1988943"/>
                  <a:ext cx="57515" cy="57515"/>
                  <a:chOff x="4001361" y="3450225"/>
                  <a:chExt cx="57515" cy="57515"/>
                </a:xfrm>
              </p:grpSpPr>
              <p:cxnSp>
                <p:nvCxnSpPr>
                  <p:cNvPr id="166" name="Straight Connector 165">
                    <a:extLst>
                      <a:ext uri="{FF2B5EF4-FFF2-40B4-BE49-F238E27FC236}">
                        <a16:creationId xmlns:a16="http://schemas.microsoft.com/office/drawing/2014/main" id="{A4332231-383A-465F-A792-79EB2B8A1EB4}"/>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1B63A962-0345-4D68-B312-372D4D638943}"/>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42" name="Shape17_20211201_133150">
                  <a:extLst>
                    <a:ext uri="{FF2B5EF4-FFF2-40B4-BE49-F238E27FC236}">
                      <a16:creationId xmlns:a16="http://schemas.microsoft.com/office/drawing/2014/main" id="{8A28301C-E111-4317-BF5E-CB71C3FF60F5}"/>
                    </a:ext>
                  </a:extLst>
                </p:cNvPr>
                <p:cNvGrpSpPr/>
                <p:nvPr/>
              </p:nvGrpSpPr>
              <p:grpSpPr>
                <a:xfrm>
                  <a:off x="5442373" y="1988943"/>
                  <a:ext cx="57515" cy="57515"/>
                  <a:chOff x="4001361" y="3450225"/>
                  <a:chExt cx="57515" cy="57515"/>
                </a:xfrm>
              </p:grpSpPr>
              <p:cxnSp>
                <p:nvCxnSpPr>
                  <p:cNvPr id="164" name="Straight Connector 163">
                    <a:extLst>
                      <a:ext uri="{FF2B5EF4-FFF2-40B4-BE49-F238E27FC236}">
                        <a16:creationId xmlns:a16="http://schemas.microsoft.com/office/drawing/2014/main" id="{8B587404-5AB9-404C-A62B-E411944969F1}"/>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1DC84992-999D-48A0-AB4A-F03C5BD017A5}"/>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43" name="Shape18_20211201_133150">
                  <a:extLst>
                    <a:ext uri="{FF2B5EF4-FFF2-40B4-BE49-F238E27FC236}">
                      <a16:creationId xmlns:a16="http://schemas.microsoft.com/office/drawing/2014/main" id="{38B6D941-98BA-42E8-9F27-BF1CBB0BFC35}"/>
                    </a:ext>
                  </a:extLst>
                </p:cNvPr>
                <p:cNvGrpSpPr/>
                <p:nvPr/>
              </p:nvGrpSpPr>
              <p:grpSpPr>
                <a:xfrm>
                  <a:off x="5394748" y="1920363"/>
                  <a:ext cx="57515" cy="57515"/>
                  <a:chOff x="4001361" y="3450225"/>
                  <a:chExt cx="57515" cy="57515"/>
                </a:xfrm>
              </p:grpSpPr>
              <p:cxnSp>
                <p:nvCxnSpPr>
                  <p:cNvPr id="162" name="Straight Connector 161">
                    <a:extLst>
                      <a:ext uri="{FF2B5EF4-FFF2-40B4-BE49-F238E27FC236}">
                        <a16:creationId xmlns:a16="http://schemas.microsoft.com/office/drawing/2014/main" id="{85E81CB5-C3BF-478B-9BF6-23B73F6F245F}"/>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158F35A0-D911-4E21-A1E1-A766F095EA2A}"/>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44" name="Shape19_20211201_133150">
                  <a:extLst>
                    <a:ext uri="{FF2B5EF4-FFF2-40B4-BE49-F238E27FC236}">
                      <a16:creationId xmlns:a16="http://schemas.microsoft.com/office/drawing/2014/main" id="{2036AF88-192F-4F0F-9287-A38D84566D77}"/>
                    </a:ext>
                  </a:extLst>
                </p:cNvPr>
                <p:cNvGrpSpPr/>
                <p:nvPr/>
              </p:nvGrpSpPr>
              <p:grpSpPr>
                <a:xfrm>
                  <a:off x="5347123" y="1846068"/>
                  <a:ext cx="57515" cy="57515"/>
                  <a:chOff x="4001361" y="3450225"/>
                  <a:chExt cx="57515" cy="57515"/>
                </a:xfrm>
              </p:grpSpPr>
              <p:cxnSp>
                <p:nvCxnSpPr>
                  <p:cNvPr id="160" name="Straight Connector 159">
                    <a:extLst>
                      <a:ext uri="{FF2B5EF4-FFF2-40B4-BE49-F238E27FC236}">
                        <a16:creationId xmlns:a16="http://schemas.microsoft.com/office/drawing/2014/main" id="{A083BA59-2B10-4173-909E-BE2A89A17C61}"/>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09FEEFB4-E6E0-4348-903B-C96EC3180468}"/>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45" name="Shape20_20211201_133150">
                  <a:extLst>
                    <a:ext uri="{FF2B5EF4-FFF2-40B4-BE49-F238E27FC236}">
                      <a16:creationId xmlns:a16="http://schemas.microsoft.com/office/drawing/2014/main" id="{2EC96542-F492-4695-A87B-830BD05A61F4}"/>
                    </a:ext>
                  </a:extLst>
                </p:cNvPr>
                <p:cNvGrpSpPr/>
                <p:nvPr/>
              </p:nvGrpSpPr>
              <p:grpSpPr>
                <a:xfrm>
                  <a:off x="5286163" y="1775583"/>
                  <a:ext cx="57515" cy="57515"/>
                  <a:chOff x="4001361" y="3450225"/>
                  <a:chExt cx="57515" cy="57515"/>
                </a:xfrm>
              </p:grpSpPr>
              <p:cxnSp>
                <p:nvCxnSpPr>
                  <p:cNvPr id="158" name="Straight Connector 157">
                    <a:extLst>
                      <a:ext uri="{FF2B5EF4-FFF2-40B4-BE49-F238E27FC236}">
                        <a16:creationId xmlns:a16="http://schemas.microsoft.com/office/drawing/2014/main" id="{4C236ADD-2DD9-4758-BB0E-208772768FDA}"/>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75AAFF95-697D-4079-8233-2A22AE8AFD92}"/>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46" name="Shape21_20211201_133150">
                  <a:extLst>
                    <a:ext uri="{FF2B5EF4-FFF2-40B4-BE49-F238E27FC236}">
                      <a16:creationId xmlns:a16="http://schemas.microsoft.com/office/drawing/2014/main" id="{547EFB9A-C105-4B14-93A3-8C4002C18378}"/>
                    </a:ext>
                  </a:extLst>
                </p:cNvPr>
                <p:cNvGrpSpPr/>
                <p:nvPr/>
              </p:nvGrpSpPr>
              <p:grpSpPr>
                <a:xfrm>
                  <a:off x="5272828" y="1775583"/>
                  <a:ext cx="57515" cy="57515"/>
                  <a:chOff x="4001361" y="3450225"/>
                  <a:chExt cx="57515" cy="57515"/>
                </a:xfrm>
              </p:grpSpPr>
              <p:cxnSp>
                <p:nvCxnSpPr>
                  <p:cNvPr id="156" name="Straight Connector 155">
                    <a:extLst>
                      <a:ext uri="{FF2B5EF4-FFF2-40B4-BE49-F238E27FC236}">
                        <a16:creationId xmlns:a16="http://schemas.microsoft.com/office/drawing/2014/main" id="{5DE65249-5EB8-442C-B16D-536EF6596C01}"/>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AD14B1F3-9112-4F94-AEC1-4AE0689378EF}"/>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47" name="Shape22_20211201_133150">
                  <a:extLst>
                    <a:ext uri="{FF2B5EF4-FFF2-40B4-BE49-F238E27FC236}">
                      <a16:creationId xmlns:a16="http://schemas.microsoft.com/office/drawing/2014/main" id="{A896B887-94EB-4FE7-82B0-B4A0F47BCF0B}"/>
                    </a:ext>
                  </a:extLst>
                </p:cNvPr>
                <p:cNvGrpSpPr/>
                <p:nvPr/>
              </p:nvGrpSpPr>
              <p:grpSpPr>
                <a:xfrm>
                  <a:off x="5189008" y="1708908"/>
                  <a:ext cx="57515" cy="57515"/>
                  <a:chOff x="4001361" y="3450225"/>
                  <a:chExt cx="57515" cy="57515"/>
                </a:xfrm>
              </p:grpSpPr>
              <p:cxnSp>
                <p:nvCxnSpPr>
                  <p:cNvPr id="154" name="Straight Connector 153">
                    <a:extLst>
                      <a:ext uri="{FF2B5EF4-FFF2-40B4-BE49-F238E27FC236}">
                        <a16:creationId xmlns:a16="http://schemas.microsoft.com/office/drawing/2014/main" id="{6EFADE32-F2FC-4365-AD35-9D23AB5780DC}"/>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71CB1480-B96B-4836-BDA5-4C59C89D5371}"/>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48" name="Shape23_20211201_133150">
                  <a:extLst>
                    <a:ext uri="{FF2B5EF4-FFF2-40B4-BE49-F238E27FC236}">
                      <a16:creationId xmlns:a16="http://schemas.microsoft.com/office/drawing/2014/main" id="{50A767BC-D541-489D-8D7B-2BEC692F05CB}"/>
                    </a:ext>
                  </a:extLst>
                </p:cNvPr>
                <p:cNvGrpSpPr/>
                <p:nvPr/>
              </p:nvGrpSpPr>
              <p:grpSpPr>
                <a:xfrm>
                  <a:off x="5143288" y="1672713"/>
                  <a:ext cx="57515" cy="57515"/>
                  <a:chOff x="4001361" y="3450225"/>
                  <a:chExt cx="57515" cy="57515"/>
                </a:xfrm>
              </p:grpSpPr>
              <p:cxnSp>
                <p:nvCxnSpPr>
                  <p:cNvPr id="152" name="Straight Connector 151">
                    <a:extLst>
                      <a:ext uri="{FF2B5EF4-FFF2-40B4-BE49-F238E27FC236}">
                        <a16:creationId xmlns:a16="http://schemas.microsoft.com/office/drawing/2014/main" id="{E10DC0DE-E1C3-468F-B8A5-EF6F821EEEE3}"/>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582E0FD6-98BD-44C9-9807-2181D817C68B}"/>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149" name="Shape24_20211201_133150">
                  <a:extLst>
                    <a:ext uri="{FF2B5EF4-FFF2-40B4-BE49-F238E27FC236}">
                      <a16:creationId xmlns:a16="http://schemas.microsoft.com/office/drawing/2014/main" id="{2B02206D-986A-4750-810C-72B8765E7D28}"/>
                    </a:ext>
                  </a:extLst>
                </p:cNvPr>
                <p:cNvGrpSpPr/>
                <p:nvPr/>
              </p:nvGrpSpPr>
              <p:grpSpPr>
                <a:xfrm>
                  <a:off x="5027083" y="1446018"/>
                  <a:ext cx="57515" cy="57515"/>
                  <a:chOff x="4001361" y="3450225"/>
                  <a:chExt cx="57515" cy="57515"/>
                </a:xfrm>
              </p:grpSpPr>
              <p:cxnSp>
                <p:nvCxnSpPr>
                  <p:cNvPr id="150" name="Straight Connector 149">
                    <a:extLst>
                      <a:ext uri="{FF2B5EF4-FFF2-40B4-BE49-F238E27FC236}">
                        <a16:creationId xmlns:a16="http://schemas.microsoft.com/office/drawing/2014/main" id="{904B988A-1772-4FBC-8E25-EB639702CD77}"/>
                      </a:ext>
                    </a:extLst>
                  </p:cNvPr>
                  <p:cNvCxnSpPr/>
                  <p:nvPr/>
                </p:nvCxnSpPr>
                <p:spPr>
                  <a:xfrm>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118FCEF0-B187-435A-838E-C0B00F07E920}"/>
                      </a:ext>
                    </a:extLst>
                  </p:cNvPr>
                  <p:cNvCxnSpPr>
                    <a:cxnSpLocks/>
                  </p:cNvCxnSpPr>
                  <p:nvPr/>
                </p:nvCxnSpPr>
                <p:spPr>
                  <a:xfrm rot="5400000">
                    <a:off x="4030119" y="3450225"/>
                    <a:ext cx="0" cy="575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grpSp>
        <p:grpSp>
          <p:nvGrpSpPr>
            <p:cNvPr id="61" name="Group 60">
              <a:extLst>
                <a:ext uri="{FF2B5EF4-FFF2-40B4-BE49-F238E27FC236}">
                  <a16:creationId xmlns:a16="http://schemas.microsoft.com/office/drawing/2014/main" id="{DB3C7B49-4457-47A8-AFF0-98CE20B390D2}"/>
                </a:ext>
              </a:extLst>
            </p:cNvPr>
            <p:cNvGrpSpPr/>
            <p:nvPr/>
          </p:nvGrpSpPr>
          <p:grpSpPr>
            <a:xfrm>
              <a:off x="4895849" y="1356360"/>
              <a:ext cx="3153180" cy="1434374"/>
              <a:chOff x="4895849" y="1356360"/>
              <a:chExt cx="3153180" cy="1434374"/>
            </a:xfrm>
          </p:grpSpPr>
          <p:sp>
            <p:nvSpPr>
              <p:cNvPr id="62" name="Freeform 5">
                <a:extLst>
                  <a:ext uri="{FF2B5EF4-FFF2-40B4-BE49-F238E27FC236}">
                    <a16:creationId xmlns:a16="http://schemas.microsoft.com/office/drawing/2014/main" id="{98C22D3F-B6AC-46A0-B3AD-1044882FFD12}"/>
                  </a:ext>
                </a:extLst>
              </p:cNvPr>
              <p:cNvSpPr>
                <a:spLocks/>
              </p:cNvSpPr>
              <p:nvPr/>
            </p:nvSpPr>
            <p:spPr bwMode="auto">
              <a:xfrm>
                <a:off x="4895849" y="1356360"/>
                <a:ext cx="3131821" cy="1405890"/>
              </a:xfrm>
              <a:custGeom>
                <a:avLst/>
                <a:gdLst>
                  <a:gd name="T0" fmla="*/ 50 w 4078"/>
                  <a:gd name="T1" fmla="*/ 0 h 2532"/>
                  <a:gd name="T2" fmla="*/ 60 w 4078"/>
                  <a:gd name="T3" fmla="*/ 48 h 2532"/>
                  <a:gd name="T4" fmla="*/ 64 w 4078"/>
                  <a:gd name="T5" fmla="*/ 92 h 2532"/>
                  <a:gd name="T6" fmla="*/ 72 w 4078"/>
                  <a:gd name="T7" fmla="*/ 101 h 2532"/>
                  <a:gd name="T8" fmla="*/ 116 w 4078"/>
                  <a:gd name="T9" fmla="*/ 157 h 2532"/>
                  <a:gd name="T10" fmla="*/ 125 w 4078"/>
                  <a:gd name="T11" fmla="*/ 212 h 2532"/>
                  <a:gd name="T12" fmla="*/ 134 w 4078"/>
                  <a:gd name="T13" fmla="*/ 245 h 2532"/>
                  <a:gd name="T14" fmla="*/ 142 w 4078"/>
                  <a:gd name="T15" fmla="*/ 327 h 2532"/>
                  <a:gd name="T16" fmla="*/ 156 w 4078"/>
                  <a:gd name="T17" fmla="*/ 365 h 2532"/>
                  <a:gd name="T18" fmla="*/ 159 w 4078"/>
                  <a:gd name="T19" fmla="*/ 391 h 2532"/>
                  <a:gd name="T20" fmla="*/ 178 w 4078"/>
                  <a:gd name="T21" fmla="*/ 408 h 2532"/>
                  <a:gd name="T22" fmla="*/ 191 w 4078"/>
                  <a:gd name="T23" fmla="*/ 489 h 2532"/>
                  <a:gd name="T24" fmla="*/ 200 w 4078"/>
                  <a:gd name="T25" fmla="*/ 567 h 2532"/>
                  <a:gd name="T26" fmla="*/ 228 w 4078"/>
                  <a:gd name="T27" fmla="*/ 648 h 2532"/>
                  <a:gd name="T28" fmla="*/ 236 w 4078"/>
                  <a:gd name="T29" fmla="*/ 670 h 2532"/>
                  <a:gd name="T30" fmla="*/ 240 w 4078"/>
                  <a:gd name="T31" fmla="*/ 722 h 2532"/>
                  <a:gd name="T32" fmla="*/ 245 w 4078"/>
                  <a:gd name="T33" fmla="*/ 784 h 2532"/>
                  <a:gd name="T34" fmla="*/ 253 w 4078"/>
                  <a:gd name="T35" fmla="*/ 818 h 2532"/>
                  <a:gd name="T36" fmla="*/ 265 w 4078"/>
                  <a:gd name="T37" fmla="*/ 901 h 2532"/>
                  <a:gd name="T38" fmla="*/ 286 w 4078"/>
                  <a:gd name="T39" fmla="*/ 909 h 2532"/>
                  <a:gd name="T40" fmla="*/ 309 w 4078"/>
                  <a:gd name="T41" fmla="*/ 1082 h 2532"/>
                  <a:gd name="T42" fmla="*/ 348 w 4078"/>
                  <a:gd name="T43" fmla="*/ 1212 h 2532"/>
                  <a:gd name="T44" fmla="*/ 353 w 4078"/>
                  <a:gd name="T45" fmla="*/ 1248 h 2532"/>
                  <a:gd name="T46" fmla="*/ 367 w 4078"/>
                  <a:gd name="T47" fmla="*/ 1255 h 2532"/>
                  <a:gd name="T48" fmla="*/ 373 w 4078"/>
                  <a:gd name="T49" fmla="*/ 1343 h 2532"/>
                  <a:gd name="T50" fmla="*/ 384 w 4078"/>
                  <a:gd name="T51" fmla="*/ 1387 h 2532"/>
                  <a:gd name="T52" fmla="*/ 429 w 4078"/>
                  <a:gd name="T53" fmla="*/ 1474 h 2532"/>
                  <a:gd name="T54" fmla="*/ 437 w 4078"/>
                  <a:gd name="T55" fmla="*/ 1504 h 2532"/>
                  <a:gd name="T56" fmla="*/ 460 w 4078"/>
                  <a:gd name="T57" fmla="*/ 1526 h 2532"/>
                  <a:gd name="T58" fmla="*/ 466 w 4078"/>
                  <a:gd name="T59" fmla="*/ 1574 h 2532"/>
                  <a:gd name="T60" fmla="*/ 474 w 4078"/>
                  <a:gd name="T61" fmla="*/ 1618 h 2532"/>
                  <a:gd name="T62" fmla="*/ 522 w 4078"/>
                  <a:gd name="T63" fmla="*/ 1671 h 2532"/>
                  <a:gd name="T64" fmla="*/ 536 w 4078"/>
                  <a:gd name="T65" fmla="*/ 1717 h 2532"/>
                  <a:gd name="T66" fmla="*/ 541 w 4078"/>
                  <a:gd name="T67" fmla="*/ 1773 h 2532"/>
                  <a:gd name="T68" fmla="*/ 552 w 4078"/>
                  <a:gd name="T69" fmla="*/ 1817 h 2532"/>
                  <a:gd name="T70" fmla="*/ 561 w 4078"/>
                  <a:gd name="T71" fmla="*/ 1864 h 2532"/>
                  <a:gd name="T72" fmla="*/ 599 w 4078"/>
                  <a:gd name="T73" fmla="*/ 1962 h 2532"/>
                  <a:gd name="T74" fmla="*/ 638 w 4078"/>
                  <a:gd name="T75" fmla="*/ 2017 h 2532"/>
                  <a:gd name="T76" fmla="*/ 669 w 4078"/>
                  <a:gd name="T77" fmla="*/ 2118 h 2532"/>
                  <a:gd name="T78" fmla="*/ 713 w 4078"/>
                  <a:gd name="T79" fmla="*/ 2172 h 2532"/>
                  <a:gd name="T80" fmla="*/ 873 w 4078"/>
                  <a:gd name="T81" fmla="*/ 2225 h 2532"/>
                  <a:gd name="T82" fmla="*/ 896 w 4078"/>
                  <a:gd name="T83" fmla="*/ 2286 h 2532"/>
                  <a:gd name="T84" fmla="*/ 903 w 4078"/>
                  <a:gd name="T85" fmla="*/ 2344 h 2532"/>
                  <a:gd name="T86" fmla="*/ 1007 w 4078"/>
                  <a:gd name="T87" fmla="*/ 2400 h 2532"/>
                  <a:gd name="T88" fmla="*/ 1171 w 4078"/>
                  <a:gd name="T89" fmla="*/ 2461 h 2532"/>
                  <a:gd name="T90" fmla="*/ 4078 w 4078"/>
                  <a:gd name="T91" fmla="*/ 2532 h 2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78" h="2532">
                    <a:moveTo>
                      <a:pt x="0" y="0"/>
                    </a:moveTo>
                    <a:lnTo>
                      <a:pt x="50" y="0"/>
                    </a:lnTo>
                    <a:lnTo>
                      <a:pt x="50" y="48"/>
                    </a:lnTo>
                    <a:lnTo>
                      <a:pt x="60" y="48"/>
                    </a:lnTo>
                    <a:lnTo>
                      <a:pt x="60" y="92"/>
                    </a:lnTo>
                    <a:lnTo>
                      <a:pt x="64" y="92"/>
                    </a:lnTo>
                    <a:lnTo>
                      <a:pt x="64" y="101"/>
                    </a:lnTo>
                    <a:lnTo>
                      <a:pt x="72" y="101"/>
                    </a:lnTo>
                    <a:lnTo>
                      <a:pt x="72" y="157"/>
                    </a:lnTo>
                    <a:lnTo>
                      <a:pt x="116" y="157"/>
                    </a:lnTo>
                    <a:lnTo>
                      <a:pt x="116" y="212"/>
                    </a:lnTo>
                    <a:lnTo>
                      <a:pt x="125" y="212"/>
                    </a:lnTo>
                    <a:lnTo>
                      <a:pt x="125" y="245"/>
                    </a:lnTo>
                    <a:lnTo>
                      <a:pt x="134" y="245"/>
                    </a:lnTo>
                    <a:lnTo>
                      <a:pt x="134" y="327"/>
                    </a:lnTo>
                    <a:lnTo>
                      <a:pt x="142" y="327"/>
                    </a:lnTo>
                    <a:lnTo>
                      <a:pt x="142" y="365"/>
                    </a:lnTo>
                    <a:lnTo>
                      <a:pt x="156" y="365"/>
                    </a:lnTo>
                    <a:lnTo>
                      <a:pt x="156" y="391"/>
                    </a:lnTo>
                    <a:lnTo>
                      <a:pt x="159" y="391"/>
                    </a:lnTo>
                    <a:lnTo>
                      <a:pt x="159" y="408"/>
                    </a:lnTo>
                    <a:lnTo>
                      <a:pt x="178" y="408"/>
                    </a:lnTo>
                    <a:lnTo>
                      <a:pt x="178" y="489"/>
                    </a:lnTo>
                    <a:lnTo>
                      <a:pt x="191" y="489"/>
                    </a:lnTo>
                    <a:lnTo>
                      <a:pt x="191" y="567"/>
                    </a:lnTo>
                    <a:lnTo>
                      <a:pt x="200" y="567"/>
                    </a:lnTo>
                    <a:lnTo>
                      <a:pt x="200" y="648"/>
                    </a:lnTo>
                    <a:lnTo>
                      <a:pt x="228" y="648"/>
                    </a:lnTo>
                    <a:lnTo>
                      <a:pt x="228" y="670"/>
                    </a:lnTo>
                    <a:lnTo>
                      <a:pt x="236" y="670"/>
                    </a:lnTo>
                    <a:lnTo>
                      <a:pt x="236" y="722"/>
                    </a:lnTo>
                    <a:lnTo>
                      <a:pt x="240" y="722"/>
                    </a:lnTo>
                    <a:lnTo>
                      <a:pt x="240" y="784"/>
                    </a:lnTo>
                    <a:lnTo>
                      <a:pt x="245" y="784"/>
                    </a:lnTo>
                    <a:lnTo>
                      <a:pt x="245" y="818"/>
                    </a:lnTo>
                    <a:lnTo>
                      <a:pt x="253" y="818"/>
                    </a:lnTo>
                    <a:lnTo>
                      <a:pt x="253" y="901"/>
                    </a:lnTo>
                    <a:lnTo>
                      <a:pt x="265" y="901"/>
                    </a:lnTo>
                    <a:lnTo>
                      <a:pt x="265" y="909"/>
                    </a:lnTo>
                    <a:lnTo>
                      <a:pt x="286" y="909"/>
                    </a:lnTo>
                    <a:lnTo>
                      <a:pt x="286" y="1082"/>
                    </a:lnTo>
                    <a:lnTo>
                      <a:pt x="309" y="1082"/>
                    </a:lnTo>
                    <a:lnTo>
                      <a:pt x="309" y="1212"/>
                    </a:lnTo>
                    <a:lnTo>
                      <a:pt x="348" y="1212"/>
                    </a:lnTo>
                    <a:lnTo>
                      <a:pt x="348" y="1248"/>
                    </a:lnTo>
                    <a:lnTo>
                      <a:pt x="353" y="1248"/>
                    </a:lnTo>
                    <a:lnTo>
                      <a:pt x="353" y="1255"/>
                    </a:lnTo>
                    <a:lnTo>
                      <a:pt x="367" y="1255"/>
                    </a:lnTo>
                    <a:lnTo>
                      <a:pt x="367" y="1343"/>
                    </a:lnTo>
                    <a:lnTo>
                      <a:pt x="373" y="1343"/>
                    </a:lnTo>
                    <a:lnTo>
                      <a:pt x="373" y="1387"/>
                    </a:lnTo>
                    <a:lnTo>
                      <a:pt x="384" y="1387"/>
                    </a:lnTo>
                    <a:lnTo>
                      <a:pt x="384" y="1474"/>
                    </a:lnTo>
                    <a:lnTo>
                      <a:pt x="429" y="1474"/>
                    </a:lnTo>
                    <a:lnTo>
                      <a:pt x="429" y="1504"/>
                    </a:lnTo>
                    <a:lnTo>
                      <a:pt x="437" y="1504"/>
                    </a:lnTo>
                    <a:lnTo>
                      <a:pt x="437" y="1526"/>
                    </a:lnTo>
                    <a:lnTo>
                      <a:pt x="460" y="1526"/>
                    </a:lnTo>
                    <a:lnTo>
                      <a:pt x="460" y="1574"/>
                    </a:lnTo>
                    <a:lnTo>
                      <a:pt x="466" y="1574"/>
                    </a:lnTo>
                    <a:lnTo>
                      <a:pt x="466" y="1618"/>
                    </a:lnTo>
                    <a:lnTo>
                      <a:pt x="474" y="1618"/>
                    </a:lnTo>
                    <a:lnTo>
                      <a:pt x="474" y="1671"/>
                    </a:lnTo>
                    <a:lnTo>
                      <a:pt x="522" y="1671"/>
                    </a:lnTo>
                    <a:lnTo>
                      <a:pt x="522" y="1717"/>
                    </a:lnTo>
                    <a:lnTo>
                      <a:pt x="536" y="1717"/>
                    </a:lnTo>
                    <a:lnTo>
                      <a:pt x="536" y="1773"/>
                    </a:lnTo>
                    <a:lnTo>
                      <a:pt x="541" y="1773"/>
                    </a:lnTo>
                    <a:lnTo>
                      <a:pt x="541" y="1817"/>
                    </a:lnTo>
                    <a:lnTo>
                      <a:pt x="552" y="1817"/>
                    </a:lnTo>
                    <a:lnTo>
                      <a:pt x="552" y="1864"/>
                    </a:lnTo>
                    <a:lnTo>
                      <a:pt x="561" y="1864"/>
                    </a:lnTo>
                    <a:lnTo>
                      <a:pt x="561" y="1962"/>
                    </a:lnTo>
                    <a:lnTo>
                      <a:pt x="599" y="1962"/>
                    </a:lnTo>
                    <a:lnTo>
                      <a:pt x="599" y="2017"/>
                    </a:lnTo>
                    <a:lnTo>
                      <a:pt x="638" y="2017"/>
                    </a:lnTo>
                    <a:lnTo>
                      <a:pt x="638" y="2118"/>
                    </a:lnTo>
                    <a:lnTo>
                      <a:pt x="669" y="2118"/>
                    </a:lnTo>
                    <a:lnTo>
                      <a:pt x="669" y="2172"/>
                    </a:lnTo>
                    <a:lnTo>
                      <a:pt x="713" y="2172"/>
                    </a:lnTo>
                    <a:lnTo>
                      <a:pt x="713" y="2225"/>
                    </a:lnTo>
                    <a:lnTo>
                      <a:pt x="873" y="2225"/>
                    </a:lnTo>
                    <a:lnTo>
                      <a:pt x="873" y="2286"/>
                    </a:lnTo>
                    <a:lnTo>
                      <a:pt x="896" y="2286"/>
                    </a:lnTo>
                    <a:lnTo>
                      <a:pt x="896" y="2344"/>
                    </a:lnTo>
                    <a:lnTo>
                      <a:pt x="903" y="2344"/>
                    </a:lnTo>
                    <a:lnTo>
                      <a:pt x="903" y="2400"/>
                    </a:lnTo>
                    <a:lnTo>
                      <a:pt x="1007" y="2400"/>
                    </a:lnTo>
                    <a:lnTo>
                      <a:pt x="1007" y="2461"/>
                    </a:lnTo>
                    <a:lnTo>
                      <a:pt x="1171" y="2461"/>
                    </a:lnTo>
                    <a:lnTo>
                      <a:pt x="1171" y="2532"/>
                    </a:lnTo>
                    <a:lnTo>
                      <a:pt x="4078" y="2532"/>
                    </a:lnTo>
                  </a:path>
                </a:pathLst>
              </a:custGeom>
              <a:noFill/>
              <a:ln w="19050" cap="flat">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nvGrpSpPr>
              <p:cNvPr id="63" name="Group 62">
                <a:extLst>
                  <a:ext uri="{FF2B5EF4-FFF2-40B4-BE49-F238E27FC236}">
                    <a16:creationId xmlns:a16="http://schemas.microsoft.com/office/drawing/2014/main" id="{CC4B45A7-6024-4209-ADAA-AC3ABB8EC8A0}"/>
                  </a:ext>
                </a:extLst>
              </p:cNvPr>
              <p:cNvGrpSpPr/>
              <p:nvPr/>
            </p:nvGrpSpPr>
            <p:grpSpPr>
              <a:xfrm>
                <a:off x="4987329" y="1531164"/>
                <a:ext cx="3061700" cy="1259570"/>
                <a:chOff x="4987329" y="1531164"/>
                <a:chExt cx="3061700" cy="1259570"/>
              </a:xfrm>
            </p:grpSpPr>
            <p:grpSp>
              <p:nvGrpSpPr>
                <p:cNvPr id="64" name="Shape1_20211201_133303">
                  <a:extLst>
                    <a:ext uri="{FF2B5EF4-FFF2-40B4-BE49-F238E27FC236}">
                      <a16:creationId xmlns:a16="http://schemas.microsoft.com/office/drawing/2014/main" id="{BC3B71BC-365D-4161-8D32-5C81BE97F11D}"/>
                    </a:ext>
                  </a:extLst>
                </p:cNvPr>
                <p:cNvGrpSpPr/>
                <p:nvPr/>
              </p:nvGrpSpPr>
              <p:grpSpPr>
                <a:xfrm>
                  <a:off x="7991514" y="2733219"/>
                  <a:ext cx="57515" cy="57515"/>
                  <a:chOff x="4001361" y="3450225"/>
                  <a:chExt cx="57515" cy="57515"/>
                </a:xfrm>
              </p:grpSpPr>
              <p:cxnSp>
                <p:nvCxnSpPr>
                  <p:cNvPr id="122" name="Straight Connector 121">
                    <a:extLst>
                      <a:ext uri="{FF2B5EF4-FFF2-40B4-BE49-F238E27FC236}">
                        <a16:creationId xmlns:a16="http://schemas.microsoft.com/office/drawing/2014/main" id="{A13488C6-5C83-4F5D-95CC-446CB3598E1A}"/>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64EA384C-8474-491E-8725-623BEF68FAFE}"/>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5" name="Shape2_20211201_133303">
                  <a:extLst>
                    <a:ext uri="{FF2B5EF4-FFF2-40B4-BE49-F238E27FC236}">
                      <a16:creationId xmlns:a16="http://schemas.microsoft.com/office/drawing/2014/main" id="{4C120DD3-3D1A-4028-93C0-920990DB2194}"/>
                    </a:ext>
                  </a:extLst>
                </p:cNvPr>
                <p:cNvGrpSpPr/>
                <p:nvPr/>
              </p:nvGrpSpPr>
              <p:grpSpPr>
                <a:xfrm>
                  <a:off x="7589559" y="2733219"/>
                  <a:ext cx="57515" cy="57515"/>
                  <a:chOff x="4001361" y="3450225"/>
                  <a:chExt cx="57515" cy="57515"/>
                </a:xfrm>
              </p:grpSpPr>
              <p:cxnSp>
                <p:nvCxnSpPr>
                  <p:cNvPr id="120" name="Straight Connector 119">
                    <a:extLst>
                      <a:ext uri="{FF2B5EF4-FFF2-40B4-BE49-F238E27FC236}">
                        <a16:creationId xmlns:a16="http://schemas.microsoft.com/office/drawing/2014/main" id="{758A4765-A101-4853-A643-82A2F1A9BC46}"/>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3AAD5CF-814F-4EB6-8F72-5702715746CC}"/>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6" name="Shape3_20211201_133303">
                  <a:extLst>
                    <a:ext uri="{FF2B5EF4-FFF2-40B4-BE49-F238E27FC236}">
                      <a16:creationId xmlns:a16="http://schemas.microsoft.com/office/drawing/2014/main" id="{0802571B-3C81-4EA0-88D0-3598D9C31BA6}"/>
                    </a:ext>
                  </a:extLst>
                </p:cNvPr>
                <p:cNvGrpSpPr/>
                <p:nvPr/>
              </p:nvGrpSpPr>
              <p:grpSpPr>
                <a:xfrm>
                  <a:off x="7199034" y="2733219"/>
                  <a:ext cx="57515" cy="57515"/>
                  <a:chOff x="4001361" y="3450225"/>
                  <a:chExt cx="57515" cy="57515"/>
                </a:xfrm>
              </p:grpSpPr>
              <p:cxnSp>
                <p:nvCxnSpPr>
                  <p:cNvPr id="118" name="Straight Connector 117">
                    <a:extLst>
                      <a:ext uri="{FF2B5EF4-FFF2-40B4-BE49-F238E27FC236}">
                        <a16:creationId xmlns:a16="http://schemas.microsoft.com/office/drawing/2014/main" id="{056A60DD-ECFD-4C6F-8C12-F6CE6F02238D}"/>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27CC717-35E9-41F5-878A-0E5B3E16804E}"/>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7" name="Shape4_20211201_133303">
                  <a:extLst>
                    <a:ext uri="{FF2B5EF4-FFF2-40B4-BE49-F238E27FC236}">
                      <a16:creationId xmlns:a16="http://schemas.microsoft.com/office/drawing/2014/main" id="{2BD10719-6727-4138-A158-286DE2290BCB}"/>
                    </a:ext>
                  </a:extLst>
                </p:cNvPr>
                <p:cNvGrpSpPr/>
                <p:nvPr/>
              </p:nvGrpSpPr>
              <p:grpSpPr>
                <a:xfrm>
                  <a:off x="6936144" y="2733219"/>
                  <a:ext cx="57515" cy="57515"/>
                  <a:chOff x="4001361" y="3450225"/>
                  <a:chExt cx="57515" cy="57515"/>
                </a:xfrm>
              </p:grpSpPr>
              <p:cxnSp>
                <p:nvCxnSpPr>
                  <p:cNvPr id="116" name="Straight Connector 115">
                    <a:extLst>
                      <a:ext uri="{FF2B5EF4-FFF2-40B4-BE49-F238E27FC236}">
                        <a16:creationId xmlns:a16="http://schemas.microsoft.com/office/drawing/2014/main" id="{FD192A46-F81F-4B78-8D8D-1B85E235A73F}"/>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AE58E082-7B12-4EAF-A52D-8EFF0D2BBE3B}"/>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8" name="Shape5_20211201_133303">
                  <a:extLst>
                    <a:ext uri="{FF2B5EF4-FFF2-40B4-BE49-F238E27FC236}">
                      <a16:creationId xmlns:a16="http://schemas.microsoft.com/office/drawing/2014/main" id="{120AA345-5700-4B16-8780-70EA01D0E8E5}"/>
                    </a:ext>
                  </a:extLst>
                </p:cNvPr>
                <p:cNvGrpSpPr/>
                <p:nvPr/>
              </p:nvGrpSpPr>
              <p:grpSpPr>
                <a:xfrm>
                  <a:off x="6745644" y="2733219"/>
                  <a:ext cx="57515" cy="57515"/>
                  <a:chOff x="4001361" y="3450225"/>
                  <a:chExt cx="57515" cy="57515"/>
                </a:xfrm>
              </p:grpSpPr>
              <p:cxnSp>
                <p:nvCxnSpPr>
                  <p:cNvPr id="114" name="Straight Connector 113">
                    <a:extLst>
                      <a:ext uri="{FF2B5EF4-FFF2-40B4-BE49-F238E27FC236}">
                        <a16:creationId xmlns:a16="http://schemas.microsoft.com/office/drawing/2014/main" id="{635CFE63-5783-4A5A-A9C9-4D45D3870169}"/>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CD430E6-00C9-4808-B20B-F36AED9AE75D}"/>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69" name="Shape6_20211201_133303">
                  <a:extLst>
                    <a:ext uri="{FF2B5EF4-FFF2-40B4-BE49-F238E27FC236}">
                      <a16:creationId xmlns:a16="http://schemas.microsoft.com/office/drawing/2014/main" id="{822E32C3-E604-4E11-A7BD-A505A0CCEB86}"/>
                    </a:ext>
                  </a:extLst>
                </p:cNvPr>
                <p:cNvGrpSpPr/>
                <p:nvPr/>
              </p:nvGrpSpPr>
              <p:grpSpPr>
                <a:xfrm>
                  <a:off x="6640869" y="2733219"/>
                  <a:ext cx="57515" cy="57515"/>
                  <a:chOff x="4001361" y="3450225"/>
                  <a:chExt cx="57515" cy="57515"/>
                </a:xfrm>
              </p:grpSpPr>
              <p:cxnSp>
                <p:nvCxnSpPr>
                  <p:cNvPr id="112" name="Straight Connector 111">
                    <a:extLst>
                      <a:ext uri="{FF2B5EF4-FFF2-40B4-BE49-F238E27FC236}">
                        <a16:creationId xmlns:a16="http://schemas.microsoft.com/office/drawing/2014/main" id="{12340744-3911-425F-AD16-547E52C255DA}"/>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22AD59-66F8-4CF7-987B-C2C098264F69}"/>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0" name="Shape7_20211201_133303">
                  <a:extLst>
                    <a:ext uri="{FF2B5EF4-FFF2-40B4-BE49-F238E27FC236}">
                      <a16:creationId xmlns:a16="http://schemas.microsoft.com/office/drawing/2014/main" id="{07641637-B6C8-4859-A75C-70DA89917391}"/>
                    </a:ext>
                  </a:extLst>
                </p:cNvPr>
                <p:cNvGrpSpPr/>
                <p:nvPr/>
              </p:nvGrpSpPr>
              <p:grpSpPr>
                <a:xfrm>
                  <a:off x="6019839" y="2733219"/>
                  <a:ext cx="57515" cy="57515"/>
                  <a:chOff x="4001361" y="3450225"/>
                  <a:chExt cx="57515" cy="57515"/>
                </a:xfrm>
              </p:grpSpPr>
              <p:cxnSp>
                <p:nvCxnSpPr>
                  <p:cNvPr id="110" name="Straight Connector 109">
                    <a:extLst>
                      <a:ext uri="{FF2B5EF4-FFF2-40B4-BE49-F238E27FC236}">
                        <a16:creationId xmlns:a16="http://schemas.microsoft.com/office/drawing/2014/main" id="{8AC1B446-56C0-4A3E-A159-A49B2E902B67}"/>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73156A00-2298-4F50-866D-5B6446189B91}"/>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1" name="Shape8_20211201_133303">
                  <a:extLst>
                    <a:ext uri="{FF2B5EF4-FFF2-40B4-BE49-F238E27FC236}">
                      <a16:creationId xmlns:a16="http://schemas.microsoft.com/office/drawing/2014/main" id="{E1B85F9A-A14B-49F5-B124-FC9D6A3A9A28}"/>
                    </a:ext>
                  </a:extLst>
                </p:cNvPr>
                <p:cNvGrpSpPr/>
                <p:nvPr/>
              </p:nvGrpSpPr>
              <p:grpSpPr>
                <a:xfrm>
                  <a:off x="5667414" y="2691309"/>
                  <a:ext cx="57515" cy="57515"/>
                  <a:chOff x="4001361" y="3450225"/>
                  <a:chExt cx="57515" cy="57515"/>
                </a:xfrm>
              </p:grpSpPr>
              <p:cxnSp>
                <p:nvCxnSpPr>
                  <p:cNvPr id="108" name="Straight Connector 107">
                    <a:extLst>
                      <a:ext uri="{FF2B5EF4-FFF2-40B4-BE49-F238E27FC236}">
                        <a16:creationId xmlns:a16="http://schemas.microsoft.com/office/drawing/2014/main" id="{102594E3-46FF-4769-8D80-A526EB6C9853}"/>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0050FE9F-93B7-47E0-8244-3DCB7A6E74DE}"/>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2" name="Shape9_20211201_133303">
                  <a:extLst>
                    <a:ext uri="{FF2B5EF4-FFF2-40B4-BE49-F238E27FC236}">
                      <a16:creationId xmlns:a16="http://schemas.microsoft.com/office/drawing/2014/main" id="{2CCAC005-E33B-4D6A-A198-AFB1F1E93452}"/>
                    </a:ext>
                  </a:extLst>
                </p:cNvPr>
                <p:cNvGrpSpPr/>
                <p:nvPr/>
              </p:nvGrpSpPr>
              <p:grpSpPr>
                <a:xfrm>
                  <a:off x="5625504" y="2660829"/>
                  <a:ext cx="57515" cy="57515"/>
                  <a:chOff x="4001361" y="3450225"/>
                  <a:chExt cx="57515" cy="57515"/>
                </a:xfrm>
              </p:grpSpPr>
              <p:cxnSp>
                <p:nvCxnSpPr>
                  <p:cNvPr id="106" name="Straight Connector 105">
                    <a:extLst>
                      <a:ext uri="{FF2B5EF4-FFF2-40B4-BE49-F238E27FC236}">
                        <a16:creationId xmlns:a16="http://schemas.microsoft.com/office/drawing/2014/main" id="{84604882-7319-49CB-8C4F-CD76DEDA3EE4}"/>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966E1003-49B7-4AD2-BC4A-8B0237D9FF4E}"/>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3" name="Shape10_20211201_133303">
                  <a:extLst>
                    <a:ext uri="{FF2B5EF4-FFF2-40B4-BE49-F238E27FC236}">
                      <a16:creationId xmlns:a16="http://schemas.microsoft.com/office/drawing/2014/main" id="{730F1DE8-A68D-447F-91C4-821405E74DE1}"/>
                    </a:ext>
                  </a:extLst>
                </p:cNvPr>
                <p:cNvGrpSpPr/>
                <p:nvPr/>
              </p:nvGrpSpPr>
              <p:grpSpPr>
                <a:xfrm>
                  <a:off x="5619789" y="2660829"/>
                  <a:ext cx="57515" cy="57515"/>
                  <a:chOff x="4001361" y="3450225"/>
                  <a:chExt cx="57515" cy="57515"/>
                </a:xfrm>
              </p:grpSpPr>
              <p:cxnSp>
                <p:nvCxnSpPr>
                  <p:cNvPr id="104" name="Straight Connector 103">
                    <a:extLst>
                      <a:ext uri="{FF2B5EF4-FFF2-40B4-BE49-F238E27FC236}">
                        <a16:creationId xmlns:a16="http://schemas.microsoft.com/office/drawing/2014/main" id="{7C0E071B-F9CA-4649-85E9-480F77934EE4}"/>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D397AC4-8561-4595-A7A4-43A141ABEF27}"/>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4" name="Shape11_20211201_133303">
                  <a:extLst>
                    <a:ext uri="{FF2B5EF4-FFF2-40B4-BE49-F238E27FC236}">
                      <a16:creationId xmlns:a16="http://schemas.microsoft.com/office/drawing/2014/main" id="{B2B2D3C5-BBA5-4AFE-9E2C-217030A9066E}"/>
                    </a:ext>
                  </a:extLst>
                </p:cNvPr>
                <p:cNvGrpSpPr/>
                <p:nvPr/>
              </p:nvGrpSpPr>
              <p:grpSpPr>
                <a:xfrm>
                  <a:off x="5463579" y="2561769"/>
                  <a:ext cx="57515" cy="57515"/>
                  <a:chOff x="4001361" y="3450225"/>
                  <a:chExt cx="57515" cy="57515"/>
                </a:xfrm>
              </p:grpSpPr>
              <p:cxnSp>
                <p:nvCxnSpPr>
                  <p:cNvPr id="102" name="Straight Connector 101">
                    <a:extLst>
                      <a:ext uri="{FF2B5EF4-FFF2-40B4-BE49-F238E27FC236}">
                        <a16:creationId xmlns:a16="http://schemas.microsoft.com/office/drawing/2014/main" id="{5AF1E7C7-4FAF-4F6B-9A84-B04112A6CC89}"/>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F022D094-77C0-40AF-BBEF-04141588DFD5}"/>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5" name="Shape12_20211201_133303">
                  <a:extLst>
                    <a:ext uri="{FF2B5EF4-FFF2-40B4-BE49-F238E27FC236}">
                      <a16:creationId xmlns:a16="http://schemas.microsoft.com/office/drawing/2014/main" id="{9BC2A886-5B47-476E-81B2-859F5D4CB5E8}"/>
                    </a:ext>
                  </a:extLst>
                </p:cNvPr>
                <p:cNvGrpSpPr/>
                <p:nvPr/>
              </p:nvGrpSpPr>
              <p:grpSpPr>
                <a:xfrm>
                  <a:off x="5326419" y="2418894"/>
                  <a:ext cx="57515" cy="57515"/>
                  <a:chOff x="4001361" y="3450225"/>
                  <a:chExt cx="57515" cy="57515"/>
                </a:xfrm>
              </p:grpSpPr>
              <p:cxnSp>
                <p:nvCxnSpPr>
                  <p:cNvPr id="100" name="Straight Connector 99">
                    <a:extLst>
                      <a:ext uri="{FF2B5EF4-FFF2-40B4-BE49-F238E27FC236}">
                        <a16:creationId xmlns:a16="http://schemas.microsoft.com/office/drawing/2014/main" id="{F51E8BA6-16EA-4D11-AF42-222B8D429F0D}"/>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35968A96-9940-4197-8D63-45BB4C667FE2}"/>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6" name="Shape13_20211201_133303">
                  <a:extLst>
                    <a:ext uri="{FF2B5EF4-FFF2-40B4-BE49-F238E27FC236}">
                      <a16:creationId xmlns:a16="http://schemas.microsoft.com/office/drawing/2014/main" id="{E8F0A197-CAD1-4E99-9D8C-D9A3BD093DC3}"/>
                    </a:ext>
                  </a:extLst>
                </p:cNvPr>
                <p:cNvGrpSpPr/>
                <p:nvPr/>
              </p:nvGrpSpPr>
              <p:grpSpPr>
                <a:xfrm>
                  <a:off x="5314989" y="2418894"/>
                  <a:ext cx="57515" cy="57515"/>
                  <a:chOff x="4001361" y="3450225"/>
                  <a:chExt cx="57515" cy="57515"/>
                </a:xfrm>
              </p:grpSpPr>
              <p:cxnSp>
                <p:nvCxnSpPr>
                  <p:cNvPr id="98" name="Straight Connector 97">
                    <a:extLst>
                      <a:ext uri="{FF2B5EF4-FFF2-40B4-BE49-F238E27FC236}">
                        <a16:creationId xmlns:a16="http://schemas.microsoft.com/office/drawing/2014/main" id="{91659C66-B978-4F39-852A-17590BA668B8}"/>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7B9E1D25-DABA-4A9B-9659-106908EEA04A}"/>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7" name="Shape14_20211201_133303">
                  <a:extLst>
                    <a:ext uri="{FF2B5EF4-FFF2-40B4-BE49-F238E27FC236}">
                      <a16:creationId xmlns:a16="http://schemas.microsoft.com/office/drawing/2014/main" id="{53FA5EB7-F9DE-48DE-A8F3-5B487DB2826A}"/>
                    </a:ext>
                  </a:extLst>
                </p:cNvPr>
                <p:cNvGrpSpPr/>
                <p:nvPr/>
              </p:nvGrpSpPr>
              <p:grpSpPr>
                <a:xfrm>
                  <a:off x="5212119" y="2176959"/>
                  <a:ext cx="57515" cy="57515"/>
                  <a:chOff x="4001361" y="3450225"/>
                  <a:chExt cx="57515" cy="57515"/>
                </a:xfrm>
              </p:grpSpPr>
              <p:cxnSp>
                <p:nvCxnSpPr>
                  <p:cNvPr id="96" name="Straight Connector 95">
                    <a:extLst>
                      <a:ext uri="{FF2B5EF4-FFF2-40B4-BE49-F238E27FC236}">
                        <a16:creationId xmlns:a16="http://schemas.microsoft.com/office/drawing/2014/main" id="{07AD93B8-67D9-49C1-A360-5EB9529AF2DD}"/>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AC472E34-7BCF-4EC5-94E5-1212A43C87E3}"/>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8" name="Shape15_20211201_133303">
                  <a:extLst>
                    <a:ext uri="{FF2B5EF4-FFF2-40B4-BE49-F238E27FC236}">
                      <a16:creationId xmlns:a16="http://schemas.microsoft.com/office/drawing/2014/main" id="{82F9B277-3EE6-4098-AFAF-9969EB674EF7}"/>
                    </a:ext>
                  </a:extLst>
                </p:cNvPr>
                <p:cNvGrpSpPr/>
                <p:nvPr/>
              </p:nvGrpSpPr>
              <p:grpSpPr>
                <a:xfrm>
                  <a:off x="5198784" y="2148384"/>
                  <a:ext cx="57515" cy="57515"/>
                  <a:chOff x="4001361" y="3450225"/>
                  <a:chExt cx="57515" cy="57515"/>
                </a:xfrm>
              </p:grpSpPr>
              <p:cxnSp>
                <p:nvCxnSpPr>
                  <p:cNvPr id="94" name="Straight Connector 93">
                    <a:extLst>
                      <a:ext uri="{FF2B5EF4-FFF2-40B4-BE49-F238E27FC236}">
                        <a16:creationId xmlns:a16="http://schemas.microsoft.com/office/drawing/2014/main" id="{DF4E5F93-4315-48CD-8DC4-40999DE4EACA}"/>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ED846EE-0D3D-4928-8849-B7BD85AA857B}"/>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79" name="Shape16_20211201_133303">
                  <a:extLst>
                    <a:ext uri="{FF2B5EF4-FFF2-40B4-BE49-F238E27FC236}">
                      <a16:creationId xmlns:a16="http://schemas.microsoft.com/office/drawing/2014/main" id="{9B6AD6B0-0FA2-4F2B-9F67-844F889FB9EB}"/>
                    </a:ext>
                  </a:extLst>
                </p:cNvPr>
                <p:cNvGrpSpPr/>
                <p:nvPr/>
              </p:nvGrpSpPr>
              <p:grpSpPr>
                <a:xfrm>
                  <a:off x="5181639" y="2144574"/>
                  <a:ext cx="57515" cy="57515"/>
                  <a:chOff x="4001361" y="3450225"/>
                  <a:chExt cx="57515" cy="57515"/>
                </a:xfrm>
              </p:grpSpPr>
              <p:cxnSp>
                <p:nvCxnSpPr>
                  <p:cNvPr id="92" name="Straight Connector 91">
                    <a:extLst>
                      <a:ext uri="{FF2B5EF4-FFF2-40B4-BE49-F238E27FC236}">
                        <a16:creationId xmlns:a16="http://schemas.microsoft.com/office/drawing/2014/main" id="{B8E33C32-A6C0-46CD-8DF9-F05E53873E7D}"/>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148372A5-FF08-4B01-B458-77E882F270C3}"/>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0" name="Shape17_20211201_133303">
                  <a:extLst>
                    <a:ext uri="{FF2B5EF4-FFF2-40B4-BE49-F238E27FC236}">
                      <a16:creationId xmlns:a16="http://schemas.microsoft.com/office/drawing/2014/main" id="{CA4DA91D-F9D2-44A8-AC4F-EC4ABB8FF348}"/>
                    </a:ext>
                  </a:extLst>
                </p:cNvPr>
                <p:cNvGrpSpPr/>
                <p:nvPr/>
              </p:nvGrpSpPr>
              <p:grpSpPr>
                <a:xfrm>
                  <a:off x="5090199" y="1929309"/>
                  <a:ext cx="57515" cy="57515"/>
                  <a:chOff x="4001361" y="3450225"/>
                  <a:chExt cx="57515" cy="57515"/>
                </a:xfrm>
              </p:grpSpPr>
              <p:cxnSp>
                <p:nvCxnSpPr>
                  <p:cNvPr id="90" name="Straight Connector 89">
                    <a:extLst>
                      <a:ext uri="{FF2B5EF4-FFF2-40B4-BE49-F238E27FC236}">
                        <a16:creationId xmlns:a16="http://schemas.microsoft.com/office/drawing/2014/main" id="{1381840A-6E80-47BB-B052-63E12880BC61}"/>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FB122D2E-0A54-45F9-851B-43145B3873CB}"/>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1" name="Shape18_20211201_133303">
                  <a:extLst>
                    <a:ext uri="{FF2B5EF4-FFF2-40B4-BE49-F238E27FC236}">
                      <a16:creationId xmlns:a16="http://schemas.microsoft.com/office/drawing/2014/main" id="{D2836EA3-839C-4A53-9FDC-BBB94CA1C5BC}"/>
                    </a:ext>
                  </a:extLst>
                </p:cNvPr>
                <p:cNvGrpSpPr/>
                <p:nvPr/>
              </p:nvGrpSpPr>
              <p:grpSpPr>
                <a:xfrm>
                  <a:off x="5069244" y="1826439"/>
                  <a:ext cx="57515" cy="57515"/>
                  <a:chOff x="4001361" y="3450225"/>
                  <a:chExt cx="57515" cy="57515"/>
                </a:xfrm>
              </p:grpSpPr>
              <p:cxnSp>
                <p:nvCxnSpPr>
                  <p:cNvPr id="88" name="Straight Connector 87">
                    <a:extLst>
                      <a:ext uri="{FF2B5EF4-FFF2-40B4-BE49-F238E27FC236}">
                        <a16:creationId xmlns:a16="http://schemas.microsoft.com/office/drawing/2014/main" id="{3761B215-ED5D-40ED-8AC7-2AE7B3944B7E}"/>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E9BA84B4-7D7A-4AA9-A971-8F332F4C9512}"/>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2" name="Shape19_20211201_133303">
                  <a:extLst>
                    <a:ext uri="{FF2B5EF4-FFF2-40B4-BE49-F238E27FC236}">
                      <a16:creationId xmlns:a16="http://schemas.microsoft.com/office/drawing/2014/main" id="{8B9CB298-7F2F-4747-8A24-ED31FCC1060B}"/>
                    </a:ext>
                  </a:extLst>
                </p:cNvPr>
                <p:cNvGrpSpPr/>
                <p:nvPr/>
              </p:nvGrpSpPr>
              <p:grpSpPr>
                <a:xfrm>
                  <a:off x="5048289" y="1714044"/>
                  <a:ext cx="57515" cy="57515"/>
                  <a:chOff x="4001361" y="3450225"/>
                  <a:chExt cx="57515" cy="57515"/>
                </a:xfrm>
              </p:grpSpPr>
              <p:cxnSp>
                <p:nvCxnSpPr>
                  <p:cNvPr id="86" name="Straight Connector 85">
                    <a:extLst>
                      <a:ext uri="{FF2B5EF4-FFF2-40B4-BE49-F238E27FC236}">
                        <a16:creationId xmlns:a16="http://schemas.microsoft.com/office/drawing/2014/main" id="{BE49792D-0D34-4467-9E7D-784C8E79D5C3}"/>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B2DE56C-66C9-4C22-8079-1CB0069680B7}"/>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83" name="Shape0_20211201_133303">
                  <a:extLst>
                    <a:ext uri="{FF2B5EF4-FFF2-40B4-BE49-F238E27FC236}">
                      <a16:creationId xmlns:a16="http://schemas.microsoft.com/office/drawing/2014/main" id="{E473DFA8-2C6B-4293-B715-0CA40C2B2C24}"/>
                    </a:ext>
                  </a:extLst>
                </p:cNvPr>
                <p:cNvGrpSpPr/>
                <p:nvPr/>
              </p:nvGrpSpPr>
              <p:grpSpPr>
                <a:xfrm>
                  <a:off x="4987329" y="1531164"/>
                  <a:ext cx="57515" cy="57515"/>
                  <a:chOff x="4001361" y="3450225"/>
                  <a:chExt cx="57515" cy="57515"/>
                </a:xfrm>
              </p:grpSpPr>
              <p:cxnSp>
                <p:nvCxnSpPr>
                  <p:cNvPr id="84" name="Straight Connector 83">
                    <a:extLst>
                      <a:ext uri="{FF2B5EF4-FFF2-40B4-BE49-F238E27FC236}">
                        <a16:creationId xmlns:a16="http://schemas.microsoft.com/office/drawing/2014/main" id="{6FF9DFE4-95C9-466D-BF88-1AB7347B5C2A}"/>
                      </a:ext>
                    </a:extLst>
                  </p:cNvPr>
                  <p:cNvCxnSpPr/>
                  <p:nvPr/>
                </p:nvCxnSpPr>
                <p:spPr>
                  <a:xfrm>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84DCDD1B-0DC0-48E1-BD8F-03B6D04595BC}"/>
                      </a:ext>
                    </a:extLst>
                  </p:cNvPr>
                  <p:cNvCxnSpPr>
                    <a:cxnSpLocks/>
                  </p:cNvCxnSpPr>
                  <p:nvPr/>
                </p:nvCxnSpPr>
                <p:spPr>
                  <a:xfrm rot="5400000">
                    <a:off x="4030119" y="3450225"/>
                    <a:ext cx="0" cy="5751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grpSp>
      </p:grpSp>
    </p:spTree>
    <p:extLst>
      <p:ext uri="{BB962C8B-B14F-4D97-AF65-F5344CB8AC3E}">
        <p14:creationId xmlns:p14="http://schemas.microsoft.com/office/powerpoint/2010/main" val="2445338825"/>
      </p:ext>
    </p:extLst>
  </p:cSld>
  <p:clrMapOvr>
    <a:masterClrMapping/>
  </p:clrMapOvr>
  <p:transition spd="med">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2"/>
          </p:nvPr>
        </p:nvSpPr>
        <p:spPr/>
        <p:txBody>
          <a:bodyPr/>
          <a:lstStyle/>
          <a:p>
            <a:endParaRPr lang="en-US"/>
          </a:p>
        </p:txBody>
      </p:sp>
      <p:sp>
        <p:nvSpPr>
          <p:cNvPr id="3" name="Text Placeholder 2"/>
          <p:cNvSpPr>
            <a:spLocks noGrp="1"/>
          </p:cNvSpPr>
          <p:nvPr>
            <p:ph type="body" idx="3"/>
          </p:nvPr>
        </p:nvSpPr>
        <p:spPr/>
        <p:txBody>
          <a:bodyPr/>
          <a:lstStyle/>
          <a:p>
            <a:r>
              <a:rPr lang="fr-FR" dirty="0">
                <a:latin typeface="Gene Sans Light" panose="00000400000000000000" pitchFamily="2" charset="0"/>
              </a:rPr>
              <a:t>1. </a:t>
            </a:r>
            <a:r>
              <a:rPr lang="fr-FR" dirty="0" err="1">
                <a:latin typeface="Gene Sans Light" panose="00000400000000000000" pitchFamily="2" charset="0"/>
              </a:rPr>
              <a:t>Naidoo</a:t>
            </a:r>
            <a:r>
              <a:rPr lang="fr-FR" dirty="0">
                <a:latin typeface="Gene Sans Light" panose="00000400000000000000" pitchFamily="2" charset="0"/>
              </a:rPr>
              <a:t> J, et al. </a:t>
            </a:r>
            <a:r>
              <a:rPr lang="fr-FR" i="1" dirty="0">
                <a:latin typeface="Gene Sans Light" panose="00000400000000000000" pitchFamily="2" charset="0"/>
              </a:rPr>
              <a:t>J </a:t>
            </a:r>
            <a:r>
              <a:rPr lang="fr-FR" i="1" dirty="0" err="1">
                <a:latin typeface="Gene Sans Light" panose="00000400000000000000" pitchFamily="2" charset="0"/>
              </a:rPr>
              <a:t>Natl</a:t>
            </a:r>
            <a:r>
              <a:rPr lang="fr-FR" i="1" dirty="0">
                <a:latin typeface="Gene Sans Light" panose="00000400000000000000" pitchFamily="2" charset="0"/>
              </a:rPr>
              <a:t> </a:t>
            </a:r>
            <a:r>
              <a:rPr lang="fr-FR" i="1" dirty="0" err="1">
                <a:latin typeface="Gene Sans Light" panose="00000400000000000000" pitchFamily="2" charset="0"/>
              </a:rPr>
              <a:t>Compr</a:t>
            </a:r>
            <a:r>
              <a:rPr lang="fr-FR" i="1" dirty="0">
                <a:latin typeface="Gene Sans Light" panose="00000400000000000000" pitchFamily="2" charset="0"/>
              </a:rPr>
              <a:t> </a:t>
            </a:r>
            <a:r>
              <a:rPr lang="fr-FR" i="1" dirty="0" err="1">
                <a:latin typeface="Gene Sans Light" panose="00000400000000000000" pitchFamily="2" charset="0"/>
              </a:rPr>
              <a:t>Canc</a:t>
            </a:r>
            <a:r>
              <a:rPr lang="fr-FR" i="1" dirty="0">
                <a:latin typeface="Gene Sans Light" panose="00000400000000000000" pitchFamily="2" charset="0"/>
              </a:rPr>
              <a:t> </a:t>
            </a:r>
            <a:r>
              <a:rPr lang="fr-FR" i="1" dirty="0" err="1">
                <a:latin typeface="Gene Sans Light" panose="00000400000000000000" pitchFamily="2" charset="0"/>
              </a:rPr>
              <a:t>Netw</a:t>
            </a:r>
            <a:r>
              <a:rPr lang="fr-FR" dirty="0">
                <a:latin typeface="Gene Sans Light" panose="00000400000000000000" pitchFamily="2" charset="0"/>
              </a:rPr>
              <a:t>. 2019;17:712-720 2. </a:t>
            </a:r>
            <a:r>
              <a:rPr lang="fr-FR" dirty="0" err="1">
                <a:latin typeface="Gene Sans Light" panose="00000400000000000000" pitchFamily="2" charset="0"/>
              </a:rPr>
              <a:t>Brahmer</a:t>
            </a:r>
            <a:r>
              <a:rPr lang="fr-FR" dirty="0">
                <a:latin typeface="Gene Sans Light" panose="00000400000000000000" pitchFamily="2" charset="0"/>
              </a:rPr>
              <a:t> JR, et al. </a:t>
            </a:r>
            <a:r>
              <a:rPr lang="fr-FR" i="1" dirty="0">
                <a:latin typeface="Gene Sans Light" panose="00000400000000000000" pitchFamily="2" charset="0"/>
              </a:rPr>
              <a:t>J Clin </a:t>
            </a:r>
            <a:r>
              <a:rPr lang="fr-FR" i="1" dirty="0" err="1">
                <a:latin typeface="Gene Sans Light" panose="00000400000000000000" pitchFamily="2" charset="0"/>
              </a:rPr>
              <a:t>Oncol</a:t>
            </a:r>
            <a:r>
              <a:rPr lang="fr-FR" dirty="0">
                <a:latin typeface="Gene Sans Light" panose="00000400000000000000" pitchFamily="2" charset="0"/>
              </a:rPr>
              <a:t>. 2018;36:1714-1768.</a:t>
            </a:r>
            <a:r>
              <a:rPr lang="fr-FR" baseline="30000" dirty="0">
                <a:latin typeface="Gene Sans Light" panose="00000400000000000000" pitchFamily="2" charset="0"/>
              </a:rPr>
              <a:t> </a:t>
            </a:r>
            <a:r>
              <a:rPr lang="fr-FR" dirty="0">
                <a:latin typeface="Gene Sans Light" panose="00000400000000000000" pitchFamily="2" charset="0"/>
              </a:rPr>
              <a:t>3. </a:t>
            </a:r>
            <a:r>
              <a:rPr lang="fr-FR" dirty="0" err="1">
                <a:latin typeface="Gene Sans Light" panose="00000400000000000000" pitchFamily="2" charset="0"/>
              </a:rPr>
              <a:t>Menzies</a:t>
            </a:r>
            <a:r>
              <a:rPr lang="fr-FR" dirty="0">
                <a:latin typeface="Gene Sans Light" panose="00000400000000000000" pitchFamily="2" charset="0"/>
              </a:rPr>
              <a:t> AM, et al. </a:t>
            </a:r>
            <a:r>
              <a:rPr lang="fr-FR" i="1" dirty="0">
                <a:latin typeface="Gene Sans Light" panose="00000400000000000000" pitchFamily="2" charset="0"/>
              </a:rPr>
              <a:t>Ann </a:t>
            </a:r>
            <a:r>
              <a:rPr lang="fr-FR" i="1" dirty="0" err="1">
                <a:latin typeface="Gene Sans Light" panose="00000400000000000000" pitchFamily="2" charset="0"/>
              </a:rPr>
              <a:t>Oncol</a:t>
            </a:r>
            <a:r>
              <a:rPr lang="fr-FR" dirty="0">
                <a:latin typeface="Gene Sans Light" panose="00000400000000000000" pitchFamily="2" charset="0"/>
              </a:rPr>
              <a:t>. 2017;28:368-376.</a:t>
            </a:r>
          </a:p>
        </p:txBody>
      </p:sp>
      <p:sp>
        <p:nvSpPr>
          <p:cNvPr id="5" name="Title 4"/>
          <p:cNvSpPr>
            <a:spLocks noGrp="1"/>
          </p:cNvSpPr>
          <p:nvPr>
            <p:ph type="title"/>
          </p:nvPr>
        </p:nvSpPr>
        <p:spPr/>
        <p:txBody>
          <a:bodyPr/>
          <a:lstStyle/>
          <a:p>
            <a:r>
              <a:rPr lang="en-US" kern="0" cap="none" dirty="0">
                <a:latin typeface="Arial"/>
                <a:cs typeface="Arial"/>
              </a:rPr>
              <a:t>Treatment Considerations</a:t>
            </a:r>
            <a:endParaRPr lang="en-US" dirty="0"/>
          </a:p>
        </p:txBody>
      </p:sp>
      <p:sp>
        <p:nvSpPr>
          <p:cNvPr id="6" name="Google Shape;122;p3">
            <a:extLst>
              <a:ext uri="{FF2B5EF4-FFF2-40B4-BE49-F238E27FC236}">
                <a16:creationId xmlns:a16="http://schemas.microsoft.com/office/drawing/2014/main" id="{4F16BA01-2984-44C0-BC02-0F05F3071A2A}"/>
              </a:ext>
            </a:extLst>
          </p:cNvPr>
          <p:cNvSpPr txBox="1">
            <a:spLocks/>
          </p:cNvSpPr>
          <p:nvPr/>
        </p:nvSpPr>
        <p:spPr>
          <a:xfrm>
            <a:off x="381000" y="94545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
        <p:nvSpPr>
          <p:cNvPr id="7" name="Rectangle 6">
            <a:extLst>
              <a:ext uri="{FF2B5EF4-FFF2-40B4-BE49-F238E27FC236}">
                <a16:creationId xmlns:a16="http://schemas.microsoft.com/office/drawing/2014/main" id="{417114D3-B427-4E54-BBE5-6450756ABB6B}"/>
              </a:ext>
            </a:extLst>
          </p:cNvPr>
          <p:cNvSpPr/>
          <p:nvPr/>
        </p:nvSpPr>
        <p:spPr>
          <a:xfrm>
            <a:off x="377952" y="1763001"/>
            <a:ext cx="4003548" cy="267110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 name="Rectangle 7">
            <a:extLst>
              <a:ext uri="{FF2B5EF4-FFF2-40B4-BE49-F238E27FC236}">
                <a16:creationId xmlns:a16="http://schemas.microsoft.com/office/drawing/2014/main" id="{5D578DDF-9FB0-4481-AA36-99663560054A}"/>
              </a:ext>
            </a:extLst>
          </p:cNvPr>
          <p:cNvSpPr/>
          <p:nvPr/>
        </p:nvSpPr>
        <p:spPr>
          <a:xfrm>
            <a:off x="4762502" y="1763001"/>
            <a:ext cx="4003548" cy="2671103"/>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 name="TextBox 8">
            <a:extLst>
              <a:ext uri="{FF2B5EF4-FFF2-40B4-BE49-F238E27FC236}">
                <a16:creationId xmlns:a16="http://schemas.microsoft.com/office/drawing/2014/main" id="{FEACBDE8-663E-4F8C-9F92-F3430AFB92DB}"/>
              </a:ext>
            </a:extLst>
          </p:cNvPr>
          <p:cNvSpPr txBox="1"/>
          <p:nvPr/>
        </p:nvSpPr>
        <p:spPr>
          <a:xfrm>
            <a:off x="601601" y="2326843"/>
            <a:ext cx="3560823" cy="861774"/>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Interprofessional collaboration regarding intensity and duration of concomitant therapies and compatibility with continued CPI therapy</a:t>
            </a:r>
            <a:r>
              <a:rPr kumimoji="0" lang="en-US" sz="1400" b="1" i="0" u="none" strike="noStrike" kern="0" cap="none" spc="0" normalizeH="0" baseline="30000" noProof="0" dirty="0">
                <a:ln>
                  <a:noFill/>
                </a:ln>
                <a:solidFill>
                  <a:srgbClr val="545859"/>
                </a:solidFill>
                <a:effectLst/>
                <a:uLnTx/>
                <a:uFillTx/>
                <a:latin typeface="Gene Sans Light" panose="00000400000000000000" pitchFamily="2" charset="0"/>
                <a:cs typeface="Arial"/>
                <a:sym typeface="Arial"/>
              </a:rPr>
              <a:t>1</a:t>
            </a:r>
          </a:p>
        </p:txBody>
      </p:sp>
      <p:sp>
        <p:nvSpPr>
          <p:cNvPr id="10" name="TextBox 9">
            <a:extLst>
              <a:ext uri="{FF2B5EF4-FFF2-40B4-BE49-F238E27FC236}">
                <a16:creationId xmlns:a16="http://schemas.microsoft.com/office/drawing/2014/main" id="{E5580D94-4E28-4B3A-9DCA-EAF86C6A337D}"/>
              </a:ext>
            </a:extLst>
          </p:cNvPr>
          <p:cNvSpPr txBox="1"/>
          <p:nvPr/>
        </p:nvSpPr>
        <p:spPr>
          <a:xfrm>
            <a:off x="4986152" y="2326843"/>
            <a:ext cx="3560823" cy="195438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US" sz="1400" b="1"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Restarting CPIs after an </a:t>
            </a:r>
            <a:r>
              <a:rPr kumimoji="0" lang="en-US" sz="1400" b="1"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irAE</a:t>
            </a:r>
            <a:endParaRPr kumimoji="0" lang="en-US" sz="1400" b="1"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endParaRPr>
          </a:p>
          <a:p>
            <a:pPr marL="285750" marR="0" lvl="0" indent="-285750" algn="l" defTabSz="914400" rtl="0" eaLnBrk="1" fontAlgn="auto" latinLnBrk="0" hangingPunct="1">
              <a:lnSpc>
                <a:spcPct val="100000"/>
              </a:lnSpc>
              <a:spcBef>
                <a:spcPts val="0"/>
              </a:spcBef>
              <a:spcAft>
                <a:spcPts val="600"/>
              </a:spcAft>
              <a:buClr>
                <a:srgbClr val="545859"/>
              </a:buClr>
              <a:buSzTx/>
              <a:buFont typeface="Arial" panose="020B0604020202020204" pitchFamily="34" charset="0"/>
              <a:buChar char="•"/>
              <a:tabLst/>
              <a:defRPr/>
            </a:pPr>
            <a:r>
              <a:rPr kumimoji="0" lang="en-US" sz="14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Depends on severity of </a:t>
            </a:r>
            <a:r>
              <a:rPr kumimoji="0" lang="en-US" sz="14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irAE</a:t>
            </a:r>
            <a:r>
              <a:rPr kumimoji="0" lang="en-US" sz="14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and patient’s tumor response status</a:t>
            </a:r>
            <a:r>
              <a:rPr kumimoji="0" lang="en-US" sz="1400" b="0" i="0" u="none" strike="noStrike" kern="0" cap="none" spc="0" normalizeH="0" baseline="30000" noProof="0" dirty="0">
                <a:ln>
                  <a:noFill/>
                </a:ln>
                <a:solidFill>
                  <a:srgbClr val="545859"/>
                </a:solidFill>
                <a:effectLst/>
                <a:uLnTx/>
                <a:uFillTx/>
                <a:latin typeface="Gene Sans Light" panose="00000400000000000000" pitchFamily="2" charset="0"/>
                <a:cs typeface="Arial"/>
                <a:sym typeface="Arial"/>
              </a:rPr>
              <a:t>2</a:t>
            </a:r>
          </a:p>
          <a:p>
            <a:pPr marL="285750" marR="0" lvl="0" indent="-285750" algn="l" defTabSz="914400" rtl="0" eaLnBrk="1" fontAlgn="auto" latinLnBrk="0" hangingPunct="1">
              <a:lnSpc>
                <a:spcPct val="100000"/>
              </a:lnSpc>
              <a:spcBef>
                <a:spcPts val="0"/>
              </a:spcBef>
              <a:spcAft>
                <a:spcPts val="600"/>
              </a:spcAft>
              <a:buClr>
                <a:srgbClr val="545859"/>
              </a:buClr>
              <a:buSzTx/>
              <a:buFont typeface="Arial" panose="020B0604020202020204" pitchFamily="34" charset="0"/>
              <a:buChar char="•"/>
              <a:tabLst/>
              <a:defRPr/>
            </a:pPr>
            <a:r>
              <a:rPr kumimoji="0" lang="en-US" sz="14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Retrospective studies have shown that </a:t>
            </a:r>
            <a:r>
              <a:rPr kumimoji="0" lang="en-US" sz="14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irAEs</a:t>
            </a:r>
            <a:r>
              <a:rPr kumimoji="0" lang="en-US" sz="14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associated with one class of agent (</a:t>
            </a:r>
            <a:r>
              <a:rPr kumimoji="0" lang="en-US" sz="14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eg</a:t>
            </a:r>
            <a:r>
              <a:rPr kumimoji="0" lang="en-US" sz="14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anti−CTLA-4) may not recur with subsequent treatment (</a:t>
            </a:r>
            <a:r>
              <a:rPr kumimoji="0" lang="en-US" sz="1400" b="0" i="0" u="none" strike="noStrike" kern="0" cap="none" spc="0" normalizeH="0" baseline="0" noProof="0" dirty="0" err="1">
                <a:ln>
                  <a:noFill/>
                </a:ln>
                <a:solidFill>
                  <a:srgbClr val="545859"/>
                </a:solidFill>
                <a:effectLst/>
                <a:uLnTx/>
                <a:uFillTx/>
                <a:latin typeface="Gene Sans Light" panose="00000400000000000000" pitchFamily="2" charset="0"/>
                <a:cs typeface="Arial"/>
                <a:sym typeface="Arial"/>
              </a:rPr>
              <a:t>eg</a:t>
            </a:r>
            <a:r>
              <a:rPr kumimoji="0" lang="en-US" sz="14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 anti−PD-1)</a:t>
            </a:r>
            <a:r>
              <a:rPr kumimoji="0" lang="en-US" sz="1400" b="0" i="0" u="none" strike="noStrike" kern="0" cap="none" spc="0" normalizeH="0" baseline="30000" noProof="0" dirty="0">
                <a:ln>
                  <a:noFill/>
                </a:ln>
                <a:solidFill>
                  <a:srgbClr val="545859"/>
                </a:solidFill>
                <a:effectLst/>
                <a:uLnTx/>
                <a:uFillTx/>
                <a:latin typeface="Gene Sans Light" panose="00000400000000000000" pitchFamily="2" charset="0"/>
                <a:cs typeface="Arial"/>
                <a:sym typeface="Arial"/>
              </a:rPr>
              <a:t>3</a:t>
            </a:r>
          </a:p>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endParaRPr kumimoji="0" lang="en-US" sz="14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endParaRPr>
          </a:p>
        </p:txBody>
      </p:sp>
      <p:grpSp>
        <p:nvGrpSpPr>
          <p:cNvPr id="11" name="Group 10">
            <a:extLst>
              <a:ext uri="{FF2B5EF4-FFF2-40B4-BE49-F238E27FC236}">
                <a16:creationId xmlns:a16="http://schemas.microsoft.com/office/drawing/2014/main" id="{0184D6C6-D0BB-4A41-8C1B-D27B71A44964}"/>
              </a:ext>
            </a:extLst>
          </p:cNvPr>
          <p:cNvGrpSpPr/>
          <p:nvPr/>
        </p:nvGrpSpPr>
        <p:grpSpPr>
          <a:xfrm>
            <a:off x="601602" y="1359448"/>
            <a:ext cx="846197" cy="846197"/>
            <a:chOff x="601602" y="1359448"/>
            <a:chExt cx="846197" cy="846197"/>
          </a:xfrm>
        </p:grpSpPr>
        <p:sp>
          <p:nvSpPr>
            <p:cNvPr id="12" name="Rectangle 11">
              <a:extLst>
                <a:ext uri="{FF2B5EF4-FFF2-40B4-BE49-F238E27FC236}">
                  <a16:creationId xmlns:a16="http://schemas.microsoft.com/office/drawing/2014/main" id="{85C376BA-17BF-450F-9E69-35C6FF85C0BC}"/>
                </a:ext>
              </a:extLst>
            </p:cNvPr>
            <p:cNvSpPr/>
            <p:nvPr/>
          </p:nvSpPr>
          <p:spPr>
            <a:xfrm>
              <a:off x="601602" y="1359448"/>
              <a:ext cx="846197" cy="8461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a:ln>
                  <a:noFill/>
                </a:ln>
                <a:solidFill>
                  <a:srgbClr val="FFFFFF"/>
                </a:solidFill>
                <a:effectLst/>
                <a:uLnTx/>
                <a:uFillTx/>
                <a:latin typeface="Gene Sans Light" panose="00000400000000000000" pitchFamily="2" charset="0"/>
                <a:ea typeface="+mn-ea"/>
                <a:cs typeface="+mn-cs"/>
                <a:sym typeface="Arial"/>
              </a:endParaRPr>
            </a:p>
          </p:txBody>
        </p:sp>
        <p:grpSp>
          <p:nvGrpSpPr>
            <p:cNvPr id="13" name="Group 12">
              <a:extLst>
                <a:ext uri="{FF2B5EF4-FFF2-40B4-BE49-F238E27FC236}">
                  <a16:creationId xmlns:a16="http://schemas.microsoft.com/office/drawing/2014/main" id="{FA4A0054-2151-46B2-9A59-424EB38A4883}"/>
                </a:ext>
              </a:extLst>
            </p:cNvPr>
            <p:cNvGrpSpPr/>
            <p:nvPr/>
          </p:nvGrpSpPr>
          <p:grpSpPr>
            <a:xfrm>
              <a:off x="796862" y="1545304"/>
              <a:ext cx="455676" cy="474486"/>
              <a:chOff x="3397250" y="3278188"/>
              <a:chExt cx="346076" cy="360363"/>
            </a:xfrm>
            <a:solidFill>
              <a:schemeClr val="bg1"/>
            </a:solidFill>
          </p:grpSpPr>
          <p:sp>
            <p:nvSpPr>
              <p:cNvPr id="14" name="Freeform 141">
                <a:extLst>
                  <a:ext uri="{FF2B5EF4-FFF2-40B4-BE49-F238E27FC236}">
                    <a16:creationId xmlns:a16="http://schemas.microsoft.com/office/drawing/2014/main" id="{38DDB457-E959-411A-9FEA-2289373944E3}"/>
                  </a:ext>
                </a:extLst>
              </p:cNvPr>
              <p:cNvSpPr>
                <a:spLocks noEditPoints="1"/>
              </p:cNvSpPr>
              <p:nvPr/>
            </p:nvSpPr>
            <p:spPr bwMode="auto">
              <a:xfrm>
                <a:off x="3427413" y="3429001"/>
                <a:ext cx="120650" cy="150813"/>
              </a:xfrm>
              <a:custGeom>
                <a:avLst/>
                <a:gdLst>
                  <a:gd name="T0" fmla="*/ 165 w 529"/>
                  <a:gd name="T1" fmla="*/ 662 h 662"/>
                  <a:gd name="T2" fmla="*/ 147 w 529"/>
                  <a:gd name="T3" fmla="*/ 655 h 662"/>
                  <a:gd name="T4" fmla="*/ 135 w 529"/>
                  <a:gd name="T5" fmla="*/ 641 h 662"/>
                  <a:gd name="T6" fmla="*/ 132 w 529"/>
                  <a:gd name="T7" fmla="*/ 393 h 662"/>
                  <a:gd name="T8" fmla="*/ 105 w 529"/>
                  <a:gd name="T9" fmla="*/ 385 h 662"/>
                  <a:gd name="T10" fmla="*/ 68 w 529"/>
                  <a:gd name="T11" fmla="*/ 365 h 662"/>
                  <a:gd name="T12" fmla="*/ 38 w 529"/>
                  <a:gd name="T13" fmla="*/ 336 h 662"/>
                  <a:gd name="T14" fmla="*/ 15 w 529"/>
                  <a:gd name="T15" fmla="*/ 301 h 662"/>
                  <a:gd name="T16" fmla="*/ 3 w 529"/>
                  <a:gd name="T17" fmla="*/ 260 h 662"/>
                  <a:gd name="T18" fmla="*/ 0 w 529"/>
                  <a:gd name="T19" fmla="*/ 33 h 662"/>
                  <a:gd name="T20" fmla="*/ 3 w 529"/>
                  <a:gd name="T21" fmla="*/ 19 h 662"/>
                  <a:gd name="T22" fmla="*/ 14 w 529"/>
                  <a:gd name="T23" fmla="*/ 5 h 662"/>
                  <a:gd name="T24" fmla="*/ 33 w 529"/>
                  <a:gd name="T25" fmla="*/ 0 h 662"/>
                  <a:gd name="T26" fmla="*/ 504 w 529"/>
                  <a:gd name="T27" fmla="*/ 0 h 662"/>
                  <a:gd name="T28" fmla="*/ 520 w 529"/>
                  <a:gd name="T29" fmla="*/ 9 h 662"/>
                  <a:gd name="T30" fmla="*/ 529 w 529"/>
                  <a:gd name="T31" fmla="*/ 25 h 662"/>
                  <a:gd name="T32" fmla="*/ 529 w 529"/>
                  <a:gd name="T33" fmla="*/ 231 h 662"/>
                  <a:gd name="T34" fmla="*/ 524 w 529"/>
                  <a:gd name="T35" fmla="*/ 275 h 662"/>
                  <a:gd name="T36" fmla="*/ 508 w 529"/>
                  <a:gd name="T37" fmla="*/ 313 h 662"/>
                  <a:gd name="T38" fmla="*/ 483 w 529"/>
                  <a:gd name="T39" fmla="*/ 346 h 662"/>
                  <a:gd name="T40" fmla="*/ 450 w 529"/>
                  <a:gd name="T41" fmla="*/ 373 h 662"/>
                  <a:gd name="T42" fmla="*/ 411 w 529"/>
                  <a:gd name="T43" fmla="*/ 390 h 662"/>
                  <a:gd name="T44" fmla="*/ 397 w 529"/>
                  <a:gd name="T45" fmla="*/ 629 h 662"/>
                  <a:gd name="T46" fmla="*/ 392 w 529"/>
                  <a:gd name="T47" fmla="*/ 647 h 662"/>
                  <a:gd name="T48" fmla="*/ 377 w 529"/>
                  <a:gd name="T49" fmla="*/ 659 h 662"/>
                  <a:gd name="T50" fmla="*/ 364 w 529"/>
                  <a:gd name="T51" fmla="*/ 662 h 662"/>
                  <a:gd name="T52" fmla="*/ 331 w 529"/>
                  <a:gd name="T53" fmla="*/ 364 h 662"/>
                  <a:gd name="T54" fmla="*/ 334 w 529"/>
                  <a:gd name="T55" fmla="*/ 350 h 662"/>
                  <a:gd name="T56" fmla="*/ 345 w 529"/>
                  <a:gd name="T57" fmla="*/ 336 h 662"/>
                  <a:gd name="T58" fmla="*/ 364 w 529"/>
                  <a:gd name="T59" fmla="*/ 331 h 662"/>
                  <a:gd name="T60" fmla="*/ 385 w 529"/>
                  <a:gd name="T61" fmla="*/ 329 h 662"/>
                  <a:gd name="T62" fmla="*/ 411 w 529"/>
                  <a:gd name="T63" fmla="*/ 318 h 662"/>
                  <a:gd name="T64" fmla="*/ 434 w 529"/>
                  <a:gd name="T65" fmla="*/ 301 h 662"/>
                  <a:gd name="T66" fmla="*/ 452 w 529"/>
                  <a:gd name="T67" fmla="*/ 278 h 662"/>
                  <a:gd name="T68" fmla="*/ 461 w 529"/>
                  <a:gd name="T69" fmla="*/ 251 h 662"/>
                  <a:gd name="T70" fmla="*/ 463 w 529"/>
                  <a:gd name="T71" fmla="*/ 66 h 662"/>
                  <a:gd name="T72" fmla="*/ 66 w 529"/>
                  <a:gd name="T73" fmla="*/ 231 h 662"/>
                  <a:gd name="T74" fmla="*/ 71 w 529"/>
                  <a:gd name="T75" fmla="*/ 260 h 662"/>
                  <a:gd name="T76" fmla="*/ 83 w 529"/>
                  <a:gd name="T77" fmla="*/ 286 h 662"/>
                  <a:gd name="T78" fmla="*/ 102 w 529"/>
                  <a:gd name="T79" fmla="*/ 308 h 662"/>
                  <a:gd name="T80" fmla="*/ 127 w 529"/>
                  <a:gd name="T81" fmla="*/ 322 h 662"/>
                  <a:gd name="T82" fmla="*/ 155 w 529"/>
                  <a:gd name="T83" fmla="*/ 330 h 662"/>
                  <a:gd name="T84" fmla="*/ 172 w 529"/>
                  <a:gd name="T85" fmla="*/ 331 h 662"/>
                  <a:gd name="T86" fmla="*/ 189 w 529"/>
                  <a:gd name="T87" fmla="*/ 340 h 662"/>
                  <a:gd name="T88" fmla="*/ 198 w 529"/>
                  <a:gd name="T89" fmla="*/ 356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9" h="662">
                    <a:moveTo>
                      <a:pt x="364" y="662"/>
                    </a:moveTo>
                    <a:lnTo>
                      <a:pt x="165" y="662"/>
                    </a:lnTo>
                    <a:lnTo>
                      <a:pt x="165" y="662"/>
                    </a:lnTo>
                    <a:lnTo>
                      <a:pt x="159" y="661"/>
                    </a:lnTo>
                    <a:lnTo>
                      <a:pt x="153" y="659"/>
                    </a:lnTo>
                    <a:lnTo>
                      <a:pt x="147" y="655"/>
                    </a:lnTo>
                    <a:lnTo>
                      <a:pt x="142" y="651"/>
                    </a:lnTo>
                    <a:lnTo>
                      <a:pt x="138" y="647"/>
                    </a:lnTo>
                    <a:lnTo>
                      <a:pt x="135" y="641"/>
                    </a:lnTo>
                    <a:lnTo>
                      <a:pt x="133" y="635"/>
                    </a:lnTo>
                    <a:lnTo>
                      <a:pt x="132" y="629"/>
                    </a:lnTo>
                    <a:lnTo>
                      <a:pt x="132" y="393"/>
                    </a:lnTo>
                    <a:lnTo>
                      <a:pt x="132" y="393"/>
                    </a:lnTo>
                    <a:lnTo>
                      <a:pt x="119" y="390"/>
                    </a:lnTo>
                    <a:lnTo>
                      <a:pt x="105" y="385"/>
                    </a:lnTo>
                    <a:lnTo>
                      <a:pt x="92" y="379"/>
                    </a:lnTo>
                    <a:lnTo>
                      <a:pt x="79" y="373"/>
                    </a:lnTo>
                    <a:lnTo>
                      <a:pt x="68" y="365"/>
                    </a:lnTo>
                    <a:lnTo>
                      <a:pt x="58" y="356"/>
                    </a:lnTo>
                    <a:lnTo>
                      <a:pt x="47" y="346"/>
                    </a:lnTo>
                    <a:lnTo>
                      <a:pt x="38" y="336"/>
                    </a:lnTo>
                    <a:lnTo>
                      <a:pt x="30" y="325"/>
                    </a:lnTo>
                    <a:lnTo>
                      <a:pt x="21" y="313"/>
                    </a:lnTo>
                    <a:lnTo>
                      <a:pt x="15" y="301"/>
                    </a:lnTo>
                    <a:lnTo>
                      <a:pt x="10" y="288"/>
                    </a:lnTo>
                    <a:lnTo>
                      <a:pt x="6" y="275"/>
                    </a:lnTo>
                    <a:lnTo>
                      <a:pt x="3" y="260"/>
                    </a:lnTo>
                    <a:lnTo>
                      <a:pt x="1" y="246"/>
                    </a:lnTo>
                    <a:lnTo>
                      <a:pt x="0" y="231"/>
                    </a:lnTo>
                    <a:lnTo>
                      <a:pt x="0" y="33"/>
                    </a:lnTo>
                    <a:lnTo>
                      <a:pt x="0" y="33"/>
                    </a:lnTo>
                    <a:lnTo>
                      <a:pt x="1" y="25"/>
                    </a:lnTo>
                    <a:lnTo>
                      <a:pt x="3" y="19"/>
                    </a:lnTo>
                    <a:lnTo>
                      <a:pt x="6" y="14"/>
                    </a:lnTo>
                    <a:lnTo>
                      <a:pt x="10" y="9"/>
                    </a:lnTo>
                    <a:lnTo>
                      <a:pt x="14" y="5"/>
                    </a:lnTo>
                    <a:lnTo>
                      <a:pt x="20" y="2"/>
                    </a:lnTo>
                    <a:lnTo>
                      <a:pt x="27" y="0"/>
                    </a:lnTo>
                    <a:lnTo>
                      <a:pt x="33" y="0"/>
                    </a:lnTo>
                    <a:lnTo>
                      <a:pt x="496" y="0"/>
                    </a:lnTo>
                    <a:lnTo>
                      <a:pt x="496" y="0"/>
                    </a:lnTo>
                    <a:lnTo>
                      <a:pt x="504" y="0"/>
                    </a:lnTo>
                    <a:lnTo>
                      <a:pt x="510" y="2"/>
                    </a:lnTo>
                    <a:lnTo>
                      <a:pt x="515" y="5"/>
                    </a:lnTo>
                    <a:lnTo>
                      <a:pt x="520" y="9"/>
                    </a:lnTo>
                    <a:lnTo>
                      <a:pt x="524" y="14"/>
                    </a:lnTo>
                    <a:lnTo>
                      <a:pt x="527" y="19"/>
                    </a:lnTo>
                    <a:lnTo>
                      <a:pt x="529" y="25"/>
                    </a:lnTo>
                    <a:lnTo>
                      <a:pt x="529" y="33"/>
                    </a:lnTo>
                    <a:lnTo>
                      <a:pt x="529" y="231"/>
                    </a:lnTo>
                    <a:lnTo>
                      <a:pt x="529" y="231"/>
                    </a:lnTo>
                    <a:lnTo>
                      <a:pt x="529" y="246"/>
                    </a:lnTo>
                    <a:lnTo>
                      <a:pt x="527" y="260"/>
                    </a:lnTo>
                    <a:lnTo>
                      <a:pt x="524" y="275"/>
                    </a:lnTo>
                    <a:lnTo>
                      <a:pt x="520" y="288"/>
                    </a:lnTo>
                    <a:lnTo>
                      <a:pt x="514" y="301"/>
                    </a:lnTo>
                    <a:lnTo>
                      <a:pt x="508" y="313"/>
                    </a:lnTo>
                    <a:lnTo>
                      <a:pt x="500" y="325"/>
                    </a:lnTo>
                    <a:lnTo>
                      <a:pt x="492" y="336"/>
                    </a:lnTo>
                    <a:lnTo>
                      <a:pt x="483" y="346"/>
                    </a:lnTo>
                    <a:lnTo>
                      <a:pt x="473" y="356"/>
                    </a:lnTo>
                    <a:lnTo>
                      <a:pt x="461" y="365"/>
                    </a:lnTo>
                    <a:lnTo>
                      <a:pt x="450" y="373"/>
                    </a:lnTo>
                    <a:lnTo>
                      <a:pt x="437" y="379"/>
                    </a:lnTo>
                    <a:lnTo>
                      <a:pt x="425" y="385"/>
                    </a:lnTo>
                    <a:lnTo>
                      <a:pt x="411" y="390"/>
                    </a:lnTo>
                    <a:lnTo>
                      <a:pt x="397" y="393"/>
                    </a:lnTo>
                    <a:lnTo>
                      <a:pt x="397" y="629"/>
                    </a:lnTo>
                    <a:lnTo>
                      <a:pt x="397" y="629"/>
                    </a:lnTo>
                    <a:lnTo>
                      <a:pt x="397" y="635"/>
                    </a:lnTo>
                    <a:lnTo>
                      <a:pt x="395" y="641"/>
                    </a:lnTo>
                    <a:lnTo>
                      <a:pt x="392" y="647"/>
                    </a:lnTo>
                    <a:lnTo>
                      <a:pt x="388" y="651"/>
                    </a:lnTo>
                    <a:lnTo>
                      <a:pt x="383" y="655"/>
                    </a:lnTo>
                    <a:lnTo>
                      <a:pt x="377" y="659"/>
                    </a:lnTo>
                    <a:lnTo>
                      <a:pt x="371" y="661"/>
                    </a:lnTo>
                    <a:lnTo>
                      <a:pt x="364" y="662"/>
                    </a:lnTo>
                    <a:lnTo>
                      <a:pt x="364" y="662"/>
                    </a:lnTo>
                    <a:close/>
                    <a:moveTo>
                      <a:pt x="198" y="595"/>
                    </a:moveTo>
                    <a:lnTo>
                      <a:pt x="331" y="595"/>
                    </a:lnTo>
                    <a:lnTo>
                      <a:pt x="331" y="364"/>
                    </a:lnTo>
                    <a:lnTo>
                      <a:pt x="331" y="364"/>
                    </a:lnTo>
                    <a:lnTo>
                      <a:pt x="332" y="356"/>
                    </a:lnTo>
                    <a:lnTo>
                      <a:pt x="334" y="350"/>
                    </a:lnTo>
                    <a:lnTo>
                      <a:pt x="337" y="345"/>
                    </a:lnTo>
                    <a:lnTo>
                      <a:pt x="341" y="340"/>
                    </a:lnTo>
                    <a:lnTo>
                      <a:pt x="345" y="336"/>
                    </a:lnTo>
                    <a:lnTo>
                      <a:pt x="351" y="333"/>
                    </a:lnTo>
                    <a:lnTo>
                      <a:pt x="358" y="331"/>
                    </a:lnTo>
                    <a:lnTo>
                      <a:pt x="364" y="331"/>
                    </a:lnTo>
                    <a:lnTo>
                      <a:pt x="364" y="331"/>
                    </a:lnTo>
                    <a:lnTo>
                      <a:pt x="374" y="330"/>
                    </a:lnTo>
                    <a:lnTo>
                      <a:pt x="385" y="329"/>
                    </a:lnTo>
                    <a:lnTo>
                      <a:pt x="394" y="325"/>
                    </a:lnTo>
                    <a:lnTo>
                      <a:pt x="403" y="322"/>
                    </a:lnTo>
                    <a:lnTo>
                      <a:pt x="411" y="318"/>
                    </a:lnTo>
                    <a:lnTo>
                      <a:pt x="420" y="313"/>
                    </a:lnTo>
                    <a:lnTo>
                      <a:pt x="427" y="308"/>
                    </a:lnTo>
                    <a:lnTo>
                      <a:pt x="434" y="301"/>
                    </a:lnTo>
                    <a:lnTo>
                      <a:pt x="440" y="294"/>
                    </a:lnTo>
                    <a:lnTo>
                      <a:pt x="447" y="286"/>
                    </a:lnTo>
                    <a:lnTo>
                      <a:pt x="452" y="278"/>
                    </a:lnTo>
                    <a:lnTo>
                      <a:pt x="456" y="270"/>
                    </a:lnTo>
                    <a:lnTo>
                      <a:pt x="459" y="260"/>
                    </a:lnTo>
                    <a:lnTo>
                      <a:pt x="461" y="251"/>
                    </a:lnTo>
                    <a:lnTo>
                      <a:pt x="463" y="241"/>
                    </a:lnTo>
                    <a:lnTo>
                      <a:pt x="463" y="231"/>
                    </a:lnTo>
                    <a:lnTo>
                      <a:pt x="463" y="66"/>
                    </a:lnTo>
                    <a:lnTo>
                      <a:pt x="66" y="66"/>
                    </a:lnTo>
                    <a:lnTo>
                      <a:pt x="66" y="231"/>
                    </a:lnTo>
                    <a:lnTo>
                      <a:pt x="66" y="231"/>
                    </a:lnTo>
                    <a:lnTo>
                      <a:pt x="67" y="241"/>
                    </a:lnTo>
                    <a:lnTo>
                      <a:pt x="68" y="251"/>
                    </a:lnTo>
                    <a:lnTo>
                      <a:pt x="71" y="260"/>
                    </a:lnTo>
                    <a:lnTo>
                      <a:pt x="74" y="270"/>
                    </a:lnTo>
                    <a:lnTo>
                      <a:pt x="78" y="278"/>
                    </a:lnTo>
                    <a:lnTo>
                      <a:pt x="83" y="286"/>
                    </a:lnTo>
                    <a:lnTo>
                      <a:pt x="89" y="294"/>
                    </a:lnTo>
                    <a:lnTo>
                      <a:pt x="95" y="301"/>
                    </a:lnTo>
                    <a:lnTo>
                      <a:pt x="102" y="308"/>
                    </a:lnTo>
                    <a:lnTo>
                      <a:pt x="110" y="313"/>
                    </a:lnTo>
                    <a:lnTo>
                      <a:pt x="118" y="318"/>
                    </a:lnTo>
                    <a:lnTo>
                      <a:pt x="127" y="322"/>
                    </a:lnTo>
                    <a:lnTo>
                      <a:pt x="136" y="325"/>
                    </a:lnTo>
                    <a:lnTo>
                      <a:pt x="146" y="329"/>
                    </a:lnTo>
                    <a:lnTo>
                      <a:pt x="155" y="330"/>
                    </a:lnTo>
                    <a:lnTo>
                      <a:pt x="165" y="331"/>
                    </a:lnTo>
                    <a:lnTo>
                      <a:pt x="165" y="331"/>
                    </a:lnTo>
                    <a:lnTo>
                      <a:pt x="172" y="331"/>
                    </a:lnTo>
                    <a:lnTo>
                      <a:pt x="179" y="333"/>
                    </a:lnTo>
                    <a:lnTo>
                      <a:pt x="184" y="336"/>
                    </a:lnTo>
                    <a:lnTo>
                      <a:pt x="189" y="340"/>
                    </a:lnTo>
                    <a:lnTo>
                      <a:pt x="193" y="345"/>
                    </a:lnTo>
                    <a:lnTo>
                      <a:pt x="196" y="350"/>
                    </a:lnTo>
                    <a:lnTo>
                      <a:pt x="198" y="356"/>
                    </a:lnTo>
                    <a:lnTo>
                      <a:pt x="198" y="364"/>
                    </a:lnTo>
                    <a:lnTo>
                      <a:pt x="198" y="5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5" name="Freeform 142">
                <a:extLst>
                  <a:ext uri="{FF2B5EF4-FFF2-40B4-BE49-F238E27FC236}">
                    <a16:creationId xmlns:a16="http://schemas.microsoft.com/office/drawing/2014/main" id="{7031515C-9FEF-4787-B504-3B8A454872BE}"/>
                  </a:ext>
                </a:extLst>
              </p:cNvPr>
              <p:cNvSpPr>
                <a:spLocks noEditPoints="1"/>
              </p:cNvSpPr>
              <p:nvPr/>
            </p:nvSpPr>
            <p:spPr bwMode="auto">
              <a:xfrm>
                <a:off x="3443288" y="3338513"/>
                <a:ext cx="88900" cy="90488"/>
              </a:xfrm>
              <a:custGeom>
                <a:avLst/>
                <a:gdLst>
                  <a:gd name="T0" fmla="*/ 179 w 397"/>
                  <a:gd name="T1" fmla="*/ 396 h 397"/>
                  <a:gd name="T2" fmla="*/ 122 w 397"/>
                  <a:gd name="T3" fmla="*/ 382 h 397"/>
                  <a:gd name="T4" fmla="*/ 72 w 397"/>
                  <a:gd name="T5" fmla="*/ 353 h 397"/>
                  <a:gd name="T6" fmla="*/ 34 w 397"/>
                  <a:gd name="T7" fmla="*/ 311 h 397"/>
                  <a:gd name="T8" fmla="*/ 9 w 397"/>
                  <a:gd name="T9" fmla="*/ 258 h 397"/>
                  <a:gd name="T10" fmla="*/ 0 w 397"/>
                  <a:gd name="T11" fmla="*/ 199 h 397"/>
                  <a:gd name="T12" fmla="*/ 4 w 397"/>
                  <a:gd name="T13" fmla="*/ 160 h 397"/>
                  <a:gd name="T14" fmla="*/ 24 w 397"/>
                  <a:gd name="T15" fmla="*/ 105 h 397"/>
                  <a:gd name="T16" fmla="*/ 59 w 397"/>
                  <a:gd name="T17" fmla="*/ 59 h 397"/>
                  <a:gd name="T18" fmla="*/ 104 w 397"/>
                  <a:gd name="T19" fmla="*/ 25 h 397"/>
                  <a:gd name="T20" fmla="*/ 159 w 397"/>
                  <a:gd name="T21" fmla="*/ 4 h 397"/>
                  <a:gd name="T22" fmla="*/ 199 w 397"/>
                  <a:gd name="T23" fmla="*/ 0 h 397"/>
                  <a:gd name="T24" fmla="*/ 258 w 397"/>
                  <a:gd name="T25" fmla="*/ 10 h 397"/>
                  <a:gd name="T26" fmla="*/ 310 w 397"/>
                  <a:gd name="T27" fmla="*/ 34 h 397"/>
                  <a:gd name="T28" fmla="*/ 352 w 397"/>
                  <a:gd name="T29" fmla="*/ 73 h 397"/>
                  <a:gd name="T30" fmla="*/ 382 w 397"/>
                  <a:gd name="T31" fmla="*/ 122 h 397"/>
                  <a:gd name="T32" fmla="*/ 396 w 397"/>
                  <a:gd name="T33" fmla="*/ 179 h 397"/>
                  <a:gd name="T34" fmla="*/ 396 w 397"/>
                  <a:gd name="T35" fmla="*/ 220 h 397"/>
                  <a:gd name="T36" fmla="*/ 382 w 397"/>
                  <a:gd name="T37" fmla="*/ 276 h 397"/>
                  <a:gd name="T38" fmla="*/ 352 w 397"/>
                  <a:gd name="T39" fmla="*/ 326 h 397"/>
                  <a:gd name="T40" fmla="*/ 310 w 397"/>
                  <a:gd name="T41" fmla="*/ 364 h 397"/>
                  <a:gd name="T42" fmla="*/ 258 w 397"/>
                  <a:gd name="T43" fmla="*/ 389 h 397"/>
                  <a:gd name="T44" fmla="*/ 199 w 397"/>
                  <a:gd name="T45" fmla="*/ 397 h 397"/>
                  <a:gd name="T46" fmla="*/ 199 w 397"/>
                  <a:gd name="T47" fmla="*/ 66 h 397"/>
                  <a:gd name="T48" fmla="*/ 159 w 397"/>
                  <a:gd name="T49" fmla="*/ 73 h 397"/>
                  <a:gd name="T50" fmla="*/ 125 w 397"/>
                  <a:gd name="T51" fmla="*/ 89 h 397"/>
                  <a:gd name="T52" fmla="*/ 96 w 397"/>
                  <a:gd name="T53" fmla="*/ 115 h 397"/>
                  <a:gd name="T54" fmla="*/ 76 w 397"/>
                  <a:gd name="T55" fmla="*/ 148 h 397"/>
                  <a:gd name="T56" fmla="*/ 67 w 397"/>
                  <a:gd name="T57" fmla="*/ 185 h 397"/>
                  <a:gd name="T58" fmla="*/ 67 w 397"/>
                  <a:gd name="T59" fmla="*/ 213 h 397"/>
                  <a:gd name="T60" fmla="*/ 76 w 397"/>
                  <a:gd name="T61" fmla="*/ 251 h 397"/>
                  <a:gd name="T62" fmla="*/ 96 w 397"/>
                  <a:gd name="T63" fmla="*/ 284 h 397"/>
                  <a:gd name="T64" fmla="*/ 125 w 397"/>
                  <a:gd name="T65" fmla="*/ 310 h 397"/>
                  <a:gd name="T66" fmla="*/ 159 w 397"/>
                  <a:gd name="T67" fmla="*/ 326 h 397"/>
                  <a:gd name="T68" fmla="*/ 199 w 397"/>
                  <a:gd name="T69" fmla="*/ 331 h 397"/>
                  <a:gd name="T70" fmla="*/ 225 w 397"/>
                  <a:gd name="T71" fmla="*/ 329 h 397"/>
                  <a:gd name="T72" fmla="*/ 262 w 397"/>
                  <a:gd name="T73" fmla="*/ 316 h 397"/>
                  <a:gd name="T74" fmla="*/ 293 w 397"/>
                  <a:gd name="T75" fmla="*/ 293 h 397"/>
                  <a:gd name="T76" fmla="*/ 315 w 397"/>
                  <a:gd name="T77" fmla="*/ 262 h 397"/>
                  <a:gd name="T78" fmla="*/ 329 w 397"/>
                  <a:gd name="T79" fmla="*/ 226 h 397"/>
                  <a:gd name="T80" fmla="*/ 331 w 397"/>
                  <a:gd name="T81" fmla="*/ 199 h 397"/>
                  <a:gd name="T82" fmla="*/ 326 w 397"/>
                  <a:gd name="T83" fmla="*/ 160 h 397"/>
                  <a:gd name="T84" fmla="*/ 308 w 397"/>
                  <a:gd name="T85" fmla="*/ 125 h 397"/>
                  <a:gd name="T86" fmla="*/ 283 w 397"/>
                  <a:gd name="T87" fmla="*/ 97 h 397"/>
                  <a:gd name="T88" fmla="*/ 250 w 397"/>
                  <a:gd name="T89" fmla="*/ 77 h 397"/>
                  <a:gd name="T90" fmla="*/ 212 w 397"/>
                  <a:gd name="T91" fmla="*/ 6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7" h="397">
                    <a:moveTo>
                      <a:pt x="199" y="397"/>
                    </a:moveTo>
                    <a:lnTo>
                      <a:pt x="199" y="397"/>
                    </a:lnTo>
                    <a:lnTo>
                      <a:pt x="179" y="396"/>
                    </a:lnTo>
                    <a:lnTo>
                      <a:pt x="159" y="394"/>
                    </a:lnTo>
                    <a:lnTo>
                      <a:pt x="140" y="389"/>
                    </a:lnTo>
                    <a:lnTo>
                      <a:pt x="122" y="382"/>
                    </a:lnTo>
                    <a:lnTo>
                      <a:pt x="104" y="374"/>
                    </a:lnTo>
                    <a:lnTo>
                      <a:pt x="88" y="364"/>
                    </a:lnTo>
                    <a:lnTo>
                      <a:pt x="72" y="353"/>
                    </a:lnTo>
                    <a:lnTo>
                      <a:pt x="59" y="340"/>
                    </a:lnTo>
                    <a:lnTo>
                      <a:pt x="45" y="326"/>
                    </a:lnTo>
                    <a:lnTo>
                      <a:pt x="34" y="311"/>
                    </a:lnTo>
                    <a:lnTo>
                      <a:pt x="24" y="294"/>
                    </a:lnTo>
                    <a:lnTo>
                      <a:pt x="15" y="276"/>
                    </a:lnTo>
                    <a:lnTo>
                      <a:pt x="9" y="258"/>
                    </a:lnTo>
                    <a:lnTo>
                      <a:pt x="4" y="239"/>
                    </a:lnTo>
                    <a:lnTo>
                      <a:pt x="1" y="220"/>
                    </a:lnTo>
                    <a:lnTo>
                      <a:pt x="0" y="199"/>
                    </a:lnTo>
                    <a:lnTo>
                      <a:pt x="0" y="199"/>
                    </a:lnTo>
                    <a:lnTo>
                      <a:pt x="1" y="179"/>
                    </a:lnTo>
                    <a:lnTo>
                      <a:pt x="4" y="160"/>
                    </a:lnTo>
                    <a:lnTo>
                      <a:pt x="9" y="140"/>
                    </a:lnTo>
                    <a:lnTo>
                      <a:pt x="15" y="122"/>
                    </a:lnTo>
                    <a:lnTo>
                      <a:pt x="24" y="105"/>
                    </a:lnTo>
                    <a:lnTo>
                      <a:pt x="34" y="88"/>
                    </a:lnTo>
                    <a:lnTo>
                      <a:pt x="45" y="73"/>
                    </a:lnTo>
                    <a:lnTo>
                      <a:pt x="59" y="59"/>
                    </a:lnTo>
                    <a:lnTo>
                      <a:pt x="72" y="46"/>
                    </a:lnTo>
                    <a:lnTo>
                      <a:pt x="88" y="34"/>
                    </a:lnTo>
                    <a:lnTo>
                      <a:pt x="104" y="25"/>
                    </a:lnTo>
                    <a:lnTo>
                      <a:pt x="122" y="16"/>
                    </a:lnTo>
                    <a:lnTo>
                      <a:pt x="140" y="10"/>
                    </a:lnTo>
                    <a:lnTo>
                      <a:pt x="159" y="4"/>
                    </a:lnTo>
                    <a:lnTo>
                      <a:pt x="179" y="1"/>
                    </a:lnTo>
                    <a:lnTo>
                      <a:pt x="199" y="0"/>
                    </a:lnTo>
                    <a:lnTo>
                      <a:pt x="199" y="0"/>
                    </a:lnTo>
                    <a:lnTo>
                      <a:pt x="219" y="1"/>
                    </a:lnTo>
                    <a:lnTo>
                      <a:pt x="239" y="4"/>
                    </a:lnTo>
                    <a:lnTo>
                      <a:pt x="258" y="10"/>
                    </a:lnTo>
                    <a:lnTo>
                      <a:pt x="276" y="16"/>
                    </a:lnTo>
                    <a:lnTo>
                      <a:pt x="294" y="25"/>
                    </a:lnTo>
                    <a:lnTo>
                      <a:pt x="310" y="34"/>
                    </a:lnTo>
                    <a:lnTo>
                      <a:pt x="325" y="46"/>
                    </a:lnTo>
                    <a:lnTo>
                      <a:pt x="339" y="59"/>
                    </a:lnTo>
                    <a:lnTo>
                      <a:pt x="352" y="73"/>
                    </a:lnTo>
                    <a:lnTo>
                      <a:pt x="363" y="88"/>
                    </a:lnTo>
                    <a:lnTo>
                      <a:pt x="373" y="105"/>
                    </a:lnTo>
                    <a:lnTo>
                      <a:pt x="382" y="122"/>
                    </a:lnTo>
                    <a:lnTo>
                      <a:pt x="389" y="140"/>
                    </a:lnTo>
                    <a:lnTo>
                      <a:pt x="393" y="160"/>
                    </a:lnTo>
                    <a:lnTo>
                      <a:pt x="396" y="179"/>
                    </a:lnTo>
                    <a:lnTo>
                      <a:pt x="397" y="199"/>
                    </a:lnTo>
                    <a:lnTo>
                      <a:pt x="397" y="199"/>
                    </a:lnTo>
                    <a:lnTo>
                      <a:pt x="396" y="220"/>
                    </a:lnTo>
                    <a:lnTo>
                      <a:pt x="393" y="239"/>
                    </a:lnTo>
                    <a:lnTo>
                      <a:pt x="389" y="258"/>
                    </a:lnTo>
                    <a:lnTo>
                      <a:pt x="382" y="276"/>
                    </a:lnTo>
                    <a:lnTo>
                      <a:pt x="373" y="294"/>
                    </a:lnTo>
                    <a:lnTo>
                      <a:pt x="363" y="311"/>
                    </a:lnTo>
                    <a:lnTo>
                      <a:pt x="352" y="326"/>
                    </a:lnTo>
                    <a:lnTo>
                      <a:pt x="339" y="340"/>
                    </a:lnTo>
                    <a:lnTo>
                      <a:pt x="325" y="353"/>
                    </a:lnTo>
                    <a:lnTo>
                      <a:pt x="310" y="364"/>
                    </a:lnTo>
                    <a:lnTo>
                      <a:pt x="294" y="374"/>
                    </a:lnTo>
                    <a:lnTo>
                      <a:pt x="276" y="382"/>
                    </a:lnTo>
                    <a:lnTo>
                      <a:pt x="258" y="389"/>
                    </a:lnTo>
                    <a:lnTo>
                      <a:pt x="239" y="394"/>
                    </a:lnTo>
                    <a:lnTo>
                      <a:pt x="219" y="396"/>
                    </a:lnTo>
                    <a:lnTo>
                      <a:pt x="199" y="397"/>
                    </a:lnTo>
                    <a:lnTo>
                      <a:pt x="199" y="397"/>
                    </a:lnTo>
                    <a:close/>
                    <a:moveTo>
                      <a:pt x="199" y="66"/>
                    </a:moveTo>
                    <a:lnTo>
                      <a:pt x="199" y="66"/>
                    </a:lnTo>
                    <a:lnTo>
                      <a:pt x="185" y="67"/>
                    </a:lnTo>
                    <a:lnTo>
                      <a:pt x="172" y="70"/>
                    </a:lnTo>
                    <a:lnTo>
                      <a:pt x="159" y="73"/>
                    </a:lnTo>
                    <a:lnTo>
                      <a:pt x="147" y="77"/>
                    </a:lnTo>
                    <a:lnTo>
                      <a:pt x="135" y="83"/>
                    </a:lnTo>
                    <a:lnTo>
                      <a:pt x="125" y="89"/>
                    </a:lnTo>
                    <a:lnTo>
                      <a:pt x="115" y="97"/>
                    </a:lnTo>
                    <a:lnTo>
                      <a:pt x="105" y="106"/>
                    </a:lnTo>
                    <a:lnTo>
                      <a:pt x="96" y="115"/>
                    </a:lnTo>
                    <a:lnTo>
                      <a:pt x="89" y="125"/>
                    </a:lnTo>
                    <a:lnTo>
                      <a:pt x="83" y="136"/>
                    </a:lnTo>
                    <a:lnTo>
                      <a:pt x="76" y="148"/>
                    </a:lnTo>
                    <a:lnTo>
                      <a:pt x="72" y="160"/>
                    </a:lnTo>
                    <a:lnTo>
                      <a:pt x="69" y="173"/>
                    </a:lnTo>
                    <a:lnTo>
                      <a:pt x="67" y="185"/>
                    </a:lnTo>
                    <a:lnTo>
                      <a:pt x="66" y="199"/>
                    </a:lnTo>
                    <a:lnTo>
                      <a:pt x="66" y="199"/>
                    </a:lnTo>
                    <a:lnTo>
                      <a:pt x="67" y="213"/>
                    </a:lnTo>
                    <a:lnTo>
                      <a:pt x="69" y="226"/>
                    </a:lnTo>
                    <a:lnTo>
                      <a:pt x="72" y="238"/>
                    </a:lnTo>
                    <a:lnTo>
                      <a:pt x="76" y="251"/>
                    </a:lnTo>
                    <a:lnTo>
                      <a:pt x="83" y="262"/>
                    </a:lnTo>
                    <a:lnTo>
                      <a:pt x="89" y="273"/>
                    </a:lnTo>
                    <a:lnTo>
                      <a:pt x="96" y="284"/>
                    </a:lnTo>
                    <a:lnTo>
                      <a:pt x="105" y="293"/>
                    </a:lnTo>
                    <a:lnTo>
                      <a:pt x="115" y="301"/>
                    </a:lnTo>
                    <a:lnTo>
                      <a:pt x="125" y="310"/>
                    </a:lnTo>
                    <a:lnTo>
                      <a:pt x="135" y="316"/>
                    </a:lnTo>
                    <a:lnTo>
                      <a:pt x="147" y="321"/>
                    </a:lnTo>
                    <a:lnTo>
                      <a:pt x="159" y="326"/>
                    </a:lnTo>
                    <a:lnTo>
                      <a:pt x="172" y="329"/>
                    </a:lnTo>
                    <a:lnTo>
                      <a:pt x="185" y="331"/>
                    </a:lnTo>
                    <a:lnTo>
                      <a:pt x="199" y="331"/>
                    </a:lnTo>
                    <a:lnTo>
                      <a:pt x="199" y="331"/>
                    </a:lnTo>
                    <a:lnTo>
                      <a:pt x="212" y="331"/>
                    </a:lnTo>
                    <a:lnTo>
                      <a:pt x="225" y="329"/>
                    </a:lnTo>
                    <a:lnTo>
                      <a:pt x="238" y="326"/>
                    </a:lnTo>
                    <a:lnTo>
                      <a:pt x="250" y="321"/>
                    </a:lnTo>
                    <a:lnTo>
                      <a:pt x="262" y="316"/>
                    </a:lnTo>
                    <a:lnTo>
                      <a:pt x="273" y="310"/>
                    </a:lnTo>
                    <a:lnTo>
                      <a:pt x="283" y="301"/>
                    </a:lnTo>
                    <a:lnTo>
                      <a:pt x="293" y="293"/>
                    </a:lnTo>
                    <a:lnTo>
                      <a:pt x="301" y="284"/>
                    </a:lnTo>
                    <a:lnTo>
                      <a:pt x="308" y="273"/>
                    </a:lnTo>
                    <a:lnTo>
                      <a:pt x="315" y="262"/>
                    </a:lnTo>
                    <a:lnTo>
                      <a:pt x="321" y="251"/>
                    </a:lnTo>
                    <a:lnTo>
                      <a:pt x="326" y="238"/>
                    </a:lnTo>
                    <a:lnTo>
                      <a:pt x="329" y="226"/>
                    </a:lnTo>
                    <a:lnTo>
                      <a:pt x="331" y="213"/>
                    </a:lnTo>
                    <a:lnTo>
                      <a:pt x="331" y="199"/>
                    </a:lnTo>
                    <a:lnTo>
                      <a:pt x="331" y="199"/>
                    </a:lnTo>
                    <a:lnTo>
                      <a:pt x="331" y="185"/>
                    </a:lnTo>
                    <a:lnTo>
                      <a:pt x="329" y="173"/>
                    </a:lnTo>
                    <a:lnTo>
                      <a:pt x="326" y="160"/>
                    </a:lnTo>
                    <a:lnTo>
                      <a:pt x="321" y="148"/>
                    </a:lnTo>
                    <a:lnTo>
                      <a:pt x="315" y="136"/>
                    </a:lnTo>
                    <a:lnTo>
                      <a:pt x="308" y="125"/>
                    </a:lnTo>
                    <a:lnTo>
                      <a:pt x="301" y="115"/>
                    </a:lnTo>
                    <a:lnTo>
                      <a:pt x="293" y="106"/>
                    </a:lnTo>
                    <a:lnTo>
                      <a:pt x="283" y="97"/>
                    </a:lnTo>
                    <a:lnTo>
                      <a:pt x="273" y="89"/>
                    </a:lnTo>
                    <a:lnTo>
                      <a:pt x="262" y="83"/>
                    </a:lnTo>
                    <a:lnTo>
                      <a:pt x="250" y="77"/>
                    </a:lnTo>
                    <a:lnTo>
                      <a:pt x="238" y="73"/>
                    </a:lnTo>
                    <a:lnTo>
                      <a:pt x="225" y="70"/>
                    </a:lnTo>
                    <a:lnTo>
                      <a:pt x="212" y="67"/>
                    </a:lnTo>
                    <a:lnTo>
                      <a:pt x="199" y="66"/>
                    </a:lnTo>
                    <a:lnTo>
                      <a:pt x="19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6" name="Freeform 143">
                <a:extLst>
                  <a:ext uri="{FF2B5EF4-FFF2-40B4-BE49-F238E27FC236}">
                    <a16:creationId xmlns:a16="http://schemas.microsoft.com/office/drawing/2014/main" id="{91F10BB4-696A-4CC5-ADF9-3FC46CA4EDFA}"/>
                  </a:ext>
                </a:extLst>
              </p:cNvPr>
              <p:cNvSpPr>
                <a:spLocks noEditPoints="1"/>
              </p:cNvSpPr>
              <p:nvPr/>
            </p:nvSpPr>
            <p:spPr bwMode="auto">
              <a:xfrm>
                <a:off x="3397250" y="3308351"/>
                <a:ext cx="180975" cy="301625"/>
              </a:xfrm>
              <a:custGeom>
                <a:avLst/>
                <a:gdLst>
                  <a:gd name="T0" fmla="*/ 99 w 795"/>
                  <a:gd name="T1" fmla="*/ 1325 h 1325"/>
                  <a:gd name="T2" fmla="*/ 89 w 795"/>
                  <a:gd name="T3" fmla="*/ 1324 h 1325"/>
                  <a:gd name="T4" fmla="*/ 71 w 795"/>
                  <a:gd name="T5" fmla="*/ 1320 h 1325"/>
                  <a:gd name="T6" fmla="*/ 52 w 795"/>
                  <a:gd name="T7" fmla="*/ 1313 h 1325"/>
                  <a:gd name="T8" fmla="*/ 36 w 795"/>
                  <a:gd name="T9" fmla="*/ 1302 h 1325"/>
                  <a:gd name="T10" fmla="*/ 23 w 795"/>
                  <a:gd name="T11" fmla="*/ 1289 h 1325"/>
                  <a:gd name="T12" fmla="*/ 13 w 795"/>
                  <a:gd name="T13" fmla="*/ 1272 h 1325"/>
                  <a:gd name="T14" fmla="*/ 4 w 795"/>
                  <a:gd name="T15" fmla="*/ 1255 h 1325"/>
                  <a:gd name="T16" fmla="*/ 1 w 795"/>
                  <a:gd name="T17" fmla="*/ 1236 h 1325"/>
                  <a:gd name="T18" fmla="*/ 0 w 795"/>
                  <a:gd name="T19" fmla="*/ 99 h 1325"/>
                  <a:gd name="T20" fmla="*/ 1 w 795"/>
                  <a:gd name="T21" fmla="*/ 90 h 1325"/>
                  <a:gd name="T22" fmla="*/ 4 w 795"/>
                  <a:gd name="T23" fmla="*/ 70 h 1325"/>
                  <a:gd name="T24" fmla="*/ 13 w 795"/>
                  <a:gd name="T25" fmla="*/ 53 h 1325"/>
                  <a:gd name="T26" fmla="*/ 23 w 795"/>
                  <a:gd name="T27" fmla="*/ 36 h 1325"/>
                  <a:gd name="T28" fmla="*/ 36 w 795"/>
                  <a:gd name="T29" fmla="*/ 23 h 1325"/>
                  <a:gd name="T30" fmla="*/ 52 w 795"/>
                  <a:gd name="T31" fmla="*/ 12 h 1325"/>
                  <a:gd name="T32" fmla="*/ 71 w 795"/>
                  <a:gd name="T33" fmla="*/ 5 h 1325"/>
                  <a:gd name="T34" fmla="*/ 89 w 795"/>
                  <a:gd name="T35" fmla="*/ 1 h 1325"/>
                  <a:gd name="T36" fmla="*/ 696 w 795"/>
                  <a:gd name="T37" fmla="*/ 0 h 1325"/>
                  <a:gd name="T38" fmla="*/ 706 w 795"/>
                  <a:gd name="T39" fmla="*/ 1 h 1325"/>
                  <a:gd name="T40" fmla="*/ 726 w 795"/>
                  <a:gd name="T41" fmla="*/ 5 h 1325"/>
                  <a:gd name="T42" fmla="*/ 743 w 795"/>
                  <a:gd name="T43" fmla="*/ 12 h 1325"/>
                  <a:gd name="T44" fmla="*/ 759 w 795"/>
                  <a:gd name="T45" fmla="*/ 23 h 1325"/>
                  <a:gd name="T46" fmla="*/ 772 w 795"/>
                  <a:gd name="T47" fmla="*/ 36 h 1325"/>
                  <a:gd name="T48" fmla="*/ 784 w 795"/>
                  <a:gd name="T49" fmla="*/ 53 h 1325"/>
                  <a:gd name="T50" fmla="*/ 791 w 795"/>
                  <a:gd name="T51" fmla="*/ 70 h 1325"/>
                  <a:gd name="T52" fmla="*/ 795 w 795"/>
                  <a:gd name="T53" fmla="*/ 90 h 1325"/>
                  <a:gd name="T54" fmla="*/ 795 w 795"/>
                  <a:gd name="T55" fmla="*/ 1226 h 1325"/>
                  <a:gd name="T56" fmla="*/ 795 w 795"/>
                  <a:gd name="T57" fmla="*/ 1236 h 1325"/>
                  <a:gd name="T58" fmla="*/ 791 w 795"/>
                  <a:gd name="T59" fmla="*/ 1255 h 1325"/>
                  <a:gd name="T60" fmla="*/ 784 w 795"/>
                  <a:gd name="T61" fmla="*/ 1272 h 1325"/>
                  <a:gd name="T62" fmla="*/ 772 w 795"/>
                  <a:gd name="T63" fmla="*/ 1289 h 1325"/>
                  <a:gd name="T64" fmla="*/ 759 w 795"/>
                  <a:gd name="T65" fmla="*/ 1302 h 1325"/>
                  <a:gd name="T66" fmla="*/ 743 w 795"/>
                  <a:gd name="T67" fmla="*/ 1313 h 1325"/>
                  <a:gd name="T68" fmla="*/ 726 w 795"/>
                  <a:gd name="T69" fmla="*/ 1320 h 1325"/>
                  <a:gd name="T70" fmla="*/ 706 w 795"/>
                  <a:gd name="T71" fmla="*/ 1324 h 1325"/>
                  <a:gd name="T72" fmla="*/ 696 w 795"/>
                  <a:gd name="T73" fmla="*/ 1325 h 1325"/>
                  <a:gd name="T74" fmla="*/ 99 w 795"/>
                  <a:gd name="T75" fmla="*/ 66 h 1325"/>
                  <a:gd name="T76" fmla="*/ 87 w 795"/>
                  <a:gd name="T77" fmla="*/ 69 h 1325"/>
                  <a:gd name="T78" fmla="*/ 77 w 795"/>
                  <a:gd name="T79" fmla="*/ 76 h 1325"/>
                  <a:gd name="T80" fmla="*/ 69 w 795"/>
                  <a:gd name="T81" fmla="*/ 87 h 1325"/>
                  <a:gd name="T82" fmla="*/ 66 w 795"/>
                  <a:gd name="T83" fmla="*/ 99 h 1325"/>
                  <a:gd name="T84" fmla="*/ 66 w 795"/>
                  <a:gd name="T85" fmla="*/ 1226 h 1325"/>
                  <a:gd name="T86" fmla="*/ 69 w 795"/>
                  <a:gd name="T87" fmla="*/ 1238 h 1325"/>
                  <a:gd name="T88" fmla="*/ 77 w 795"/>
                  <a:gd name="T89" fmla="*/ 1248 h 1325"/>
                  <a:gd name="T90" fmla="*/ 87 w 795"/>
                  <a:gd name="T91" fmla="*/ 1256 h 1325"/>
                  <a:gd name="T92" fmla="*/ 99 w 795"/>
                  <a:gd name="T93" fmla="*/ 1259 h 1325"/>
                  <a:gd name="T94" fmla="*/ 696 w 795"/>
                  <a:gd name="T95" fmla="*/ 1259 h 1325"/>
                  <a:gd name="T96" fmla="*/ 709 w 795"/>
                  <a:gd name="T97" fmla="*/ 1256 h 1325"/>
                  <a:gd name="T98" fmla="*/ 719 w 795"/>
                  <a:gd name="T99" fmla="*/ 1248 h 1325"/>
                  <a:gd name="T100" fmla="*/ 727 w 795"/>
                  <a:gd name="T101" fmla="*/ 1238 h 1325"/>
                  <a:gd name="T102" fmla="*/ 729 w 795"/>
                  <a:gd name="T103" fmla="*/ 1226 h 1325"/>
                  <a:gd name="T104" fmla="*/ 729 w 795"/>
                  <a:gd name="T105" fmla="*/ 99 h 1325"/>
                  <a:gd name="T106" fmla="*/ 727 w 795"/>
                  <a:gd name="T107" fmla="*/ 87 h 1325"/>
                  <a:gd name="T108" fmla="*/ 719 w 795"/>
                  <a:gd name="T109" fmla="*/ 76 h 1325"/>
                  <a:gd name="T110" fmla="*/ 709 w 795"/>
                  <a:gd name="T111" fmla="*/ 69 h 1325"/>
                  <a:gd name="T112" fmla="*/ 696 w 795"/>
                  <a:gd name="T113" fmla="*/ 66 h 1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5" h="1325">
                    <a:moveTo>
                      <a:pt x="696" y="1325"/>
                    </a:moveTo>
                    <a:lnTo>
                      <a:pt x="99" y="1325"/>
                    </a:lnTo>
                    <a:lnTo>
                      <a:pt x="99" y="1325"/>
                    </a:lnTo>
                    <a:lnTo>
                      <a:pt x="89" y="1324"/>
                    </a:lnTo>
                    <a:lnTo>
                      <a:pt x="80" y="1323"/>
                    </a:lnTo>
                    <a:lnTo>
                      <a:pt x="71" y="1320"/>
                    </a:lnTo>
                    <a:lnTo>
                      <a:pt x="61" y="1317"/>
                    </a:lnTo>
                    <a:lnTo>
                      <a:pt x="52" y="1313"/>
                    </a:lnTo>
                    <a:lnTo>
                      <a:pt x="45" y="1307"/>
                    </a:lnTo>
                    <a:lnTo>
                      <a:pt x="36" y="1302"/>
                    </a:lnTo>
                    <a:lnTo>
                      <a:pt x="29" y="1296"/>
                    </a:lnTo>
                    <a:lnTo>
                      <a:pt x="23" y="1289"/>
                    </a:lnTo>
                    <a:lnTo>
                      <a:pt x="18" y="1281"/>
                    </a:lnTo>
                    <a:lnTo>
                      <a:pt x="13" y="1272"/>
                    </a:lnTo>
                    <a:lnTo>
                      <a:pt x="8" y="1264"/>
                    </a:lnTo>
                    <a:lnTo>
                      <a:pt x="4" y="1255"/>
                    </a:lnTo>
                    <a:lnTo>
                      <a:pt x="2" y="1245"/>
                    </a:lnTo>
                    <a:lnTo>
                      <a:pt x="1" y="1236"/>
                    </a:lnTo>
                    <a:lnTo>
                      <a:pt x="0" y="1226"/>
                    </a:lnTo>
                    <a:lnTo>
                      <a:pt x="0" y="99"/>
                    </a:lnTo>
                    <a:lnTo>
                      <a:pt x="0" y="99"/>
                    </a:lnTo>
                    <a:lnTo>
                      <a:pt x="1" y="90"/>
                    </a:lnTo>
                    <a:lnTo>
                      <a:pt x="2" y="79"/>
                    </a:lnTo>
                    <a:lnTo>
                      <a:pt x="4" y="70"/>
                    </a:lnTo>
                    <a:lnTo>
                      <a:pt x="8" y="61"/>
                    </a:lnTo>
                    <a:lnTo>
                      <a:pt x="13" y="53"/>
                    </a:lnTo>
                    <a:lnTo>
                      <a:pt x="18" y="44"/>
                    </a:lnTo>
                    <a:lnTo>
                      <a:pt x="23" y="36"/>
                    </a:lnTo>
                    <a:lnTo>
                      <a:pt x="29" y="30"/>
                    </a:lnTo>
                    <a:lnTo>
                      <a:pt x="36" y="23"/>
                    </a:lnTo>
                    <a:lnTo>
                      <a:pt x="45" y="17"/>
                    </a:lnTo>
                    <a:lnTo>
                      <a:pt x="52" y="12"/>
                    </a:lnTo>
                    <a:lnTo>
                      <a:pt x="61" y="8"/>
                    </a:lnTo>
                    <a:lnTo>
                      <a:pt x="71" y="5"/>
                    </a:lnTo>
                    <a:lnTo>
                      <a:pt x="80" y="2"/>
                    </a:lnTo>
                    <a:lnTo>
                      <a:pt x="89" y="1"/>
                    </a:lnTo>
                    <a:lnTo>
                      <a:pt x="99" y="0"/>
                    </a:lnTo>
                    <a:lnTo>
                      <a:pt x="696" y="0"/>
                    </a:lnTo>
                    <a:lnTo>
                      <a:pt x="696" y="0"/>
                    </a:lnTo>
                    <a:lnTo>
                      <a:pt x="706" y="1"/>
                    </a:lnTo>
                    <a:lnTo>
                      <a:pt x="716" y="2"/>
                    </a:lnTo>
                    <a:lnTo>
                      <a:pt x="726" y="5"/>
                    </a:lnTo>
                    <a:lnTo>
                      <a:pt x="735" y="8"/>
                    </a:lnTo>
                    <a:lnTo>
                      <a:pt x="743" y="12"/>
                    </a:lnTo>
                    <a:lnTo>
                      <a:pt x="751" y="17"/>
                    </a:lnTo>
                    <a:lnTo>
                      <a:pt x="759" y="23"/>
                    </a:lnTo>
                    <a:lnTo>
                      <a:pt x="766" y="30"/>
                    </a:lnTo>
                    <a:lnTo>
                      <a:pt x="772" y="36"/>
                    </a:lnTo>
                    <a:lnTo>
                      <a:pt x="778" y="44"/>
                    </a:lnTo>
                    <a:lnTo>
                      <a:pt x="784" y="53"/>
                    </a:lnTo>
                    <a:lnTo>
                      <a:pt x="788" y="61"/>
                    </a:lnTo>
                    <a:lnTo>
                      <a:pt x="791" y="70"/>
                    </a:lnTo>
                    <a:lnTo>
                      <a:pt x="793" y="79"/>
                    </a:lnTo>
                    <a:lnTo>
                      <a:pt x="795" y="90"/>
                    </a:lnTo>
                    <a:lnTo>
                      <a:pt x="795" y="99"/>
                    </a:lnTo>
                    <a:lnTo>
                      <a:pt x="795" y="1226"/>
                    </a:lnTo>
                    <a:lnTo>
                      <a:pt x="795" y="1226"/>
                    </a:lnTo>
                    <a:lnTo>
                      <a:pt x="795" y="1236"/>
                    </a:lnTo>
                    <a:lnTo>
                      <a:pt x="793" y="1245"/>
                    </a:lnTo>
                    <a:lnTo>
                      <a:pt x="791" y="1255"/>
                    </a:lnTo>
                    <a:lnTo>
                      <a:pt x="788" y="1264"/>
                    </a:lnTo>
                    <a:lnTo>
                      <a:pt x="784" y="1272"/>
                    </a:lnTo>
                    <a:lnTo>
                      <a:pt x="778" y="1281"/>
                    </a:lnTo>
                    <a:lnTo>
                      <a:pt x="772" y="1289"/>
                    </a:lnTo>
                    <a:lnTo>
                      <a:pt x="766" y="1296"/>
                    </a:lnTo>
                    <a:lnTo>
                      <a:pt x="759" y="1302"/>
                    </a:lnTo>
                    <a:lnTo>
                      <a:pt x="751" y="1307"/>
                    </a:lnTo>
                    <a:lnTo>
                      <a:pt x="743" y="1313"/>
                    </a:lnTo>
                    <a:lnTo>
                      <a:pt x="735" y="1317"/>
                    </a:lnTo>
                    <a:lnTo>
                      <a:pt x="726" y="1320"/>
                    </a:lnTo>
                    <a:lnTo>
                      <a:pt x="716" y="1323"/>
                    </a:lnTo>
                    <a:lnTo>
                      <a:pt x="706" y="1324"/>
                    </a:lnTo>
                    <a:lnTo>
                      <a:pt x="696" y="1325"/>
                    </a:lnTo>
                    <a:lnTo>
                      <a:pt x="696" y="1325"/>
                    </a:lnTo>
                    <a:close/>
                    <a:moveTo>
                      <a:pt x="99" y="66"/>
                    </a:moveTo>
                    <a:lnTo>
                      <a:pt x="99" y="66"/>
                    </a:lnTo>
                    <a:lnTo>
                      <a:pt x="93" y="67"/>
                    </a:lnTo>
                    <a:lnTo>
                      <a:pt x="87" y="69"/>
                    </a:lnTo>
                    <a:lnTo>
                      <a:pt x="81" y="72"/>
                    </a:lnTo>
                    <a:lnTo>
                      <a:pt x="77" y="76"/>
                    </a:lnTo>
                    <a:lnTo>
                      <a:pt x="73" y="82"/>
                    </a:lnTo>
                    <a:lnTo>
                      <a:pt x="69" y="87"/>
                    </a:lnTo>
                    <a:lnTo>
                      <a:pt x="67" y="93"/>
                    </a:lnTo>
                    <a:lnTo>
                      <a:pt x="66" y="99"/>
                    </a:lnTo>
                    <a:lnTo>
                      <a:pt x="66" y="1226"/>
                    </a:lnTo>
                    <a:lnTo>
                      <a:pt x="66" y="1226"/>
                    </a:lnTo>
                    <a:lnTo>
                      <a:pt x="67" y="1232"/>
                    </a:lnTo>
                    <a:lnTo>
                      <a:pt x="69" y="1238"/>
                    </a:lnTo>
                    <a:lnTo>
                      <a:pt x="73" y="1244"/>
                    </a:lnTo>
                    <a:lnTo>
                      <a:pt x="77" y="1248"/>
                    </a:lnTo>
                    <a:lnTo>
                      <a:pt x="81" y="1253"/>
                    </a:lnTo>
                    <a:lnTo>
                      <a:pt x="87" y="1256"/>
                    </a:lnTo>
                    <a:lnTo>
                      <a:pt x="93" y="1258"/>
                    </a:lnTo>
                    <a:lnTo>
                      <a:pt x="99" y="1259"/>
                    </a:lnTo>
                    <a:lnTo>
                      <a:pt x="696" y="1259"/>
                    </a:lnTo>
                    <a:lnTo>
                      <a:pt x="696" y="1259"/>
                    </a:lnTo>
                    <a:lnTo>
                      <a:pt x="703" y="1258"/>
                    </a:lnTo>
                    <a:lnTo>
                      <a:pt x="709" y="1256"/>
                    </a:lnTo>
                    <a:lnTo>
                      <a:pt x="714" y="1253"/>
                    </a:lnTo>
                    <a:lnTo>
                      <a:pt x="719" y="1248"/>
                    </a:lnTo>
                    <a:lnTo>
                      <a:pt x="724" y="1244"/>
                    </a:lnTo>
                    <a:lnTo>
                      <a:pt x="727" y="1238"/>
                    </a:lnTo>
                    <a:lnTo>
                      <a:pt x="729" y="1232"/>
                    </a:lnTo>
                    <a:lnTo>
                      <a:pt x="729" y="1226"/>
                    </a:lnTo>
                    <a:lnTo>
                      <a:pt x="729" y="99"/>
                    </a:lnTo>
                    <a:lnTo>
                      <a:pt x="729" y="99"/>
                    </a:lnTo>
                    <a:lnTo>
                      <a:pt x="729" y="93"/>
                    </a:lnTo>
                    <a:lnTo>
                      <a:pt x="727" y="87"/>
                    </a:lnTo>
                    <a:lnTo>
                      <a:pt x="724" y="82"/>
                    </a:lnTo>
                    <a:lnTo>
                      <a:pt x="719" y="76"/>
                    </a:lnTo>
                    <a:lnTo>
                      <a:pt x="714" y="72"/>
                    </a:lnTo>
                    <a:lnTo>
                      <a:pt x="709" y="69"/>
                    </a:lnTo>
                    <a:lnTo>
                      <a:pt x="703" y="67"/>
                    </a:lnTo>
                    <a:lnTo>
                      <a:pt x="696" y="66"/>
                    </a:lnTo>
                    <a:lnTo>
                      <a:pt x="9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7" name="Freeform 144">
                <a:extLst>
                  <a:ext uri="{FF2B5EF4-FFF2-40B4-BE49-F238E27FC236}">
                    <a16:creationId xmlns:a16="http://schemas.microsoft.com/office/drawing/2014/main" id="{0DAC509A-9E6C-4520-9F61-A9B493621D97}"/>
                  </a:ext>
                </a:extLst>
              </p:cNvPr>
              <p:cNvSpPr>
                <a:spLocks noEditPoints="1"/>
              </p:cNvSpPr>
              <p:nvPr/>
            </p:nvSpPr>
            <p:spPr bwMode="auto">
              <a:xfrm>
                <a:off x="3413125" y="3594101"/>
                <a:ext cx="44450" cy="44450"/>
              </a:xfrm>
              <a:custGeom>
                <a:avLst/>
                <a:gdLst>
                  <a:gd name="T0" fmla="*/ 166 w 199"/>
                  <a:gd name="T1" fmla="*/ 198 h 198"/>
                  <a:gd name="T2" fmla="*/ 33 w 199"/>
                  <a:gd name="T3" fmla="*/ 198 h 198"/>
                  <a:gd name="T4" fmla="*/ 33 w 199"/>
                  <a:gd name="T5" fmla="*/ 198 h 198"/>
                  <a:gd name="T6" fmla="*/ 27 w 199"/>
                  <a:gd name="T7" fmla="*/ 197 h 198"/>
                  <a:gd name="T8" fmla="*/ 21 w 199"/>
                  <a:gd name="T9" fmla="*/ 195 h 198"/>
                  <a:gd name="T10" fmla="*/ 15 w 199"/>
                  <a:gd name="T11" fmla="*/ 192 h 198"/>
                  <a:gd name="T12" fmla="*/ 11 w 199"/>
                  <a:gd name="T13" fmla="*/ 188 h 198"/>
                  <a:gd name="T14" fmla="*/ 7 w 199"/>
                  <a:gd name="T15" fmla="*/ 184 h 198"/>
                  <a:gd name="T16" fmla="*/ 3 w 199"/>
                  <a:gd name="T17" fmla="*/ 178 h 198"/>
                  <a:gd name="T18" fmla="*/ 1 w 199"/>
                  <a:gd name="T19" fmla="*/ 172 h 198"/>
                  <a:gd name="T20" fmla="*/ 0 w 199"/>
                  <a:gd name="T21" fmla="*/ 165 h 198"/>
                  <a:gd name="T22" fmla="*/ 0 w 199"/>
                  <a:gd name="T23" fmla="*/ 33 h 198"/>
                  <a:gd name="T24" fmla="*/ 0 w 199"/>
                  <a:gd name="T25" fmla="*/ 33 h 198"/>
                  <a:gd name="T26" fmla="*/ 1 w 199"/>
                  <a:gd name="T27" fmla="*/ 26 h 198"/>
                  <a:gd name="T28" fmla="*/ 3 w 199"/>
                  <a:gd name="T29" fmla="*/ 19 h 198"/>
                  <a:gd name="T30" fmla="*/ 7 w 199"/>
                  <a:gd name="T31" fmla="*/ 14 h 198"/>
                  <a:gd name="T32" fmla="*/ 11 w 199"/>
                  <a:gd name="T33" fmla="*/ 9 h 198"/>
                  <a:gd name="T34" fmla="*/ 15 w 199"/>
                  <a:gd name="T35" fmla="*/ 5 h 198"/>
                  <a:gd name="T36" fmla="*/ 21 w 199"/>
                  <a:gd name="T37" fmla="*/ 2 h 198"/>
                  <a:gd name="T38" fmla="*/ 27 w 199"/>
                  <a:gd name="T39" fmla="*/ 0 h 198"/>
                  <a:gd name="T40" fmla="*/ 33 w 199"/>
                  <a:gd name="T41" fmla="*/ 0 h 198"/>
                  <a:gd name="T42" fmla="*/ 166 w 199"/>
                  <a:gd name="T43" fmla="*/ 0 h 198"/>
                  <a:gd name="T44" fmla="*/ 166 w 199"/>
                  <a:gd name="T45" fmla="*/ 0 h 198"/>
                  <a:gd name="T46" fmla="*/ 173 w 199"/>
                  <a:gd name="T47" fmla="*/ 0 h 198"/>
                  <a:gd name="T48" fmla="*/ 179 w 199"/>
                  <a:gd name="T49" fmla="*/ 2 h 198"/>
                  <a:gd name="T50" fmla="*/ 185 w 199"/>
                  <a:gd name="T51" fmla="*/ 5 h 198"/>
                  <a:gd name="T52" fmla="*/ 190 w 199"/>
                  <a:gd name="T53" fmla="*/ 9 h 198"/>
                  <a:gd name="T54" fmla="*/ 194 w 199"/>
                  <a:gd name="T55" fmla="*/ 14 h 198"/>
                  <a:gd name="T56" fmla="*/ 197 w 199"/>
                  <a:gd name="T57" fmla="*/ 19 h 198"/>
                  <a:gd name="T58" fmla="*/ 199 w 199"/>
                  <a:gd name="T59" fmla="*/ 26 h 198"/>
                  <a:gd name="T60" fmla="*/ 199 w 199"/>
                  <a:gd name="T61" fmla="*/ 33 h 198"/>
                  <a:gd name="T62" fmla="*/ 199 w 199"/>
                  <a:gd name="T63" fmla="*/ 165 h 198"/>
                  <a:gd name="T64" fmla="*/ 199 w 199"/>
                  <a:gd name="T65" fmla="*/ 165 h 198"/>
                  <a:gd name="T66" fmla="*/ 199 w 199"/>
                  <a:gd name="T67" fmla="*/ 172 h 198"/>
                  <a:gd name="T68" fmla="*/ 197 w 199"/>
                  <a:gd name="T69" fmla="*/ 178 h 198"/>
                  <a:gd name="T70" fmla="*/ 194 w 199"/>
                  <a:gd name="T71" fmla="*/ 184 h 198"/>
                  <a:gd name="T72" fmla="*/ 190 w 199"/>
                  <a:gd name="T73" fmla="*/ 188 h 198"/>
                  <a:gd name="T74" fmla="*/ 185 w 199"/>
                  <a:gd name="T75" fmla="*/ 192 h 198"/>
                  <a:gd name="T76" fmla="*/ 179 w 199"/>
                  <a:gd name="T77" fmla="*/ 195 h 198"/>
                  <a:gd name="T78" fmla="*/ 173 w 199"/>
                  <a:gd name="T79" fmla="*/ 197 h 198"/>
                  <a:gd name="T80" fmla="*/ 166 w 199"/>
                  <a:gd name="T81" fmla="*/ 198 h 198"/>
                  <a:gd name="T82" fmla="*/ 166 w 199"/>
                  <a:gd name="T83" fmla="*/ 198 h 198"/>
                  <a:gd name="T84" fmla="*/ 67 w 199"/>
                  <a:gd name="T85" fmla="*/ 132 h 198"/>
                  <a:gd name="T86" fmla="*/ 133 w 199"/>
                  <a:gd name="T87" fmla="*/ 132 h 198"/>
                  <a:gd name="T88" fmla="*/ 133 w 199"/>
                  <a:gd name="T89" fmla="*/ 66 h 198"/>
                  <a:gd name="T90" fmla="*/ 67 w 199"/>
                  <a:gd name="T91" fmla="*/ 66 h 198"/>
                  <a:gd name="T92" fmla="*/ 67 w 199"/>
                  <a:gd name="T93" fmla="*/ 13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9" h="198">
                    <a:moveTo>
                      <a:pt x="166" y="198"/>
                    </a:moveTo>
                    <a:lnTo>
                      <a:pt x="33" y="198"/>
                    </a:lnTo>
                    <a:lnTo>
                      <a:pt x="33" y="198"/>
                    </a:lnTo>
                    <a:lnTo>
                      <a:pt x="27" y="197"/>
                    </a:lnTo>
                    <a:lnTo>
                      <a:pt x="21" y="195"/>
                    </a:lnTo>
                    <a:lnTo>
                      <a:pt x="15" y="192"/>
                    </a:lnTo>
                    <a:lnTo>
                      <a:pt x="11" y="188"/>
                    </a:lnTo>
                    <a:lnTo>
                      <a:pt x="7" y="184"/>
                    </a:lnTo>
                    <a:lnTo>
                      <a:pt x="3" y="178"/>
                    </a:lnTo>
                    <a:lnTo>
                      <a:pt x="1" y="172"/>
                    </a:lnTo>
                    <a:lnTo>
                      <a:pt x="0" y="165"/>
                    </a:lnTo>
                    <a:lnTo>
                      <a:pt x="0" y="33"/>
                    </a:lnTo>
                    <a:lnTo>
                      <a:pt x="0" y="33"/>
                    </a:lnTo>
                    <a:lnTo>
                      <a:pt x="1" y="26"/>
                    </a:lnTo>
                    <a:lnTo>
                      <a:pt x="3" y="19"/>
                    </a:lnTo>
                    <a:lnTo>
                      <a:pt x="7" y="14"/>
                    </a:lnTo>
                    <a:lnTo>
                      <a:pt x="11" y="9"/>
                    </a:lnTo>
                    <a:lnTo>
                      <a:pt x="15" y="5"/>
                    </a:lnTo>
                    <a:lnTo>
                      <a:pt x="21" y="2"/>
                    </a:lnTo>
                    <a:lnTo>
                      <a:pt x="27" y="0"/>
                    </a:lnTo>
                    <a:lnTo>
                      <a:pt x="33" y="0"/>
                    </a:lnTo>
                    <a:lnTo>
                      <a:pt x="166" y="0"/>
                    </a:lnTo>
                    <a:lnTo>
                      <a:pt x="166" y="0"/>
                    </a:lnTo>
                    <a:lnTo>
                      <a:pt x="173" y="0"/>
                    </a:lnTo>
                    <a:lnTo>
                      <a:pt x="179" y="2"/>
                    </a:lnTo>
                    <a:lnTo>
                      <a:pt x="185" y="5"/>
                    </a:lnTo>
                    <a:lnTo>
                      <a:pt x="190" y="9"/>
                    </a:lnTo>
                    <a:lnTo>
                      <a:pt x="194" y="14"/>
                    </a:lnTo>
                    <a:lnTo>
                      <a:pt x="197" y="19"/>
                    </a:lnTo>
                    <a:lnTo>
                      <a:pt x="199" y="26"/>
                    </a:lnTo>
                    <a:lnTo>
                      <a:pt x="199" y="33"/>
                    </a:lnTo>
                    <a:lnTo>
                      <a:pt x="199" y="165"/>
                    </a:lnTo>
                    <a:lnTo>
                      <a:pt x="199" y="165"/>
                    </a:lnTo>
                    <a:lnTo>
                      <a:pt x="199" y="172"/>
                    </a:lnTo>
                    <a:lnTo>
                      <a:pt x="197" y="178"/>
                    </a:lnTo>
                    <a:lnTo>
                      <a:pt x="194" y="184"/>
                    </a:lnTo>
                    <a:lnTo>
                      <a:pt x="190" y="188"/>
                    </a:lnTo>
                    <a:lnTo>
                      <a:pt x="185" y="192"/>
                    </a:lnTo>
                    <a:lnTo>
                      <a:pt x="179" y="195"/>
                    </a:lnTo>
                    <a:lnTo>
                      <a:pt x="173" y="197"/>
                    </a:lnTo>
                    <a:lnTo>
                      <a:pt x="166" y="198"/>
                    </a:lnTo>
                    <a:lnTo>
                      <a:pt x="166" y="198"/>
                    </a:lnTo>
                    <a:close/>
                    <a:moveTo>
                      <a:pt x="67" y="132"/>
                    </a:moveTo>
                    <a:lnTo>
                      <a:pt x="133" y="132"/>
                    </a:lnTo>
                    <a:lnTo>
                      <a:pt x="133" y="66"/>
                    </a:lnTo>
                    <a:lnTo>
                      <a:pt x="67" y="66"/>
                    </a:lnTo>
                    <a:lnTo>
                      <a:pt x="67"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8" name="Freeform 145">
                <a:extLst>
                  <a:ext uri="{FF2B5EF4-FFF2-40B4-BE49-F238E27FC236}">
                    <a16:creationId xmlns:a16="http://schemas.microsoft.com/office/drawing/2014/main" id="{ADA3F121-E76D-4C88-BE8B-C649FB000573}"/>
                  </a:ext>
                </a:extLst>
              </p:cNvPr>
              <p:cNvSpPr>
                <a:spLocks noEditPoints="1"/>
              </p:cNvSpPr>
              <p:nvPr/>
            </p:nvSpPr>
            <p:spPr bwMode="auto">
              <a:xfrm>
                <a:off x="3517900" y="3594101"/>
                <a:ext cx="44450" cy="44450"/>
              </a:xfrm>
              <a:custGeom>
                <a:avLst/>
                <a:gdLst>
                  <a:gd name="T0" fmla="*/ 166 w 199"/>
                  <a:gd name="T1" fmla="*/ 198 h 198"/>
                  <a:gd name="T2" fmla="*/ 33 w 199"/>
                  <a:gd name="T3" fmla="*/ 198 h 198"/>
                  <a:gd name="T4" fmla="*/ 33 w 199"/>
                  <a:gd name="T5" fmla="*/ 198 h 198"/>
                  <a:gd name="T6" fmla="*/ 27 w 199"/>
                  <a:gd name="T7" fmla="*/ 197 h 198"/>
                  <a:gd name="T8" fmla="*/ 21 w 199"/>
                  <a:gd name="T9" fmla="*/ 195 h 198"/>
                  <a:gd name="T10" fmla="*/ 14 w 199"/>
                  <a:gd name="T11" fmla="*/ 192 h 198"/>
                  <a:gd name="T12" fmla="*/ 10 w 199"/>
                  <a:gd name="T13" fmla="*/ 188 h 198"/>
                  <a:gd name="T14" fmla="*/ 6 w 199"/>
                  <a:gd name="T15" fmla="*/ 184 h 198"/>
                  <a:gd name="T16" fmla="*/ 3 w 199"/>
                  <a:gd name="T17" fmla="*/ 178 h 198"/>
                  <a:gd name="T18" fmla="*/ 1 w 199"/>
                  <a:gd name="T19" fmla="*/ 172 h 198"/>
                  <a:gd name="T20" fmla="*/ 0 w 199"/>
                  <a:gd name="T21" fmla="*/ 165 h 198"/>
                  <a:gd name="T22" fmla="*/ 0 w 199"/>
                  <a:gd name="T23" fmla="*/ 33 h 198"/>
                  <a:gd name="T24" fmla="*/ 0 w 199"/>
                  <a:gd name="T25" fmla="*/ 33 h 198"/>
                  <a:gd name="T26" fmla="*/ 1 w 199"/>
                  <a:gd name="T27" fmla="*/ 26 h 198"/>
                  <a:gd name="T28" fmla="*/ 3 w 199"/>
                  <a:gd name="T29" fmla="*/ 19 h 198"/>
                  <a:gd name="T30" fmla="*/ 6 w 199"/>
                  <a:gd name="T31" fmla="*/ 14 h 198"/>
                  <a:gd name="T32" fmla="*/ 10 w 199"/>
                  <a:gd name="T33" fmla="*/ 9 h 198"/>
                  <a:gd name="T34" fmla="*/ 14 w 199"/>
                  <a:gd name="T35" fmla="*/ 5 h 198"/>
                  <a:gd name="T36" fmla="*/ 21 w 199"/>
                  <a:gd name="T37" fmla="*/ 2 h 198"/>
                  <a:gd name="T38" fmla="*/ 27 w 199"/>
                  <a:gd name="T39" fmla="*/ 0 h 198"/>
                  <a:gd name="T40" fmla="*/ 33 w 199"/>
                  <a:gd name="T41" fmla="*/ 0 h 198"/>
                  <a:gd name="T42" fmla="*/ 166 w 199"/>
                  <a:gd name="T43" fmla="*/ 0 h 198"/>
                  <a:gd name="T44" fmla="*/ 166 w 199"/>
                  <a:gd name="T45" fmla="*/ 0 h 198"/>
                  <a:gd name="T46" fmla="*/ 173 w 199"/>
                  <a:gd name="T47" fmla="*/ 0 h 198"/>
                  <a:gd name="T48" fmla="*/ 179 w 199"/>
                  <a:gd name="T49" fmla="*/ 2 h 198"/>
                  <a:gd name="T50" fmla="*/ 184 w 199"/>
                  <a:gd name="T51" fmla="*/ 5 h 198"/>
                  <a:gd name="T52" fmla="*/ 189 w 199"/>
                  <a:gd name="T53" fmla="*/ 9 h 198"/>
                  <a:gd name="T54" fmla="*/ 194 w 199"/>
                  <a:gd name="T55" fmla="*/ 14 h 198"/>
                  <a:gd name="T56" fmla="*/ 197 w 199"/>
                  <a:gd name="T57" fmla="*/ 19 h 198"/>
                  <a:gd name="T58" fmla="*/ 199 w 199"/>
                  <a:gd name="T59" fmla="*/ 26 h 198"/>
                  <a:gd name="T60" fmla="*/ 199 w 199"/>
                  <a:gd name="T61" fmla="*/ 33 h 198"/>
                  <a:gd name="T62" fmla="*/ 199 w 199"/>
                  <a:gd name="T63" fmla="*/ 165 h 198"/>
                  <a:gd name="T64" fmla="*/ 199 w 199"/>
                  <a:gd name="T65" fmla="*/ 165 h 198"/>
                  <a:gd name="T66" fmla="*/ 199 w 199"/>
                  <a:gd name="T67" fmla="*/ 172 h 198"/>
                  <a:gd name="T68" fmla="*/ 197 w 199"/>
                  <a:gd name="T69" fmla="*/ 178 h 198"/>
                  <a:gd name="T70" fmla="*/ 194 w 199"/>
                  <a:gd name="T71" fmla="*/ 184 h 198"/>
                  <a:gd name="T72" fmla="*/ 189 w 199"/>
                  <a:gd name="T73" fmla="*/ 188 h 198"/>
                  <a:gd name="T74" fmla="*/ 184 w 199"/>
                  <a:gd name="T75" fmla="*/ 192 h 198"/>
                  <a:gd name="T76" fmla="*/ 179 w 199"/>
                  <a:gd name="T77" fmla="*/ 195 h 198"/>
                  <a:gd name="T78" fmla="*/ 173 w 199"/>
                  <a:gd name="T79" fmla="*/ 197 h 198"/>
                  <a:gd name="T80" fmla="*/ 166 w 199"/>
                  <a:gd name="T81" fmla="*/ 198 h 198"/>
                  <a:gd name="T82" fmla="*/ 166 w 199"/>
                  <a:gd name="T83" fmla="*/ 198 h 198"/>
                  <a:gd name="T84" fmla="*/ 66 w 199"/>
                  <a:gd name="T85" fmla="*/ 132 h 198"/>
                  <a:gd name="T86" fmla="*/ 132 w 199"/>
                  <a:gd name="T87" fmla="*/ 132 h 198"/>
                  <a:gd name="T88" fmla="*/ 132 w 199"/>
                  <a:gd name="T89" fmla="*/ 66 h 198"/>
                  <a:gd name="T90" fmla="*/ 66 w 199"/>
                  <a:gd name="T91" fmla="*/ 66 h 198"/>
                  <a:gd name="T92" fmla="*/ 66 w 199"/>
                  <a:gd name="T93" fmla="*/ 13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9" h="198">
                    <a:moveTo>
                      <a:pt x="166" y="198"/>
                    </a:moveTo>
                    <a:lnTo>
                      <a:pt x="33" y="198"/>
                    </a:lnTo>
                    <a:lnTo>
                      <a:pt x="33" y="198"/>
                    </a:lnTo>
                    <a:lnTo>
                      <a:pt x="27" y="197"/>
                    </a:lnTo>
                    <a:lnTo>
                      <a:pt x="21" y="195"/>
                    </a:lnTo>
                    <a:lnTo>
                      <a:pt x="14" y="192"/>
                    </a:lnTo>
                    <a:lnTo>
                      <a:pt x="10" y="188"/>
                    </a:lnTo>
                    <a:lnTo>
                      <a:pt x="6" y="184"/>
                    </a:lnTo>
                    <a:lnTo>
                      <a:pt x="3" y="178"/>
                    </a:lnTo>
                    <a:lnTo>
                      <a:pt x="1" y="172"/>
                    </a:lnTo>
                    <a:lnTo>
                      <a:pt x="0" y="165"/>
                    </a:lnTo>
                    <a:lnTo>
                      <a:pt x="0" y="33"/>
                    </a:lnTo>
                    <a:lnTo>
                      <a:pt x="0" y="33"/>
                    </a:lnTo>
                    <a:lnTo>
                      <a:pt x="1" y="26"/>
                    </a:lnTo>
                    <a:lnTo>
                      <a:pt x="3" y="19"/>
                    </a:lnTo>
                    <a:lnTo>
                      <a:pt x="6" y="14"/>
                    </a:lnTo>
                    <a:lnTo>
                      <a:pt x="10" y="9"/>
                    </a:lnTo>
                    <a:lnTo>
                      <a:pt x="14" y="5"/>
                    </a:lnTo>
                    <a:lnTo>
                      <a:pt x="21" y="2"/>
                    </a:lnTo>
                    <a:lnTo>
                      <a:pt x="27" y="0"/>
                    </a:lnTo>
                    <a:lnTo>
                      <a:pt x="33" y="0"/>
                    </a:lnTo>
                    <a:lnTo>
                      <a:pt x="166" y="0"/>
                    </a:lnTo>
                    <a:lnTo>
                      <a:pt x="166" y="0"/>
                    </a:lnTo>
                    <a:lnTo>
                      <a:pt x="173" y="0"/>
                    </a:lnTo>
                    <a:lnTo>
                      <a:pt x="179" y="2"/>
                    </a:lnTo>
                    <a:lnTo>
                      <a:pt x="184" y="5"/>
                    </a:lnTo>
                    <a:lnTo>
                      <a:pt x="189" y="9"/>
                    </a:lnTo>
                    <a:lnTo>
                      <a:pt x="194" y="14"/>
                    </a:lnTo>
                    <a:lnTo>
                      <a:pt x="197" y="19"/>
                    </a:lnTo>
                    <a:lnTo>
                      <a:pt x="199" y="26"/>
                    </a:lnTo>
                    <a:lnTo>
                      <a:pt x="199" y="33"/>
                    </a:lnTo>
                    <a:lnTo>
                      <a:pt x="199" y="165"/>
                    </a:lnTo>
                    <a:lnTo>
                      <a:pt x="199" y="165"/>
                    </a:lnTo>
                    <a:lnTo>
                      <a:pt x="199" y="172"/>
                    </a:lnTo>
                    <a:lnTo>
                      <a:pt x="197" y="178"/>
                    </a:lnTo>
                    <a:lnTo>
                      <a:pt x="194" y="184"/>
                    </a:lnTo>
                    <a:lnTo>
                      <a:pt x="189" y="188"/>
                    </a:lnTo>
                    <a:lnTo>
                      <a:pt x="184" y="192"/>
                    </a:lnTo>
                    <a:lnTo>
                      <a:pt x="179" y="195"/>
                    </a:lnTo>
                    <a:lnTo>
                      <a:pt x="173" y="197"/>
                    </a:lnTo>
                    <a:lnTo>
                      <a:pt x="166" y="198"/>
                    </a:lnTo>
                    <a:lnTo>
                      <a:pt x="166" y="198"/>
                    </a:lnTo>
                    <a:close/>
                    <a:moveTo>
                      <a:pt x="66" y="132"/>
                    </a:moveTo>
                    <a:lnTo>
                      <a:pt x="132" y="132"/>
                    </a:lnTo>
                    <a:lnTo>
                      <a:pt x="132" y="66"/>
                    </a:lnTo>
                    <a:lnTo>
                      <a:pt x="66" y="66"/>
                    </a:lnTo>
                    <a:lnTo>
                      <a:pt x="66"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9" name="Freeform 146">
                <a:extLst>
                  <a:ext uri="{FF2B5EF4-FFF2-40B4-BE49-F238E27FC236}">
                    <a16:creationId xmlns:a16="http://schemas.microsoft.com/office/drawing/2014/main" id="{B974A5D4-5332-42F9-921F-542CD3D5773C}"/>
                  </a:ext>
                </a:extLst>
              </p:cNvPr>
              <p:cNvSpPr>
                <a:spLocks noEditPoints="1"/>
              </p:cNvSpPr>
              <p:nvPr/>
            </p:nvSpPr>
            <p:spPr bwMode="auto">
              <a:xfrm>
                <a:off x="3413125" y="3278188"/>
                <a:ext cx="44450" cy="46038"/>
              </a:xfrm>
              <a:custGeom>
                <a:avLst/>
                <a:gdLst>
                  <a:gd name="T0" fmla="*/ 166 w 199"/>
                  <a:gd name="T1" fmla="*/ 199 h 199"/>
                  <a:gd name="T2" fmla="*/ 33 w 199"/>
                  <a:gd name="T3" fmla="*/ 199 h 199"/>
                  <a:gd name="T4" fmla="*/ 33 w 199"/>
                  <a:gd name="T5" fmla="*/ 199 h 199"/>
                  <a:gd name="T6" fmla="*/ 27 w 199"/>
                  <a:gd name="T7" fmla="*/ 199 h 199"/>
                  <a:gd name="T8" fmla="*/ 21 w 199"/>
                  <a:gd name="T9" fmla="*/ 197 h 199"/>
                  <a:gd name="T10" fmla="*/ 15 w 199"/>
                  <a:gd name="T11" fmla="*/ 194 h 199"/>
                  <a:gd name="T12" fmla="*/ 11 w 199"/>
                  <a:gd name="T13" fmla="*/ 190 h 199"/>
                  <a:gd name="T14" fmla="*/ 7 w 199"/>
                  <a:gd name="T15" fmla="*/ 185 h 199"/>
                  <a:gd name="T16" fmla="*/ 3 w 199"/>
                  <a:gd name="T17" fmla="*/ 179 h 199"/>
                  <a:gd name="T18" fmla="*/ 1 w 199"/>
                  <a:gd name="T19" fmla="*/ 173 h 199"/>
                  <a:gd name="T20" fmla="*/ 0 w 199"/>
                  <a:gd name="T21" fmla="*/ 166 h 199"/>
                  <a:gd name="T22" fmla="*/ 0 w 199"/>
                  <a:gd name="T23" fmla="*/ 33 h 199"/>
                  <a:gd name="T24" fmla="*/ 0 w 199"/>
                  <a:gd name="T25" fmla="*/ 33 h 199"/>
                  <a:gd name="T26" fmla="*/ 1 w 199"/>
                  <a:gd name="T27" fmla="*/ 27 h 199"/>
                  <a:gd name="T28" fmla="*/ 3 w 199"/>
                  <a:gd name="T29" fmla="*/ 21 h 199"/>
                  <a:gd name="T30" fmla="*/ 7 w 199"/>
                  <a:gd name="T31" fmla="*/ 15 h 199"/>
                  <a:gd name="T32" fmla="*/ 11 w 199"/>
                  <a:gd name="T33" fmla="*/ 11 h 199"/>
                  <a:gd name="T34" fmla="*/ 15 w 199"/>
                  <a:gd name="T35" fmla="*/ 7 h 199"/>
                  <a:gd name="T36" fmla="*/ 21 w 199"/>
                  <a:gd name="T37" fmla="*/ 3 h 199"/>
                  <a:gd name="T38" fmla="*/ 27 w 199"/>
                  <a:gd name="T39" fmla="*/ 1 h 199"/>
                  <a:gd name="T40" fmla="*/ 33 w 199"/>
                  <a:gd name="T41" fmla="*/ 0 h 199"/>
                  <a:gd name="T42" fmla="*/ 166 w 199"/>
                  <a:gd name="T43" fmla="*/ 0 h 199"/>
                  <a:gd name="T44" fmla="*/ 166 w 199"/>
                  <a:gd name="T45" fmla="*/ 0 h 199"/>
                  <a:gd name="T46" fmla="*/ 173 w 199"/>
                  <a:gd name="T47" fmla="*/ 1 h 199"/>
                  <a:gd name="T48" fmla="*/ 179 w 199"/>
                  <a:gd name="T49" fmla="*/ 3 h 199"/>
                  <a:gd name="T50" fmla="*/ 185 w 199"/>
                  <a:gd name="T51" fmla="*/ 7 h 199"/>
                  <a:gd name="T52" fmla="*/ 190 w 199"/>
                  <a:gd name="T53" fmla="*/ 11 h 199"/>
                  <a:gd name="T54" fmla="*/ 194 w 199"/>
                  <a:gd name="T55" fmla="*/ 15 h 199"/>
                  <a:gd name="T56" fmla="*/ 197 w 199"/>
                  <a:gd name="T57" fmla="*/ 21 h 199"/>
                  <a:gd name="T58" fmla="*/ 199 w 199"/>
                  <a:gd name="T59" fmla="*/ 27 h 199"/>
                  <a:gd name="T60" fmla="*/ 199 w 199"/>
                  <a:gd name="T61" fmla="*/ 33 h 199"/>
                  <a:gd name="T62" fmla="*/ 199 w 199"/>
                  <a:gd name="T63" fmla="*/ 166 h 199"/>
                  <a:gd name="T64" fmla="*/ 199 w 199"/>
                  <a:gd name="T65" fmla="*/ 166 h 199"/>
                  <a:gd name="T66" fmla="*/ 199 w 199"/>
                  <a:gd name="T67" fmla="*/ 173 h 199"/>
                  <a:gd name="T68" fmla="*/ 197 w 199"/>
                  <a:gd name="T69" fmla="*/ 179 h 199"/>
                  <a:gd name="T70" fmla="*/ 194 w 199"/>
                  <a:gd name="T71" fmla="*/ 185 h 199"/>
                  <a:gd name="T72" fmla="*/ 190 w 199"/>
                  <a:gd name="T73" fmla="*/ 190 h 199"/>
                  <a:gd name="T74" fmla="*/ 185 w 199"/>
                  <a:gd name="T75" fmla="*/ 194 h 199"/>
                  <a:gd name="T76" fmla="*/ 179 w 199"/>
                  <a:gd name="T77" fmla="*/ 197 h 199"/>
                  <a:gd name="T78" fmla="*/ 173 w 199"/>
                  <a:gd name="T79" fmla="*/ 199 h 199"/>
                  <a:gd name="T80" fmla="*/ 166 w 199"/>
                  <a:gd name="T81" fmla="*/ 199 h 199"/>
                  <a:gd name="T82" fmla="*/ 166 w 199"/>
                  <a:gd name="T83" fmla="*/ 199 h 199"/>
                  <a:gd name="T84" fmla="*/ 67 w 199"/>
                  <a:gd name="T85" fmla="*/ 133 h 199"/>
                  <a:gd name="T86" fmla="*/ 133 w 199"/>
                  <a:gd name="T87" fmla="*/ 133 h 199"/>
                  <a:gd name="T88" fmla="*/ 133 w 199"/>
                  <a:gd name="T89" fmla="*/ 67 h 199"/>
                  <a:gd name="T90" fmla="*/ 67 w 199"/>
                  <a:gd name="T91" fmla="*/ 67 h 199"/>
                  <a:gd name="T92" fmla="*/ 67 w 199"/>
                  <a:gd name="T93" fmla="*/ 13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9" h="199">
                    <a:moveTo>
                      <a:pt x="166" y="199"/>
                    </a:moveTo>
                    <a:lnTo>
                      <a:pt x="33" y="199"/>
                    </a:lnTo>
                    <a:lnTo>
                      <a:pt x="33" y="199"/>
                    </a:lnTo>
                    <a:lnTo>
                      <a:pt x="27" y="199"/>
                    </a:lnTo>
                    <a:lnTo>
                      <a:pt x="21" y="197"/>
                    </a:lnTo>
                    <a:lnTo>
                      <a:pt x="15" y="194"/>
                    </a:lnTo>
                    <a:lnTo>
                      <a:pt x="11" y="190"/>
                    </a:lnTo>
                    <a:lnTo>
                      <a:pt x="7" y="185"/>
                    </a:lnTo>
                    <a:lnTo>
                      <a:pt x="3" y="179"/>
                    </a:lnTo>
                    <a:lnTo>
                      <a:pt x="1" y="173"/>
                    </a:lnTo>
                    <a:lnTo>
                      <a:pt x="0" y="166"/>
                    </a:lnTo>
                    <a:lnTo>
                      <a:pt x="0" y="33"/>
                    </a:lnTo>
                    <a:lnTo>
                      <a:pt x="0" y="33"/>
                    </a:lnTo>
                    <a:lnTo>
                      <a:pt x="1" y="27"/>
                    </a:lnTo>
                    <a:lnTo>
                      <a:pt x="3" y="21"/>
                    </a:lnTo>
                    <a:lnTo>
                      <a:pt x="7" y="15"/>
                    </a:lnTo>
                    <a:lnTo>
                      <a:pt x="11" y="11"/>
                    </a:lnTo>
                    <a:lnTo>
                      <a:pt x="15" y="7"/>
                    </a:lnTo>
                    <a:lnTo>
                      <a:pt x="21" y="3"/>
                    </a:lnTo>
                    <a:lnTo>
                      <a:pt x="27" y="1"/>
                    </a:lnTo>
                    <a:lnTo>
                      <a:pt x="33" y="0"/>
                    </a:lnTo>
                    <a:lnTo>
                      <a:pt x="166" y="0"/>
                    </a:lnTo>
                    <a:lnTo>
                      <a:pt x="166" y="0"/>
                    </a:lnTo>
                    <a:lnTo>
                      <a:pt x="173" y="1"/>
                    </a:lnTo>
                    <a:lnTo>
                      <a:pt x="179" y="3"/>
                    </a:lnTo>
                    <a:lnTo>
                      <a:pt x="185" y="7"/>
                    </a:lnTo>
                    <a:lnTo>
                      <a:pt x="190" y="11"/>
                    </a:lnTo>
                    <a:lnTo>
                      <a:pt x="194" y="15"/>
                    </a:lnTo>
                    <a:lnTo>
                      <a:pt x="197" y="21"/>
                    </a:lnTo>
                    <a:lnTo>
                      <a:pt x="199" y="27"/>
                    </a:lnTo>
                    <a:lnTo>
                      <a:pt x="199" y="33"/>
                    </a:lnTo>
                    <a:lnTo>
                      <a:pt x="199" y="166"/>
                    </a:lnTo>
                    <a:lnTo>
                      <a:pt x="199" y="166"/>
                    </a:lnTo>
                    <a:lnTo>
                      <a:pt x="199" y="173"/>
                    </a:lnTo>
                    <a:lnTo>
                      <a:pt x="197" y="179"/>
                    </a:lnTo>
                    <a:lnTo>
                      <a:pt x="194" y="185"/>
                    </a:lnTo>
                    <a:lnTo>
                      <a:pt x="190" y="190"/>
                    </a:lnTo>
                    <a:lnTo>
                      <a:pt x="185" y="194"/>
                    </a:lnTo>
                    <a:lnTo>
                      <a:pt x="179" y="197"/>
                    </a:lnTo>
                    <a:lnTo>
                      <a:pt x="173" y="199"/>
                    </a:lnTo>
                    <a:lnTo>
                      <a:pt x="166" y="199"/>
                    </a:lnTo>
                    <a:lnTo>
                      <a:pt x="166" y="199"/>
                    </a:lnTo>
                    <a:close/>
                    <a:moveTo>
                      <a:pt x="67" y="133"/>
                    </a:moveTo>
                    <a:lnTo>
                      <a:pt x="133" y="133"/>
                    </a:lnTo>
                    <a:lnTo>
                      <a:pt x="133" y="67"/>
                    </a:lnTo>
                    <a:lnTo>
                      <a:pt x="67" y="67"/>
                    </a:lnTo>
                    <a:lnTo>
                      <a:pt x="67"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0" name="Freeform 147">
                <a:extLst>
                  <a:ext uri="{FF2B5EF4-FFF2-40B4-BE49-F238E27FC236}">
                    <a16:creationId xmlns:a16="http://schemas.microsoft.com/office/drawing/2014/main" id="{BD2B8217-837C-40DA-9FCD-9D50D387A812}"/>
                  </a:ext>
                </a:extLst>
              </p:cNvPr>
              <p:cNvSpPr>
                <a:spLocks noEditPoints="1"/>
              </p:cNvSpPr>
              <p:nvPr/>
            </p:nvSpPr>
            <p:spPr bwMode="auto">
              <a:xfrm>
                <a:off x="3517900" y="3278188"/>
                <a:ext cx="44450" cy="46038"/>
              </a:xfrm>
              <a:custGeom>
                <a:avLst/>
                <a:gdLst>
                  <a:gd name="T0" fmla="*/ 166 w 199"/>
                  <a:gd name="T1" fmla="*/ 199 h 199"/>
                  <a:gd name="T2" fmla="*/ 33 w 199"/>
                  <a:gd name="T3" fmla="*/ 199 h 199"/>
                  <a:gd name="T4" fmla="*/ 33 w 199"/>
                  <a:gd name="T5" fmla="*/ 199 h 199"/>
                  <a:gd name="T6" fmla="*/ 27 w 199"/>
                  <a:gd name="T7" fmla="*/ 199 h 199"/>
                  <a:gd name="T8" fmla="*/ 21 w 199"/>
                  <a:gd name="T9" fmla="*/ 197 h 199"/>
                  <a:gd name="T10" fmla="*/ 14 w 199"/>
                  <a:gd name="T11" fmla="*/ 194 h 199"/>
                  <a:gd name="T12" fmla="*/ 10 w 199"/>
                  <a:gd name="T13" fmla="*/ 190 h 199"/>
                  <a:gd name="T14" fmla="*/ 6 w 199"/>
                  <a:gd name="T15" fmla="*/ 185 h 199"/>
                  <a:gd name="T16" fmla="*/ 3 w 199"/>
                  <a:gd name="T17" fmla="*/ 179 h 199"/>
                  <a:gd name="T18" fmla="*/ 1 w 199"/>
                  <a:gd name="T19" fmla="*/ 173 h 199"/>
                  <a:gd name="T20" fmla="*/ 0 w 199"/>
                  <a:gd name="T21" fmla="*/ 166 h 199"/>
                  <a:gd name="T22" fmla="*/ 0 w 199"/>
                  <a:gd name="T23" fmla="*/ 33 h 199"/>
                  <a:gd name="T24" fmla="*/ 0 w 199"/>
                  <a:gd name="T25" fmla="*/ 33 h 199"/>
                  <a:gd name="T26" fmla="*/ 1 w 199"/>
                  <a:gd name="T27" fmla="*/ 27 h 199"/>
                  <a:gd name="T28" fmla="*/ 3 w 199"/>
                  <a:gd name="T29" fmla="*/ 21 h 199"/>
                  <a:gd name="T30" fmla="*/ 6 w 199"/>
                  <a:gd name="T31" fmla="*/ 15 h 199"/>
                  <a:gd name="T32" fmla="*/ 10 w 199"/>
                  <a:gd name="T33" fmla="*/ 11 h 199"/>
                  <a:gd name="T34" fmla="*/ 14 w 199"/>
                  <a:gd name="T35" fmla="*/ 7 h 199"/>
                  <a:gd name="T36" fmla="*/ 21 w 199"/>
                  <a:gd name="T37" fmla="*/ 3 h 199"/>
                  <a:gd name="T38" fmla="*/ 27 w 199"/>
                  <a:gd name="T39" fmla="*/ 1 h 199"/>
                  <a:gd name="T40" fmla="*/ 33 w 199"/>
                  <a:gd name="T41" fmla="*/ 0 h 199"/>
                  <a:gd name="T42" fmla="*/ 166 w 199"/>
                  <a:gd name="T43" fmla="*/ 0 h 199"/>
                  <a:gd name="T44" fmla="*/ 166 w 199"/>
                  <a:gd name="T45" fmla="*/ 0 h 199"/>
                  <a:gd name="T46" fmla="*/ 173 w 199"/>
                  <a:gd name="T47" fmla="*/ 1 h 199"/>
                  <a:gd name="T48" fmla="*/ 179 w 199"/>
                  <a:gd name="T49" fmla="*/ 3 h 199"/>
                  <a:gd name="T50" fmla="*/ 184 w 199"/>
                  <a:gd name="T51" fmla="*/ 7 h 199"/>
                  <a:gd name="T52" fmla="*/ 189 w 199"/>
                  <a:gd name="T53" fmla="*/ 11 h 199"/>
                  <a:gd name="T54" fmla="*/ 194 w 199"/>
                  <a:gd name="T55" fmla="*/ 15 h 199"/>
                  <a:gd name="T56" fmla="*/ 197 w 199"/>
                  <a:gd name="T57" fmla="*/ 21 h 199"/>
                  <a:gd name="T58" fmla="*/ 199 w 199"/>
                  <a:gd name="T59" fmla="*/ 27 h 199"/>
                  <a:gd name="T60" fmla="*/ 199 w 199"/>
                  <a:gd name="T61" fmla="*/ 33 h 199"/>
                  <a:gd name="T62" fmla="*/ 199 w 199"/>
                  <a:gd name="T63" fmla="*/ 166 h 199"/>
                  <a:gd name="T64" fmla="*/ 199 w 199"/>
                  <a:gd name="T65" fmla="*/ 166 h 199"/>
                  <a:gd name="T66" fmla="*/ 199 w 199"/>
                  <a:gd name="T67" fmla="*/ 173 h 199"/>
                  <a:gd name="T68" fmla="*/ 197 w 199"/>
                  <a:gd name="T69" fmla="*/ 179 h 199"/>
                  <a:gd name="T70" fmla="*/ 194 w 199"/>
                  <a:gd name="T71" fmla="*/ 185 h 199"/>
                  <a:gd name="T72" fmla="*/ 189 w 199"/>
                  <a:gd name="T73" fmla="*/ 190 h 199"/>
                  <a:gd name="T74" fmla="*/ 184 w 199"/>
                  <a:gd name="T75" fmla="*/ 194 h 199"/>
                  <a:gd name="T76" fmla="*/ 179 w 199"/>
                  <a:gd name="T77" fmla="*/ 197 h 199"/>
                  <a:gd name="T78" fmla="*/ 173 w 199"/>
                  <a:gd name="T79" fmla="*/ 199 h 199"/>
                  <a:gd name="T80" fmla="*/ 166 w 199"/>
                  <a:gd name="T81" fmla="*/ 199 h 199"/>
                  <a:gd name="T82" fmla="*/ 166 w 199"/>
                  <a:gd name="T83" fmla="*/ 199 h 199"/>
                  <a:gd name="T84" fmla="*/ 66 w 199"/>
                  <a:gd name="T85" fmla="*/ 133 h 199"/>
                  <a:gd name="T86" fmla="*/ 132 w 199"/>
                  <a:gd name="T87" fmla="*/ 133 h 199"/>
                  <a:gd name="T88" fmla="*/ 132 w 199"/>
                  <a:gd name="T89" fmla="*/ 67 h 199"/>
                  <a:gd name="T90" fmla="*/ 66 w 199"/>
                  <a:gd name="T91" fmla="*/ 67 h 199"/>
                  <a:gd name="T92" fmla="*/ 66 w 199"/>
                  <a:gd name="T93" fmla="*/ 13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9" h="199">
                    <a:moveTo>
                      <a:pt x="166" y="199"/>
                    </a:moveTo>
                    <a:lnTo>
                      <a:pt x="33" y="199"/>
                    </a:lnTo>
                    <a:lnTo>
                      <a:pt x="33" y="199"/>
                    </a:lnTo>
                    <a:lnTo>
                      <a:pt x="27" y="199"/>
                    </a:lnTo>
                    <a:lnTo>
                      <a:pt x="21" y="197"/>
                    </a:lnTo>
                    <a:lnTo>
                      <a:pt x="14" y="194"/>
                    </a:lnTo>
                    <a:lnTo>
                      <a:pt x="10" y="190"/>
                    </a:lnTo>
                    <a:lnTo>
                      <a:pt x="6" y="185"/>
                    </a:lnTo>
                    <a:lnTo>
                      <a:pt x="3" y="179"/>
                    </a:lnTo>
                    <a:lnTo>
                      <a:pt x="1" y="173"/>
                    </a:lnTo>
                    <a:lnTo>
                      <a:pt x="0" y="166"/>
                    </a:lnTo>
                    <a:lnTo>
                      <a:pt x="0" y="33"/>
                    </a:lnTo>
                    <a:lnTo>
                      <a:pt x="0" y="33"/>
                    </a:lnTo>
                    <a:lnTo>
                      <a:pt x="1" y="27"/>
                    </a:lnTo>
                    <a:lnTo>
                      <a:pt x="3" y="21"/>
                    </a:lnTo>
                    <a:lnTo>
                      <a:pt x="6" y="15"/>
                    </a:lnTo>
                    <a:lnTo>
                      <a:pt x="10" y="11"/>
                    </a:lnTo>
                    <a:lnTo>
                      <a:pt x="14" y="7"/>
                    </a:lnTo>
                    <a:lnTo>
                      <a:pt x="21" y="3"/>
                    </a:lnTo>
                    <a:lnTo>
                      <a:pt x="27" y="1"/>
                    </a:lnTo>
                    <a:lnTo>
                      <a:pt x="33" y="0"/>
                    </a:lnTo>
                    <a:lnTo>
                      <a:pt x="166" y="0"/>
                    </a:lnTo>
                    <a:lnTo>
                      <a:pt x="166" y="0"/>
                    </a:lnTo>
                    <a:lnTo>
                      <a:pt x="173" y="1"/>
                    </a:lnTo>
                    <a:lnTo>
                      <a:pt x="179" y="3"/>
                    </a:lnTo>
                    <a:lnTo>
                      <a:pt x="184" y="7"/>
                    </a:lnTo>
                    <a:lnTo>
                      <a:pt x="189" y="11"/>
                    </a:lnTo>
                    <a:lnTo>
                      <a:pt x="194" y="15"/>
                    </a:lnTo>
                    <a:lnTo>
                      <a:pt x="197" y="21"/>
                    </a:lnTo>
                    <a:lnTo>
                      <a:pt x="199" y="27"/>
                    </a:lnTo>
                    <a:lnTo>
                      <a:pt x="199" y="33"/>
                    </a:lnTo>
                    <a:lnTo>
                      <a:pt x="199" y="166"/>
                    </a:lnTo>
                    <a:lnTo>
                      <a:pt x="199" y="166"/>
                    </a:lnTo>
                    <a:lnTo>
                      <a:pt x="199" y="173"/>
                    </a:lnTo>
                    <a:lnTo>
                      <a:pt x="197" y="179"/>
                    </a:lnTo>
                    <a:lnTo>
                      <a:pt x="194" y="185"/>
                    </a:lnTo>
                    <a:lnTo>
                      <a:pt x="189" y="190"/>
                    </a:lnTo>
                    <a:lnTo>
                      <a:pt x="184" y="194"/>
                    </a:lnTo>
                    <a:lnTo>
                      <a:pt x="179" y="197"/>
                    </a:lnTo>
                    <a:lnTo>
                      <a:pt x="173" y="199"/>
                    </a:lnTo>
                    <a:lnTo>
                      <a:pt x="166" y="199"/>
                    </a:lnTo>
                    <a:lnTo>
                      <a:pt x="166" y="199"/>
                    </a:lnTo>
                    <a:close/>
                    <a:moveTo>
                      <a:pt x="66" y="133"/>
                    </a:moveTo>
                    <a:lnTo>
                      <a:pt x="132" y="133"/>
                    </a:lnTo>
                    <a:lnTo>
                      <a:pt x="132" y="67"/>
                    </a:lnTo>
                    <a:lnTo>
                      <a:pt x="66" y="67"/>
                    </a:lnTo>
                    <a:lnTo>
                      <a:pt x="6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1" name="Freeform 148">
                <a:extLst>
                  <a:ext uri="{FF2B5EF4-FFF2-40B4-BE49-F238E27FC236}">
                    <a16:creationId xmlns:a16="http://schemas.microsoft.com/office/drawing/2014/main" id="{572C8A6D-74D4-445A-990B-CB81D1EDA359}"/>
                  </a:ext>
                </a:extLst>
              </p:cNvPr>
              <p:cNvSpPr>
                <a:spLocks noEditPoints="1"/>
              </p:cNvSpPr>
              <p:nvPr/>
            </p:nvSpPr>
            <p:spPr bwMode="auto">
              <a:xfrm>
                <a:off x="3592513" y="3324226"/>
                <a:ext cx="150813" cy="149225"/>
              </a:xfrm>
              <a:custGeom>
                <a:avLst/>
                <a:gdLst>
                  <a:gd name="T0" fmla="*/ 232 w 664"/>
                  <a:gd name="T1" fmla="*/ 663 h 663"/>
                  <a:gd name="T2" fmla="*/ 214 w 664"/>
                  <a:gd name="T3" fmla="*/ 657 h 663"/>
                  <a:gd name="T4" fmla="*/ 202 w 664"/>
                  <a:gd name="T5" fmla="*/ 642 h 663"/>
                  <a:gd name="T6" fmla="*/ 199 w 664"/>
                  <a:gd name="T7" fmla="*/ 465 h 663"/>
                  <a:gd name="T8" fmla="*/ 27 w 664"/>
                  <a:gd name="T9" fmla="*/ 463 h 663"/>
                  <a:gd name="T10" fmla="*/ 11 w 664"/>
                  <a:gd name="T11" fmla="*/ 454 h 663"/>
                  <a:gd name="T12" fmla="*/ 1 w 664"/>
                  <a:gd name="T13" fmla="*/ 438 h 663"/>
                  <a:gd name="T14" fmla="*/ 0 w 664"/>
                  <a:gd name="T15" fmla="*/ 232 h 663"/>
                  <a:gd name="T16" fmla="*/ 6 w 664"/>
                  <a:gd name="T17" fmla="*/ 214 h 663"/>
                  <a:gd name="T18" fmla="*/ 21 w 664"/>
                  <a:gd name="T19" fmla="*/ 202 h 663"/>
                  <a:gd name="T20" fmla="*/ 199 w 664"/>
                  <a:gd name="T21" fmla="*/ 199 h 663"/>
                  <a:gd name="T22" fmla="*/ 200 w 664"/>
                  <a:gd name="T23" fmla="*/ 27 h 663"/>
                  <a:gd name="T24" fmla="*/ 209 w 664"/>
                  <a:gd name="T25" fmla="*/ 10 h 663"/>
                  <a:gd name="T26" fmla="*/ 226 w 664"/>
                  <a:gd name="T27" fmla="*/ 1 h 663"/>
                  <a:gd name="T28" fmla="*/ 432 w 664"/>
                  <a:gd name="T29" fmla="*/ 0 h 663"/>
                  <a:gd name="T30" fmla="*/ 449 w 664"/>
                  <a:gd name="T31" fmla="*/ 6 h 663"/>
                  <a:gd name="T32" fmla="*/ 462 w 664"/>
                  <a:gd name="T33" fmla="*/ 21 h 663"/>
                  <a:gd name="T34" fmla="*/ 465 w 664"/>
                  <a:gd name="T35" fmla="*/ 199 h 663"/>
                  <a:gd name="T36" fmla="*/ 637 w 664"/>
                  <a:gd name="T37" fmla="*/ 200 h 663"/>
                  <a:gd name="T38" fmla="*/ 653 w 664"/>
                  <a:gd name="T39" fmla="*/ 209 h 663"/>
                  <a:gd name="T40" fmla="*/ 662 w 664"/>
                  <a:gd name="T41" fmla="*/ 226 h 663"/>
                  <a:gd name="T42" fmla="*/ 664 w 664"/>
                  <a:gd name="T43" fmla="*/ 431 h 663"/>
                  <a:gd name="T44" fmla="*/ 657 w 664"/>
                  <a:gd name="T45" fmla="*/ 449 h 663"/>
                  <a:gd name="T46" fmla="*/ 643 w 664"/>
                  <a:gd name="T47" fmla="*/ 461 h 663"/>
                  <a:gd name="T48" fmla="*/ 465 w 664"/>
                  <a:gd name="T49" fmla="*/ 465 h 663"/>
                  <a:gd name="T50" fmla="*/ 464 w 664"/>
                  <a:gd name="T51" fmla="*/ 636 h 663"/>
                  <a:gd name="T52" fmla="*/ 454 w 664"/>
                  <a:gd name="T53" fmla="*/ 653 h 663"/>
                  <a:gd name="T54" fmla="*/ 438 w 664"/>
                  <a:gd name="T55" fmla="*/ 662 h 663"/>
                  <a:gd name="T56" fmla="*/ 265 w 664"/>
                  <a:gd name="T57" fmla="*/ 597 h 663"/>
                  <a:gd name="T58" fmla="*/ 398 w 664"/>
                  <a:gd name="T59" fmla="*/ 431 h 663"/>
                  <a:gd name="T60" fmla="*/ 404 w 664"/>
                  <a:gd name="T61" fmla="*/ 413 h 663"/>
                  <a:gd name="T62" fmla="*/ 418 w 664"/>
                  <a:gd name="T63" fmla="*/ 400 h 663"/>
                  <a:gd name="T64" fmla="*/ 597 w 664"/>
                  <a:gd name="T65" fmla="*/ 398 h 663"/>
                  <a:gd name="T66" fmla="*/ 432 w 664"/>
                  <a:gd name="T67" fmla="*/ 265 h 663"/>
                  <a:gd name="T68" fmla="*/ 413 w 664"/>
                  <a:gd name="T69" fmla="*/ 260 h 663"/>
                  <a:gd name="T70" fmla="*/ 401 w 664"/>
                  <a:gd name="T71" fmla="*/ 245 h 663"/>
                  <a:gd name="T72" fmla="*/ 398 w 664"/>
                  <a:gd name="T73" fmla="*/ 66 h 663"/>
                  <a:gd name="T74" fmla="*/ 265 w 664"/>
                  <a:gd name="T75" fmla="*/ 232 h 663"/>
                  <a:gd name="T76" fmla="*/ 260 w 664"/>
                  <a:gd name="T77" fmla="*/ 250 h 663"/>
                  <a:gd name="T78" fmla="*/ 245 w 664"/>
                  <a:gd name="T79" fmla="*/ 263 h 663"/>
                  <a:gd name="T80" fmla="*/ 66 w 664"/>
                  <a:gd name="T81" fmla="*/ 265 h 663"/>
                  <a:gd name="T82" fmla="*/ 232 w 664"/>
                  <a:gd name="T83" fmla="*/ 398 h 663"/>
                  <a:gd name="T84" fmla="*/ 251 w 664"/>
                  <a:gd name="T85" fmla="*/ 403 h 663"/>
                  <a:gd name="T86" fmla="*/ 263 w 664"/>
                  <a:gd name="T87" fmla="*/ 418 h 663"/>
                  <a:gd name="T88" fmla="*/ 265 w 664"/>
                  <a:gd name="T89" fmla="*/ 597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663">
                    <a:moveTo>
                      <a:pt x="432" y="663"/>
                    </a:moveTo>
                    <a:lnTo>
                      <a:pt x="232" y="663"/>
                    </a:lnTo>
                    <a:lnTo>
                      <a:pt x="232" y="663"/>
                    </a:lnTo>
                    <a:lnTo>
                      <a:pt x="226" y="662"/>
                    </a:lnTo>
                    <a:lnTo>
                      <a:pt x="220" y="660"/>
                    </a:lnTo>
                    <a:lnTo>
                      <a:pt x="214" y="657"/>
                    </a:lnTo>
                    <a:lnTo>
                      <a:pt x="209" y="653"/>
                    </a:lnTo>
                    <a:lnTo>
                      <a:pt x="205" y="649"/>
                    </a:lnTo>
                    <a:lnTo>
                      <a:pt x="202" y="642"/>
                    </a:lnTo>
                    <a:lnTo>
                      <a:pt x="200" y="636"/>
                    </a:lnTo>
                    <a:lnTo>
                      <a:pt x="199" y="630"/>
                    </a:lnTo>
                    <a:lnTo>
                      <a:pt x="199" y="465"/>
                    </a:lnTo>
                    <a:lnTo>
                      <a:pt x="33" y="465"/>
                    </a:lnTo>
                    <a:lnTo>
                      <a:pt x="33" y="465"/>
                    </a:lnTo>
                    <a:lnTo>
                      <a:pt x="27" y="463"/>
                    </a:lnTo>
                    <a:lnTo>
                      <a:pt x="21" y="461"/>
                    </a:lnTo>
                    <a:lnTo>
                      <a:pt x="15" y="458"/>
                    </a:lnTo>
                    <a:lnTo>
                      <a:pt x="11" y="454"/>
                    </a:lnTo>
                    <a:lnTo>
                      <a:pt x="6" y="449"/>
                    </a:lnTo>
                    <a:lnTo>
                      <a:pt x="3" y="444"/>
                    </a:lnTo>
                    <a:lnTo>
                      <a:pt x="1" y="438"/>
                    </a:lnTo>
                    <a:lnTo>
                      <a:pt x="0" y="431"/>
                    </a:lnTo>
                    <a:lnTo>
                      <a:pt x="0" y="232"/>
                    </a:lnTo>
                    <a:lnTo>
                      <a:pt x="0" y="232"/>
                    </a:lnTo>
                    <a:lnTo>
                      <a:pt x="1" y="226"/>
                    </a:lnTo>
                    <a:lnTo>
                      <a:pt x="3" y="219"/>
                    </a:lnTo>
                    <a:lnTo>
                      <a:pt x="6" y="214"/>
                    </a:lnTo>
                    <a:lnTo>
                      <a:pt x="11" y="209"/>
                    </a:lnTo>
                    <a:lnTo>
                      <a:pt x="15" y="205"/>
                    </a:lnTo>
                    <a:lnTo>
                      <a:pt x="21" y="202"/>
                    </a:lnTo>
                    <a:lnTo>
                      <a:pt x="27" y="200"/>
                    </a:lnTo>
                    <a:lnTo>
                      <a:pt x="33" y="199"/>
                    </a:lnTo>
                    <a:lnTo>
                      <a:pt x="199" y="199"/>
                    </a:lnTo>
                    <a:lnTo>
                      <a:pt x="199" y="33"/>
                    </a:lnTo>
                    <a:lnTo>
                      <a:pt x="199" y="33"/>
                    </a:lnTo>
                    <a:lnTo>
                      <a:pt x="200" y="27"/>
                    </a:lnTo>
                    <a:lnTo>
                      <a:pt x="202" y="21"/>
                    </a:lnTo>
                    <a:lnTo>
                      <a:pt x="205" y="16"/>
                    </a:lnTo>
                    <a:lnTo>
                      <a:pt x="209" y="10"/>
                    </a:lnTo>
                    <a:lnTo>
                      <a:pt x="214" y="6"/>
                    </a:lnTo>
                    <a:lnTo>
                      <a:pt x="220" y="3"/>
                    </a:lnTo>
                    <a:lnTo>
                      <a:pt x="226" y="1"/>
                    </a:lnTo>
                    <a:lnTo>
                      <a:pt x="232" y="0"/>
                    </a:lnTo>
                    <a:lnTo>
                      <a:pt x="432" y="0"/>
                    </a:lnTo>
                    <a:lnTo>
                      <a:pt x="432" y="0"/>
                    </a:lnTo>
                    <a:lnTo>
                      <a:pt x="438" y="1"/>
                    </a:lnTo>
                    <a:lnTo>
                      <a:pt x="444" y="3"/>
                    </a:lnTo>
                    <a:lnTo>
                      <a:pt x="449" y="6"/>
                    </a:lnTo>
                    <a:lnTo>
                      <a:pt x="454" y="10"/>
                    </a:lnTo>
                    <a:lnTo>
                      <a:pt x="459" y="16"/>
                    </a:lnTo>
                    <a:lnTo>
                      <a:pt x="462" y="21"/>
                    </a:lnTo>
                    <a:lnTo>
                      <a:pt x="464" y="27"/>
                    </a:lnTo>
                    <a:lnTo>
                      <a:pt x="465" y="33"/>
                    </a:lnTo>
                    <a:lnTo>
                      <a:pt x="465" y="199"/>
                    </a:lnTo>
                    <a:lnTo>
                      <a:pt x="630" y="199"/>
                    </a:lnTo>
                    <a:lnTo>
                      <a:pt x="630" y="199"/>
                    </a:lnTo>
                    <a:lnTo>
                      <a:pt x="637" y="200"/>
                    </a:lnTo>
                    <a:lnTo>
                      <a:pt x="643" y="202"/>
                    </a:lnTo>
                    <a:lnTo>
                      <a:pt x="648" y="205"/>
                    </a:lnTo>
                    <a:lnTo>
                      <a:pt x="653" y="209"/>
                    </a:lnTo>
                    <a:lnTo>
                      <a:pt x="657" y="214"/>
                    </a:lnTo>
                    <a:lnTo>
                      <a:pt x="660" y="219"/>
                    </a:lnTo>
                    <a:lnTo>
                      <a:pt x="662" y="226"/>
                    </a:lnTo>
                    <a:lnTo>
                      <a:pt x="664" y="232"/>
                    </a:lnTo>
                    <a:lnTo>
                      <a:pt x="664" y="431"/>
                    </a:lnTo>
                    <a:lnTo>
                      <a:pt x="664" y="431"/>
                    </a:lnTo>
                    <a:lnTo>
                      <a:pt x="662" y="438"/>
                    </a:lnTo>
                    <a:lnTo>
                      <a:pt x="660" y="444"/>
                    </a:lnTo>
                    <a:lnTo>
                      <a:pt x="657" y="449"/>
                    </a:lnTo>
                    <a:lnTo>
                      <a:pt x="653" y="454"/>
                    </a:lnTo>
                    <a:lnTo>
                      <a:pt x="648" y="458"/>
                    </a:lnTo>
                    <a:lnTo>
                      <a:pt x="643" y="461"/>
                    </a:lnTo>
                    <a:lnTo>
                      <a:pt x="637" y="463"/>
                    </a:lnTo>
                    <a:lnTo>
                      <a:pt x="630" y="465"/>
                    </a:lnTo>
                    <a:lnTo>
                      <a:pt x="465" y="465"/>
                    </a:lnTo>
                    <a:lnTo>
                      <a:pt x="465" y="630"/>
                    </a:lnTo>
                    <a:lnTo>
                      <a:pt x="465" y="630"/>
                    </a:lnTo>
                    <a:lnTo>
                      <a:pt x="464" y="636"/>
                    </a:lnTo>
                    <a:lnTo>
                      <a:pt x="462" y="642"/>
                    </a:lnTo>
                    <a:lnTo>
                      <a:pt x="459" y="649"/>
                    </a:lnTo>
                    <a:lnTo>
                      <a:pt x="454" y="653"/>
                    </a:lnTo>
                    <a:lnTo>
                      <a:pt x="449" y="657"/>
                    </a:lnTo>
                    <a:lnTo>
                      <a:pt x="444" y="660"/>
                    </a:lnTo>
                    <a:lnTo>
                      <a:pt x="438" y="662"/>
                    </a:lnTo>
                    <a:lnTo>
                      <a:pt x="432" y="663"/>
                    </a:lnTo>
                    <a:lnTo>
                      <a:pt x="432" y="663"/>
                    </a:lnTo>
                    <a:close/>
                    <a:moveTo>
                      <a:pt x="265" y="597"/>
                    </a:moveTo>
                    <a:lnTo>
                      <a:pt x="398" y="597"/>
                    </a:lnTo>
                    <a:lnTo>
                      <a:pt x="398" y="431"/>
                    </a:lnTo>
                    <a:lnTo>
                      <a:pt x="398" y="431"/>
                    </a:lnTo>
                    <a:lnTo>
                      <a:pt x="399" y="424"/>
                    </a:lnTo>
                    <a:lnTo>
                      <a:pt x="401" y="418"/>
                    </a:lnTo>
                    <a:lnTo>
                      <a:pt x="404" y="413"/>
                    </a:lnTo>
                    <a:lnTo>
                      <a:pt x="408" y="408"/>
                    </a:lnTo>
                    <a:lnTo>
                      <a:pt x="413" y="403"/>
                    </a:lnTo>
                    <a:lnTo>
                      <a:pt x="418" y="400"/>
                    </a:lnTo>
                    <a:lnTo>
                      <a:pt x="424" y="398"/>
                    </a:lnTo>
                    <a:lnTo>
                      <a:pt x="432" y="398"/>
                    </a:lnTo>
                    <a:lnTo>
                      <a:pt x="597" y="398"/>
                    </a:lnTo>
                    <a:lnTo>
                      <a:pt x="597" y="265"/>
                    </a:lnTo>
                    <a:lnTo>
                      <a:pt x="432" y="265"/>
                    </a:lnTo>
                    <a:lnTo>
                      <a:pt x="432" y="265"/>
                    </a:lnTo>
                    <a:lnTo>
                      <a:pt x="424" y="265"/>
                    </a:lnTo>
                    <a:lnTo>
                      <a:pt x="418" y="263"/>
                    </a:lnTo>
                    <a:lnTo>
                      <a:pt x="413" y="260"/>
                    </a:lnTo>
                    <a:lnTo>
                      <a:pt x="408" y="256"/>
                    </a:lnTo>
                    <a:lnTo>
                      <a:pt x="404" y="250"/>
                    </a:lnTo>
                    <a:lnTo>
                      <a:pt x="401" y="245"/>
                    </a:lnTo>
                    <a:lnTo>
                      <a:pt x="399" y="239"/>
                    </a:lnTo>
                    <a:lnTo>
                      <a:pt x="398" y="232"/>
                    </a:lnTo>
                    <a:lnTo>
                      <a:pt x="398" y="66"/>
                    </a:lnTo>
                    <a:lnTo>
                      <a:pt x="265" y="66"/>
                    </a:lnTo>
                    <a:lnTo>
                      <a:pt x="265" y="232"/>
                    </a:lnTo>
                    <a:lnTo>
                      <a:pt x="265" y="232"/>
                    </a:lnTo>
                    <a:lnTo>
                      <a:pt x="265" y="239"/>
                    </a:lnTo>
                    <a:lnTo>
                      <a:pt x="263" y="245"/>
                    </a:lnTo>
                    <a:lnTo>
                      <a:pt x="260" y="250"/>
                    </a:lnTo>
                    <a:lnTo>
                      <a:pt x="256" y="256"/>
                    </a:lnTo>
                    <a:lnTo>
                      <a:pt x="251" y="260"/>
                    </a:lnTo>
                    <a:lnTo>
                      <a:pt x="245" y="263"/>
                    </a:lnTo>
                    <a:lnTo>
                      <a:pt x="239" y="265"/>
                    </a:lnTo>
                    <a:lnTo>
                      <a:pt x="232" y="265"/>
                    </a:lnTo>
                    <a:lnTo>
                      <a:pt x="66" y="265"/>
                    </a:lnTo>
                    <a:lnTo>
                      <a:pt x="66" y="398"/>
                    </a:lnTo>
                    <a:lnTo>
                      <a:pt x="232" y="398"/>
                    </a:lnTo>
                    <a:lnTo>
                      <a:pt x="232" y="398"/>
                    </a:lnTo>
                    <a:lnTo>
                      <a:pt x="239" y="398"/>
                    </a:lnTo>
                    <a:lnTo>
                      <a:pt x="245" y="400"/>
                    </a:lnTo>
                    <a:lnTo>
                      <a:pt x="251" y="403"/>
                    </a:lnTo>
                    <a:lnTo>
                      <a:pt x="256" y="408"/>
                    </a:lnTo>
                    <a:lnTo>
                      <a:pt x="260" y="413"/>
                    </a:lnTo>
                    <a:lnTo>
                      <a:pt x="263" y="418"/>
                    </a:lnTo>
                    <a:lnTo>
                      <a:pt x="265" y="424"/>
                    </a:lnTo>
                    <a:lnTo>
                      <a:pt x="265" y="431"/>
                    </a:lnTo>
                    <a:lnTo>
                      <a:pt x="265" y="5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grpSp>
        <p:nvGrpSpPr>
          <p:cNvPr id="22" name="Group 21">
            <a:extLst>
              <a:ext uri="{FF2B5EF4-FFF2-40B4-BE49-F238E27FC236}">
                <a16:creationId xmlns:a16="http://schemas.microsoft.com/office/drawing/2014/main" id="{BA395206-1F73-4062-BA84-4AEDA09B4411}"/>
              </a:ext>
            </a:extLst>
          </p:cNvPr>
          <p:cNvGrpSpPr/>
          <p:nvPr/>
        </p:nvGrpSpPr>
        <p:grpSpPr>
          <a:xfrm>
            <a:off x="4986152" y="1359448"/>
            <a:ext cx="846197" cy="846197"/>
            <a:chOff x="4986152" y="1359448"/>
            <a:chExt cx="846197" cy="846197"/>
          </a:xfrm>
        </p:grpSpPr>
        <p:sp>
          <p:nvSpPr>
            <p:cNvPr id="23" name="Rectangle 22">
              <a:extLst>
                <a:ext uri="{FF2B5EF4-FFF2-40B4-BE49-F238E27FC236}">
                  <a16:creationId xmlns:a16="http://schemas.microsoft.com/office/drawing/2014/main" id="{3141185D-FA5C-42CA-85A0-8F8AACC4B359}"/>
                </a:ext>
              </a:extLst>
            </p:cNvPr>
            <p:cNvSpPr/>
            <p:nvPr/>
          </p:nvSpPr>
          <p:spPr>
            <a:xfrm>
              <a:off x="4986152" y="1359448"/>
              <a:ext cx="846197" cy="8461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a:ln>
                  <a:noFill/>
                </a:ln>
                <a:solidFill>
                  <a:srgbClr val="FFFFFF"/>
                </a:solidFill>
                <a:effectLst/>
                <a:uLnTx/>
                <a:uFillTx/>
                <a:latin typeface="Gene Sans Light" panose="00000400000000000000" pitchFamily="2" charset="0"/>
                <a:ea typeface="+mn-ea"/>
                <a:cs typeface="+mn-cs"/>
                <a:sym typeface="Arial"/>
              </a:endParaRPr>
            </a:p>
          </p:txBody>
        </p:sp>
        <p:grpSp>
          <p:nvGrpSpPr>
            <p:cNvPr id="24" name="Group 23">
              <a:extLst>
                <a:ext uri="{FF2B5EF4-FFF2-40B4-BE49-F238E27FC236}">
                  <a16:creationId xmlns:a16="http://schemas.microsoft.com/office/drawing/2014/main" id="{A7A4EC75-E3A5-412C-B5A9-C0552F8E6B80}"/>
                </a:ext>
              </a:extLst>
            </p:cNvPr>
            <p:cNvGrpSpPr/>
            <p:nvPr/>
          </p:nvGrpSpPr>
          <p:grpSpPr>
            <a:xfrm>
              <a:off x="5206050" y="1550756"/>
              <a:ext cx="406400" cy="463582"/>
              <a:chOff x="4870450" y="3278188"/>
              <a:chExt cx="315913" cy="360363"/>
            </a:xfrm>
            <a:solidFill>
              <a:schemeClr val="bg1"/>
            </a:solidFill>
          </p:grpSpPr>
          <p:sp>
            <p:nvSpPr>
              <p:cNvPr id="25" name="Freeform 75">
                <a:extLst>
                  <a:ext uri="{FF2B5EF4-FFF2-40B4-BE49-F238E27FC236}">
                    <a16:creationId xmlns:a16="http://schemas.microsoft.com/office/drawing/2014/main" id="{8CB5A65B-9086-45AF-8362-A0B3BE8D890F}"/>
                  </a:ext>
                </a:extLst>
              </p:cNvPr>
              <p:cNvSpPr>
                <a:spLocks noEditPoints="1"/>
              </p:cNvSpPr>
              <p:nvPr/>
            </p:nvSpPr>
            <p:spPr bwMode="auto">
              <a:xfrm>
                <a:off x="5110163" y="3398838"/>
                <a:ext cx="76200" cy="74613"/>
              </a:xfrm>
              <a:custGeom>
                <a:avLst/>
                <a:gdLst>
                  <a:gd name="T0" fmla="*/ 149 w 331"/>
                  <a:gd name="T1" fmla="*/ 330 h 331"/>
                  <a:gd name="T2" fmla="*/ 101 w 331"/>
                  <a:gd name="T3" fmla="*/ 318 h 331"/>
                  <a:gd name="T4" fmla="*/ 61 w 331"/>
                  <a:gd name="T5" fmla="*/ 293 h 331"/>
                  <a:gd name="T6" fmla="*/ 29 w 331"/>
                  <a:gd name="T7" fmla="*/ 258 h 331"/>
                  <a:gd name="T8" fmla="*/ 8 w 331"/>
                  <a:gd name="T9" fmla="*/ 214 h 331"/>
                  <a:gd name="T10" fmla="*/ 0 w 331"/>
                  <a:gd name="T11" fmla="*/ 166 h 331"/>
                  <a:gd name="T12" fmla="*/ 4 w 331"/>
                  <a:gd name="T13" fmla="*/ 131 h 331"/>
                  <a:gd name="T14" fmla="*/ 20 w 331"/>
                  <a:gd name="T15" fmla="*/ 86 h 331"/>
                  <a:gd name="T16" fmla="*/ 48 w 331"/>
                  <a:gd name="T17" fmla="*/ 48 h 331"/>
                  <a:gd name="T18" fmla="*/ 87 w 331"/>
                  <a:gd name="T19" fmla="*/ 20 h 331"/>
                  <a:gd name="T20" fmla="*/ 132 w 331"/>
                  <a:gd name="T21" fmla="*/ 3 h 331"/>
                  <a:gd name="T22" fmla="*/ 165 w 331"/>
                  <a:gd name="T23" fmla="*/ 0 h 331"/>
                  <a:gd name="T24" fmla="*/ 215 w 331"/>
                  <a:gd name="T25" fmla="*/ 7 h 331"/>
                  <a:gd name="T26" fmla="*/ 258 w 331"/>
                  <a:gd name="T27" fmla="*/ 28 h 331"/>
                  <a:gd name="T28" fmla="*/ 293 w 331"/>
                  <a:gd name="T29" fmla="*/ 60 h 331"/>
                  <a:gd name="T30" fmla="*/ 318 w 331"/>
                  <a:gd name="T31" fmla="*/ 100 h 331"/>
                  <a:gd name="T32" fmla="*/ 331 w 331"/>
                  <a:gd name="T33" fmla="*/ 148 h 331"/>
                  <a:gd name="T34" fmla="*/ 331 w 331"/>
                  <a:gd name="T35" fmla="*/ 182 h 331"/>
                  <a:gd name="T36" fmla="*/ 318 w 331"/>
                  <a:gd name="T37" fmla="*/ 230 h 331"/>
                  <a:gd name="T38" fmla="*/ 293 w 331"/>
                  <a:gd name="T39" fmla="*/ 270 h 331"/>
                  <a:gd name="T40" fmla="*/ 258 w 331"/>
                  <a:gd name="T41" fmla="*/ 302 h 331"/>
                  <a:gd name="T42" fmla="*/ 215 w 331"/>
                  <a:gd name="T43" fmla="*/ 323 h 331"/>
                  <a:gd name="T44" fmla="*/ 165 w 331"/>
                  <a:gd name="T45" fmla="*/ 331 h 331"/>
                  <a:gd name="T46" fmla="*/ 165 w 331"/>
                  <a:gd name="T47" fmla="*/ 66 h 331"/>
                  <a:gd name="T48" fmla="*/ 136 w 331"/>
                  <a:gd name="T49" fmla="*/ 70 h 331"/>
                  <a:gd name="T50" fmla="*/ 110 w 331"/>
                  <a:gd name="T51" fmla="*/ 83 h 331"/>
                  <a:gd name="T52" fmla="*/ 89 w 331"/>
                  <a:gd name="T53" fmla="*/ 103 h 331"/>
                  <a:gd name="T54" fmla="*/ 74 w 331"/>
                  <a:gd name="T55" fmla="*/ 126 h 331"/>
                  <a:gd name="T56" fmla="*/ 67 w 331"/>
                  <a:gd name="T57" fmla="*/ 155 h 331"/>
                  <a:gd name="T58" fmla="*/ 67 w 331"/>
                  <a:gd name="T59" fmla="*/ 175 h 331"/>
                  <a:gd name="T60" fmla="*/ 74 w 331"/>
                  <a:gd name="T61" fmla="*/ 204 h 331"/>
                  <a:gd name="T62" fmla="*/ 89 w 331"/>
                  <a:gd name="T63" fmla="*/ 229 h 331"/>
                  <a:gd name="T64" fmla="*/ 110 w 331"/>
                  <a:gd name="T65" fmla="*/ 247 h 331"/>
                  <a:gd name="T66" fmla="*/ 136 w 331"/>
                  <a:gd name="T67" fmla="*/ 260 h 331"/>
                  <a:gd name="T68" fmla="*/ 165 w 331"/>
                  <a:gd name="T69" fmla="*/ 265 h 331"/>
                  <a:gd name="T70" fmla="*/ 186 w 331"/>
                  <a:gd name="T71" fmla="*/ 263 h 331"/>
                  <a:gd name="T72" fmla="*/ 213 w 331"/>
                  <a:gd name="T73" fmla="*/ 253 h 331"/>
                  <a:gd name="T74" fmla="*/ 236 w 331"/>
                  <a:gd name="T75" fmla="*/ 235 h 331"/>
                  <a:gd name="T76" fmla="*/ 253 w 331"/>
                  <a:gd name="T77" fmla="*/ 212 h 331"/>
                  <a:gd name="T78" fmla="*/ 262 w 331"/>
                  <a:gd name="T79" fmla="*/ 185 h 331"/>
                  <a:gd name="T80" fmla="*/ 265 w 331"/>
                  <a:gd name="T81" fmla="*/ 166 h 331"/>
                  <a:gd name="T82" fmla="*/ 260 w 331"/>
                  <a:gd name="T83" fmla="*/ 136 h 331"/>
                  <a:gd name="T84" fmla="*/ 248 w 331"/>
                  <a:gd name="T85" fmla="*/ 110 h 331"/>
                  <a:gd name="T86" fmla="*/ 228 w 331"/>
                  <a:gd name="T87" fmla="*/ 88 h 331"/>
                  <a:gd name="T88" fmla="*/ 205 w 331"/>
                  <a:gd name="T89" fmla="*/ 74 h 331"/>
                  <a:gd name="T90" fmla="*/ 176 w 331"/>
                  <a:gd name="T91" fmla="*/ 6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1" h="331">
                    <a:moveTo>
                      <a:pt x="165" y="331"/>
                    </a:moveTo>
                    <a:lnTo>
                      <a:pt x="165" y="331"/>
                    </a:lnTo>
                    <a:lnTo>
                      <a:pt x="149" y="330"/>
                    </a:lnTo>
                    <a:lnTo>
                      <a:pt x="132" y="327"/>
                    </a:lnTo>
                    <a:lnTo>
                      <a:pt x="117" y="323"/>
                    </a:lnTo>
                    <a:lnTo>
                      <a:pt x="101" y="318"/>
                    </a:lnTo>
                    <a:lnTo>
                      <a:pt x="87" y="310"/>
                    </a:lnTo>
                    <a:lnTo>
                      <a:pt x="73" y="302"/>
                    </a:lnTo>
                    <a:lnTo>
                      <a:pt x="61" y="293"/>
                    </a:lnTo>
                    <a:lnTo>
                      <a:pt x="48" y="283"/>
                    </a:lnTo>
                    <a:lnTo>
                      <a:pt x="38" y="270"/>
                    </a:lnTo>
                    <a:lnTo>
                      <a:pt x="29" y="258"/>
                    </a:lnTo>
                    <a:lnTo>
                      <a:pt x="20" y="244"/>
                    </a:lnTo>
                    <a:lnTo>
                      <a:pt x="13" y="230"/>
                    </a:lnTo>
                    <a:lnTo>
                      <a:pt x="8" y="214"/>
                    </a:lnTo>
                    <a:lnTo>
                      <a:pt x="4" y="199"/>
                    </a:lnTo>
                    <a:lnTo>
                      <a:pt x="1" y="182"/>
                    </a:lnTo>
                    <a:lnTo>
                      <a:pt x="0" y="166"/>
                    </a:lnTo>
                    <a:lnTo>
                      <a:pt x="0" y="166"/>
                    </a:lnTo>
                    <a:lnTo>
                      <a:pt x="1" y="148"/>
                    </a:lnTo>
                    <a:lnTo>
                      <a:pt x="4" y="131"/>
                    </a:lnTo>
                    <a:lnTo>
                      <a:pt x="8" y="116"/>
                    </a:lnTo>
                    <a:lnTo>
                      <a:pt x="13" y="100"/>
                    </a:lnTo>
                    <a:lnTo>
                      <a:pt x="20" y="86"/>
                    </a:lnTo>
                    <a:lnTo>
                      <a:pt x="29" y="73"/>
                    </a:lnTo>
                    <a:lnTo>
                      <a:pt x="38" y="60"/>
                    </a:lnTo>
                    <a:lnTo>
                      <a:pt x="48" y="48"/>
                    </a:lnTo>
                    <a:lnTo>
                      <a:pt x="61" y="37"/>
                    </a:lnTo>
                    <a:lnTo>
                      <a:pt x="73" y="28"/>
                    </a:lnTo>
                    <a:lnTo>
                      <a:pt x="87" y="20"/>
                    </a:lnTo>
                    <a:lnTo>
                      <a:pt x="101" y="13"/>
                    </a:lnTo>
                    <a:lnTo>
                      <a:pt x="117" y="7"/>
                    </a:lnTo>
                    <a:lnTo>
                      <a:pt x="132" y="3"/>
                    </a:lnTo>
                    <a:lnTo>
                      <a:pt x="149" y="0"/>
                    </a:lnTo>
                    <a:lnTo>
                      <a:pt x="165" y="0"/>
                    </a:lnTo>
                    <a:lnTo>
                      <a:pt x="165" y="0"/>
                    </a:lnTo>
                    <a:lnTo>
                      <a:pt x="183" y="0"/>
                    </a:lnTo>
                    <a:lnTo>
                      <a:pt x="199" y="3"/>
                    </a:lnTo>
                    <a:lnTo>
                      <a:pt x="215" y="7"/>
                    </a:lnTo>
                    <a:lnTo>
                      <a:pt x="230" y="13"/>
                    </a:lnTo>
                    <a:lnTo>
                      <a:pt x="245" y="20"/>
                    </a:lnTo>
                    <a:lnTo>
                      <a:pt x="258" y="28"/>
                    </a:lnTo>
                    <a:lnTo>
                      <a:pt x="271" y="37"/>
                    </a:lnTo>
                    <a:lnTo>
                      <a:pt x="283" y="48"/>
                    </a:lnTo>
                    <a:lnTo>
                      <a:pt x="293" y="60"/>
                    </a:lnTo>
                    <a:lnTo>
                      <a:pt x="303" y="73"/>
                    </a:lnTo>
                    <a:lnTo>
                      <a:pt x="311" y="86"/>
                    </a:lnTo>
                    <a:lnTo>
                      <a:pt x="318" y="100"/>
                    </a:lnTo>
                    <a:lnTo>
                      <a:pt x="324" y="116"/>
                    </a:lnTo>
                    <a:lnTo>
                      <a:pt x="328" y="131"/>
                    </a:lnTo>
                    <a:lnTo>
                      <a:pt x="331" y="148"/>
                    </a:lnTo>
                    <a:lnTo>
                      <a:pt x="331" y="166"/>
                    </a:lnTo>
                    <a:lnTo>
                      <a:pt x="331" y="166"/>
                    </a:lnTo>
                    <a:lnTo>
                      <a:pt x="331" y="182"/>
                    </a:lnTo>
                    <a:lnTo>
                      <a:pt x="328" y="199"/>
                    </a:lnTo>
                    <a:lnTo>
                      <a:pt x="324" y="214"/>
                    </a:lnTo>
                    <a:lnTo>
                      <a:pt x="318" y="230"/>
                    </a:lnTo>
                    <a:lnTo>
                      <a:pt x="311" y="244"/>
                    </a:lnTo>
                    <a:lnTo>
                      <a:pt x="303" y="258"/>
                    </a:lnTo>
                    <a:lnTo>
                      <a:pt x="293" y="270"/>
                    </a:lnTo>
                    <a:lnTo>
                      <a:pt x="283" y="283"/>
                    </a:lnTo>
                    <a:lnTo>
                      <a:pt x="271" y="293"/>
                    </a:lnTo>
                    <a:lnTo>
                      <a:pt x="258" y="302"/>
                    </a:lnTo>
                    <a:lnTo>
                      <a:pt x="245" y="310"/>
                    </a:lnTo>
                    <a:lnTo>
                      <a:pt x="230" y="318"/>
                    </a:lnTo>
                    <a:lnTo>
                      <a:pt x="215" y="323"/>
                    </a:lnTo>
                    <a:lnTo>
                      <a:pt x="199" y="327"/>
                    </a:lnTo>
                    <a:lnTo>
                      <a:pt x="183" y="330"/>
                    </a:lnTo>
                    <a:lnTo>
                      <a:pt x="165" y="331"/>
                    </a:lnTo>
                    <a:lnTo>
                      <a:pt x="165" y="331"/>
                    </a:lnTo>
                    <a:close/>
                    <a:moveTo>
                      <a:pt x="165" y="66"/>
                    </a:moveTo>
                    <a:lnTo>
                      <a:pt x="165" y="66"/>
                    </a:lnTo>
                    <a:lnTo>
                      <a:pt x="156" y="66"/>
                    </a:lnTo>
                    <a:lnTo>
                      <a:pt x="146" y="67"/>
                    </a:lnTo>
                    <a:lnTo>
                      <a:pt x="136" y="70"/>
                    </a:lnTo>
                    <a:lnTo>
                      <a:pt x="127" y="74"/>
                    </a:lnTo>
                    <a:lnTo>
                      <a:pt x="119" y="78"/>
                    </a:lnTo>
                    <a:lnTo>
                      <a:pt x="110" y="83"/>
                    </a:lnTo>
                    <a:lnTo>
                      <a:pt x="102" y="88"/>
                    </a:lnTo>
                    <a:lnTo>
                      <a:pt x="96" y="95"/>
                    </a:lnTo>
                    <a:lnTo>
                      <a:pt x="89" y="103"/>
                    </a:lnTo>
                    <a:lnTo>
                      <a:pt x="83" y="110"/>
                    </a:lnTo>
                    <a:lnTo>
                      <a:pt x="78" y="118"/>
                    </a:lnTo>
                    <a:lnTo>
                      <a:pt x="74" y="126"/>
                    </a:lnTo>
                    <a:lnTo>
                      <a:pt x="71" y="136"/>
                    </a:lnTo>
                    <a:lnTo>
                      <a:pt x="68" y="145"/>
                    </a:lnTo>
                    <a:lnTo>
                      <a:pt x="67" y="155"/>
                    </a:lnTo>
                    <a:lnTo>
                      <a:pt x="66" y="166"/>
                    </a:lnTo>
                    <a:lnTo>
                      <a:pt x="66" y="166"/>
                    </a:lnTo>
                    <a:lnTo>
                      <a:pt x="67" y="175"/>
                    </a:lnTo>
                    <a:lnTo>
                      <a:pt x="68" y="185"/>
                    </a:lnTo>
                    <a:lnTo>
                      <a:pt x="71" y="195"/>
                    </a:lnTo>
                    <a:lnTo>
                      <a:pt x="74" y="204"/>
                    </a:lnTo>
                    <a:lnTo>
                      <a:pt x="78" y="212"/>
                    </a:lnTo>
                    <a:lnTo>
                      <a:pt x="83" y="220"/>
                    </a:lnTo>
                    <a:lnTo>
                      <a:pt x="89" y="229"/>
                    </a:lnTo>
                    <a:lnTo>
                      <a:pt x="96" y="235"/>
                    </a:lnTo>
                    <a:lnTo>
                      <a:pt x="102" y="242"/>
                    </a:lnTo>
                    <a:lnTo>
                      <a:pt x="110" y="247"/>
                    </a:lnTo>
                    <a:lnTo>
                      <a:pt x="119" y="253"/>
                    </a:lnTo>
                    <a:lnTo>
                      <a:pt x="127" y="257"/>
                    </a:lnTo>
                    <a:lnTo>
                      <a:pt x="136" y="260"/>
                    </a:lnTo>
                    <a:lnTo>
                      <a:pt x="146" y="263"/>
                    </a:lnTo>
                    <a:lnTo>
                      <a:pt x="156" y="264"/>
                    </a:lnTo>
                    <a:lnTo>
                      <a:pt x="165" y="265"/>
                    </a:lnTo>
                    <a:lnTo>
                      <a:pt x="165" y="265"/>
                    </a:lnTo>
                    <a:lnTo>
                      <a:pt x="176" y="264"/>
                    </a:lnTo>
                    <a:lnTo>
                      <a:pt x="186" y="263"/>
                    </a:lnTo>
                    <a:lnTo>
                      <a:pt x="195" y="260"/>
                    </a:lnTo>
                    <a:lnTo>
                      <a:pt x="205" y="257"/>
                    </a:lnTo>
                    <a:lnTo>
                      <a:pt x="213" y="253"/>
                    </a:lnTo>
                    <a:lnTo>
                      <a:pt x="221" y="247"/>
                    </a:lnTo>
                    <a:lnTo>
                      <a:pt x="228" y="242"/>
                    </a:lnTo>
                    <a:lnTo>
                      <a:pt x="236" y="235"/>
                    </a:lnTo>
                    <a:lnTo>
                      <a:pt x="242" y="229"/>
                    </a:lnTo>
                    <a:lnTo>
                      <a:pt x="248" y="220"/>
                    </a:lnTo>
                    <a:lnTo>
                      <a:pt x="253" y="212"/>
                    </a:lnTo>
                    <a:lnTo>
                      <a:pt x="257" y="204"/>
                    </a:lnTo>
                    <a:lnTo>
                      <a:pt x="260" y="195"/>
                    </a:lnTo>
                    <a:lnTo>
                      <a:pt x="262" y="185"/>
                    </a:lnTo>
                    <a:lnTo>
                      <a:pt x="265" y="175"/>
                    </a:lnTo>
                    <a:lnTo>
                      <a:pt x="265" y="166"/>
                    </a:lnTo>
                    <a:lnTo>
                      <a:pt x="265" y="166"/>
                    </a:lnTo>
                    <a:lnTo>
                      <a:pt x="265" y="155"/>
                    </a:lnTo>
                    <a:lnTo>
                      <a:pt x="262" y="145"/>
                    </a:lnTo>
                    <a:lnTo>
                      <a:pt x="260" y="136"/>
                    </a:lnTo>
                    <a:lnTo>
                      <a:pt x="257" y="126"/>
                    </a:lnTo>
                    <a:lnTo>
                      <a:pt x="253" y="118"/>
                    </a:lnTo>
                    <a:lnTo>
                      <a:pt x="248" y="110"/>
                    </a:lnTo>
                    <a:lnTo>
                      <a:pt x="242" y="103"/>
                    </a:lnTo>
                    <a:lnTo>
                      <a:pt x="236" y="95"/>
                    </a:lnTo>
                    <a:lnTo>
                      <a:pt x="228" y="88"/>
                    </a:lnTo>
                    <a:lnTo>
                      <a:pt x="221" y="83"/>
                    </a:lnTo>
                    <a:lnTo>
                      <a:pt x="213" y="78"/>
                    </a:lnTo>
                    <a:lnTo>
                      <a:pt x="205" y="74"/>
                    </a:lnTo>
                    <a:lnTo>
                      <a:pt x="195" y="70"/>
                    </a:lnTo>
                    <a:lnTo>
                      <a:pt x="186" y="67"/>
                    </a:lnTo>
                    <a:lnTo>
                      <a:pt x="176" y="66"/>
                    </a:lnTo>
                    <a:lnTo>
                      <a:pt x="165" y="66"/>
                    </a:lnTo>
                    <a:lnTo>
                      <a:pt x="165"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6" name="Freeform 76">
                <a:extLst>
                  <a:ext uri="{FF2B5EF4-FFF2-40B4-BE49-F238E27FC236}">
                    <a16:creationId xmlns:a16="http://schemas.microsoft.com/office/drawing/2014/main" id="{1CAF2B72-D072-4256-AA07-F0DCDE47393E}"/>
                  </a:ext>
                </a:extLst>
              </p:cNvPr>
              <p:cNvSpPr>
                <a:spLocks/>
              </p:cNvSpPr>
              <p:nvPr/>
            </p:nvSpPr>
            <p:spPr bwMode="auto">
              <a:xfrm>
                <a:off x="4870450" y="3302001"/>
                <a:ext cx="165100" cy="195263"/>
              </a:xfrm>
              <a:custGeom>
                <a:avLst/>
                <a:gdLst>
                  <a:gd name="T0" fmla="*/ 327 w 728"/>
                  <a:gd name="T1" fmla="*/ 859 h 861"/>
                  <a:gd name="T2" fmla="*/ 257 w 728"/>
                  <a:gd name="T3" fmla="*/ 845 h 861"/>
                  <a:gd name="T4" fmla="*/ 190 w 728"/>
                  <a:gd name="T5" fmla="*/ 817 h 861"/>
                  <a:gd name="T6" fmla="*/ 132 w 728"/>
                  <a:gd name="T7" fmla="*/ 778 h 861"/>
                  <a:gd name="T8" fmla="*/ 84 w 728"/>
                  <a:gd name="T9" fmla="*/ 728 h 861"/>
                  <a:gd name="T10" fmla="*/ 44 w 728"/>
                  <a:gd name="T11" fmla="*/ 670 h 861"/>
                  <a:gd name="T12" fmla="*/ 16 w 728"/>
                  <a:gd name="T13" fmla="*/ 605 h 861"/>
                  <a:gd name="T14" fmla="*/ 2 w 728"/>
                  <a:gd name="T15" fmla="*/ 534 h 861"/>
                  <a:gd name="T16" fmla="*/ 0 w 728"/>
                  <a:gd name="T17" fmla="*/ 165 h 861"/>
                  <a:gd name="T18" fmla="*/ 13 w 728"/>
                  <a:gd name="T19" fmla="*/ 101 h 861"/>
                  <a:gd name="T20" fmla="*/ 49 w 728"/>
                  <a:gd name="T21" fmla="*/ 48 h 861"/>
                  <a:gd name="T22" fmla="*/ 101 w 728"/>
                  <a:gd name="T23" fmla="*/ 13 h 861"/>
                  <a:gd name="T24" fmla="*/ 165 w 728"/>
                  <a:gd name="T25" fmla="*/ 0 h 861"/>
                  <a:gd name="T26" fmla="*/ 184 w 728"/>
                  <a:gd name="T27" fmla="*/ 6 h 861"/>
                  <a:gd name="T28" fmla="*/ 198 w 728"/>
                  <a:gd name="T29" fmla="*/ 27 h 861"/>
                  <a:gd name="T30" fmla="*/ 197 w 728"/>
                  <a:gd name="T31" fmla="*/ 46 h 861"/>
                  <a:gd name="T32" fmla="*/ 179 w 728"/>
                  <a:gd name="T33" fmla="*/ 64 h 861"/>
                  <a:gd name="T34" fmla="*/ 155 w 728"/>
                  <a:gd name="T35" fmla="*/ 67 h 861"/>
                  <a:gd name="T36" fmla="*/ 118 w 728"/>
                  <a:gd name="T37" fmla="*/ 78 h 861"/>
                  <a:gd name="T38" fmla="*/ 89 w 728"/>
                  <a:gd name="T39" fmla="*/ 102 h 861"/>
                  <a:gd name="T40" fmla="*/ 70 w 728"/>
                  <a:gd name="T41" fmla="*/ 136 h 861"/>
                  <a:gd name="T42" fmla="*/ 66 w 728"/>
                  <a:gd name="T43" fmla="*/ 497 h 861"/>
                  <a:gd name="T44" fmla="*/ 69 w 728"/>
                  <a:gd name="T45" fmla="*/ 542 h 861"/>
                  <a:gd name="T46" fmla="*/ 85 w 728"/>
                  <a:gd name="T47" fmla="*/ 599 h 861"/>
                  <a:gd name="T48" fmla="*/ 110 w 728"/>
                  <a:gd name="T49" fmla="*/ 651 h 861"/>
                  <a:gd name="T50" fmla="*/ 144 w 728"/>
                  <a:gd name="T51" fmla="*/ 697 h 861"/>
                  <a:gd name="T52" fmla="*/ 186 w 728"/>
                  <a:gd name="T53" fmla="*/ 735 h 861"/>
                  <a:gd name="T54" fmla="*/ 235 w 728"/>
                  <a:gd name="T55" fmla="*/ 765 h 861"/>
                  <a:gd name="T56" fmla="*/ 290 w 728"/>
                  <a:gd name="T57" fmla="*/ 786 h 861"/>
                  <a:gd name="T58" fmla="*/ 349 w 728"/>
                  <a:gd name="T59" fmla="*/ 794 h 861"/>
                  <a:gd name="T60" fmla="*/ 395 w 728"/>
                  <a:gd name="T61" fmla="*/ 793 h 861"/>
                  <a:gd name="T62" fmla="*/ 453 w 728"/>
                  <a:gd name="T63" fmla="*/ 782 h 861"/>
                  <a:gd name="T64" fmla="*/ 506 w 728"/>
                  <a:gd name="T65" fmla="*/ 759 h 861"/>
                  <a:gd name="T66" fmla="*/ 554 w 728"/>
                  <a:gd name="T67" fmla="*/ 727 h 861"/>
                  <a:gd name="T68" fmla="*/ 594 w 728"/>
                  <a:gd name="T69" fmla="*/ 687 h 861"/>
                  <a:gd name="T70" fmla="*/ 626 w 728"/>
                  <a:gd name="T71" fmla="*/ 639 h 861"/>
                  <a:gd name="T72" fmla="*/ 649 w 728"/>
                  <a:gd name="T73" fmla="*/ 585 h 861"/>
                  <a:gd name="T74" fmla="*/ 661 w 728"/>
                  <a:gd name="T75" fmla="*/ 527 h 861"/>
                  <a:gd name="T76" fmla="*/ 662 w 728"/>
                  <a:gd name="T77" fmla="*/ 165 h 861"/>
                  <a:gd name="T78" fmla="*/ 655 w 728"/>
                  <a:gd name="T79" fmla="*/ 127 h 861"/>
                  <a:gd name="T80" fmla="*/ 633 w 728"/>
                  <a:gd name="T81" fmla="*/ 96 h 861"/>
                  <a:gd name="T82" fmla="*/ 602 w 728"/>
                  <a:gd name="T83" fmla="*/ 74 h 861"/>
                  <a:gd name="T84" fmla="*/ 563 w 728"/>
                  <a:gd name="T85" fmla="*/ 66 h 861"/>
                  <a:gd name="T86" fmla="*/ 544 w 728"/>
                  <a:gd name="T87" fmla="*/ 61 h 861"/>
                  <a:gd name="T88" fmla="*/ 531 w 728"/>
                  <a:gd name="T89" fmla="*/ 40 h 861"/>
                  <a:gd name="T90" fmla="*/ 533 w 728"/>
                  <a:gd name="T91" fmla="*/ 20 h 861"/>
                  <a:gd name="T92" fmla="*/ 550 w 728"/>
                  <a:gd name="T93" fmla="*/ 3 h 861"/>
                  <a:gd name="T94" fmla="*/ 580 w 728"/>
                  <a:gd name="T95" fmla="*/ 1 h 861"/>
                  <a:gd name="T96" fmla="*/ 642 w 728"/>
                  <a:gd name="T97" fmla="*/ 20 h 861"/>
                  <a:gd name="T98" fmla="*/ 691 w 728"/>
                  <a:gd name="T99" fmla="*/ 61 h 861"/>
                  <a:gd name="T100" fmla="*/ 721 w 728"/>
                  <a:gd name="T101" fmla="*/ 117 h 861"/>
                  <a:gd name="T102" fmla="*/ 728 w 728"/>
                  <a:gd name="T103" fmla="*/ 497 h 861"/>
                  <a:gd name="T104" fmla="*/ 724 w 728"/>
                  <a:gd name="T105" fmla="*/ 552 h 861"/>
                  <a:gd name="T106" fmla="*/ 707 w 728"/>
                  <a:gd name="T107" fmla="*/ 621 h 861"/>
                  <a:gd name="T108" fmla="*/ 676 w 728"/>
                  <a:gd name="T109" fmla="*/ 686 h 861"/>
                  <a:gd name="T110" fmla="*/ 634 w 728"/>
                  <a:gd name="T111" fmla="*/ 741 h 861"/>
                  <a:gd name="T112" fmla="*/ 583 w 728"/>
                  <a:gd name="T113" fmla="*/ 789 h 861"/>
                  <a:gd name="T114" fmla="*/ 523 w 728"/>
                  <a:gd name="T115" fmla="*/ 825 h 861"/>
                  <a:gd name="T116" fmla="*/ 455 w 728"/>
                  <a:gd name="T117" fmla="*/ 850 h 861"/>
                  <a:gd name="T118" fmla="*/ 383 w 728"/>
                  <a:gd name="T119" fmla="*/ 86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28" h="861">
                    <a:moveTo>
                      <a:pt x="364" y="861"/>
                    </a:moveTo>
                    <a:lnTo>
                      <a:pt x="364" y="861"/>
                    </a:lnTo>
                    <a:lnTo>
                      <a:pt x="346" y="860"/>
                    </a:lnTo>
                    <a:lnTo>
                      <a:pt x="327" y="859"/>
                    </a:lnTo>
                    <a:lnTo>
                      <a:pt x="309" y="857"/>
                    </a:lnTo>
                    <a:lnTo>
                      <a:pt x="291" y="853"/>
                    </a:lnTo>
                    <a:lnTo>
                      <a:pt x="273" y="850"/>
                    </a:lnTo>
                    <a:lnTo>
                      <a:pt x="257" y="845"/>
                    </a:lnTo>
                    <a:lnTo>
                      <a:pt x="239" y="839"/>
                    </a:lnTo>
                    <a:lnTo>
                      <a:pt x="222" y="833"/>
                    </a:lnTo>
                    <a:lnTo>
                      <a:pt x="207" y="825"/>
                    </a:lnTo>
                    <a:lnTo>
                      <a:pt x="190" y="817"/>
                    </a:lnTo>
                    <a:lnTo>
                      <a:pt x="176" y="809"/>
                    </a:lnTo>
                    <a:lnTo>
                      <a:pt x="160" y="798"/>
                    </a:lnTo>
                    <a:lnTo>
                      <a:pt x="147" y="789"/>
                    </a:lnTo>
                    <a:lnTo>
                      <a:pt x="132" y="778"/>
                    </a:lnTo>
                    <a:lnTo>
                      <a:pt x="120" y="766"/>
                    </a:lnTo>
                    <a:lnTo>
                      <a:pt x="106" y="754"/>
                    </a:lnTo>
                    <a:lnTo>
                      <a:pt x="95" y="741"/>
                    </a:lnTo>
                    <a:lnTo>
                      <a:pt x="84" y="728"/>
                    </a:lnTo>
                    <a:lnTo>
                      <a:pt x="72" y="715"/>
                    </a:lnTo>
                    <a:lnTo>
                      <a:pt x="62" y="700"/>
                    </a:lnTo>
                    <a:lnTo>
                      <a:pt x="53" y="686"/>
                    </a:lnTo>
                    <a:lnTo>
                      <a:pt x="44" y="670"/>
                    </a:lnTo>
                    <a:lnTo>
                      <a:pt x="36" y="655"/>
                    </a:lnTo>
                    <a:lnTo>
                      <a:pt x="29" y="638"/>
                    </a:lnTo>
                    <a:lnTo>
                      <a:pt x="22" y="621"/>
                    </a:lnTo>
                    <a:lnTo>
                      <a:pt x="16" y="605"/>
                    </a:lnTo>
                    <a:lnTo>
                      <a:pt x="11" y="587"/>
                    </a:lnTo>
                    <a:lnTo>
                      <a:pt x="7" y="570"/>
                    </a:lnTo>
                    <a:lnTo>
                      <a:pt x="4" y="552"/>
                    </a:lnTo>
                    <a:lnTo>
                      <a:pt x="2" y="534"/>
                    </a:lnTo>
                    <a:lnTo>
                      <a:pt x="0" y="516"/>
                    </a:lnTo>
                    <a:lnTo>
                      <a:pt x="0" y="497"/>
                    </a:lnTo>
                    <a:lnTo>
                      <a:pt x="0" y="165"/>
                    </a:lnTo>
                    <a:lnTo>
                      <a:pt x="0" y="165"/>
                    </a:lnTo>
                    <a:lnTo>
                      <a:pt x="1" y="149"/>
                    </a:lnTo>
                    <a:lnTo>
                      <a:pt x="3" y="132"/>
                    </a:lnTo>
                    <a:lnTo>
                      <a:pt x="7" y="117"/>
                    </a:lnTo>
                    <a:lnTo>
                      <a:pt x="13" y="101"/>
                    </a:lnTo>
                    <a:lnTo>
                      <a:pt x="20" y="87"/>
                    </a:lnTo>
                    <a:lnTo>
                      <a:pt x="28" y="73"/>
                    </a:lnTo>
                    <a:lnTo>
                      <a:pt x="38" y="61"/>
                    </a:lnTo>
                    <a:lnTo>
                      <a:pt x="49" y="48"/>
                    </a:lnTo>
                    <a:lnTo>
                      <a:pt x="60" y="38"/>
                    </a:lnTo>
                    <a:lnTo>
                      <a:pt x="73" y="29"/>
                    </a:lnTo>
                    <a:lnTo>
                      <a:pt x="87" y="20"/>
                    </a:lnTo>
                    <a:lnTo>
                      <a:pt x="101" y="13"/>
                    </a:lnTo>
                    <a:lnTo>
                      <a:pt x="117" y="8"/>
                    </a:lnTo>
                    <a:lnTo>
                      <a:pt x="132" y="4"/>
                    </a:lnTo>
                    <a:lnTo>
                      <a:pt x="149" y="1"/>
                    </a:lnTo>
                    <a:lnTo>
                      <a:pt x="165" y="0"/>
                    </a:lnTo>
                    <a:lnTo>
                      <a:pt x="165" y="0"/>
                    </a:lnTo>
                    <a:lnTo>
                      <a:pt x="173" y="1"/>
                    </a:lnTo>
                    <a:lnTo>
                      <a:pt x="179" y="3"/>
                    </a:lnTo>
                    <a:lnTo>
                      <a:pt x="184" y="6"/>
                    </a:lnTo>
                    <a:lnTo>
                      <a:pt x="189" y="10"/>
                    </a:lnTo>
                    <a:lnTo>
                      <a:pt x="193" y="14"/>
                    </a:lnTo>
                    <a:lnTo>
                      <a:pt x="197" y="20"/>
                    </a:lnTo>
                    <a:lnTo>
                      <a:pt x="198" y="27"/>
                    </a:lnTo>
                    <a:lnTo>
                      <a:pt x="199" y="33"/>
                    </a:lnTo>
                    <a:lnTo>
                      <a:pt x="199" y="33"/>
                    </a:lnTo>
                    <a:lnTo>
                      <a:pt x="198" y="40"/>
                    </a:lnTo>
                    <a:lnTo>
                      <a:pt x="197" y="46"/>
                    </a:lnTo>
                    <a:lnTo>
                      <a:pt x="193" y="51"/>
                    </a:lnTo>
                    <a:lnTo>
                      <a:pt x="189" y="57"/>
                    </a:lnTo>
                    <a:lnTo>
                      <a:pt x="184" y="61"/>
                    </a:lnTo>
                    <a:lnTo>
                      <a:pt x="179" y="64"/>
                    </a:lnTo>
                    <a:lnTo>
                      <a:pt x="173" y="66"/>
                    </a:lnTo>
                    <a:lnTo>
                      <a:pt x="165" y="66"/>
                    </a:lnTo>
                    <a:lnTo>
                      <a:pt x="165" y="66"/>
                    </a:lnTo>
                    <a:lnTo>
                      <a:pt x="155" y="67"/>
                    </a:lnTo>
                    <a:lnTo>
                      <a:pt x="146" y="68"/>
                    </a:lnTo>
                    <a:lnTo>
                      <a:pt x="136" y="71"/>
                    </a:lnTo>
                    <a:lnTo>
                      <a:pt x="127" y="74"/>
                    </a:lnTo>
                    <a:lnTo>
                      <a:pt x="118" y="78"/>
                    </a:lnTo>
                    <a:lnTo>
                      <a:pt x="110" y="83"/>
                    </a:lnTo>
                    <a:lnTo>
                      <a:pt x="102" y="89"/>
                    </a:lnTo>
                    <a:lnTo>
                      <a:pt x="95" y="96"/>
                    </a:lnTo>
                    <a:lnTo>
                      <a:pt x="89" y="102"/>
                    </a:lnTo>
                    <a:lnTo>
                      <a:pt x="83" y="110"/>
                    </a:lnTo>
                    <a:lnTo>
                      <a:pt x="79" y="119"/>
                    </a:lnTo>
                    <a:lnTo>
                      <a:pt x="74" y="127"/>
                    </a:lnTo>
                    <a:lnTo>
                      <a:pt x="70" y="136"/>
                    </a:lnTo>
                    <a:lnTo>
                      <a:pt x="68" y="146"/>
                    </a:lnTo>
                    <a:lnTo>
                      <a:pt x="67" y="156"/>
                    </a:lnTo>
                    <a:lnTo>
                      <a:pt x="66" y="165"/>
                    </a:lnTo>
                    <a:lnTo>
                      <a:pt x="66" y="497"/>
                    </a:lnTo>
                    <a:lnTo>
                      <a:pt x="66" y="497"/>
                    </a:lnTo>
                    <a:lnTo>
                      <a:pt x="66" y="512"/>
                    </a:lnTo>
                    <a:lnTo>
                      <a:pt x="68" y="527"/>
                    </a:lnTo>
                    <a:lnTo>
                      <a:pt x="69" y="542"/>
                    </a:lnTo>
                    <a:lnTo>
                      <a:pt x="72" y="557"/>
                    </a:lnTo>
                    <a:lnTo>
                      <a:pt x="75" y="571"/>
                    </a:lnTo>
                    <a:lnTo>
                      <a:pt x="80" y="585"/>
                    </a:lnTo>
                    <a:lnTo>
                      <a:pt x="85" y="599"/>
                    </a:lnTo>
                    <a:lnTo>
                      <a:pt x="90" y="613"/>
                    </a:lnTo>
                    <a:lnTo>
                      <a:pt x="96" y="626"/>
                    </a:lnTo>
                    <a:lnTo>
                      <a:pt x="102" y="639"/>
                    </a:lnTo>
                    <a:lnTo>
                      <a:pt x="110" y="651"/>
                    </a:lnTo>
                    <a:lnTo>
                      <a:pt x="117" y="663"/>
                    </a:lnTo>
                    <a:lnTo>
                      <a:pt x="125" y="675"/>
                    </a:lnTo>
                    <a:lnTo>
                      <a:pt x="134" y="687"/>
                    </a:lnTo>
                    <a:lnTo>
                      <a:pt x="144" y="697"/>
                    </a:lnTo>
                    <a:lnTo>
                      <a:pt x="154" y="707"/>
                    </a:lnTo>
                    <a:lnTo>
                      <a:pt x="164" y="718"/>
                    </a:lnTo>
                    <a:lnTo>
                      <a:pt x="175" y="727"/>
                    </a:lnTo>
                    <a:lnTo>
                      <a:pt x="186" y="735"/>
                    </a:lnTo>
                    <a:lnTo>
                      <a:pt x="198" y="744"/>
                    </a:lnTo>
                    <a:lnTo>
                      <a:pt x="210" y="752"/>
                    </a:lnTo>
                    <a:lnTo>
                      <a:pt x="222" y="759"/>
                    </a:lnTo>
                    <a:lnTo>
                      <a:pt x="235" y="765"/>
                    </a:lnTo>
                    <a:lnTo>
                      <a:pt x="248" y="771"/>
                    </a:lnTo>
                    <a:lnTo>
                      <a:pt x="262" y="777"/>
                    </a:lnTo>
                    <a:lnTo>
                      <a:pt x="276" y="782"/>
                    </a:lnTo>
                    <a:lnTo>
                      <a:pt x="290" y="786"/>
                    </a:lnTo>
                    <a:lnTo>
                      <a:pt x="304" y="789"/>
                    </a:lnTo>
                    <a:lnTo>
                      <a:pt x="319" y="791"/>
                    </a:lnTo>
                    <a:lnTo>
                      <a:pt x="334" y="793"/>
                    </a:lnTo>
                    <a:lnTo>
                      <a:pt x="349" y="794"/>
                    </a:lnTo>
                    <a:lnTo>
                      <a:pt x="364" y="795"/>
                    </a:lnTo>
                    <a:lnTo>
                      <a:pt x="364" y="795"/>
                    </a:lnTo>
                    <a:lnTo>
                      <a:pt x="380" y="794"/>
                    </a:lnTo>
                    <a:lnTo>
                      <a:pt x="395" y="793"/>
                    </a:lnTo>
                    <a:lnTo>
                      <a:pt x="410" y="791"/>
                    </a:lnTo>
                    <a:lnTo>
                      <a:pt x="424" y="789"/>
                    </a:lnTo>
                    <a:lnTo>
                      <a:pt x="439" y="786"/>
                    </a:lnTo>
                    <a:lnTo>
                      <a:pt x="453" y="782"/>
                    </a:lnTo>
                    <a:lnTo>
                      <a:pt x="467" y="777"/>
                    </a:lnTo>
                    <a:lnTo>
                      <a:pt x="480" y="771"/>
                    </a:lnTo>
                    <a:lnTo>
                      <a:pt x="494" y="765"/>
                    </a:lnTo>
                    <a:lnTo>
                      <a:pt x="506" y="759"/>
                    </a:lnTo>
                    <a:lnTo>
                      <a:pt x="518" y="752"/>
                    </a:lnTo>
                    <a:lnTo>
                      <a:pt x="531" y="744"/>
                    </a:lnTo>
                    <a:lnTo>
                      <a:pt x="542" y="735"/>
                    </a:lnTo>
                    <a:lnTo>
                      <a:pt x="554" y="727"/>
                    </a:lnTo>
                    <a:lnTo>
                      <a:pt x="565" y="718"/>
                    </a:lnTo>
                    <a:lnTo>
                      <a:pt x="575" y="707"/>
                    </a:lnTo>
                    <a:lnTo>
                      <a:pt x="585" y="697"/>
                    </a:lnTo>
                    <a:lnTo>
                      <a:pt x="594" y="687"/>
                    </a:lnTo>
                    <a:lnTo>
                      <a:pt x="603" y="675"/>
                    </a:lnTo>
                    <a:lnTo>
                      <a:pt x="611" y="663"/>
                    </a:lnTo>
                    <a:lnTo>
                      <a:pt x="619" y="651"/>
                    </a:lnTo>
                    <a:lnTo>
                      <a:pt x="626" y="639"/>
                    </a:lnTo>
                    <a:lnTo>
                      <a:pt x="633" y="626"/>
                    </a:lnTo>
                    <a:lnTo>
                      <a:pt x="639" y="613"/>
                    </a:lnTo>
                    <a:lnTo>
                      <a:pt x="645" y="599"/>
                    </a:lnTo>
                    <a:lnTo>
                      <a:pt x="649" y="585"/>
                    </a:lnTo>
                    <a:lnTo>
                      <a:pt x="653" y="571"/>
                    </a:lnTo>
                    <a:lnTo>
                      <a:pt x="656" y="557"/>
                    </a:lnTo>
                    <a:lnTo>
                      <a:pt x="659" y="542"/>
                    </a:lnTo>
                    <a:lnTo>
                      <a:pt x="661" y="527"/>
                    </a:lnTo>
                    <a:lnTo>
                      <a:pt x="662" y="512"/>
                    </a:lnTo>
                    <a:lnTo>
                      <a:pt x="662" y="497"/>
                    </a:lnTo>
                    <a:lnTo>
                      <a:pt x="662" y="165"/>
                    </a:lnTo>
                    <a:lnTo>
                      <a:pt x="662" y="165"/>
                    </a:lnTo>
                    <a:lnTo>
                      <a:pt x="662" y="156"/>
                    </a:lnTo>
                    <a:lnTo>
                      <a:pt x="660" y="146"/>
                    </a:lnTo>
                    <a:lnTo>
                      <a:pt x="658" y="136"/>
                    </a:lnTo>
                    <a:lnTo>
                      <a:pt x="655" y="127"/>
                    </a:lnTo>
                    <a:lnTo>
                      <a:pt x="651" y="119"/>
                    </a:lnTo>
                    <a:lnTo>
                      <a:pt x="646" y="110"/>
                    </a:lnTo>
                    <a:lnTo>
                      <a:pt x="639" y="102"/>
                    </a:lnTo>
                    <a:lnTo>
                      <a:pt x="633" y="96"/>
                    </a:lnTo>
                    <a:lnTo>
                      <a:pt x="626" y="89"/>
                    </a:lnTo>
                    <a:lnTo>
                      <a:pt x="619" y="83"/>
                    </a:lnTo>
                    <a:lnTo>
                      <a:pt x="610" y="78"/>
                    </a:lnTo>
                    <a:lnTo>
                      <a:pt x="602" y="74"/>
                    </a:lnTo>
                    <a:lnTo>
                      <a:pt x="593" y="71"/>
                    </a:lnTo>
                    <a:lnTo>
                      <a:pt x="584" y="68"/>
                    </a:lnTo>
                    <a:lnTo>
                      <a:pt x="573" y="67"/>
                    </a:lnTo>
                    <a:lnTo>
                      <a:pt x="563" y="66"/>
                    </a:lnTo>
                    <a:lnTo>
                      <a:pt x="563" y="66"/>
                    </a:lnTo>
                    <a:lnTo>
                      <a:pt x="557" y="66"/>
                    </a:lnTo>
                    <a:lnTo>
                      <a:pt x="550" y="64"/>
                    </a:lnTo>
                    <a:lnTo>
                      <a:pt x="544" y="61"/>
                    </a:lnTo>
                    <a:lnTo>
                      <a:pt x="540" y="57"/>
                    </a:lnTo>
                    <a:lnTo>
                      <a:pt x="536" y="51"/>
                    </a:lnTo>
                    <a:lnTo>
                      <a:pt x="533" y="46"/>
                    </a:lnTo>
                    <a:lnTo>
                      <a:pt x="531" y="40"/>
                    </a:lnTo>
                    <a:lnTo>
                      <a:pt x="530" y="33"/>
                    </a:lnTo>
                    <a:lnTo>
                      <a:pt x="530" y="33"/>
                    </a:lnTo>
                    <a:lnTo>
                      <a:pt x="531" y="27"/>
                    </a:lnTo>
                    <a:lnTo>
                      <a:pt x="533" y="20"/>
                    </a:lnTo>
                    <a:lnTo>
                      <a:pt x="536" y="14"/>
                    </a:lnTo>
                    <a:lnTo>
                      <a:pt x="540" y="10"/>
                    </a:lnTo>
                    <a:lnTo>
                      <a:pt x="544" y="6"/>
                    </a:lnTo>
                    <a:lnTo>
                      <a:pt x="550" y="3"/>
                    </a:lnTo>
                    <a:lnTo>
                      <a:pt x="557" y="1"/>
                    </a:lnTo>
                    <a:lnTo>
                      <a:pt x="563" y="0"/>
                    </a:lnTo>
                    <a:lnTo>
                      <a:pt x="563" y="0"/>
                    </a:lnTo>
                    <a:lnTo>
                      <a:pt x="580" y="1"/>
                    </a:lnTo>
                    <a:lnTo>
                      <a:pt x="596" y="4"/>
                    </a:lnTo>
                    <a:lnTo>
                      <a:pt x="613" y="8"/>
                    </a:lnTo>
                    <a:lnTo>
                      <a:pt x="627" y="13"/>
                    </a:lnTo>
                    <a:lnTo>
                      <a:pt x="642" y="20"/>
                    </a:lnTo>
                    <a:lnTo>
                      <a:pt x="656" y="29"/>
                    </a:lnTo>
                    <a:lnTo>
                      <a:pt x="668" y="38"/>
                    </a:lnTo>
                    <a:lnTo>
                      <a:pt x="680" y="48"/>
                    </a:lnTo>
                    <a:lnTo>
                      <a:pt x="691" y="61"/>
                    </a:lnTo>
                    <a:lnTo>
                      <a:pt x="700" y="73"/>
                    </a:lnTo>
                    <a:lnTo>
                      <a:pt x="709" y="87"/>
                    </a:lnTo>
                    <a:lnTo>
                      <a:pt x="716" y="101"/>
                    </a:lnTo>
                    <a:lnTo>
                      <a:pt x="721" y="117"/>
                    </a:lnTo>
                    <a:lnTo>
                      <a:pt x="725" y="132"/>
                    </a:lnTo>
                    <a:lnTo>
                      <a:pt x="727" y="149"/>
                    </a:lnTo>
                    <a:lnTo>
                      <a:pt x="728" y="165"/>
                    </a:lnTo>
                    <a:lnTo>
                      <a:pt x="728" y="497"/>
                    </a:lnTo>
                    <a:lnTo>
                      <a:pt x="728" y="497"/>
                    </a:lnTo>
                    <a:lnTo>
                      <a:pt x="728" y="516"/>
                    </a:lnTo>
                    <a:lnTo>
                      <a:pt x="726" y="534"/>
                    </a:lnTo>
                    <a:lnTo>
                      <a:pt x="724" y="552"/>
                    </a:lnTo>
                    <a:lnTo>
                      <a:pt x="721" y="570"/>
                    </a:lnTo>
                    <a:lnTo>
                      <a:pt x="717" y="587"/>
                    </a:lnTo>
                    <a:lnTo>
                      <a:pt x="712" y="605"/>
                    </a:lnTo>
                    <a:lnTo>
                      <a:pt x="707" y="621"/>
                    </a:lnTo>
                    <a:lnTo>
                      <a:pt x="700" y="638"/>
                    </a:lnTo>
                    <a:lnTo>
                      <a:pt x="692" y="655"/>
                    </a:lnTo>
                    <a:lnTo>
                      <a:pt x="685" y="670"/>
                    </a:lnTo>
                    <a:lnTo>
                      <a:pt x="676" y="686"/>
                    </a:lnTo>
                    <a:lnTo>
                      <a:pt x="666" y="700"/>
                    </a:lnTo>
                    <a:lnTo>
                      <a:pt x="656" y="715"/>
                    </a:lnTo>
                    <a:lnTo>
                      <a:pt x="646" y="728"/>
                    </a:lnTo>
                    <a:lnTo>
                      <a:pt x="634" y="741"/>
                    </a:lnTo>
                    <a:lnTo>
                      <a:pt x="622" y="754"/>
                    </a:lnTo>
                    <a:lnTo>
                      <a:pt x="609" y="766"/>
                    </a:lnTo>
                    <a:lnTo>
                      <a:pt x="596" y="778"/>
                    </a:lnTo>
                    <a:lnTo>
                      <a:pt x="583" y="789"/>
                    </a:lnTo>
                    <a:lnTo>
                      <a:pt x="568" y="798"/>
                    </a:lnTo>
                    <a:lnTo>
                      <a:pt x="554" y="809"/>
                    </a:lnTo>
                    <a:lnTo>
                      <a:pt x="538" y="817"/>
                    </a:lnTo>
                    <a:lnTo>
                      <a:pt x="523" y="825"/>
                    </a:lnTo>
                    <a:lnTo>
                      <a:pt x="506" y="833"/>
                    </a:lnTo>
                    <a:lnTo>
                      <a:pt x="489" y="839"/>
                    </a:lnTo>
                    <a:lnTo>
                      <a:pt x="473" y="845"/>
                    </a:lnTo>
                    <a:lnTo>
                      <a:pt x="455" y="850"/>
                    </a:lnTo>
                    <a:lnTo>
                      <a:pt x="438" y="853"/>
                    </a:lnTo>
                    <a:lnTo>
                      <a:pt x="420" y="857"/>
                    </a:lnTo>
                    <a:lnTo>
                      <a:pt x="401" y="859"/>
                    </a:lnTo>
                    <a:lnTo>
                      <a:pt x="383" y="860"/>
                    </a:lnTo>
                    <a:lnTo>
                      <a:pt x="364" y="861"/>
                    </a:lnTo>
                    <a:lnTo>
                      <a:pt x="364" y="8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7" name="Freeform 77">
                <a:extLst>
                  <a:ext uri="{FF2B5EF4-FFF2-40B4-BE49-F238E27FC236}">
                    <a16:creationId xmlns:a16="http://schemas.microsoft.com/office/drawing/2014/main" id="{5CD306E0-650D-4127-AC41-7C0E5FB076C1}"/>
                  </a:ext>
                </a:extLst>
              </p:cNvPr>
              <p:cNvSpPr>
                <a:spLocks/>
              </p:cNvSpPr>
              <p:nvPr/>
            </p:nvSpPr>
            <p:spPr bwMode="auto">
              <a:xfrm>
                <a:off x="4945063" y="3459163"/>
                <a:ext cx="211138" cy="179388"/>
              </a:xfrm>
              <a:custGeom>
                <a:avLst/>
                <a:gdLst>
                  <a:gd name="T0" fmla="*/ 133 w 927"/>
                  <a:gd name="T1" fmla="*/ 791 h 794"/>
                  <a:gd name="T2" fmla="*/ 74 w 927"/>
                  <a:gd name="T3" fmla="*/ 766 h 794"/>
                  <a:gd name="T4" fmla="*/ 29 w 927"/>
                  <a:gd name="T5" fmla="*/ 721 h 794"/>
                  <a:gd name="T6" fmla="*/ 3 w 927"/>
                  <a:gd name="T7" fmla="*/ 662 h 794"/>
                  <a:gd name="T8" fmla="*/ 0 w 927"/>
                  <a:gd name="T9" fmla="*/ 132 h 794"/>
                  <a:gd name="T10" fmla="*/ 10 w 927"/>
                  <a:gd name="T11" fmla="*/ 109 h 794"/>
                  <a:gd name="T12" fmla="*/ 33 w 927"/>
                  <a:gd name="T13" fmla="*/ 99 h 794"/>
                  <a:gd name="T14" fmla="*/ 52 w 927"/>
                  <a:gd name="T15" fmla="*/ 104 h 794"/>
                  <a:gd name="T16" fmla="*/ 66 w 927"/>
                  <a:gd name="T17" fmla="*/ 125 h 794"/>
                  <a:gd name="T18" fmla="*/ 67 w 927"/>
                  <a:gd name="T19" fmla="*/ 639 h 794"/>
                  <a:gd name="T20" fmla="*/ 79 w 927"/>
                  <a:gd name="T21" fmla="*/ 677 h 794"/>
                  <a:gd name="T22" fmla="*/ 103 w 927"/>
                  <a:gd name="T23" fmla="*/ 706 h 794"/>
                  <a:gd name="T24" fmla="*/ 137 w 927"/>
                  <a:gd name="T25" fmla="*/ 723 h 794"/>
                  <a:gd name="T26" fmla="*/ 166 w 927"/>
                  <a:gd name="T27" fmla="*/ 728 h 794"/>
                  <a:gd name="T28" fmla="*/ 205 w 927"/>
                  <a:gd name="T29" fmla="*/ 720 h 794"/>
                  <a:gd name="T30" fmla="*/ 236 w 927"/>
                  <a:gd name="T31" fmla="*/ 699 h 794"/>
                  <a:gd name="T32" fmla="*/ 258 w 927"/>
                  <a:gd name="T33" fmla="*/ 667 h 794"/>
                  <a:gd name="T34" fmla="*/ 265 w 927"/>
                  <a:gd name="T35" fmla="*/ 629 h 794"/>
                  <a:gd name="T36" fmla="*/ 269 w 927"/>
                  <a:gd name="T37" fmla="*/ 258 h 794"/>
                  <a:gd name="T38" fmla="*/ 299 w 927"/>
                  <a:gd name="T39" fmla="*/ 186 h 794"/>
                  <a:gd name="T40" fmla="*/ 353 w 927"/>
                  <a:gd name="T41" fmla="*/ 132 h 794"/>
                  <a:gd name="T42" fmla="*/ 424 w 927"/>
                  <a:gd name="T43" fmla="*/ 103 h 794"/>
                  <a:gd name="T44" fmla="*/ 484 w 927"/>
                  <a:gd name="T45" fmla="*/ 100 h 794"/>
                  <a:gd name="T46" fmla="*/ 559 w 927"/>
                  <a:gd name="T47" fmla="*/ 123 h 794"/>
                  <a:gd name="T48" fmla="*/ 617 w 927"/>
                  <a:gd name="T49" fmla="*/ 172 h 794"/>
                  <a:gd name="T50" fmla="*/ 654 w 927"/>
                  <a:gd name="T51" fmla="*/ 239 h 794"/>
                  <a:gd name="T52" fmla="*/ 662 w 927"/>
                  <a:gd name="T53" fmla="*/ 497 h 794"/>
                  <a:gd name="T54" fmla="*/ 668 w 927"/>
                  <a:gd name="T55" fmla="*/ 525 h 794"/>
                  <a:gd name="T56" fmla="*/ 685 w 927"/>
                  <a:gd name="T57" fmla="*/ 560 h 794"/>
                  <a:gd name="T58" fmla="*/ 715 w 927"/>
                  <a:gd name="T59" fmla="*/ 583 h 794"/>
                  <a:gd name="T60" fmla="*/ 752 w 927"/>
                  <a:gd name="T61" fmla="*/ 595 h 794"/>
                  <a:gd name="T62" fmla="*/ 782 w 927"/>
                  <a:gd name="T63" fmla="*/ 594 h 794"/>
                  <a:gd name="T64" fmla="*/ 818 w 927"/>
                  <a:gd name="T65" fmla="*/ 578 h 794"/>
                  <a:gd name="T66" fmla="*/ 845 w 927"/>
                  <a:gd name="T67" fmla="*/ 551 h 794"/>
                  <a:gd name="T68" fmla="*/ 859 w 927"/>
                  <a:gd name="T69" fmla="*/ 516 h 794"/>
                  <a:gd name="T70" fmla="*/ 861 w 927"/>
                  <a:gd name="T71" fmla="*/ 33 h 794"/>
                  <a:gd name="T72" fmla="*/ 871 w 927"/>
                  <a:gd name="T73" fmla="*/ 9 h 794"/>
                  <a:gd name="T74" fmla="*/ 894 w 927"/>
                  <a:gd name="T75" fmla="*/ 0 h 794"/>
                  <a:gd name="T76" fmla="*/ 913 w 927"/>
                  <a:gd name="T77" fmla="*/ 5 h 794"/>
                  <a:gd name="T78" fmla="*/ 927 w 927"/>
                  <a:gd name="T79" fmla="*/ 26 h 794"/>
                  <a:gd name="T80" fmla="*/ 927 w 927"/>
                  <a:gd name="T81" fmla="*/ 513 h 794"/>
                  <a:gd name="T82" fmla="*/ 908 w 927"/>
                  <a:gd name="T83" fmla="*/ 575 h 794"/>
                  <a:gd name="T84" fmla="*/ 867 w 927"/>
                  <a:gd name="T85" fmla="*/ 624 h 794"/>
                  <a:gd name="T86" fmla="*/ 811 w 927"/>
                  <a:gd name="T87" fmla="*/ 655 h 794"/>
                  <a:gd name="T88" fmla="*/ 762 w 927"/>
                  <a:gd name="T89" fmla="*/ 662 h 794"/>
                  <a:gd name="T90" fmla="*/ 698 w 927"/>
                  <a:gd name="T91" fmla="*/ 649 h 794"/>
                  <a:gd name="T92" fmla="*/ 645 w 927"/>
                  <a:gd name="T93" fmla="*/ 613 h 794"/>
                  <a:gd name="T94" fmla="*/ 610 w 927"/>
                  <a:gd name="T95" fmla="*/ 561 h 794"/>
                  <a:gd name="T96" fmla="*/ 596 w 927"/>
                  <a:gd name="T97" fmla="*/ 497 h 794"/>
                  <a:gd name="T98" fmla="*/ 594 w 927"/>
                  <a:gd name="T99" fmla="*/ 271 h 794"/>
                  <a:gd name="T100" fmla="*/ 573 w 927"/>
                  <a:gd name="T101" fmla="*/ 223 h 794"/>
                  <a:gd name="T102" fmla="*/ 538 w 927"/>
                  <a:gd name="T103" fmla="*/ 188 h 794"/>
                  <a:gd name="T104" fmla="*/ 491 w 927"/>
                  <a:gd name="T105" fmla="*/ 168 h 794"/>
                  <a:gd name="T106" fmla="*/ 450 w 927"/>
                  <a:gd name="T107" fmla="*/ 165 h 794"/>
                  <a:gd name="T108" fmla="*/ 401 w 927"/>
                  <a:gd name="T109" fmla="*/ 181 h 794"/>
                  <a:gd name="T110" fmla="*/ 361 w 927"/>
                  <a:gd name="T111" fmla="*/ 213 h 794"/>
                  <a:gd name="T112" fmla="*/ 337 w 927"/>
                  <a:gd name="T113" fmla="*/ 259 h 794"/>
                  <a:gd name="T114" fmla="*/ 331 w 927"/>
                  <a:gd name="T115" fmla="*/ 629 h 794"/>
                  <a:gd name="T116" fmla="*/ 324 w 927"/>
                  <a:gd name="T117" fmla="*/ 678 h 794"/>
                  <a:gd name="T118" fmla="*/ 294 w 927"/>
                  <a:gd name="T119" fmla="*/ 734 h 794"/>
                  <a:gd name="T120" fmla="*/ 244 w 927"/>
                  <a:gd name="T121" fmla="*/ 774 h 794"/>
                  <a:gd name="T122" fmla="*/ 183 w 927"/>
                  <a:gd name="T123" fmla="*/ 793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7" h="794">
                    <a:moveTo>
                      <a:pt x="166" y="794"/>
                    </a:moveTo>
                    <a:lnTo>
                      <a:pt x="166" y="794"/>
                    </a:lnTo>
                    <a:lnTo>
                      <a:pt x="149" y="793"/>
                    </a:lnTo>
                    <a:lnTo>
                      <a:pt x="133" y="791"/>
                    </a:lnTo>
                    <a:lnTo>
                      <a:pt x="117" y="787"/>
                    </a:lnTo>
                    <a:lnTo>
                      <a:pt x="101" y="781"/>
                    </a:lnTo>
                    <a:lnTo>
                      <a:pt x="87" y="774"/>
                    </a:lnTo>
                    <a:lnTo>
                      <a:pt x="74" y="766"/>
                    </a:lnTo>
                    <a:lnTo>
                      <a:pt x="60" y="756"/>
                    </a:lnTo>
                    <a:lnTo>
                      <a:pt x="49" y="746"/>
                    </a:lnTo>
                    <a:lnTo>
                      <a:pt x="38" y="734"/>
                    </a:lnTo>
                    <a:lnTo>
                      <a:pt x="29" y="721"/>
                    </a:lnTo>
                    <a:lnTo>
                      <a:pt x="20" y="708"/>
                    </a:lnTo>
                    <a:lnTo>
                      <a:pt x="14" y="693"/>
                    </a:lnTo>
                    <a:lnTo>
                      <a:pt x="7" y="678"/>
                    </a:lnTo>
                    <a:lnTo>
                      <a:pt x="3" y="662"/>
                    </a:lnTo>
                    <a:lnTo>
                      <a:pt x="1" y="646"/>
                    </a:lnTo>
                    <a:lnTo>
                      <a:pt x="0" y="629"/>
                    </a:lnTo>
                    <a:lnTo>
                      <a:pt x="0" y="132"/>
                    </a:lnTo>
                    <a:lnTo>
                      <a:pt x="0" y="132"/>
                    </a:lnTo>
                    <a:lnTo>
                      <a:pt x="1" y="125"/>
                    </a:lnTo>
                    <a:lnTo>
                      <a:pt x="3" y="119"/>
                    </a:lnTo>
                    <a:lnTo>
                      <a:pt x="6" y="114"/>
                    </a:lnTo>
                    <a:lnTo>
                      <a:pt x="10" y="109"/>
                    </a:lnTo>
                    <a:lnTo>
                      <a:pt x="15" y="104"/>
                    </a:lnTo>
                    <a:lnTo>
                      <a:pt x="21" y="101"/>
                    </a:lnTo>
                    <a:lnTo>
                      <a:pt x="27" y="99"/>
                    </a:lnTo>
                    <a:lnTo>
                      <a:pt x="33" y="99"/>
                    </a:lnTo>
                    <a:lnTo>
                      <a:pt x="33" y="99"/>
                    </a:lnTo>
                    <a:lnTo>
                      <a:pt x="40" y="99"/>
                    </a:lnTo>
                    <a:lnTo>
                      <a:pt x="47" y="101"/>
                    </a:lnTo>
                    <a:lnTo>
                      <a:pt x="52" y="104"/>
                    </a:lnTo>
                    <a:lnTo>
                      <a:pt x="57" y="109"/>
                    </a:lnTo>
                    <a:lnTo>
                      <a:pt x="61" y="114"/>
                    </a:lnTo>
                    <a:lnTo>
                      <a:pt x="64" y="119"/>
                    </a:lnTo>
                    <a:lnTo>
                      <a:pt x="66" y="125"/>
                    </a:lnTo>
                    <a:lnTo>
                      <a:pt x="66" y="132"/>
                    </a:lnTo>
                    <a:lnTo>
                      <a:pt x="66" y="629"/>
                    </a:lnTo>
                    <a:lnTo>
                      <a:pt x="66" y="629"/>
                    </a:lnTo>
                    <a:lnTo>
                      <a:pt x="67" y="639"/>
                    </a:lnTo>
                    <a:lnTo>
                      <a:pt x="68" y="649"/>
                    </a:lnTo>
                    <a:lnTo>
                      <a:pt x="70" y="658"/>
                    </a:lnTo>
                    <a:lnTo>
                      <a:pt x="75" y="667"/>
                    </a:lnTo>
                    <a:lnTo>
                      <a:pt x="79" y="677"/>
                    </a:lnTo>
                    <a:lnTo>
                      <a:pt x="84" y="684"/>
                    </a:lnTo>
                    <a:lnTo>
                      <a:pt x="89" y="692"/>
                    </a:lnTo>
                    <a:lnTo>
                      <a:pt x="95" y="699"/>
                    </a:lnTo>
                    <a:lnTo>
                      <a:pt x="103" y="706"/>
                    </a:lnTo>
                    <a:lnTo>
                      <a:pt x="111" y="711"/>
                    </a:lnTo>
                    <a:lnTo>
                      <a:pt x="118" y="716"/>
                    </a:lnTo>
                    <a:lnTo>
                      <a:pt x="127" y="720"/>
                    </a:lnTo>
                    <a:lnTo>
                      <a:pt x="137" y="723"/>
                    </a:lnTo>
                    <a:lnTo>
                      <a:pt x="146" y="726"/>
                    </a:lnTo>
                    <a:lnTo>
                      <a:pt x="155" y="727"/>
                    </a:lnTo>
                    <a:lnTo>
                      <a:pt x="166" y="728"/>
                    </a:lnTo>
                    <a:lnTo>
                      <a:pt x="166" y="728"/>
                    </a:lnTo>
                    <a:lnTo>
                      <a:pt x="176" y="727"/>
                    </a:lnTo>
                    <a:lnTo>
                      <a:pt x="186" y="726"/>
                    </a:lnTo>
                    <a:lnTo>
                      <a:pt x="196" y="723"/>
                    </a:lnTo>
                    <a:lnTo>
                      <a:pt x="205" y="720"/>
                    </a:lnTo>
                    <a:lnTo>
                      <a:pt x="213" y="716"/>
                    </a:lnTo>
                    <a:lnTo>
                      <a:pt x="222" y="711"/>
                    </a:lnTo>
                    <a:lnTo>
                      <a:pt x="229" y="706"/>
                    </a:lnTo>
                    <a:lnTo>
                      <a:pt x="236" y="699"/>
                    </a:lnTo>
                    <a:lnTo>
                      <a:pt x="242" y="692"/>
                    </a:lnTo>
                    <a:lnTo>
                      <a:pt x="248" y="684"/>
                    </a:lnTo>
                    <a:lnTo>
                      <a:pt x="254" y="677"/>
                    </a:lnTo>
                    <a:lnTo>
                      <a:pt x="258" y="667"/>
                    </a:lnTo>
                    <a:lnTo>
                      <a:pt x="261" y="658"/>
                    </a:lnTo>
                    <a:lnTo>
                      <a:pt x="263" y="649"/>
                    </a:lnTo>
                    <a:lnTo>
                      <a:pt x="265" y="639"/>
                    </a:lnTo>
                    <a:lnTo>
                      <a:pt x="265" y="629"/>
                    </a:lnTo>
                    <a:lnTo>
                      <a:pt x="265" y="298"/>
                    </a:lnTo>
                    <a:lnTo>
                      <a:pt x="265" y="298"/>
                    </a:lnTo>
                    <a:lnTo>
                      <a:pt x="266" y="277"/>
                    </a:lnTo>
                    <a:lnTo>
                      <a:pt x="269" y="258"/>
                    </a:lnTo>
                    <a:lnTo>
                      <a:pt x="274" y="239"/>
                    </a:lnTo>
                    <a:lnTo>
                      <a:pt x="280" y="220"/>
                    </a:lnTo>
                    <a:lnTo>
                      <a:pt x="289" y="203"/>
                    </a:lnTo>
                    <a:lnTo>
                      <a:pt x="299" y="186"/>
                    </a:lnTo>
                    <a:lnTo>
                      <a:pt x="311" y="172"/>
                    </a:lnTo>
                    <a:lnTo>
                      <a:pt x="324" y="157"/>
                    </a:lnTo>
                    <a:lnTo>
                      <a:pt x="337" y="145"/>
                    </a:lnTo>
                    <a:lnTo>
                      <a:pt x="353" y="132"/>
                    </a:lnTo>
                    <a:lnTo>
                      <a:pt x="369" y="123"/>
                    </a:lnTo>
                    <a:lnTo>
                      <a:pt x="387" y="115"/>
                    </a:lnTo>
                    <a:lnTo>
                      <a:pt x="405" y="108"/>
                    </a:lnTo>
                    <a:lnTo>
                      <a:pt x="424" y="103"/>
                    </a:lnTo>
                    <a:lnTo>
                      <a:pt x="444" y="100"/>
                    </a:lnTo>
                    <a:lnTo>
                      <a:pt x="464" y="99"/>
                    </a:lnTo>
                    <a:lnTo>
                      <a:pt x="464" y="99"/>
                    </a:lnTo>
                    <a:lnTo>
                      <a:pt x="484" y="100"/>
                    </a:lnTo>
                    <a:lnTo>
                      <a:pt x="504" y="103"/>
                    </a:lnTo>
                    <a:lnTo>
                      <a:pt x="523" y="108"/>
                    </a:lnTo>
                    <a:lnTo>
                      <a:pt x="541" y="115"/>
                    </a:lnTo>
                    <a:lnTo>
                      <a:pt x="559" y="123"/>
                    </a:lnTo>
                    <a:lnTo>
                      <a:pt x="575" y="132"/>
                    </a:lnTo>
                    <a:lnTo>
                      <a:pt x="590" y="145"/>
                    </a:lnTo>
                    <a:lnTo>
                      <a:pt x="604" y="157"/>
                    </a:lnTo>
                    <a:lnTo>
                      <a:pt x="617" y="172"/>
                    </a:lnTo>
                    <a:lnTo>
                      <a:pt x="628" y="186"/>
                    </a:lnTo>
                    <a:lnTo>
                      <a:pt x="639" y="203"/>
                    </a:lnTo>
                    <a:lnTo>
                      <a:pt x="647" y="220"/>
                    </a:lnTo>
                    <a:lnTo>
                      <a:pt x="654" y="239"/>
                    </a:lnTo>
                    <a:lnTo>
                      <a:pt x="658" y="258"/>
                    </a:lnTo>
                    <a:lnTo>
                      <a:pt x="661" y="277"/>
                    </a:lnTo>
                    <a:lnTo>
                      <a:pt x="662" y="298"/>
                    </a:lnTo>
                    <a:lnTo>
                      <a:pt x="662" y="497"/>
                    </a:lnTo>
                    <a:lnTo>
                      <a:pt x="662" y="497"/>
                    </a:lnTo>
                    <a:lnTo>
                      <a:pt x="663" y="507"/>
                    </a:lnTo>
                    <a:lnTo>
                      <a:pt x="664" y="516"/>
                    </a:lnTo>
                    <a:lnTo>
                      <a:pt x="668" y="525"/>
                    </a:lnTo>
                    <a:lnTo>
                      <a:pt x="671" y="535"/>
                    </a:lnTo>
                    <a:lnTo>
                      <a:pt x="675" y="543"/>
                    </a:lnTo>
                    <a:lnTo>
                      <a:pt x="680" y="551"/>
                    </a:lnTo>
                    <a:lnTo>
                      <a:pt x="685" y="560"/>
                    </a:lnTo>
                    <a:lnTo>
                      <a:pt x="691" y="567"/>
                    </a:lnTo>
                    <a:lnTo>
                      <a:pt x="699" y="573"/>
                    </a:lnTo>
                    <a:lnTo>
                      <a:pt x="707" y="578"/>
                    </a:lnTo>
                    <a:lnTo>
                      <a:pt x="715" y="583"/>
                    </a:lnTo>
                    <a:lnTo>
                      <a:pt x="723" y="588"/>
                    </a:lnTo>
                    <a:lnTo>
                      <a:pt x="733" y="591"/>
                    </a:lnTo>
                    <a:lnTo>
                      <a:pt x="742" y="594"/>
                    </a:lnTo>
                    <a:lnTo>
                      <a:pt x="752" y="595"/>
                    </a:lnTo>
                    <a:lnTo>
                      <a:pt x="762" y="596"/>
                    </a:lnTo>
                    <a:lnTo>
                      <a:pt x="762" y="596"/>
                    </a:lnTo>
                    <a:lnTo>
                      <a:pt x="772" y="595"/>
                    </a:lnTo>
                    <a:lnTo>
                      <a:pt x="782" y="594"/>
                    </a:lnTo>
                    <a:lnTo>
                      <a:pt x="792" y="591"/>
                    </a:lnTo>
                    <a:lnTo>
                      <a:pt x="801" y="588"/>
                    </a:lnTo>
                    <a:lnTo>
                      <a:pt x="809" y="583"/>
                    </a:lnTo>
                    <a:lnTo>
                      <a:pt x="818" y="578"/>
                    </a:lnTo>
                    <a:lnTo>
                      <a:pt x="825" y="573"/>
                    </a:lnTo>
                    <a:lnTo>
                      <a:pt x="832" y="567"/>
                    </a:lnTo>
                    <a:lnTo>
                      <a:pt x="838" y="560"/>
                    </a:lnTo>
                    <a:lnTo>
                      <a:pt x="845" y="551"/>
                    </a:lnTo>
                    <a:lnTo>
                      <a:pt x="850" y="543"/>
                    </a:lnTo>
                    <a:lnTo>
                      <a:pt x="854" y="535"/>
                    </a:lnTo>
                    <a:lnTo>
                      <a:pt x="857" y="525"/>
                    </a:lnTo>
                    <a:lnTo>
                      <a:pt x="859" y="516"/>
                    </a:lnTo>
                    <a:lnTo>
                      <a:pt x="861" y="507"/>
                    </a:lnTo>
                    <a:lnTo>
                      <a:pt x="861" y="497"/>
                    </a:lnTo>
                    <a:lnTo>
                      <a:pt x="861" y="33"/>
                    </a:lnTo>
                    <a:lnTo>
                      <a:pt x="861" y="33"/>
                    </a:lnTo>
                    <a:lnTo>
                      <a:pt x="862" y="26"/>
                    </a:lnTo>
                    <a:lnTo>
                      <a:pt x="864" y="20"/>
                    </a:lnTo>
                    <a:lnTo>
                      <a:pt x="867" y="14"/>
                    </a:lnTo>
                    <a:lnTo>
                      <a:pt x="871" y="9"/>
                    </a:lnTo>
                    <a:lnTo>
                      <a:pt x="876" y="5"/>
                    </a:lnTo>
                    <a:lnTo>
                      <a:pt x="882" y="2"/>
                    </a:lnTo>
                    <a:lnTo>
                      <a:pt x="888" y="0"/>
                    </a:lnTo>
                    <a:lnTo>
                      <a:pt x="894" y="0"/>
                    </a:lnTo>
                    <a:lnTo>
                      <a:pt x="894" y="0"/>
                    </a:lnTo>
                    <a:lnTo>
                      <a:pt x="901" y="0"/>
                    </a:lnTo>
                    <a:lnTo>
                      <a:pt x="908" y="2"/>
                    </a:lnTo>
                    <a:lnTo>
                      <a:pt x="913" y="5"/>
                    </a:lnTo>
                    <a:lnTo>
                      <a:pt x="918" y="9"/>
                    </a:lnTo>
                    <a:lnTo>
                      <a:pt x="922" y="14"/>
                    </a:lnTo>
                    <a:lnTo>
                      <a:pt x="925" y="20"/>
                    </a:lnTo>
                    <a:lnTo>
                      <a:pt x="927" y="26"/>
                    </a:lnTo>
                    <a:lnTo>
                      <a:pt x="927" y="33"/>
                    </a:lnTo>
                    <a:lnTo>
                      <a:pt x="927" y="497"/>
                    </a:lnTo>
                    <a:lnTo>
                      <a:pt x="927" y="497"/>
                    </a:lnTo>
                    <a:lnTo>
                      <a:pt x="927" y="513"/>
                    </a:lnTo>
                    <a:lnTo>
                      <a:pt x="924" y="530"/>
                    </a:lnTo>
                    <a:lnTo>
                      <a:pt x="920" y="545"/>
                    </a:lnTo>
                    <a:lnTo>
                      <a:pt x="915" y="561"/>
                    </a:lnTo>
                    <a:lnTo>
                      <a:pt x="908" y="575"/>
                    </a:lnTo>
                    <a:lnTo>
                      <a:pt x="899" y="589"/>
                    </a:lnTo>
                    <a:lnTo>
                      <a:pt x="890" y="601"/>
                    </a:lnTo>
                    <a:lnTo>
                      <a:pt x="879" y="613"/>
                    </a:lnTo>
                    <a:lnTo>
                      <a:pt x="867" y="624"/>
                    </a:lnTo>
                    <a:lnTo>
                      <a:pt x="855" y="633"/>
                    </a:lnTo>
                    <a:lnTo>
                      <a:pt x="841" y="641"/>
                    </a:lnTo>
                    <a:lnTo>
                      <a:pt x="827" y="649"/>
                    </a:lnTo>
                    <a:lnTo>
                      <a:pt x="811" y="655"/>
                    </a:lnTo>
                    <a:lnTo>
                      <a:pt x="796" y="659"/>
                    </a:lnTo>
                    <a:lnTo>
                      <a:pt x="779" y="661"/>
                    </a:lnTo>
                    <a:lnTo>
                      <a:pt x="762" y="662"/>
                    </a:lnTo>
                    <a:lnTo>
                      <a:pt x="762" y="662"/>
                    </a:lnTo>
                    <a:lnTo>
                      <a:pt x="745" y="661"/>
                    </a:lnTo>
                    <a:lnTo>
                      <a:pt x="729" y="659"/>
                    </a:lnTo>
                    <a:lnTo>
                      <a:pt x="713" y="655"/>
                    </a:lnTo>
                    <a:lnTo>
                      <a:pt x="698" y="649"/>
                    </a:lnTo>
                    <a:lnTo>
                      <a:pt x="683" y="641"/>
                    </a:lnTo>
                    <a:lnTo>
                      <a:pt x="670" y="633"/>
                    </a:lnTo>
                    <a:lnTo>
                      <a:pt x="657" y="624"/>
                    </a:lnTo>
                    <a:lnTo>
                      <a:pt x="645" y="613"/>
                    </a:lnTo>
                    <a:lnTo>
                      <a:pt x="634" y="601"/>
                    </a:lnTo>
                    <a:lnTo>
                      <a:pt x="625" y="589"/>
                    </a:lnTo>
                    <a:lnTo>
                      <a:pt x="617" y="575"/>
                    </a:lnTo>
                    <a:lnTo>
                      <a:pt x="610" y="561"/>
                    </a:lnTo>
                    <a:lnTo>
                      <a:pt x="604" y="545"/>
                    </a:lnTo>
                    <a:lnTo>
                      <a:pt x="600" y="530"/>
                    </a:lnTo>
                    <a:lnTo>
                      <a:pt x="597" y="513"/>
                    </a:lnTo>
                    <a:lnTo>
                      <a:pt x="596" y="497"/>
                    </a:lnTo>
                    <a:lnTo>
                      <a:pt x="596" y="298"/>
                    </a:lnTo>
                    <a:lnTo>
                      <a:pt x="596" y="298"/>
                    </a:lnTo>
                    <a:lnTo>
                      <a:pt x="596" y="284"/>
                    </a:lnTo>
                    <a:lnTo>
                      <a:pt x="594" y="271"/>
                    </a:lnTo>
                    <a:lnTo>
                      <a:pt x="591" y="259"/>
                    </a:lnTo>
                    <a:lnTo>
                      <a:pt x="586" y="246"/>
                    </a:lnTo>
                    <a:lnTo>
                      <a:pt x="581" y="235"/>
                    </a:lnTo>
                    <a:lnTo>
                      <a:pt x="573" y="223"/>
                    </a:lnTo>
                    <a:lnTo>
                      <a:pt x="566" y="213"/>
                    </a:lnTo>
                    <a:lnTo>
                      <a:pt x="558" y="204"/>
                    </a:lnTo>
                    <a:lnTo>
                      <a:pt x="549" y="195"/>
                    </a:lnTo>
                    <a:lnTo>
                      <a:pt x="538" y="188"/>
                    </a:lnTo>
                    <a:lnTo>
                      <a:pt x="527" y="181"/>
                    </a:lnTo>
                    <a:lnTo>
                      <a:pt x="515" y="176"/>
                    </a:lnTo>
                    <a:lnTo>
                      <a:pt x="503" y="171"/>
                    </a:lnTo>
                    <a:lnTo>
                      <a:pt x="491" y="168"/>
                    </a:lnTo>
                    <a:lnTo>
                      <a:pt x="477" y="165"/>
                    </a:lnTo>
                    <a:lnTo>
                      <a:pt x="464" y="165"/>
                    </a:lnTo>
                    <a:lnTo>
                      <a:pt x="464" y="165"/>
                    </a:lnTo>
                    <a:lnTo>
                      <a:pt x="450" y="165"/>
                    </a:lnTo>
                    <a:lnTo>
                      <a:pt x="437" y="168"/>
                    </a:lnTo>
                    <a:lnTo>
                      <a:pt x="424" y="171"/>
                    </a:lnTo>
                    <a:lnTo>
                      <a:pt x="412" y="176"/>
                    </a:lnTo>
                    <a:lnTo>
                      <a:pt x="401" y="181"/>
                    </a:lnTo>
                    <a:lnTo>
                      <a:pt x="390" y="188"/>
                    </a:lnTo>
                    <a:lnTo>
                      <a:pt x="380" y="195"/>
                    </a:lnTo>
                    <a:lnTo>
                      <a:pt x="371" y="204"/>
                    </a:lnTo>
                    <a:lnTo>
                      <a:pt x="361" y="213"/>
                    </a:lnTo>
                    <a:lnTo>
                      <a:pt x="354" y="223"/>
                    </a:lnTo>
                    <a:lnTo>
                      <a:pt x="348" y="235"/>
                    </a:lnTo>
                    <a:lnTo>
                      <a:pt x="342" y="246"/>
                    </a:lnTo>
                    <a:lnTo>
                      <a:pt x="337" y="259"/>
                    </a:lnTo>
                    <a:lnTo>
                      <a:pt x="334" y="271"/>
                    </a:lnTo>
                    <a:lnTo>
                      <a:pt x="332" y="284"/>
                    </a:lnTo>
                    <a:lnTo>
                      <a:pt x="331" y="298"/>
                    </a:lnTo>
                    <a:lnTo>
                      <a:pt x="331" y="629"/>
                    </a:lnTo>
                    <a:lnTo>
                      <a:pt x="331" y="629"/>
                    </a:lnTo>
                    <a:lnTo>
                      <a:pt x="330" y="646"/>
                    </a:lnTo>
                    <a:lnTo>
                      <a:pt x="328" y="662"/>
                    </a:lnTo>
                    <a:lnTo>
                      <a:pt x="324" y="678"/>
                    </a:lnTo>
                    <a:lnTo>
                      <a:pt x="319" y="693"/>
                    </a:lnTo>
                    <a:lnTo>
                      <a:pt x="312" y="708"/>
                    </a:lnTo>
                    <a:lnTo>
                      <a:pt x="303" y="721"/>
                    </a:lnTo>
                    <a:lnTo>
                      <a:pt x="294" y="734"/>
                    </a:lnTo>
                    <a:lnTo>
                      <a:pt x="283" y="746"/>
                    </a:lnTo>
                    <a:lnTo>
                      <a:pt x="271" y="756"/>
                    </a:lnTo>
                    <a:lnTo>
                      <a:pt x="259" y="766"/>
                    </a:lnTo>
                    <a:lnTo>
                      <a:pt x="244" y="774"/>
                    </a:lnTo>
                    <a:lnTo>
                      <a:pt x="230" y="781"/>
                    </a:lnTo>
                    <a:lnTo>
                      <a:pt x="215" y="787"/>
                    </a:lnTo>
                    <a:lnTo>
                      <a:pt x="199" y="791"/>
                    </a:lnTo>
                    <a:lnTo>
                      <a:pt x="183" y="793"/>
                    </a:lnTo>
                    <a:lnTo>
                      <a:pt x="166" y="794"/>
                    </a:lnTo>
                    <a:lnTo>
                      <a:pt x="166" y="7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8" name="Freeform 78">
                <a:extLst>
                  <a:ext uri="{FF2B5EF4-FFF2-40B4-BE49-F238E27FC236}">
                    <a16:creationId xmlns:a16="http://schemas.microsoft.com/office/drawing/2014/main" id="{FB346374-1CB2-4393-805D-F48F119C154F}"/>
                  </a:ext>
                </a:extLst>
              </p:cNvPr>
              <p:cNvSpPr>
                <a:spLocks noEditPoints="1"/>
              </p:cNvSpPr>
              <p:nvPr/>
            </p:nvSpPr>
            <p:spPr bwMode="auto">
              <a:xfrm>
                <a:off x="4900613" y="3278188"/>
                <a:ext cx="36513" cy="60325"/>
              </a:xfrm>
              <a:custGeom>
                <a:avLst/>
                <a:gdLst>
                  <a:gd name="T0" fmla="*/ 33 w 166"/>
                  <a:gd name="T1" fmla="*/ 265 h 265"/>
                  <a:gd name="T2" fmla="*/ 21 w 166"/>
                  <a:gd name="T3" fmla="*/ 263 h 265"/>
                  <a:gd name="T4" fmla="*/ 10 w 166"/>
                  <a:gd name="T5" fmla="*/ 256 h 265"/>
                  <a:gd name="T6" fmla="*/ 3 w 166"/>
                  <a:gd name="T7" fmla="*/ 246 h 265"/>
                  <a:gd name="T8" fmla="*/ 0 w 166"/>
                  <a:gd name="T9" fmla="*/ 232 h 265"/>
                  <a:gd name="T10" fmla="*/ 0 w 166"/>
                  <a:gd name="T11" fmla="*/ 33 h 265"/>
                  <a:gd name="T12" fmla="*/ 3 w 166"/>
                  <a:gd name="T13" fmla="*/ 21 h 265"/>
                  <a:gd name="T14" fmla="*/ 10 w 166"/>
                  <a:gd name="T15" fmla="*/ 11 h 265"/>
                  <a:gd name="T16" fmla="*/ 21 w 166"/>
                  <a:gd name="T17" fmla="*/ 3 h 265"/>
                  <a:gd name="T18" fmla="*/ 33 w 166"/>
                  <a:gd name="T19" fmla="*/ 0 h 265"/>
                  <a:gd name="T20" fmla="*/ 44 w 166"/>
                  <a:gd name="T21" fmla="*/ 1 h 265"/>
                  <a:gd name="T22" fmla="*/ 66 w 166"/>
                  <a:gd name="T23" fmla="*/ 5 h 265"/>
                  <a:gd name="T24" fmla="*/ 88 w 166"/>
                  <a:gd name="T25" fmla="*/ 12 h 265"/>
                  <a:gd name="T26" fmla="*/ 110 w 166"/>
                  <a:gd name="T27" fmla="*/ 23 h 265"/>
                  <a:gd name="T28" fmla="*/ 130 w 166"/>
                  <a:gd name="T29" fmla="*/ 39 h 265"/>
                  <a:gd name="T30" fmla="*/ 146 w 166"/>
                  <a:gd name="T31" fmla="*/ 59 h 265"/>
                  <a:gd name="T32" fmla="*/ 159 w 166"/>
                  <a:gd name="T33" fmla="*/ 85 h 265"/>
                  <a:gd name="T34" fmla="*/ 165 w 166"/>
                  <a:gd name="T35" fmla="*/ 115 h 265"/>
                  <a:gd name="T36" fmla="*/ 166 w 166"/>
                  <a:gd name="T37" fmla="*/ 133 h 265"/>
                  <a:gd name="T38" fmla="*/ 163 w 166"/>
                  <a:gd name="T39" fmla="*/ 167 h 265"/>
                  <a:gd name="T40" fmla="*/ 152 w 166"/>
                  <a:gd name="T41" fmla="*/ 195 h 265"/>
                  <a:gd name="T42" fmla="*/ 138 w 166"/>
                  <a:gd name="T43" fmla="*/ 218 h 265"/>
                  <a:gd name="T44" fmla="*/ 119 w 166"/>
                  <a:gd name="T45" fmla="*/ 236 h 265"/>
                  <a:gd name="T46" fmla="*/ 99 w 166"/>
                  <a:gd name="T47" fmla="*/ 250 h 265"/>
                  <a:gd name="T48" fmla="*/ 77 w 166"/>
                  <a:gd name="T49" fmla="*/ 259 h 265"/>
                  <a:gd name="T50" fmla="*/ 54 w 166"/>
                  <a:gd name="T51" fmla="*/ 264 h 265"/>
                  <a:gd name="T52" fmla="*/ 33 w 166"/>
                  <a:gd name="T53" fmla="*/ 265 h 265"/>
                  <a:gd name="T54" fmla="*/ 67 w 166"/>
                  <a:gd name="T55" fmla="*/ 74 h 265"/>
                  <a:gd name="T56" fmla="*/ 67 w 166"/>
                  <a:gd name="T57" fmla="*/ 192 h 265"/>
                  <a:gd name="T58" fmla="*/ 79 w 166"/>
                  <a:gd name="T59" fmla="*/ 185 h 265"/>
                  <a:gd name="T60" fmla="*/ 89 w 166"/>
                  <a:gd name="T61" fmla="*/ 172 h 265"/>
                  <a:gd name="T62" fmla="*/ 97 w 166"/>
                  <a:gd name="T63" fmla="*/ 156 h 265"/>
                  <a:gd name="T64" fmla="*/ 100 w 166"/>
                  <a:gd name="T65" fmla="*/ 133 h 265"/>
                  <a:gd name="T66" fmla="*/ 99 w 166"/>
                  <a:gd name="T67" fmla="*/ 121 h 265"/>
                  <a:gd name="T68" fmla="*/ 93 w 166"/>
                  <a:gd name="T69" fmla="*/ 102 h 265"/>
                  <a:gd name="T70" fmla="*/ 84 w 166"/>
                  <a:gd name="T71" fmla="*/ 87 h 265"/>
                  <a:gd name="T72" fmla="*/ 73 w 166"/>
                  <a:gd name="T73" fmla="*/ 78 h 265"/>
                  <a:gd name="T74" fmla="*/ 67 w 166"/>
                  <a:gd name="T75"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 h="265">
                    <a:moveTo>
                      <a:pt x="33" y="265"/>
                    </a:moveTo>
                    <a:lnTo>
                      <a:pt x="33" y="265"/>
                    </a:lnTo>
                    <a:lnTo>
                      <a:pt x="27" y="265"/>
                    </a:lnTo>
                    <a:lnTo>
                      <a:pt x="21" y="263"/>
                    </a:lnTo>
                    <a:lnTo>
                      <a:pt x="15" y="260"/>
                    </a:lnTo>
                    <a:lnTo>
                      <a:pt x="10" y="256"/>
                    </a:lnTo>
                    <a:lnTo>
                      <a:pt x="7" y="251"/>
                    </a:lnTo>
                    <a:lnTo>
                      <a:pt x="3" y="246"/>
                    </a:lnTo>
                    <a:lnTo>
                      <a:pt x="1" y="239"/>
                    </a:lnTo>
                    <a:lnTo>
                      <a:pt x="0" y="232"/>
                    </a:lnTo>
                    <a:lnTo>
                      <a:pt x="0" y="33"/>
                    </a:lnTo>
                    <a:lnTo>
                      <a:pt x="0" y="33"/>
                    </a:lnTo>
                    <a:lnTo>
                      <a:pt x="1" y="27"/>
                    </a:lnTo>
                    <a:lnTo>
                      <a:pt x="3" y="21"/>
                    </a:lnTo>
                    <a:lnTo>
                      <a:pt x="7" y="15"/>
                    </a:lnTo>
                    <a:lnTo>
                      <a:pt x="10" y="11"/>
                    </a:lnTo>
                    <a:lnTo>
                      <a:pt x="15" y="7"/>
                    </a:lnTo>
                    <a:lnTo>
                      <a:pt x="21" y="3"/>
                    </a:lnTo>
                    <a:lnTo>
                      <a:pt x="27" y="1"/>
                    </a:lnTo>
                    <a:lnTo>
                      <a:pt x="33" y="0"/>
                    </a:lnTo>
                    <a:lnTo>
                      <a:pt x="33" y="0"/>
                    </a:lnTo>
                    <a:lnTo>
                      <a:pt x="44" y="1"/>
                    </a:lnTo>
                    <a:lnTo>
                      <a:pt x="54" y="2"/>
                    </a:lnTo>
                    <a:lnTo>
                      <a:pt x="66" y="5"/>
                    </a:lnTo>
                    <a:lnTo>
                      <a:pt x="77" y="8"/>
                    </a:lnTo>
                    <a:lnTo>
                      <a:pt x="88" y="12"/>
                    </a:lnTo>
                    <a:lnTo>
                      <a:pt x="99" y="17"/>
                    </a:lnTo>
                    <a:lnTo>
                      <a:pt x="110" y="23"/>
                    </a:lnTo>
                    <a:lnTo>
                      <a:pt x="119" y="30"/>
                    </a:lnTo>
                    <a:lnTo>
                      <a:pt x="130" y="39"/>
                    </a:lnTo>
                    <a:lnTo>
                      <a:pt x="138" y="49"/>
                    </a:lnTo>
                    <a:lnTo>
                      <a:pt x="146" y="59"/>
                    </a:lnTo>
                    <a:lnTo>
                      <a:pt x="152" y="72"/>
                    </a:lnTo>
                    <a:lnTo>
                      <a:pt x="159" y="85"/>
                    </a:lnTo>
                    <a:lnTo>
                      <a:pt x="163" y="100"/>
                    </a:lnTo>
                    <a:lnTo>
                      <a:pt x="165" y="115"/>
                    </a:lnTo>
                    <a:lnTo>
                      <a:pt x="166" y="133"/>
                    </a:lnTo>
                    <a:lnTo>
                      <a:pt x="166" y="133"/>
                    </a:lnTo>
                    <a:lnTo>
                      <a:pt x="165" y="150"/>
                    </a:lnTo>
                    <a:lnTo>
                      <a:pt x="163" y="167"/>
                    </a:lnTo>
                    <a:lnTo>
                      <a:pt x="159" y="181"/>
                    </a:lnTo>
                    <a:lnTo>
                      <a:pt x="152" y="195"/>
                    </a:lnTo>
                    <a:lnTo>
                      <a:pt x="146" y="207"/>
                    </a:lnTo>
                    <a:lnTo>
                      <a:pt x="138" y="218"/>
                    </a:lnTo>
                    <a:lnTo>
                      <a:pt x="130" y="227"/>
                    </a:lnTo>
                    <a:lnTo>
                      <a:pt x="119" y="236"/>
                    </a:lnTo>
                    <a:lnTo>
                      <a:pt x="110" y="243"/>
                    </a:lnTo>
                    <a:lnTo>
                      <a:pt x="99" y="250"/>
                    </a:lnTo>
                    <a:lnTo>
                      <a:pt x="88" y="255"/>
                    </a:lnTo>
                    <a:lnTo>
                      <a:pt x="77" y="259"/>
                    </a:lnTo>
                    <a:lnTo>
                      <a:pt x="66" y="262"/>
                    </a:lnTo>
                    <a:lnTo>
                      <a:pt x="54" y="264"/>
                    </a:lnTo>
                    <a:lnTo>
                      <a:pt x="44" y="265"/>
                    </a:lnTo>
                    <a:lnTo>
                      <a:pt x="33" y="265"/>
                    </a:lnTo>
                    <a:lnTo>
                      <a:pt x="33" y="265"/>
                    </a:lnTo>
                    <a:close/>
                    <a:moveTo>
                      <a:pt x="67" y="74"/>
                    </a:moveTo>
                    <a:lnTo>
                      <a:pt x="67" y="192"/>
                    </a:lnTo>
                    <a:lnTo>
                      <a:pt x="67" y="192"/>
                    </a:lnTo>
                    <a:lnTo>
                      <a:pt x="73" y="189"/>
                    </a:lnTo>
                    <a:lnTo>
                      <a:pt x="79" y="185"/>
                    </a:lnTo>
                    <a:lnTo>
                      <a:pt x="84" y="179"/>
                    </a:lnTo>
                    <a:lnTo>
                      <a:pt x="89" y="172"/>
                    </a:lnTo>
                    <a:lnTo>
                      <a:pt x="93" y="165"/>
                    </a:lnTo>
                    <a:lnTo>
                      <a:pt x="97" y="156"/>
                    </a:lnTo>
                    <a:lnTo>
                      <a:pt x="99" y="145"/>
                    </a:lnTo>
                    <a:lnTo>
                      <a:pt x="100" y="133"/>
                    </a:lnTo>
                    <a:lnTo>
                      <a:pt x="100" y="133"/>
                    </a:lnTo>
                    <a:lnTo>
                      <a:pt x="99" y="121"/>
                    </a:lnTo>
                    <a:lnTo>
                      <a:pt x="97" y="111"/>
                    </a:lnTo>
                    <a:lnTo>
                      <a:pt x="93" y="102"/>
                    </a:lnTo>
                    <a:lnTo>
                      <a:pt x="89" y="93"/>
                    </a:lnTo>
                    <a:lnTo>
                      <a:pt x="84" y="87"/>
                    </a:lnTo>
                    <a:lnTo>
                      <a:pt x="79" y="82"/>
                    </a:lnTo>
                    <a:lnTo>
                      <a:pt x="73" y="78"/>
                    </a:lnTo>
                    <a:lnTo>
                      <a:pt x="67" y="74"/>
                    </a:lnTo>
                    <a:lnTo>
                      <a:pt x="67"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29" name="Freeform 79">
                <a:extLst>
                  <a:ext uri="{FF2B5EF4-FFF2-40B4-BE49-F238E27FC236}">
                    <a16:creationId xmlns:a16="http://schemas.microsoft.com/office/drawing/2014/main" id="{B4A2BD8D-2C59-4E04-9C47-4CDE3FF7CC3E}"/>
                  </a:ext>
                </a:extLst>
              </p:cNvPr>
              <p:cNvSpPr>
                <a:spLocks noEditPoints="1"/>
              </p:cNvSpPr>
              <p:nvPr/>
            </p:nvSpPr>
            <p:spPr bwMode="auto">
              <a:xfrm>
                <a:off x="4967288" y="3278188"/>
                <a:ext cx="38100" cy="60325"/>
              </a:xfrm>
              <a:custGeom>
                <a:avLst/>
                <a:gdLst>
                  <a:gd name="T0" fmla="*/ 133 w 166"/>
                  <a:gd name="T1" fmla="*/ 265 h 265"/>
                  <a:gd name="T2" fmla="*/ 112 w 166"/>
                  <a:gd name="T3" fmla="*/ 264 h 265"/>
                  <a:gd name="T4" fmla="*/ 89 w 166"/>
                  <a:gd name="T5" fmla="*/ 259 h 265"/>
                  <a:gd name="T6" fmla="*/ 68 w 166"/>
                  <a:gd name="T7" fmla="*/ 250 h 265"/>
                  <a:gd name="T8" fmla="*/ 47 w 166"/>
                  <a:gd name="T9" fmla="*/ 236 h 265"/>
                  <a:gd name="T10" fmla="*/ 28 w 166"/>
                  <a:gd name="T11" fmla="*/ 218 h 265"/>
                  <a:gd name="T12" fmla="*/ 14 w 166"/>
                  <a:gd name="T13" fmla="*/ 195 h 265"/>
                  <a:gd name="T14" fmla="*/ 5 w 166"/>
                  <a:gd name="T15" fmla="*/ 167 h 265"/>
                  <a:gd name="T16" fmla="*/ 0 w 166"/>
                  <a:gd name="T17" fmla="*/ 133 h 265"/>
                  <a:gd name="T18" fmla="*/ 1 w 166"/>
                  <a:gd name="T19" fmla="*/ 115 h 265"/>
                  <a:gd name="T20" fmla="*/ 9 w 166"/>
                  <a:gd name="T21" fmla="*/ 85 h 265"/>
                  <a:gd name="T22" fmla="*/ 20 w 166"/>
                  <a:gd name="T23" fmla="*/ 59 h 265"/>
                  <a:gd name="T24" fmla="*/ 38 w 166"/>
                  <a:gd name="T25" fmla="*/ 39 h 265"/>
                  <a:gd name="T26" fmla="*/ 57 w 166"/>
                  <a:gd name="T27" fmla="*/ 23 h 265"/>
                  <a:gd name="T28" fmla="*/ 79 w 166"/>
                  <a:gd name="T29" fmla="*/ 12 h 265"/>
                  <a:gd name="T30" fmla="*/ 101 w 166"/>
                  <a:gd name="T31" fmla="*/ 5 h 265"/>
                  <a:gd name="T32" fmla="*/ 123 w 166"/>
                  <a:gd name="T33" fmla="*/ 1 h 265"/>
                  <a:gd name="T34" fmla="*/ 133 w 166"/>
                  <a:gd name="T35" fmla="*/ 0 h 265"/>
                  <a:gd name="T36" fmla="*/ 146 w 166"/>
                  <a:gd name="T37" fmla="*/ 3 h 265"/>
                  <a:gd name="T38" fmla="*/ 157 w 166"/>
                  <a:gd name="T39" fmla="*/ 11 h 265"/>
                  <a:gd name="T40" fmla="*/ 164 w 166"/>
                  <a:gd name="T41" fmla="*/ 21 h 265"/>
                  <a:gd name="T42" fmla="*/ 166 w 166"/>
                  <a:gd name="T43" fmla="*/ 33 h 265"/>
                  <a:gd name="T44" fmla="*/ 166 w 166"/>
                  <a:gd name="T45" fmla="*/ 232 h 265"/>
                  <a:gd name="T46" fmla="*/ 164 w 166"/>
                  <a:gd name="T47" fmla="*/ 246 h 265"/>
                  <a:gd name="T48" fmla="*/ 157 w 166"/>
                  <a:gd name="T49" fmla="*/ 256 h 265"/>
                  <a:gd name="T50" fmla="*/ 146 w 166"/>
                  <a:gd name="T51" fmla="*/ 263 h 265"/>
                  <a:gd name="T52" fmla="*/ 133 w 166"/>
                  <a:gd name="T53" fmla="*/ 265 h 265"/>
                  <a:gd name="T54" fmla="*/ 100 w 166"/>
                  <a:gd name="T55" fmla="*/ 75 h 265"/>
                  <a:gd name="T56" fmla="*/ 94 w 166"/>
                  <a:gd name="T57" fmla="*/ 78 h 265"/>
                  <a:gd name="T58" fmla="*/ 82 w 166"/>
                  <a:gd name="T59" fmla="*/ 87 h 265"/>
                  <a:gd name="T60" fmla="*/ 73 w 166"/>
                  <a:gd name="T61" fmla="*/ 102 h 265"/>
                  <a:gd name="T62" fmla="*/ 68 w 166"/>
                  <a:gd name="T63" fmla="*/ 121 h 265"/>
                  <a:gd name="T64" fmla="*/ 67 w 166"/>
                  <a:gd name="T65" fmla="*/ 133 h 265"/>
                  <a:gd name="T66" fmla="*/ 70 w 166"/>
                  <a:gd name="T67" fmla="*/ 156 h 265"/>
                  <a:gd name="T68" fmla="*/ 77 w 166"/>
                  <a:gd name="T69" fmla="*/ 172 h 265"/>
                  <a:gd name="T70" fmla="*/ 87 w 166"/>
                  <a:gd name="T71" fmla="*/ 185 h 265"/>
                  <a:gd name="T72" fmla="*/ 100 w 166"/>
                  <a:gd name="T73" fmla="*/ 19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6" h="265">
                    <a:moveTo>
                      <a:pt x="133" y="265"/>
                    </a:moveTo>
                    <a:lnTo>
                      <a:pt x="133" y="265"/>
                    </a:lnTo>
                    <a:lnTo>
                      <a:pt x="123" y="265"/>
                    </a:lnTo>
                    <a:lnTo>
                      <a:pt x="112" y="264"/>
                    </a:lnTo>
                    <a:lnTo>
                      <a:pt x="101" y="262"/>
                    </a:lnTo>
                    <a:lnTo>
                      <a:pt x="89" y="259"/>
                    </a:lnTo>
                    <a:lnTo>
                      <a:pt x="79" y="255"/>
                    </a:lnTo>
                    <a:lnTo>
                      <a:pt x="68" y="250"/>
                    </a:lnTo>
                    <a:lnTo>
                      <a:pt x="57" y="243"/>
                    </a:lnTo>
                    <a:lnTo>
                      <a:pt x="47" y="236"/>
                    </a:lnTo>
                    <a:lnTo>
                      <a:pt x="38" y="227"/>
                    </a:lnTo>
                    <a:lnTo>
                      <a:pt x="28" y="218"/>
                    </a:lnTo>
                    <a:lnTo>
                      <a:pt x="20" y="207"/>
                    </a:lnTo>
                    <a:lnTo>
                      <a:pt x="14" y="195"/>
                    </a:lnTo>
                    <a:lnTo>
                      <a:pt x="9" y="181"/>
                    </a:lnTo>
                    <a:lnTo>
                      <a:pt x="5" y="167"/>
                    </a:lnTo>
                    <a:lnTo>
                      <a:pt x="1" y="150"/>
                    </a:lnTo>
                    <a:lnTo>
                      <a:pt x="0" y="133"/>
                    </a:lnTo>
                    <a:lnTo>
                      <a:pt x="0" y="133"/>
                    </a:lnTo>
                    <a:lnTo>
                      <a:pt x="1" y="115"/>
                    </a:lnTo>
                    <a:lnTo>
                      <a:pt x="5" y="100"/>
                    </a:lnTo>
                    <a:lnTo>
                      <a:pt x="9" y="85"/>
                    </a:lnTo>
                    <a:lnTo>
                      <a:pt x="14" y="72"/>
                    </a:lnTo>
                    <a:lnTo>
                      <a:pt x="20" y="59"/>
                    </a:lnTo>
                    <a:lnTo>
                      <a:pt x="28" y="49"/>
                    </a:lnTo>
                    <a:lnTo>
                      <a:pt x="38" y="39"/>
                    </a:lnTo>
                    <a:lnTo>
                      <a:pt x="47" y="30"/>
                    </a:lnTo>
                    <a:lnTo>
                      <a:pt x="57" y="23"/>
                    </a:lnTo>
                    <a:lnTo>
                      <a:pt x="68" y="17"/>
                    </a:lnTo>
                    <a:lnTo>
                      <a:pt x="79" y="12"/>
                    </a:lnTo>
                    <a:lnTo>
                      <a:pt x="89" y="8"/>
                    </a:lnTo>
                    <a:lnTo>
                      <a:pt x="101" y="5"/>
                    </a:lnTo>
                    <a:lnTo>
                      <a:pt x="112" y="2"/>
                    </a:lnTo>
                    <a:lnTo>
                      <a:pt x="123" y="1"/>
                    </a:lnTo>
                    <a:lnTo>
                      <a:pt x="133" y="0"/>
                    </a:lnTo>
                    <a:lnTo>
                      <a:pt x="133" y="0"/>
                    </a:lnTo>
                    <a:lnTo>
                      <a:pt x="140" y="1"/>
                    </a:lnTo>
                    <a:lnTo>
                      <a:pt x="146" y="3"/>
                    </a:lnTo>
                    <a:lnTo>
                      <a:pt x="151" y="7"/>
                    </a:lnTo>
                    <a:lnTo>
                      <a:pt x="157" y="11"/>
                    </a:lnTo>
                    <a:lnTo>
                      <a:pt x="161" y="15"/>
                    </a:lnTo>
                    <a:lnTo>
                      <a:pt x="164" y="21"/>
                    </a:lnTo>
                    <a:lnTo>
                      <a:pt x="166" y="27"/>
                    </a:lnTo>
                    <a:lnTo>
                      <a:pt x="166" y="33"/>
                    </a:lnTo>
                    <a:lnTo>
                      <a:pt x="166" y="232"/>
                    </a:lnTo>
                    <a:lnTo>
                      <a:pt x="166" y="232"/>
                    </a:lnTo>
                    <a:lnTo>
                      <a:pt x="166" y="239"/>
                    </a:lnTo>
                    <a:lnTo>
                      <a:pt x="164" y="246"/>
                    </a:lnTo>
                    <a:lnTo>
                      <a:pt x="161" y="251"/>
                    </a:lnTo>
                    <a:lnTo>
                      <a:pt x="157" y="256"/>
                    </a:lnTo>
                    <a:lnTo>
                      <a:pt x="151" y="260"/>
                    </a:lnTo>
                    <a:lnTo>
                      <a:pt x="146" y="263"/>
                    </a:lnTo>
                    <a:lnTo>
                      <a:pt x="140" y="265"/>
                    </a:lnTo>
                    <a:lnTo>
                      <a:pt x="133" y="265"/>
                    </a:lnTo>
                    <a:lnTo>
                      <a:pt x="133" y="265"/>
                    </a:lnTo>
                    <a:close/>
                    <a:moveTo>
                      <a:pt x="100" y="75"/>
                    </a:moveTo>
                    <a:lnTo>
                      <a:pt x="100" y="75"/>
                    </a:lnTo>
                    <a:lnTo>
                      <a:pt x="94" y="78"/>
                    </a:lnTo>
                    <a:lnTo>
                      <a:pt x="87" y="82"/>
                    </a:lnTo>
                    <a:lnTo>
                      <a:pt x="82" y="87"/>
                    </a:lnTo>
                    <a:lnTo>
                      <a:pt x="77" y="95"/>
                    </a:lnTo>
                    <a:lnTo>
                      <a:pt x="73" y="102"/>
                    </a:lnTo>
                    <a:lnTo>
                      <a:pt x="70" y="111"/>
                    </a:lnTo>
                    <a:lnTo>
                      <a:pt x="68" y="121"/>
                    </a:lnTo>
                    <a:lnTo>
                      <a:pt x="67" y="133"/>
                    </a:lnTo>
                    <a:lnTo>
                      <a:pt x="67" y="133"/>
                    </a:lnTo>
                    <a:lnTo>
                      <a:pt x="68" y="145"/>
                    </a:lnTo>
                    <a:lnTo>
                      <a:pt x="70" y="156"/>
                    </a:lnTo>
                    <a:lnTo>
                      <a:pt x="73" y="165"/>
                    </a:lnTo>
                    <a:lnTo>
                      <a:pt x="77" y="172"/>
                    </a:lnTo>
                    <a:lnTo>
                      <a:pt x="82" y="179"/>
                    </a:lnTo>
                    <a:lnTo>
                      <a:pt x="87" y="185"/>
                    </a:lnTo>
                    <a:lnTo>
                      <a:pt x="94" y="189"/>
                    </a:lnTo>
                    <a:lnTo>
                      <a:pt x="100" y="192"/>
                    </a:lnTo>
                    <a:lnTo>
                      <a:pt x="10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grpSp>
      <p:cxnSp>
        <p:nvCxnSpPr>
          <p:cNvPr id="30" name="Straight Connector 29">
            <a:extLst>
              <a:ext uri="{FF2B5EF4-FFF2-40B4-BE49-F238E27FC236}">
                <a16:creationId xmlns:a16="http://schemas.microsoft.com/office/drawing/2014/main" id="{9C10DF67-4638-4F56-841A-FEB3C4FC7E11}"/>
              </a:ext>
            </a:extLst>
          </p:cNvPr>
          <p:cNvCxnSpPr/>
          <p:nvPr/>
        </p:nvCxnSpPr>
        <p:spPr>
          <a:xfrm>
            <a:off x="381000" y="4514850"/>
            <a:ext cx="40005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8F1715A-24CE-4506-A45D-2B4B644CCCC3}"/>
              </a:ext>
            </a:extLst>
          </p:cNvPr>
          <p:cNvCxnSpPr/>
          <p:nvPr/>
        </p:nvCxnSpPr>
        <p:spPr>
          <a:xfrm>
            <a:off x="4762502" y="4514850"/>
            <a:ext cx="40005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5223640"/>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974EF8A-C9F7-43F5-B003-048314045C47}"/>
              </a:ext>
            </a:extLst>
          </p:cNvPr>
          <p:cNvSpPr>
            <a:spLocks noGrp="1"/>
          </p:cNvSpPr>
          <p:nvPr>
            <p:ph type="body" idx="2"/>
          </p:nvPr>
        </p:nvSpPr>
        <p:spPr/>
        <p:txBody>
          <a:bodyPr/>
          <a:lstStyle/>
          <a:p>
            <a:r>
              <a:rPr lang="en-US" dirty="0"/>
              <a:t>Targeting the Immune System in Cancer</a:t>
            </a:r>
          </a:p>
        </p:txBody>
      </p:sp>
      <p:sp>
        <p:nvSpPr>
          <p:cNvPr id="13" name="Text Placeholder 12">
            <a:extLst>
              <a:ext uri="{FF2B5EF4-FFF2-40B4-BE49-F238E27FC236}">
                <a16:creationId xmlns:a16="http://schemas.microsoft.com/office/drawing/2014/main" id="{69CA86BF-714A-4E07-BF87-414FFEC2D159}"/>
              </a:ext>
            </a:extLst>
          </p:cNvPr>
          <p:cNvSpPr>
            <a:spLocks noGrp="1"/>
          </p:cNvSpPr>
          <p:nvPr>
            <p:ph type="body" idx="3"/>
          </p:nvPr>
        </p:nvSpPr>
        <p:spPr/>
        <p:txBody>
          <a:bodyPr/>
          <a:lstStyle/>
          <a:p>
            <a:r>
              <a:rPr lang="en-US" altLang="zh-CN" dirty="0"/>
              <a:t>APC, antigen-presenting cell; CTL, cytotoxic T lymphocyte; CTLA4, cytotoxic T lymphocyte–associated protein 4; MHC, </a:t>
            </a:r>
            <a:r>
              <a:rPr lang="en-US" altLang="zh-CN"/>
              <a:t>major histocompatibility </a:t>
            </a:r>
            <a:r>
              <a:rPr lang="en-US" altLang="zh-CN" dirty="0"/>
              <a:t>complex; TCR, T-cell receptor. </a:t>
            </a:r>
            <a:r>
              <a:rPr lang="en-US" altLang="en-US" dirty="0"/>
              <a:t>1. Abbas AK, et al. </a:t>
            </a:r>
            <a:r>
              <a:rPr lang="en-US" altLang="en-US" i="1" dirty="0"/>
              <a:t>Basic Immunology: Functions and Disorders of the Immune System</a:t>
            </a:r>
            <a:r>
              <a:rPr lang="en-US" altLang="en-US" dirty="0"/>
              <a:t>. 4th ed. Philadelphia, PA: Saunders; 2012. 2. McCoy KD, Le Bros G. </a:t>
            </a:r>
            <a:r>
              <a:rPr lang="en-US" altLang="en-US" i="1" dirty="0"/>
              <a:t>Immunol Cell Biol. </a:t>
            </a:r>
            <a:r>
              <a:rPr lang="en-US" altLang="en-US" dirty="0"/>
              <a:t>1999;77:1-10. </a:t>
            </a:r>
          </a:p>
        </p:txBody>
      </p:sp>
      <p:sp>
        <p:nvSpPr>
          <p:cNvPr id="10" name="Title 9">
            <a:extLst>
              <a:ext uri="{FF2B5EF4-FFF2-40B4-BE49-F238E27FC236}">
                <a16:creationId xmlns:a16="http://schemas.microsoft.com/office/drawing/2014/main" id="{344A1603-C55D-4FB6-AD6E-FAD929741228}"/>
              </a:ext>
            </a:extLst>
          </p:cNvPr>
          <p:cNvSpPr>
            <a:spLocks noGrp="1"/>
          </p:cNvSpPr>
          <p:nvPr>
            <p:ph type="title"/>
          </p:nvPr>
        </p:nvSpPr>
        <p:spPr>
          <a:xfrm>
            <a:off x="381648" y="585796"/>
            <a:ext cx="8384400" cy="652455"/>
          </a:xfrm>
        </p:spPr>
        <p:txBody>
          <a:bodyPr>
            <a:noAutofit/>
          </a:bodyPr>
          <a:lstStyle/>
          <a:p>
            <a:r>
              <a:rPr lang="en-US" dirty="0"/>
              <a:t>Normal Adaptive Immunity and Tolerance</a:t>
            </a:r>
          </a:p>
        </p:txBody>
      </p:sp>
      <p:pic>
        <p:nvPicPr>
          <p:cNvPr id="74"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8004091">
            <a:off x="3453439" y="3376451"/>
            <a:ext cx="949747" cy="1048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4" name="Freeform 29"/>
          <p:cNvSpPr>
            <a:spLocks/>
          </p:cNvSpPr>
          <p:nvPr/>
        </p:nvSpPr>
        <p:spPr bwMode="auto">
          <a:xfrm>
            <a:off x="4112579" y="2435771"/>
            <a:ext cx="291817" cy="56833"/>
          </a:xfrm>
          <a:custGeom>
            <a:avLst/>
            <a:gdLst>
              <a:gd name="T0" fmla="*/ 102 w 113"/>
              <a:gd name="T1" fmla="*/ 0 h 22"/>
              <a:gd name="T2" fmla="*/ 93 w 113"/>
              <a:gd name="T3" fmla="*/ 4 h 22"/>
              <a:gd name="T4" fmla="*/ 0 w 113"/>
              <a:gd name="T5" fmla="*/ 4 h 22"/>
              <a:gd name="T6" fmla="*/ 0 w 113"/>
              <a:gd name="T7" fmla="*/ 18 h 22"/>
              <a:gd name="T8" fmla="*/ 93 w 113"/>
              <a:gd name="T9" fmla="*/ 18 h 22"/>
              <a:gd name="T10" fmla="*/ 102 w 113"/>
              <a:gd name="T11" fmla="*/ 22 h 22"/>
              <a:gd name="T12" fmla="*/ 113 w 113"/>
              <a:gd name="T13" fmla="*/ 11 h 22"/>
              <a:gd name="T14" fmla="*/ 102 w 11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22">
                <a:moveTo>
                  <a:pt x="102" y="0"/>
                </a:moveTo>
                <a:cubicBezTo>
                  <a:pt x="98" y="0"/>
                  <a:pt x="95" y="2"/>
                  <a:pt x="93" y="4"/>
                </a:cubicBezTo>
                <a:cubicBezTo>
                  <a:pt x="0" y="4"/>
                  <a:pt x="0" y="4"/>
                  <a:pt x="0" y="4"/>
                </a:cubicBezTo>
                <a:cubicBezTo>
                  <a:pt x="0" y="18"/>
                  <a:pt x="0" y="18"/>
                  <a:pt x="0" y="18"/>
                </a:cubicBezTo>
                <a:cubicBezTo>
                  <a:pt x="93" y="18"/>
                  <a:pt x="93" y="18"/>
                  <a:pt x="93" y="18"/>
                </a:cubicBezTo>
                <a:cubicBezTo>
                  <a:pt x="95" y="20"/>
                  <a:pt x="98" y="22"/>
                  <a:pt x="102" y="22"/>
                </a:cubicBezTo>
                <a:cubicBezTo>
                  <a:pt x="108" y="22"/>
                  <a:pt x="113" y="17"/>
                  <a:pt x="113" y="11"/>
                </a:cubicBezTo>
                <a:cubicBezTo>
                  <a:pt x="113" y="5"/>
                  <a:pt x="108" y="0"/>
                  <a:pt x="102" y="0"/>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500" kern="0" dirty="0">
              <a:solidFill>
                <a:srgbClr val="EEECE1"/>
              </a:solidFill>
              <a:latin typeface="Gene Sans Light"/>
              <a:cs typeface="Arial"/>
              <a:sym typeface="Arial"/>
            </a:endParaRPr>
          </a:p>
        </p:txBody>
      </p:sp>
      <p:grpSp>
        <p:nvGrpSpPr>
          <p:cNvPr id="3" name="Group 56"/>
          <p:cNvGrpSpPr>
            <a:grpSpLocks noChangeAspect="1"/>
          </p:cNvGrpSpPr>
          <p:nvPr/>
        </p:nvGrpSpPr>
        <p:grpSpPr>
          <a:xfrm rot="5400000">
            <a:off x="4305129" y="2316475"/>
            <a:ext cx="202147" cy="579002"/>
            <a:chOff x="6548353" y="2832620"/>
            <a:chExt cx="384240" cy="1100574"/>
          </a:xfrm>
          <a:effectLst/>
        </p:grpSpPr>
        <p:sp>
          <p:nvSpPr>
            <p:cNvPr id="61" name="Freeform 17"/>
            <p:cNvSpPr>
              <a:spLocks/>
            </p:cNvSpPr>
            <p:nvPr/>
          </p:nvSpPr>
          <p:spPr bwMode="auto">
            <a:xfrm>
              <a:off x="6652646" y="3513274"/>
              <a:ext cx="181142" cy="419920"/>
            </a:xfrm>
            <a:custGeom>
              <a:avLst/>
              <a:gdLst>
                <a:gd name="T0" fmla="*/ 43 w 66"/>
                <a:gd name="T1" fmla="*/ 153 h 153"/>
                <a:gd name="T2" fmla="*/ 43 w 66"/>
                <a:gd name="T3" fmla="*/ 82 h 153"/>
                <a:gd name="T4" fmla="*/ 66 w 66"/>
                <a:gd name="T5" fmla="*/ 82 h 153"/>
                <a:gd name="T6" fmla="*/ 66 w 66"/>
                <a:gd name="T7" fmla="*/ 0 h 153"/>
                <a:gd name="T8" fmla="*/ 55 w 66"/>
                <a:gd name="T9" fmla="*/ 0 h 153"/>
                <a:gd name="T10" fmla="*/ 33 w 66"/>
                <a:gd name="T11" fmla="*/ 26 h 153"/>
                <a:gd name="T12" fmla="*/ 12 w 66"/>
                <a:gd name="T13" fmla="*/ 0 h 153"/>
                <a:gd name="T14" fmla="*/ 0 w 66"/>
                <a:gd name="T15" fmla="*/ 0 h 153"/>
                <a:gd name="T16" fmla="*/ 0 w 66"/>
                <a:gd name="T17" fmla="*/ 82 h 153"/>
                <a:gd name="T18" fmla="*/ 24 w 66"/>
                <a:gd name="T19" fmla="*/ 82 h 153"/>
                <a:gd name="T20" fmla="*/ 24 w 66"/>
                <a:gd name="T21" fmla="*/ 153 h 153"/>
                <a:gd name="T22" fmla="*/ 43 w 66"/>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153">
                  <a:moveTo>
                    <a:pt x="43" y="153"/>
                  </a:moveTo>
                  <a:lnTo>
                    <a:pt x="43" y="82"/>
                  </a:lnTo>
                  <a:lnTo>
                    <a:pt x="66" y="82"/>
                  </a:lnTo>
                  <a:lnTo>
                    <a:pt x="66" y="0"/>
                  </a:lnTo>
                  <a:lnTo>
                    <a:pt x="55" y="0"/>
                  </a:lnTo>
                  <a:lnTo>
                    <a:pt x="33" y="26"/>
                  </a:lnTo>
                  <a:lnTo>
                    <a:pt x="12" y="0"/>
                  </a:lnTo>
                  <a:lnTo>
                    <a:pt x="0" y="0"/>
                  </a:lnTo>
                  <a:lnTo>
                    <a:pt x="0" y="82"/>
                  </a:lnTo>
                  <a:lnTo>
                    <a:pt x="24" y="82"/>
                  </a:lnTo>
                  <a:lnTo>
                    <a:pt x="24" y="153"/>
                  </a:lnTo>
                  <a:lnTo>
                    <a:pt x="43" y="153"/>
                  </a:lnTo>
                  <a:close/>
                </a:path>
              </a:pathLst>
            </a:custGeom>
            <a:solidFill>
              <a:srgbClr val="007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500" kern="0" dirty="0">
                <a:solidFill>
                  <a:srgbClr val="EEECE1"/>
                </a:solidFill>
                <a:latin typeface="Gene Sans Light"/>
                <a:cs typeface="Arial"/>
                <a:sym typeface="Arial"/>
              </a:endParaRPr>
            </a:p>
          </p:txBody>
        </p:sp>
        <p:sp>
          <p:nvSpPr>
            <p:cNvPr id="58" name="Freeform 15"/>
            <p:cNvSpPr>
              <a:spLocks/>
            </p:cNvSpPr>
            <p:nvPr/>
          </p:nvSpPr>
          <p:spPr bwMode="auto">
            <a:xfrm>
              <a:off x="6548353" y="2832620"/>
              <a:ext cx="384240" cy="458344"/>
            </a:xfrm>
            <a:custGeom>
              <a:avLst/>
              <a:gdLst>
                <a:gd name="T0" fmla="*/ 62 w 140"/>
                <a:gd name="T1" fmla="*/ 89 h 167"/>
                <a:gd name="T2" fmla="*/ 22 w 140"/>
                <a:gd name="T3" fmla="*/ 89 h 167"/>
                <a:gd name="T4" fmla="*/ 22 w 140"/>
                <a:gd name="T5" fmla="*/ 151 h 167"/>
                <a:gd name="T6" fmla="*/ 0 w 140"/>
                <a:gd name="T7" fmla="*/ 151 h 167"/>
                <a:gd name="T8" fmla="*/ 0 w 140"/>
                <a:gd name="T9" fmla="*/ 167 h 167"/>
                <a:gd name="T10" fmla="*/ 22 w 140"/>
                <a:gd name="T11" fmla="*/ 167 h 167"/>
                <a:gd name="T12" fmla="*/ 41 w 140"/>
                <a:gd name="T13" fmla="*/ 167 h 167"/>
                <a:gd name="T14" fmla="*/ 41 w 140"/>
                <a:gd name="T15" fmla="*/ 108 h 167"/>
                <a:gd name="T16" fmla="*/ 102 w 140"/>
                <a:gd name="T17" fmla="*/ 108 h 167"/>
                <a:gd name="T18" fmla="*/ 102 w 140"/>
                <a:gd name="T19" fmla="*/ 167 h 167"/>
                <a:gd name="T20" fmla="*/ 121 w 140"/>
                <a:gd name="T21" fmla="*/ 167 h 167"/>
                <a:gd name="T22" fmla="*/ 140 w 140"/>
                <a:gd name="T23" fmla="*/ 167 h 167"/>
                <a:gd name="T24" fmla="*/ 140 w 140"/>
                <a:gd name="T25" fmla="*/ 151 h 167"/>
                <a:gd name="T26" fmla="*/ 121 w 140"/>
                <a:gd name="T27" fmla="*/ 151 h 167"/>
                <a:gd name="T28" fmla="*/ 121 w 140"/>
                <a:gd name="T29" fmla="*/ 89 h 167"/>
                <a:gd name="T30" fmla="*/ 81 w 140"/>
                <a:gd name="T31" fmla="*/ 89 h 167"/>
                <a:gd name="T32" fmla="*/ 81 w 140"/>
                <a:gd name="T33" fmla="*/ 0 h 167"/>
                <a:gd name="T34" fmla="*/ 62 w 140"/>
                <a:gd name="T35" fmla="*/ 0 h 167"/>
                <a:gd name="T36" fmla="*/ 62 w 140"/>
                <a:gd name="T37" fmla="*/ 89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0" h="167">
                  <a:moveTo>
                    <a:pt x="62" y="89"/>
                  </a:moveTo>
                  <a:lnTo>
                    <a:pt x="22" y="89"/>
                  </a:lnTo>
                  <a:lnTo>
                    <a:pt x="22" y="151"/>
                  </a:lnTo>
                  <a:lnTo>
                    <a:pt x="0" y="151"/>
                  </a:lnTo>
                  <a:lnTo>
                    <a:pt x="0" y="167"/>
                  </a:lnTo>
                  <a:lnTo>
                    <a:pt x="22" y="167"/>
                  </a:lnTo>
                  <a:lnTo>
                    <a:pt x="41" y="167"/>
                  </a:lnTo>
                  <a:lnTo>
                    <a:pt x="41" y="108"/>
                  </a:lnTo>
                  <a:lnTo>
                    <a:pt x="102" y="108"/>
                  </a:lnTo>
                  <a:lnTo>
                    <a:pt x="102" y="167"/>
                  </a:lnTo>
                  <a:lnTo>
                    <a:pt x="121" y="167"/>
                  </a:lnTo>
                  <a:lnTo>
                    <a:pt x="140" y="167"/>
                  </a:lnTo>
                  <a:lnTo>
                    <a:pt x="140" y="151"/>
                  </a:lnTo>
                  <a:lnTo>
                    <a:pt x="121" y="151"/>
                  </a:lnTo>
                  <a:lnTo>
                    <a:pt x="121" y="89"/>
                  </a:lnTo>
                  <a:lnTo>
                    <a:pt x="81" y="89"/>
                  </a:lnTo>
                  <a:lnTo>
                    <a:pt x="81" y="0"/>
                  </a:lnTo>
                  <a:lnTo>
                    <a:pt x="62" y="0"/>
                  </a:lnTo>
                  <a:lnTo>
                    <a:pt x="62" y="89"/>
                  </a:lnTo>
                  <a:close/>
                </a:path>
              </a:pathLst>
            </a:custGeom>
            <a:solidFill>
              <a:schemeClr val="bg2">
                <a:lumMod val="25000"/>
              </a:schemeClr>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500" kern="0" dirty="0">
                <a:solidFill>
                  <a:srgbClr val="EEECE1"/>
                </a:solidFill>
                <a:latin typeface="Gene Sans Light"/>
                <a:cs typeface="Arial"/>
                <a:sym typeface="Arial"/>
              </a:endParaRPr>
            </a:p>
          </p:txBody>
        </p:sp>
        <p:sp>
          <p:nvSpPr>
            <p:cNvPr id="59" name="Freeform 16"/>
            <p:cNvSpPr>
              <a:spLocks/>
            </p:cNvSpPr>
            <p:nvPr/>
          </p:nvSpPr>
          <p:spPr bwMode="auto">
            <a:xfrm>
              <a:off x="6685581" y="3181181"/>
              <a:ext cx="118017" cy="351305"/>
            </a:xfrm>
            <a:custGeom>
              <a:avLst/>
              <a:gdLst>
                <a:gd name="T0" fmla="*/ 0 w 43"/>
                <a:gd name="T1" fmla="*/ 104 h 128"/>
                <a:gd name="T2" fmla="*/ 0 w 43"/>
                <a:gd name="T3" fmla="*/ 0 h 128"/>
                <a:gd name="T4" fmla="*/ 43 w 43"/>
                <a:gd name="T5" fmla="*/ 0 h 128"/>
                <a:gd name="T6" fmla="*/ 43 w 43"/>
                <a:gd name="T7" fmla="*/ 104 h 128"/>
                <a:gd name="T8" fmla="*/ 21 w 43"/>
                <a:gd name="T9" fmla="*/ 128 h 128"/>
                <a:gd name="T10" fmla="*/ 0 w 43"/>
                <a:gd name="T11" fmla="*/ 104 h 128"/>
              </a:gdLst>
              <a:ahLst/>
              <a:cxnLst>
                <a:cxn ang="0">
                  <a:pos x="T0" y="T1"/>
                </a:cxn>
                <a:cxn ang="0">
                  <a:pos x="T2" y="T3"/>
                </a:cxn>
                <a:cxn ang="0">
                  <a:pos x="T4" y="T5"/>
                </a:cxn>
                <a:cxn ang="0">
                  <a:pos x="T6" y="T7"/>
                </a:cxn>
                <a:cxn ang="0">
                  <a:pos x="T8" y="T9"/>
                </a:cxn>
                <a:cxn ang="0">
                  <a:pos x="T10" y="T11"/>
                </a:cxn>
              </a:cxnLst>
              <a:rect l="0" t="0" r="r" b="b"/>
              <a:pathLst>
                <a:path w="43" h="128">
                  <a:moveTo>
                    <a:pt x="0" y="104"/>
                  </a:moveTo>
                  <a:lnTo>
                    <a:pt x="0" y="0"/>
                  </a:lnTo>
                  <a:lnTo>
                    <a:pt x="43" y="0"/>
                  </a:lnTo>
                  <a:lnTo>
                    <a:pt x="43" y="104"/>
                  </a:lnTo>
                  <a:lnTo>
                    <a:pt x="21" y="128"/>
                  </a:lnTo>
                  <a:lnTo>
                    <a:pt x="0" y="104"/>
                  </a:lnTo>
                  <a:close/>
                </a:path>
              </a:pathLst>
            </a:custGeom>
            <a:solidFill>
              <a:srgbClr val="911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500" kern="0" dirty="0">
                <a:solidFill>
                  <a:srgbClr val="EEECE1"/>
                </a:solidFill>
                <a:latin typeface="Gene Sans Light"/>
                <a:cs typeface="Arial"/>
                <a:sym typeface="Arial"/>
              </a:endParaRPr>
            </a:p>
          </p:txBody>
        </p:sp>
      </p:grpSp>
      <p:sp>
        <p:nvSpPr>
          <p:cNvPr id="131" name="Rectangle 130"/>
          <p:cNvSpPr/>
          <p:nvPr/>
        </p:nvSpPr>
        <p:spPr>
          <a:xfrm>
            <a:off x="5069806" y="1956147"/>
            <a:ext cx="630620" cy="207747"/>
          </a:xfrm>
          <a:prstGeom prst="rect">
            <a:avLst/>
          </a:prstGeom>
        </p:spPr>
        <p:txBody>
          <a:bodyPr wrap="none" lIns="68579" tIns="34289" rIns="68579" bIns="34289">
            <a:spAutoFit/>
          </a:bodyPr>
          <a:lstStyle/>
          <a:p>
            <a:pPr defTabSz="685766">
              <a:buClr>
                <a:srgbClr val="000000"/>
              </a:buClr>
              <a:defRPr/>
            </a:pPr>
            <a:r>
              <a:rPr lang="en-US" sz="900" kern="0" dirty="0">
                <a:solidFill>
                  <a:srgbClr val="545859"/>
                </a:solidFill>
                <a:latin typeface="Gene Sans Light"/>
                <a:cs typeface="Arial" pitchFamily="34" charset="0"/>
                <a:sym typeface="Arial"/>
              </a:rPr>
              <a:t>Cytokines</a:t>
            </a:r>
          </a:p>
        </p:txBody>
      </p:sp>
      <p:sp>
        <p:nvSpPr>
          <p:cNvPr id="132" name="Rectangle 131"/>
          <p:cNvSpPr/>
          <p:nvPr/>
        </p:nvSpPr>
        <p:spPr>
          <a:xfrm>
            <a:off x="5747630" y="3008129"/>
            <a:ext cx="906201" cy="207747"/>
          </a:xfrm>
          <a:prstGeom prst="rect">
            <a:avLst/>
          </a:prstGeom>
        </p:spPr>
        <p:txBody>
          <a:bodyPr wrap="square" lIns="68579" tIns="34289" rIns="68579" bIns="34289">
            <a:spAutoFit/>
          </a:bodyPr>
          <a:lstStyle/>
          <a:p>
            <a:pPr defTabSz="685766">
              <a:buClr>
                <a:srgbClr val="000000"/>
              </a:buClr>
              <a:defRPr/>
            </a:pPr>
            <a:r>
              <a:rPr lang="en-US" sz="900" kern="0" dirty="0">
                <a:solidFill>
                  <a:srgbClr val="545859"/>
                </a:solidFill>
                <a:latin typeface="Gene Sans Light"/>
                <a:cs typeface="Arial" pitchFamily="34" charset="0"/>
                <a:sym typeface="Arial"/>
              </a:rPr>
              <a:t>Effector CTLs</a:t>
            </a:r>
          </a:p>
        </p:txBody>
      </p:sp>
      <p:sp>
        <p:nvSpPr>
          <p:cNvPr id="133" name="Rectangle 132"/>
          <p:cNvSpPr/>
          <p:nvPr/>
        </p:nvSpPr>
        <p:spPr>
          <a:xfrm>
            <a:off x="4683709" y="2735157"/>
            <a:ext cx="428641" cy="346247"/>
          </a:xfrm>
          <a:prstGeom prst="rect">
            <a:avLst/>
          </a:prstGeom>
        </p:spPr>
        <p:txBody>
          <a:bodyPr wrap="none" lIns="68579" tIns="34289" rIns="68579" bIns="34289">
            <a:spAutoFit/>
          </a:bodyPr>
          <a:lstStyle/>
          <a:p>
            <a:pPr defTabSz="685766">
              <a:buClr>
                <a:srgbClr val="000000"/>
              </a:buClr>
              <a:defRPr/>
            </a:pPr>
            <a:r>
              <a:rPr lang="en-US" sz="900" kern="0" dirty="0">
                <a:solidFill>
                  <a:srgbClr val="545859"/>
                </a:solidFill>
                <a:latin typeface="Gene Sans Light"/>
                <a:cs typeface="Arial" pitchFamily="34" charset="0"/>
                <a:sym typeface="Arial"/>
              </a:rPr>
              <a:t>CD8</a:t>
            </a:r>
            <a:r>
              <a:rPr lang="en-US" sz="900" kern="0" baseline="30000" dirty="0">
                <a:solidFill>
                  <a:srgbClr val="545859"/>
                </a:solidFill>
                <a:latin typeface="Gene Sans Light"/>
                <a:cs typeface="Arial" pitchFamily="34" charset="0"/>
                <a:sym typeface="Arial"/>
              </a:rPr>
              <a:t>+</a:t>
            </a:r>
            <a:r>
              <a:rPr lang="en-US" sz="900" kern="0" dirty="0">
                <a:solidFill>
                  <a:srgbClr val="545859"/>
                </a:solidFill>
                <a:latin typeface="Gene Sans Light"/>
                <a:cs typeface="Arial" pitchFamily="34" charset="0"/>
                <a:sym typeface="Arial"/>
              </a:rPr>
              <a:t> </a:t>
            </a:r>
          </a:p>
          <a:p>
            <a:pPr defTabSz="685766">
              <a:buClr>
                <a:srgbClr val="000000"/>
              </a:buClr>
              <a:defRPr/>
            </a:pPr>
            <a:r>
              <a:rPr lang="en-US" sz="900" kern="0" dirty="0">
                <a:solidFill>
                  <a:srgbClr val="545859"/>
                </a:solidFill>
                <a:latin typeface="Gene Sans Light"/>
                <a:cs typeface="Arial" pitchFamily="34" charset="0"/>
                <a:sym typeface="Arial"/>
              </a:rPr>
              <a:t>T cell</a:t>
            </a:r>
          </a:p>
        </p:txBody>
      </p:sp>
      <p:sp>
        <p:nvSpPr>
          <p:cNvPr id="135" name="Rectangle 134"/>
          <p:cNvSpPr/>
          <p:nvPr/>
        </p:nvSpPr>
        <p:spPr>
          <a:xfrm>
            <a:off x="3559435" y="1250908"/>
            <a:ext cx="747639" cy="346247"/>
          </a:xfrm>
          <a:prstGeom prst="rect">
            <a:avLst/>
          </a:prstGeom>
        </p:spPr>
        <p:txBody>
          <a:bodyPr wrap="none" lIns="68579" tIns="34289" rIns="68579" bIns="34289">
            <a:spAutoFit/>
          </a:bodyPr>
          <a:lstStyle/>
          <a:p>
            <a:pPr algn="r" defTabSz="685766">
              <a:buClr>
                <a:srgbClr val="000000"/>
              </a:buClr>
              <a:defRPr/>
            </a:pPr>
            <a:r>
              <a:rPr lang="en-US" sz="900" kern="0" dirty="0">
                <a:solidFill>
                  <a:srgbClr val="545859"/>
                </a:solidFill>
                <a:latin typeface="Gene Sans Light"/>
                <a:cs typeface="Arial" pitchFamily="34" charset="0"/>
                <a:sym typeface="Arial"/>
              </a:rPr>
              <a:t>CD4</a:t>
            </a:r>
            <a:r>
              <a:rPr lang="en-US" sz="900" kern="0" baseline="30000" dirty="0">
                <a:solidFill>
                  <a:srgbClr val="545859"/>
                </a:solidFill>
                <a:latin typeface="Gene Sans Light"/>
                <a:cs typeface="Arial" pitchFamily="34" charset="0"/>
                <a:sym typeface="Arial"/>
              </a:rPr>
              <a:t>+ </a:t>
            </a:r>
          </a:p>
          <a:p>
            <a:pPr algn="r" defTabSz="685766">
              <a:buClr>
                <a:srgbClr val="000000"/>
              </a:buClr>
              <a:defRPr/>
            </a:pPr>
            <a:r>
              <a:rPr lang="en-US" sz="900" kern="0" dirty="0">
                <a:solidFill>
                  <a:srgbClr val="545859"/>
                </a:solidFill>
                <a:latin typeface="Gene Sans Light"/>
                <a:cs typeface="Arial" pitchFamily="34" charset="0"/>
                <a:sym typeface="Arial"/>
              </a:rPr>
              <a:t>helper T cell</a:t>
            </a:r>
          </a:p>
        </p:txBody>
      </p:sp>
      <p:sp>
        <p:nvSpPr>
          <p:cNvPr id="149" name="Rectangle 148"/>
          <p:cNvSpPr/>
          <p:nvPr/>
        </p:nvSpPr>
        <p:spPr>
          <a:xfrm>
            <a:off x="4029153" y="2052235"/>
            <a:ext cx="1154284" cy="207747"/>
          </a:xfrm>
          <a:prstGeom prst="rect">
            <a:avLst/>
          </a:prstGeom>
        </p:spPr>
        <p:txBody>
          <a:bodyPr wrap="square" lIns="68579" tIns="34289" rIns="68579" bIns="34289">
            <a:spAutoFit/>
          </a:bodyPr>
          <a:lstStyle/>
          <a:p>
            <a:pPr defTabSz="685766">
              <a:buClr>
                <a:srgbClr val="000000"/>
              </a:buClr>
              <a:defRPr/>
            </a:pPr>
            <a:r>
              <a:rPr lang="en-US" sz="900" kern="0" dirty="0">
                <a:solidFill>
                  <a:srgbClr val="545859"/>
                </a:solidFill>
                <a:latin typeface="Gene Sans Light"/>
                <a:cs typeface="Arial" pitchFamily="34" charset="0"/>
                <a:sym typeface="Arial"/>
              </a:rPr>
              <a:t>Costimulator</a:t>
            </a:r>
          </a:p>
        </p:txBody>
      </p:sp>
      <p:pic>
        <p:nvPicPr>
          <p:cNvPr id="91"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8004091">
            <a:off x="3375131" y="2085054"/>
            <a:ext cx="950321" cy="1049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8" name="Rectangle 137"/>
          <p:cNvSpPr/>
          <p:nvPr/>
        </p:nvSpPr>
        <p:spPr>
          <a:xfrm>
            <a:off x="2309520" y="3015309"/>
            <a:ext cx="806950" cy="207747"/>
          </a:xfrm>
          <a:prstGeom prst="rect">
            <a:avLst/>
          </a:prstGeom>
        </p:spPr>
        <p:txBody>
          <a:bodyPr wrap="none" lIns="68579" tIns="34289" rIns="68579" bIns="34289">
            <a:spAutoFit/>
          </a:bodyPr>
          <a:lstStyle/>
          <a:p>
            <a:pPr defTabSz="685766">
              <a:buClr>
                <a:srgbClr val="000000"/>
              </a:buClr>
              <a:defRPr/>
            </a:pPr>
            <a:r>
              <a:rPr lang="en-US" sz="900" kern="0" dirty="0">
                <a:solidFill>
                  <a:srgbClr val="545859"/>
                </a:solidFill>
                <a:latin typeface="Gene Sans Light"/>
                <a:cs typeface="Arial" pitchFamily="34" charset="0"/>
                <a:sym typeface="Arial"/>
              </a:rPr>
              <a:t>Dendritic cell</a:t>
            </a:r>
          </a:p>
        </p:txBody>
      </p:sp>
      <p:cxnSp>
        <p:nvCxnSpPr>
          <p:cNvPr id="150" name="Straight Connector 149"/>
          <p:cNvCxnSpPr>
            <a:stCxn id="138" idx="3"/>
          </p:cNvCxnSpPr>
          <p:nvPr/>
        </p:nvCxnSpPr>
        <p:spPr>
          <a:xfrm flipV="1">
            <a:off x="3116470" y="2960470"/>
            <a:ext cx="353414" cy="158713"/>
          </a:xfrm>
          <a:prstGeom prst="line">
            <a:avLst/>
          </a:prstGeom>
          <a:ln w="19050" cap="sq" cmpd="sng">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03" name="Rectangle 102"/>
          <p:cNvSpPr/>
          <p:nvPr/>
        </p:nvSpPr>
        <p:spPr>
          <a:xfrm>
            <a:off x="3098131" y="1651364"/>
            <a:ext cx="1165598" cy="346247"/>
          </a:xfrm>
          <a:prstGeom prst="rect">
            <a:avLst/>
          </a:prstGeom>
        </p:spPr>
        <p:txBody>
          <a:bodyPr wrap="square" lIns="68579" tIns="34289" rIns="68579" bIns="34289">
            <a:spAutoFit/>
          </a:bodyPr>
          <a:lstStyle/>
          <a:p>
            <a:pPr algn="ctr" defTabSz="685766">
              <a:buClr>
                <a:srgbClr val="000000"/>
              </a:buClr>
              <a:defRPr/>
            </a:pPr>
            <a:r>
              <a:rPr lang="en-US" sz="900" kern="0" dirty="0">
                <a:solidFill>
                  <a:srgbClr val="545859"/>
                </a:solidFill>
                <a:latin typeface="Gene Sans Light"/>
                <a:cs typeface="Arial" pitchFamily="34" charset="0"/>
                <a:sym typeface="Arial"/>
              </a:rPr>
              <a:t>Ingested tumor-specific antigen</a:t>
            </a:r>
          </a:p>
        </p:txBody>
      </p:sp>
      <p:sp>
        <p:nvSpPr>
          <p:cNvPr id="55" name="TextBox 54"/>
          <p:cNvSpPr txBox="1"/>
          <p:nvPr/>
        </p:nvSpPr>
        <p:spPr>
          <a:xfrm>
            <a:off x="5133374" y="3429152"/>
            <a:ext cx="502505" cy="315469"/>
          </a:xfrm>
          <a:prstGeom prst="rect">
            <a:avLst/>
          </a:prstGeom>
          <a:noFill/>
        </p:spPr>
        <p:txBody>
          <a:bodyPr wrap="square" lIns="68579" tIns="34289" rIns="68579" bIns="34289" rtlCol="0">
            <a:spAutoFit/>
          </a:bodyPr>
          <a:lstStyle/>
          <a:p>
            <a:pPr algn="ctr" defTabSz="914378">
              <a:buClr>
                <a:srgbClr val="000000"/>
              </a:buClr>
              <a:defRPr/>
            </a:pPr>
            <a:r>
              <a:rPr lang="en-US" sz="800" kern="0" dirty="0">
                <a:solidFill>
                  <a:srgbClr val="545859"/>
                </a:solidFill>
                <a:latin typeface="Gene Sans Light"/>
                <a:cs typeface="Arial"/>
                <a:sym typeface="Arial"/>
              </a:rPr>
              <a:t>(–) Signal 2</a:t>
            </a:r>
          </a:p>
        </p:txBody>
      </p:sp>
      <p:sp>
        <p:nvSpPr>
          <p:cNvPr id="57" name="Freeform 28"/>
          <p:cNvSpPr>
            <a:spLocks/>
          </p:cNvSpPr>
          <p:nvPr/>
        </p:nvSpPr>
        <p:spPr bwMode="auto">
          <a:xfrm>
            <a:off x="4398691" y="3676565"/>
            <a:ext cx="304933" cy="155199"/>
          </a:xfrm>
          <a:custGeom>
            <a:avLst/>
            <a:gdLst>
              <a:gd name="T0" fmla="*/ 118 w 118"/>
              <a:gd name="T1" fmla="*/ 23 h 60"/>
              <a:gd name="T2" fmla="*/ 36 w 118"/>
              <a:gd name="T3" fmla="*/ 23 h 60"/>
              <a:gd name="T4" fmla="*/ 7 w 118"/>
              <a:gd name="T5" fmla="*/ 0 h 60"/>
              <a:gd name="T6" fmla="*/ 0 w 118"/>
              <a:gd name="T7" fmla="*/ 7 h 60"/>
              <a:gd name="T8" fmla="*/ 7 w 118"/>
              <a:gd name="T9" fmla="*/ 14 h 60"/>
              <a:gd name="T10" fmla="*/ 23 w 118"/>
              <a:gd name="T11" fmla="*/ 30 h 60"/>
              <a:gd name="T12" fmla="*/ 7 w 118"/>
              <a:gd name="T13" fmla="*/ 46 h 60"/>
              <a:gd name="T14" fmla="*/ 0 w 118"/>
              <a:gd name="T15" fmla="*/ 53 h 60"/>
              <a:gd name="T16" fmla="*/ 7 w 118"/>
              <a:gd name="T17" fmla="*/ 60 h 60"/>
              <a:gd name="T18" fmla="*/ 36 w 118"/>
              <a:gd name="T19" fmla="*/ 37 h 60"/>
              <a:gd name="T20" fmla="*/ 118 w 118"/>
              <a:gd name="T21" fmla="*/ 37 h 60"/>
              <a:gd name="T22" fmla="*/ 118 w 118"/>
              <a:gd name="T23" fmla="*/ 2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0">
                <a:moveTo>
                  <a:pt x="118" y="23"/>
                </a:moveTo>
                <a:cubicBezTo>
                  <a:pt x="36" y="23"/>
                  <a:pt x="36" y="23"/>
                  <a:pt x="36" y="23"/>
                </a:cubicBezTo>
                <a:cubicBezTo>
                  <a:pt x="33" y="10"/>
                  <a:pt x="21" y="0"/>
                  <a:pt x="7" y="0"/>
                </a:cubicBezTo>
                <a:cubicBezTo>
                  <a:pt x="3" y="0"/>
                  <a:pt x="0" y="3"/>
                  <a:pt x="0" y="7"/>
                </a:cubicBezTo>
                <a:cubicBezTo>
                  <a:pt x="0" y="11"/>
                  <a:pt x="3" y="14"/>
                  <a:pt x="7" y="14"/>
                </a:cubicBezTo>
                <a:cubicBezTo>
                  <a:pt x="15" y="14"/>
                  <a:pt x="23" y="21"/>
                  <a:pt x="23" y="30"/>
                </a:cubicBezTo>
                <a:cubicBezTo>
                  <a:pt x="23" y="39"/>
                  <a:pt x="15" y="46"/>
                  <a:pt x="7" y="46"/>
                </a:cubicBezTo>
                <a:cubicBezTo>
                  <a:pt x="3" y="46"/>
                  <a:pt x="0" y="49"/>
                  <a:pt x="0" y="53"/>
                </a:cubicBezTo>
                <a:cubicBezTo>
                  <a:pt x="0" y="57"/>
                  <a:pt x="3" y="60"/>
                  <a:pt x="7" y="60"/>
                </a:cubicBezTo>
                <a:cubicBezTo>
                  <a:pt x="21" y="60"/>
                  <a:pt x="33" y="50"/>
                  <a:pt x="36" y="37"/>
                </a:cubicBezTo>
                <a:cubicBezTo>
                  <a:pt x="118" y="37"/>
                  <a:pt x="118" y="37"/>
                  <a:pt x="118" y="37"/>
                </a:cubicBezTo>
                <a:lnTo>
                  <a:pt x="118" y="23"/>
                </a:lnTo>
                <a:close/>
              </a:path>
            </a:pathLst>
          </a:custGeom>
          <a:solidFill>
            <a:srgbClr val="00B050"/>
          </a:solidFill>
          <a:ln>
            <a:noFill/>
          </a:ln>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500" kern="0" dirty="0">
              <a:solidFill>
                <a:srgbClr val="EEECE1"/>
              </a:solidFill>
              <a:latin typeface="Gene Sans Light"/>
              <a:cs typeface="Arial"/>
              <a:sym typeface="Arial"/>
            </a:endParaRPr>
          </a:p>
        </p:txBody>
      </p:sp>
      <p:sp>
        <p:nvSpPr>
          <p:cNvPr id="60" name="Freeform 29"/>
          <p:cNvSpPr>
            <a:spLocks/>
          </p:cNvSpPr>
          <p:nvPr/>
        </p:nvSpPr>
        <p:spPr bwMode="auto">
          <a:xfrm>
            <a:off x="4146220" y="3725747"/>
            <a:ext cx="291817" cy="56833"/>
          </a:xfrm>
          <a:custGeom>
            <a:avLst/>
            <a:gdLst>
              <a:gd name="T0" fmla="*/ 102 w 113"/>
              <a:gd name="T1" fmla="*/ 0 h 22"/>
              <a:gd name="T2" fmla="*/ 93 w 113"/>
              <a:gd name="T3" fmla="*/ 4 h 22"/>
              <a:gd name="T4" fmla="*/ 0 w 113"/>
              <a:gd name="T5" fmla="*/ 4 h 22"/>
              <a:gd name="T6" fmla="*/ 0 w 113"/>
              <a:gd name="T7" fmla="*/ 18 h 22"/>
              <a:gd name="T8" fmla="*/ 93 w 113"/>
              <a:gd name="T9" fmla="*/ 18 h 22"/>
              <a:gd name="T10" fmla="*/ 102 w 113"/>
              <a:gd name="T11" fmla="*/ 22 h 22"/>
              <a:gd name="T12" fmla="*/ 113 w 113"/>
              <a:gd name="T13" fmla="*/ 11 h 22"/>
              <a:gd name="T14" fmla="*/ 102 w 11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 h="22">
                <a:moveTo>
                  <a:pt x="102" y="0"/>
                </a:moveTo>
                <a:cubicBezTo>
                  <a:pt x="98" y="0"/>
                  <a:pt x="95" y="2"/>
                  <a:pt x="93" y="4"/>
                </a:cubicBezTo>
                <a:cubicBezTo>
                  <a:pt x="0" y="4"/>
                  <a:pt x="0" y="4"/>
                  <a:pt x="0" y="4"/>
                </a:cubicBezTo>
                <a:cubicBezTo>
                  <a:pt x="0" y="18"/>
                  <a:pt x="0" y="18"/>
                  <a:pt x="0" y="18"/>
                </a:cubicBezTo>
                <a:cubicBezTo>
                  <a:pt x="93" y="18"/>
                  <a:pt x="93" y="18"/>
                  <a:pt x="93" y="18"/>
                </a:cubicBezTo>
                <a:cubicBezTo>
                  <a:pt x="95" y="20"/>
                  <a:pt x="98" y="22"/>
                  <a:pt x="102" y="22"/>
                </a:cubicBezTo>
                <a:cubicBezTo>
                  <a:pt x="108" y="22"/>
                  <a:pt x="113" y="17"/>
                  <a:pt x="113" y="11"/>
                </a:cubicBezTo>
                <a:cubicBezTo>
                  <a:pt x="113" y="5"/>
                  <a:pt x="108" y="0"/>
                  <a:pt x="102" y="0"/>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500" kern="0" dirty="0">
              <a:solidFill>
                <a:srgbClr val="EEECE1"/>
              </a:solidFill>
              <a:latin typeface="Gene Sans Light"/>
              <a:cs typeface="Arial"/>
              <a:sym typeface="Arial"/>
            </a:endParaRPr>
          </a:p>
        </p:txBody>
      </p:sp>
      <p:cxnSp>
        <p:nvCxnSpPr>
          <p:cNvPr id="62" name="Straight Arrow Connector 61"/>
          <p:cNvCxnSpPr/>
          <p:nvPr/>
        </p:nvCxnSpPr>
        <p:spPr>
          <a:xfrm flipV="1">
            <a:off x="5204581" y="3794881"/>
            <a:ext cx="356718" cy="1"/>
          </a:xfrm>
          <a:prstGeom prst="straightConnector1">
            <a:avLst/>
          </a:prstGeom>
          <a:ln w="28575">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grpSp>
        <p:nvGrpSpPr>
          <p:cNvPr id="67" name="Group 56"/>
          <p:cNvGrpSpPr>
            <a:grpSpLocks noChangeAspect="1"/>
          </p:cNvGrpSpPr>
          <p:nvPr/>
        </p:nvGrpSpPr>
        <p:grpSpPr>
          <a:xfrm rot="5400000">
            <a:off x="4338772" y="3606451"/>
            <a:ext cx="202147" cy="579002"/>
            <a:chOff x="6548353" y="2832620"/>
            <a:chExt cx="384240" cy="1100574"/>
          </a:xfrm>
          <a:effectLst/>
        </p:grpSpPr>
        <p:sp>
          <p:nvSpPr>
            <p:cNvPr id="68" name="Freeform 15"/>
            <p:cNvSpPr>
              <a:spLocks/>
            </p:cNvSpPr>
            <p:nvPr/>
          </p:nvSpPr>
          <p:spPr bwMode="auto">
            <a:xfrm>
              <a:off x="6548353" y="2832620"/>
              <a:ext cx="384240" cy="458344"/>
            </a:xfrm>
            <a:custGeom>
              <a:avLst/>
              <a:gdLst>
                <a:gd name="T0" fmla="*/ 62 w 140"/>
                <a:gd name="T1" fmla="*/ 89 h 167"/>
                <a:gd name="T2" fmla="*/ 22 w 140"/>
                <a:gd name="T3" fmla="*/ 89 h 167"/>
                <a:gd name="T4" fmla="*/ 22 w 140"/>
                <a:gd name="T5" fmla="*/ 151 h 167"/>
                <a:gd name="T6" fmla="*/ 0 w 140"/>
                <a:gd name="T7" fmla="*/ 151 h 167"/>
                <a:gd name="T8" fmla="*/ 0 w 140"/>
                <a:gd name="T9" fmla="*/ 167 h 167"/>
                <a:gd name="T10" fmla="*/ 22 w 140"/>
                <a:gd name="T11" fmla="*/ 167 h 167"/>
                <a:gd name="T12" fmla="*/ 41 w 140"/>
                <a:gd name="T13" fmla="*/ 167 h 167"/>
                <a:gd name="T14" fmla="*/ 41 w 140"/>
                <a:gd name="T15" fmla="*/ 108 h 167"/>
                <a:gd name="T16" fmla="*/ 102 w 140"/>
                <a:gd name="T17" fmla="*/ 108 h 167"/>
                <a:gd name="T18" fmla="*/ 102 w 140"/>
                <a:gd name="T19" fmla="*/ 167 h 167"/>
                <a:gd name="T20" fmla="*/ 121 w 140"/>
                <a:gd name="T21" fmla="*/ 167 h 167"/>
                <a:gd name="T22" fmla="*/ 140 w 140"/>
                <a:gd name="T23" fmla="*/ 167 h 167"/>
                <a:gd name="T24" fmla="*/ 140 w 140"/>
                <a:gd name="T25" fmla="*/ 151 h 167"/>
                <a:gd name="T26" fmla="*/ 121 w 140"/>
                <a:gd name="T27" fmla="*/ 151 h 167"/>
                <a:gd name="T28" fmla="*/ 121 w 140"/>
                <a:gd name="T29" fmla="*/ 89 h 167"/>
                <a:gd name="T30" fmla="*/ 81 w 140"/>
                <a:gd name="T31" fmla="*/ 89 h 167"/>
                <a:gd name="T32" fmla="*/ 81 w 140"/>
                <a:gd name="T33" fmla="*/ 0 h 167"/>
                <a:gd name="T34" fmla="*/ 62 w 140"/>
                <a:gd name="T35" fmla="*/ 0 h 167"/>
                <a:gd name="T36" fmla="*/ 62 w 140"/>
                <a:gd name="T37" fmla="*/ 89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0" h="167">
                  <a:moveTo>
                    <a:pt x="62" y="89"/>
                  </a:moveTo>
                  <a:lnTo>
                    <a:pt x="22" y="89"/>
                  </a:lnTo>
                  <a:lnTo>
                    <a:pt x="22" y="151"/>
                  </a:lnTo>
                  <a:lnTo>
                    <a:pt x="0" y="151"/>
                  </a:lnTo>
                  <a:lnTo>
                    <a:pt x="0" y="167"/>
                  </a:lnTo>
                  <a:lnTo>
                    <a:pt x="22" y="167"/>
                  </a:lnTo>
                  <a:lnTo>
                    <a:pt x="41" y="167"/>
                  </a:lnTo>
                  <a:lnTo>
                    <a:pt x="41" y="108"/>
                  </a:lnTo>
                  <a:lnTo>
                    <a:pt x="102" y="108"/>
                  </a:lnTo>
                  <a:lnTo>
                    <a:pt x="102" y="167"/>
                  </a:lnTo>
                  <a:lnTo>
                    <a:pt x="121" y="167"/>
                  </a:lnTo>
                  <a:lnTo>
                    <a:pt x="140" y="167"/>
                  </a:lnTo>
                  <a:lnTo>
                    <a:pt x="140" y="151"/>
                  </a:lnTo>
                  <a:lnTo>
                    <a:pt x="121" y="151"/>
                  </a:lnTo>
                  <a:lnTo>
                    <a:pt x="121" y="89"/>
                  </a:lnTo>
                  <a:lnTo>
                    <a:pt x="81" y="89"/>
                  </a:lnTo>
                  <a:lnTo>
                    <a:pt x="81" y="0"/>
                  </a:lnTo>
                  <a:lnTo>
                    <a:pt x="62" y="0"/>
                  </a:lnTo>
                  <a:lnTo>
                    <a:pt x="62" y="89"/>
                  </a:lnTo>
                  <a:close/>
                </a:path>
              </a:pathLst>
            </a:custGeom>
            <a:solidFill>
              <a:schemeClr val="bg2">
                <a:lumMod val="25000"/>
              </a:schemeClr>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500" kern="0" dirty="0">
                <a:solidFill>
                  <a:srgbClr val="EEECE1"/>
                </a:solidFill>
                <a:latin typeface="Gene Sans Light"/>
                <a:cs typeface="Arial"/>
                <a:sym typeface="Arial"/>
              </a:endParaRPr>
            </a:p>
          </p:txBody>
        </p:sp>
        <p:sp>
          <p:nvSpPr>
            <p:cNvPr id="69" name="Freeform 16"/>
            <p:cNvSpPr>
              <a:spLocks/>
            </p:cNvSpPr>
            <p:nvPr/>
          </p:nvSpPr>
          <p:spPr bwMode="auto">
            <a:xfrm>
              <a:off x="6685581" y="3181181"/>
              <a:ext cx="118017" cy="351305"/>
            </a:xfrm>
            <a:custGeom>
              <a:avLst/>
              <a:gdLst>
                <a:gd name="T0" fmla="*/ 0 w 43"/>
                <a:gd name="T1" fmla="*/ 104 h 128"/>
                <a:gd name="T2" fmla="*/ 0 w 43"/>
                <a:gd name="T3" fmla="*/ 0 h 128"/>
                <a:gd name="T4" fmla="*/ 43 w 43"/>
                <a:gd name="T5" fmla="*/ 0 h 128"/>
                <a:gd name="T6" fmla="*/ 43 w 43"/>
                <a:gd name="T7" fmla="*/ 104 h 128"/>
                <a:gd name="T8" fmla="*/ 21 w 43"/>
                <a:gd name="T9" fmla="*/ 128 h 128"/>
                <a:gd name="T10" fmla="*/ 0 w 43"/>
                <a:gd name="T11" fmla="*/ 104 h 128"/>
              </a:gdLst>
              <a:ahLst/>
              <a:cxnLst>
                <a:cxn ang="0">
                  <a:pos x="T0" y="T1"/>
                </a:cxn>
                <a:cxn ang="0">
                  <a:pos x="T2" y="T3"/>
                </a:cxn>
                <a:cxn ang="0">
                  <a:pos x="T4" y="T5"/>
                </a:cxn>
                <a:cxn ang="0">
                  <a:pos x="T6" y="T7"/>
                </a:cxn>
                <a:cxn ang="0">
                  <a:pos x="T8" y="T9"/>
                </a:cxn>
                <a:cxn ang="0">
                  <a:pos x="T10" y="T11"/>
                </a:cxn>
              </a:cxnLst>
              <a:rect l="0" t="0" r="r" b="b"/>
              <a:pathLst>
                <a:path w="43" h="128">
                  <a:moveTo>
                    <a:pt x="0" y="104"/>
                  </a:moveTo>
                  <a:lnTo>
                    <a:pt x="0" y="0"/>
                  </a:lnTo>
                  <a:lnTo>
                    <a:pt x="43" y="0"/>
                  </a:lnTo>
                  <a:lnTo>
                    <a:pt x="43" y="104"/>
                  </a:lnTo>
                  <a:lnTo>
                    <a:pt x="21" y="128"/>
                  </a:lnTo>
                  <a:lnTo>
                    <a:pt x="0" y="104"/>
                  </a:lnTo>
                  <a:close/>
                </a:path>
              </a:pathLst>
            </a:custGeom>
            <a:solidFill>
              <a:srgbClr val="911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500" kern="0" dirty="0">
                <a:solidFill>
                  <a:srgbClr val="EEECE1"/>
                </a:solidFill>
                <a:latin typeface="Gene Sans Light"/>
                <a:cs typeface="Arial"/>
                <a:sym typeface="Arial"/>
              </a:endParaRPr>
            </a:p>
          </p:txBody>
        </p:sp>
        <p:sp>
          <p:nvSpPr>
            <p:cNvPr id="70" name="Freeform 17"/>
            <p:cNvSpPr>
              <a:spLocks/>
            </p:cNvSpPr>
            <p:nvPr/>
          </p:nvSpPr>
          <p:spPr bwMode="auto">
            <a:xfrm>
              <a:off x="6652646" y="3513274"/>
              <a:ext cx="181142" cy="419920"/>
            </a:xfrm>
            <a:custGeom>
              <a:avLst/>
              <a:gdLst>
                <a:gd name="T0" fmla="*/ 43 w 66"/>
                <a:gd name="T1" fmla="*/ 153 h 153"/>
                <a:gd name="T2" fmla="*/ 43 w 66"/>
                <a:gd name="T3" fmla="*/ 82 h 153"/>
                <a:gd name="T4" fmla="*/ 66 w 66"/>
                <a:gd name="T5" fmla="*/ 82 h 153"/>
                <a:gd name="T6" fmla="*/ 66 w 66"/>
                <a:gd name="T7" fmla="*/ 0 h 153"/>
                <a:gd name="T8" fmla="*/ 55 w 66"/>
                <a:gd name="T9" fmla="*/ 0 h 153"/>
                <a:gd name="T10" fmla="*/ 33 w 66"/>
                <a:gd name="T11" fmla="*/ 26 h 153"/>
                <a:gd name="T12" fmla="*/ 12 w 66"/>
                <a:gd name="T13" fmla="*/ 0 h 153"/>
                <a:gd name="T14" fmla="*/ 0 w 66"/>
                <a:gd name="T15" fmla="*/ 0 h 153"/>
                <a:gd name="T16" fmla="*/ 0 w 66"/>
                <a:gd name="T17" fmla="*/ 82 h 153"/>
                <a:gd name="T18" fmla="*/ 24 w 66"/>
                <a:gd name="T19" fmla="*/ 82 h 153"/>
                <a:gd name="T20" fmla="*/ 24 w 66"/>
                <a:gd name="T21" fmla="*/ 153 h 153"/>
                <a:gd name="T22" fmla="*/ 43 w 66"/>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153">
                  <a:moveTo>
                    <a:pt x="43" y="153"/>
                  </a:moveTo>
                  <a:lnTo>
                    <a:pt x="43" y="82"/>
                  </a:lnTo>
                  <a:lnTo>
                    <a:pt x="66" y="82"/>
                  </a:lnTo>
                  <a:lnTo>
                    <a:pt x="66" y="0"/>
                  </a:lnTo>
                  <a:lnTo>
                    <a:pt x="55" y="0"/>
                  </a:lnTo>
                  <a:lnTo>
                    <a:pt x="33" y="26"/>
                  </a:lnTo>
                  <a:lnTo>
                    <a:pt x="12" y="0"/>
                  </a:lnTo>
                  <a:lnTo>
                    <a:pt x="0" y="0"/>
                  </a:lnTo>
                  <a:lnTo>
                    <a:pt x="0" y="82"/>
                  </a:lnTo>
                  <a:lnTo>
                    <a:pt x="24" y="82"/>
                  </a:lnTo>
                  <a:lnTo>
                    <a:pt x="24" y="153"/>
                  </a:lnTo>
                  <a:lnTo>
                    <a:pt x="43" y="153"/>
                  </a:lnTo>
                  <a:close/>
                </a:path>
              </a:pathLst>
            </a:custGeom>
            <a:solidFill>
              <a:srgbClr val="007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500" kern="0" dirty="0">
                <a:solidFill>
                  <a:srgbClr val="EEECE1"/>
                </a:solidFill>
                <a:latin typeface="Gene Sans Light"/>
                <a:cs typeface="Arial"/>
                <a:sym typeface="Arial"/>
              </a:endParaRPr>
            </a:p>
          </p:txBody>
        </p:sp>
      </p:grpSp>
      <p:pic>
        <p:nvPicPr>
          <p:cNvPr id="71"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86696" y="3560449"/>
            <a:ext cx="472340" cy="472340"/>
          </a:xfrm>
          <a:prstGeom prst="rect">
            <a:avLst/>
          </a:prstGeom>
          <a:effectLst/>
        </p:spPr>
      </p:pic>
      <p:sp>
        <p:nvSpPr>
          <p:cNvPr id="72" name="Curved Down Arrow 71"/>
          <p:cNvSpPr/>
          <p:nvPr/>
        </p:nvSpPr>
        <p:spPr>
          <a:xfrm>
            <a:off x="4601135" y="3573712"/>
            <a:ext cx="256423" cy="151536"/>
          </a:xfrm>
          <a:prstGeom prst="curvedDownArrow">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lIns="68579" tIns="34289" rIns="68579" bIns="34289" rtlCol="0" anchor="ctr"/>
          <a:lstStyle/>
          <a:p>
            <a:pPr algn="ctr" defTabSz="914378">
              <a:buClr>
                <a:srgbClr val="000000"/>
              </a:buClr>
              <a:defRPr/>
            </a:pPr>
            <a:endParaRPr lang="en-US" sz="1050" kern="0" dirty="0">
              <a:solidFill>
                <a:srgbClr val="EEECE1"/>
              </a:solidFill>
              <a:latin typeface="Gene Sans Light"/>
              <a:sym typeface="Arial"/>
            </a:endParaRPr>
          </a:p>
        </p:txBody>
      </p:sp>
      <p:sp>
        <p:nvSpPr>
          <p:cNvPr id="73" name="TextBox 72"/>
          <p:cNvSpPr txBox="1"/>
          <p:nvPr/>
        </p:nvSpPr>
        <p:spPr>
          <a:xfrm>
            <a:off x="4764660" y="3480448"/>
            <a:ext cx="190392" cy="230830"/>
          </a:xfrm>
          <a:prstGeom prst="rect">
            <a:avLst/>
          </a:prstGeom>
          <a:noFill/>
        </p:spPr>
        <p:txBody>
          <a:bodyPr wrap="square" lIns="68579" tIns="34289" rIns="68579" bIns="34289" rtlCol="0">
            <a:spAutoFit/>
          </a:bodyPr>
          <a:lstStyle/>
          <a:p>
            <a:pPr defTabSz="914378">
              <a:buClr>
                <a:srgbClr val="000000"/>
              </a:buClr>
              <a:defRPr/>
            </a:pPr>
            <a:r>
              <a:rPr lang="en-US" sz="1050" kern="0" dirty="0">
                <a:solidFill>
                  <a:srgbClr val="EEECE1"/>
                </a:solidFill>
                <a:latin typeface="Gene Sans Light"/>
                <a:cs typeface="Arial"/>
                <a:sym typeface="Arial"/>
              </a:rPr>
              <a:t>-</a:t>
            </a:r>
          </a:p>
        </p:txBody>
      </p:sp>
      <p:sp>
        <p:nvSpPr>
          <p:cNvPr id="75" name="Rectangle 74"/>
          <p:cNvSpPr/>
          <p:nvPr/>
        </p:nvSpPr>
        <p:spPr>
          <a:xfrm>
            <a:off x="3983766" y="3345276"/>
            <a:ext cx="1154284" cy="207747"/>
          </a:xfrm>
          <a:prstGeom prst="rect">
            <a:avLst/>
          </a:prstGeom>
        </p:spPr>
        <p:txBody>
          <a:bodyPr wrap="square" lIns="68579" tIns="34289" rIns="68579" bIns="34289">
            <a:spAutoFit/>
          </a:bodyPr>
          <a:lstStyle/>
          <a:p>
            <a:pPr algn="ctr" defTabSz="685766">
              <a:buClr>
                <a:srgbClr val="000000"/>
              </a:buClr>
              <a:defRPr/>
            </a:pPr>
            <a:r>
              <a:rPr lang="en-US" sz="900" kern="0" dirty="0">
                <a:solidFill>
                  <a:srgbClr val="545859"/>
                </a:solidFill>
                <a:latin typeface="Gene Sans Light"/>
                <a:cs typeface="Arial" pitchFamily="34" charset="0"/>
                <a:sym typeface="Arial"/>
              </a:rPr>
              <a:t>B7.1,2/CTLA4</a:t>
            </a:r>
          </a:p>
        </p:txBody>
      </p:sp>
      <p:cxnSp>
        <p:nvCxnSpPr>
          <p:cNvPr id="76" name="Straight Connector 75"/>
          <p:cNvCxnSpPr>
            <a:stCxn id="75" idx="2"/>
          </p:cNvCxnSpPr>
          <p:nvPr/>
        </p:nvCxnSpPr>
        <p:spPr>
          <a:xfrm flipH="1">
            <a:off x="4472126" y="3553023"/>
            <a:ext cx="88782" cy="132895"/>
          </a:xfrm>
          <a:prstGeom prst="line">
            <a:avLst/>
          </a:prstGeom>
          <a:ln w="19050" cap="sq" cmpd="sng">
            <a:solidFill>
              <a:srgbClr val="000000"/>
            </a:solidFill>
            <a:miter lim="800000"/>
          </a:ln>
        </p:spPr>
        <p:style>
          <a:lnRef idx="1">
            <a:schemeClr val="accent1"/>
          </a:lnRef>
          <a:fillRef idx="0">
            <a:schemeClr val="accent1"/>
          </a:fillRef>
          <a:effectRef idx="0">
            <a:schemeClr val="accent1"/>
          </a:effectRef>
          <a:fontRef idx="minor">
            <a:schemeClr val="tx1"/>
          </a:fontRef>
        </p:style>
      </p:cxnSp>
      <p:pic>
        <p:nvPicPr>
          <p:cNvPr id="80" name="Picture 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74029" y="3559782"/>
            <a:ext cx="472340" cy="472340"/>
          </a:xfrm>
          <a:prstGeom prst="rect">
            <a:avLst/>
          </a:prstGeom>
          <a:effectLst/>
        </p:spPr>
      </p:pic>
      <p:grpSp>
        <p:nvGrpSpPr>
          <p:cNvPr id="2" name="Group 61"/>
          <p:cNvGrpSpPr>
            <a:grpSpLocks noChangeAspect="1"/>
          </p:cNvGrpSpPr>
          <p:nvPr/>
        </p:nvGrpSpPr>
        <p:grpSpPr>
          <a:xfrm rot="2364408">
            <a:off x="4110449" y="1652826"/>
            <a:ext cx="189856" cy="543799"/>
            <a:chOff x="6548353" y="2832620"/>
            <a:chExt cx="384240" cy="1100574"/>
          </a:xfrm>
          <a:effectLst>
            <a:outerShdw blurRad="50800" dist="38100" dir="2700000" algn="tl" rotWithShape="0">
              <a:prstClr val="black">
                <a:alpha val="40000"/>
              </a:prstClr>
            </a:outerShdw>
          </a:effectLst>
        </p:grpSpPr>
        <p:sp>
          <p:nvSpPr>
            <p:cNvPr id="63" name="Freeform 15"/>
            <p:cNvSpPr>
              <a:spLocks/>
            </p:cNvSpPr>
            <p:nvPr/>
          </p:nvSpPr>
          <p:spPr bwMode="auto">
            <a:xfrm>
              <a:off x="6548353" y="2832620"/>
              <a:ext cx="384240" cy="458344"/>
            </a:xfrm>
            <a:custGeom>
              <a:avLst/>
              <a:gdLst>
                <a:gd name="T0" fmla="*/ 62 w 140"/>
                <a:gd name="T1" fmla="*/ 89 h 167"/>
                <a:gd name="T2" fmla="*/ 22 w 140"/>
                <a:gd name="T3" fmla="*/ 89 h 167"/>
                <a:gd name="T4" fmla="*/ 22 w 140"/>
                <a:gd name="T5" fmla="*/ 151 h 167"/>
                <a:gd name="T6" fmla="*/ 0 w 140"/>
                <a:gd name="T7" fmla="*/ 151 h 167"/>
                <a:gd name="T8" fmla="*/ 0 w 140"/>
                <a:gd name="T9" fmla="*/ 167 h 167"/>
                <a:gd name="T10" fmla="*/ 22 w 140"/>
                <a:gd name="T11" fmla="*/ 167 h 167"/>
                <a:gd name="T12" fmla="*/ 41 w 140"/>
                <a:gd name="T13" fmla="*/ 167 h 167"/>
                <a:gd name="T14" fmla="*/ 41 w 140"/>
                <a:gd name="T15" fmla="*/ 108 h 167"/>
                <a:gd name="T16" fmla="*/ 102 w 140"/>
                <a:gd name="T17" fmla="*/ 108 h 167"/>
                <a:gd name="T18" fmla="*/ 102 w 140"/>
                <a:gd name="T19" fmla="*/ 167 h 167"/>
                <a:gd name="T20" fmla="*/ 121 w 140"/>
                <a:gd name="T21" fmla="*/ 167 h 167"/>
                <a:gd name="T22" fmla="*/ 140 w 140"/>
                <a:gd name="T23" fmla="*/ 167 h 167"/>
                <a:gd name="T24" fmla="*/ 140 w 140"/>
                <a:gd name="T25" fmla="*/ 151 h 167"/>
                <a:gd name="T26" fmla="*/ 121 w 140"/>
                <a:gd name="T27" fmla="*/ 151 h 167"/>
                <a:gd name="T28" fmla="*/ 121 w 140"/>
                <a:gd name="T29" fmla="*/ 89 h 167"/>
                <a:gd name="T30" fmla="*/ 81 w 140"/>
                <a:gd name="T31" fmla="*/ 89 h 167"/>
                <a:gd name="T32" fmla="*/ 81 w 140"/>
                <a:gd name="T33" fmla="*/ 0 h 167"/>
                <a:gd name="T34" fmla="*/ 62 w 140"/>
                <a:gd name="T35" fmla="*/ 0 h 167"/>
                <a:gd name="T36" fmla="*/ 62 w 140"/>
                <a:gd name="T37" fmla="*/ 89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0" h="167">
                  <a:moveTo>
                    <a:pt x="62" y="89"/>
                  </a:moveTo>
                  <a:lnTo>
                    <a:pt x="22" y="89"/>
                  </a:lnTo>
                  <a:lnTo>
                    <a:pt x="22" y="151"/>
                  </a:lnTo>
                  <a:lnTo>
                    <a:pt x="0" y="151"/>
                  </a:lnTo>
                  <a:lnTo>
                    <a:pt x="0" y="167"/>
                  </a:lnTo>
                  <a:lnTo>
                    <a:pt x="22" y="167"/>
                  </a:lnTo>
                  <a:lnTo>
                    <a:pt x="41" y="167"/>
                  </a:lnTo>
                  <a:lnTo>
                    <a:pt x="41" y="108"/>
                  </a:lnTo>
                  <a:lnTo>
                    <a:pt x="102" y="108"/>
                  </a:lnTo>
                  <a:lnTo>
                    <a:pt x="102" y="167"/>
                  </a:lnTo>
                  <a:lnTo>
                    <a:pt x="121" y="167"/>
                  </a:lnTo>
                  <a:lnTo>
                    <a:pt x="140" y="167"/>
                  </a:lnTo>
                  <a:lnTo>
                    <a:pt x="140" y="151"/>
                  </a:lnTo>
                  <a:lnTo>
                    <a:pt x="121" y="151"/>
                  </a:lnTo>
                  <a:lnTo>
                    <a:pt x="121" y="89"/>
                  </a:lnTo>
                  <a:lnTo>
                    <a:pt x="81" y="89"/>
                  </a:lnTo>
                  <a:lnTo>
                    <a:pt x="81" y="0"/>
                  </a:lnTo>
                  <a:lnTo>
                    <a:pt x="62" y="0"/>
                  </a:lnTo>
                  <a:lnTo>
                    <a:pt x="62" y="89"/>
                  </a:lnTo>
                  <a:close/>
                </a:path>
              </a:pathLst>
            </a:custGeom>
            <a:solidFill>
              <a:schemeClr val="bg2">
                <a:lumMod val="25000"/>
              </a:schemeClr>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500" kern="0" dirty="0">
                <a:solidFill>
                  <a:srgbClr val="EEECE1"/>
                </a:solidFill>
                <a:latin typeface="Gene Sans Light"/>
                <a:cs typeface="Arial"/>
                <a:sym typeface="Arial"/>
              </a:endParaRPr>
            </a:p>
          </p:txBody>
        </p:sp>
        <p:sp>
          <p:nvSpPr>
            <p:cNvPr id="64" name="Freeform 16"/>
            <p:cNvSpPr>
              <a:spLocks/>
            </p:cNvSpPr>
            <p:nvPr/>
          </p:nvSpPr>
          <p:spPr bwMode="auto">
            <a:xfrm>
              <a:off x="6685581" y="3181181"/>
              <a:ext cx="118017" cy="351305"/>
            </a:xfrm>
            <a:custGeom>
              <a:avLst/>
              <a:gdLst>
                <a:gd name="T0" fmla="*/ 0 w 43"/>
                <a:gd name="T1" fmla="*/ 104 h 128"/>
                <a:gd name="T2" fmla="*/ 0 w 43"/>
                <a:gd name="T3" fmla="*/ 0 h 128"/>
                <a:gd name="T4" fmla="*/ 43 w 43"/>
                <a:gd name="T5" fmla="*/ 0 h 128"/>
                <a:gd name="T6" fmla="*/ 43 w 43"/>
                <a:gd name="T7" fmla="*/ 104 h 128"/>
                <a:gd name="T8" fmla="*/ 21 w 43"/>
                <a:gd name="T9" fmla="*/ 128 h 128"/>
                <a:gd name="T10" fmla="*/ 0 w 43"/>
                <a:gd name="T11" fmla="*/ 104 h 128"/>
              </a:gdLst>
              <a:ahLst/>
              <a:cxnLst>
                <a:cxn ang="0">
                  <a:pos x="T0" y="T1"/>
                </a:cxn>
                <a:cxn ang="0">
                  <a:pos x="T2" y="T3"/>
                </a:cxn>
                <a:cxn ang="0">
                  <a:pos x="T4" y="T5"/>
                </a:cxn>
                <a:cxn ang="0">
                  <a:pos x="T6" y="T7"/>
                </a:cxn>
                <a:cxn ang="0">
                  <a:pos x="T8" y="T9"/>
                </a:cxn>
                <a:cxn ang="0">
                  <a:pos x="T10" y="T11"/>
                </a:cxn>
              </a:cxnLst>
              <a:rect l="0" t="0" r="r" b="b"/>
              <a:pathLst>
                <a:path w="43" h="128">
                  <a:moveTo>
                    <a:pt x="0" y="104"/>
                  </a:moveTo>
                  <a:lnTo>
                    <a:pt x="0" y="0"/>
                  </a:lnTo>
                  <a:lnTo>
                    <a:pt x="43" y="0"/>
                  </a:lnTo>
                  <a:lnTo>
                    <a:pt x="43" y="104"/>
                  </a:lnTo>
                  <a:lnTo>
                    <a:pt x="21" y="128"/>
                  </a:lnTo>
                  <a:lnTo>
                    <a:pt x="0" y="104"/>
                  </a:lnTo>
                  <a:close/>
                </a:path>
              </a:pathLst>
            </a:custGeom>
            <a:solidFill>
              <a:srgbClr val="911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500" kern="0" dirty="0">
                <a:solidFill>
                  <a:srgbClr val="EEECE1"/>
                </a:solidFill>
                <a:latin typeface="Gene Sans Light"/>
                <a:cs typeface="Arial"/>
                <a:sym typeface="Arial"/>
              </a:endParaRPr>
            </a:p>
          </p:txBody>
        </p:sp>
        <p:sp>
          <p:nvSpPr>
            <p:cNvPr id="65" name="Freeform 17"/>
            <p:cNvSpPr>
              <a:spLocks/>
            </p:cNvSpPr>
            <p:nvPr/>
          </p:nvSpPr>
          <p:spPr bwMode="auto">
            <a:xfrm>
              <a:off x="6652646" y="3513274"/>
              <a:ext cx="181142" cy="419920"/>
            </a:xfrm>
            <a:custGeom>
              <a:avLst/>
              <a:gdLst>
                <a:gd name="T0" fmla="*/ 43 w 66"/>
                <a:gd name="T1" fmla="*/ 153 h 153"/>
                <a:gd name="T2" fmla="*/ 43 w 66"/>
                <a:gd name="T3" fmla="*/ 82 h 153"/>
                <a:gd name="T4" fmla="*/ 66 w 66"/>
                <a:gd name="T5" fmla="*/ 82 h 153"/>
                <a:gd name="T6" fmla="*/ 66 w 66"/>
                <a:gd name="T7" fmla="*/ 0 h 153"/>
                <a:gd name="T8" fmla="*/ 55 w 66"/>
                <a:gd name="T9" fmla="*/ 0 h 153"/>
                <a:gd name="T10" fmla="*/ 33 w 66"/>
                <a:gd name="T11" fmla="*/ 26 h 153"/>
                <a:gd name="T12" fmla="*/ 12 w 66"/>
                <a:gd name="T13" fmla="*/ 0 h 153"/>
                <a:gd name="T14" fmla="*/ 0 w 66"/>
                <a:gd name="T15" fmla="*/ 0 h 153"/>
                <a:gd name="T16" fmla="*/ 0 w 66"/>
                <a:gd name="T17" fmla="*/ 82 h 153"/>
                <a:gd name="T18" fmla="*/ 24 w 66"/>
                <a:gd name="T19" fmla="*/ 82 h 153"/>
                <a:gd name="T20" fmla="*/ 24 w 66"/>
                <a:gd name="T21" fmla="*/ 153 h 153"/>
                <a:gd name="T22" fmla="*/ 43 w 66"/>
                <a:gd name="T23"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153">
                  <a:moveTo>
                    <a:pt x="43" y="153"/>
                  </a:moveTo>
                  <a:lnTo>
                    <a:pt x="43" y="82"/>
                  </a:lnTo>
                  <a:lnTo>
                    <a:pt x="66" y="82"/>
                  </a:lnTo>
                  <a:lnTo>
                    <a:pt x="66" y="0"/>
                  </a:lnTo>
                  <a:lnTo>
                    <a:pt x="55" y="0"/>
                  </a:lnTo>
                  <a:lnTo>
                    <a:pt x="33" y="26"/>
                  </a:lnTo>
                  <a:lnTo>
                    <a:pt x="12" y="0"/>
                  </a:lnTo>
                  <a:lnTo>
                    <a:pt x="0" y="0"/>
                  </a:lnTo>
                  <a:lnTo>
                    <a:pt x="0" y="82"/>
                  </a:lnTo>
                  <a:lnTo>
                    <a:pt x="24" y="82"/>
                  </a:lnTo>
                  <a:lnTo>
                    <a:pt x="24" y="153"/>
                  </a:lnTo>
                  <a:lnTo>
                    <a:pt x="43" y="153"/>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500" kern="0" dirty="0">
                <a:solidFill>
                  <a:srgbClr val="EEECE1"/>
                </a:solidFill>
                <a:latin typeface="Gene Sans Light"/>
                <a:cs typeface="Arial"/>
                <a:sym typeface="Arial"/>
              </a:endParaRPr>
            </a:p>
          </p:txBody>
        </p:sp>
      </p:grpSp>
      <p:sp>
        <p:nvSpPr>
          <p:cNvPr id="153" name="Freeform 28"/>
          <p:cNvSpPr>
            <a:spLocks/>
          </p:cNvSpPr>
          <p:nvPr/>
        </p:nvSpPr>
        <p:spPr bwMode="auto">
          <a:xfrm>
            <a:off x="4365050" y="2386589"/>
            <a:ext cx="304933" cy="155199"/>
          </a:xfrm>
          <a:custGeom>
            <a:avLst/>
            <a:gdLst>
              <a:gd name="T0" fmla="*/ 118 w 118"/>
              <a:gd name="T1" fmla="*/ 23 h 60"/>
              <a:gd name="T2" fmla="*/ 36 w 118"/>
              <a:gd name="T3" fmla="*/ 23 h 60"/>
              <a:gd name="T4" fmla="*/ 7 w 118"/>
              <a:gd name="T5" fmla="*/ 0 h 60"/>
              <a:gd name="T6" fmla="*/ 0 w 118"/>
              <a:gd name="T7" fmla="*/ 7 h 60"/>
              <a:gd name="T8" fmla="*/ 7 w 118"/>
              <a:gd name="T9" fmla="*/ 14 h 60"/>
              <a:gd name="T10" fmla="*/ 23 w 118"/>
              <a:gd name="T11" fmla="*/ 30 h 60"/>
              <a:gd name="T12" fmla="*/ 7 w 118"/>
              <a:gd name="T13" fmla="*/ 46 h 60"/>
              <a:gd name="T14" fmla="*/ 0 w 118"/>
              <a:gd name="T15" fmla="*/ 53 h 60"/>
              <a:gd name="T16" fmla="*/ 7 w 118"/>
              <a:gd name="T17" fmla="*/ 60 h 60"/>
              <a:gd name="T18" fmla="*/ 36 w 118"/>
              <a:gd name="T19" fmla="*/ 37 h 60"/>
              <a:gd name="T20" fmla="*/ 118 w 118"/>
              <a:gd name="T21" fmla="*/ 37 h 60"/>
              <a:gd name="T22" fmla="*/ 118 w 118"/>
              <a:gd name="T23" fmla="*/ 2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0">
                <a:moveTo>
                  <a:pt x="118" y="23"/>
                </a:moveTo>
                <a:cubicBezTo>
                  <a:pt x="36" y="23"/>
                  <a:pt x="36" y="23"/>
                  <a:pt x="36" y="23"/>
                </a:cubicBezTo>
                <a:cubicBezTo>
                  <a:pt x="33" y="10"/>
                  <a:pt x="21" y="0"/>
                  <a:pt x="7" y="0"/>
                </a:cubicBezTo>
                <a:cubicBezTo>
                  <a:pt x="3" y="0"/>
                  <a:pt x="0" y="3"/>
                  <a:pt x="0" y="7"/>
                </a:cubicBezTo>
                <a:cubicBezTo>
                  <a:pt x="0" y="11"/>
                  <a:pt x="3" y="14"/>
                  <a:pt x="7" y="14"/>
                </a:cubicBezTo>
                <a:cubicBezTo>
                  <a:pt x="15" y="14"/>
                  <a:pt x="23" y="21"/>
                  <a:pt x="23" y="30"/>
                </a:cubicBezTo>
                <a:cubicBezTo>
                  <a:pt x="23" y="39"/>
                  <a:pt x="15" y="46"/>
                  <a:pt x="7" y="46"/>
                </a:cubicBezTo>
                <a:cubicBezTo>
                  <a:pt x="3" y="46"/>
                  <a:pt x="0" y="49"/>
                  <a:pt x="0" y="53"/>
                </a:cubicBezTo>
                <a:cubicBezTo>
                  <a:pt x="0" y="57"/>
                  <a:pt x="3" y="60"/>
                  <a:pt x="7" y="60"/>
                </a:cubicBezTo>
                <a:cubicBezTo>
                  <a:pt x="21" y="60"/>
                  <a:pt x="33" y="50"/>
                  <a:pt x="36" y="37"/>
                </a:cubicBezTo>
                <a:cubicBezTo>
                  <a:pt x="118" y="37"/>
                  <a:pt x="118" y="37"/>
                  <a:pt x="118" y="37"/>
                </a:cubicBezTo>
                <a:lnTo>
                  <a:pt x="118" y="23"/>
                </a:lnTo>
                <a:close/>
              </a:path>
            </a:pathLst>
          </a:custGeom>
          <a:solidFill>
            <a:srgbClr val="00B050"/>
          </a:solidFill>
          <a:ln>
            <a:noFill/>
          </a:ln>
        </p:spPr>
        <p:txBody>
          <a:bodyPr vert="horz" wrap="square" lIns="68579" tIns="34289" rIns="68579" bIns="34289" numCol="1" anchor="t" anchorCtr="0" compatLnSpc="1">
            <a:prstTxWarp prst="textNoShape">
              <a:avLst/>
            </a:prstTxWarp>
          </a:bodyPr>
          <a:lstStyle/>
          <a:p>
            <a:pPr defTabSz="685766">
              <a:buClr>
                <a:srgbClr val="000000"/>
              </a:buClr>
              <a:defRPr/>
            </a:pPr>
            <a:endParaRPr lang="en-US" sz="1500" kern="0" dirty="0">
              <a:solidFill>
                <a:srgbClr val="EEECE1"/>
              </a:solidFill>
              <a:latin typeface="Gene Sans Light"/>
              <a:cs typeface="Arial"/>
              <a:sym typeface="Arial"/>
            </a:endParaRPr>
          </a:p>
        </p:txBody>
      </p:sp>
      <p:cxnSp>
        <p:nvCxnSpPr>
          <p:cNvPr id="105" name="Curved Connector 79"/>
          <p:cNvCxnSpPr>
            <a:stCxn id="47" idx="3"/>
            <a:endCxn id="108" idx="2"/>
          </p:cNvCxnSpPr>
          <p:nvPr/>
        </p:nvCxnSpPr>
        <p:spPr>
          <a:xfrm>
            <a:off x="4723311" y="1594323"/>
            <a:ext cx="304213" cy="168878"/>
          </a:xfrm>
          <a:prstGeom prst="curvedConnector2">
            <a:avLst/>
          </a:prstGeom>
          <a:ln w="28575" cap="sq">
            <a:solidFill>
              <a:schemeClr val="accent4"/>
            </a:solidFill>
            <a:prstDash val="sysDot"/>
            <a:miter lim="800000"/>
            <a:tailEnd type="triangle" w="lg" len="lg"/>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5170938" y="2504904"/>
            <a:ext cx="356718" cy="1"/>
          </a:xfrm>
          <a:prstGeom prst="straightConnector1">
            <a:avLst/>
          </a:prstGeom>
          <a:ln w="28575">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pic>
        <p:nvPicPr>
          <p:cNvPr id="108" name="Picture 1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0968476">
            <a:off x="4833618" y="1762880"/>
            <a:ext cx="361382" cy="5395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52" name="Straight Connector 151"/>
          <p:cNvCxnSpPr>
            <a:stCxn id="149" idx="2"/>
          </p:cNvCxnSpPr>
          <p:nvPr/>
        </p:nvCxnSpPr>
        <p:spPr>
          <a:xfrm flipH="1">
            <a:off x="4517513" y="2259982"/>
            <a:ext cx="88782" cy="132897"/>
          </a:xfrm>
          <a:prstGeom prst="line">
            <a:avLst/>
          </a:prstGeom>
          <a:ln w="19050" cap="sq" cmpd="sng">
            <a:solidFill>
              <a:srgbClr val="000000"/>
            </a:solidFill>
            <a:miter lim="800000"/>
          </a:ln>
        </p:spPr>
        <p:style>
          <a:lnRef idx="1">
            <a:schemeClr val="accent1"/>
          </a:lnRef>
          <a:fillRef idx="0">
            <a:schemeClr val="accent1"/>
          </a:fillRef>
          <a:effectRef idx="0">
            <a:schemeClr val="accent1"/>
          </a:effectRef>
          <a:fontRef idx="minor">
            <a:schemeClr val="tx1"/>
          </a:fontRef>
        </p:style>
      </p:cxnSp>
      <p:pic>
        <p:nvPicPr>
          <p:cNvPr id="43" name="Picture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92684" y="2217582"/>
            <a:ext cx="472340" cy="472340"/>
          </a:xfrm>
          <a:prstGeom prst="rect">
            <a:avLst/>
          </a:prstGeom>
          <a:effectLst/>
        </p:spPr>
      </p:pic>
      <p:pic>
        <p:nvPicPr>
          <p:cNvPr id="44" name="Picture 4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15222" y="2553775"/>
            <a:ext cx="472340" cy="472340"/>
          </a:xfrm>
          <a:prstGeom prst="rect">
            <a:avLst/>
          </a:prstGeom>
          <a:effectLst/>
        </p:spPr>
      </p:pic>
      <p:pic>
        <p:nvPicPr>
          <p:cNvPr id="45" name="Picture 4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08494" y="2258107"/>
            <a:ext cx="472340" cy="472340"/>
          </a:xfrm>
          <a:prstGeom prst="rect">
            <a:avLst/>
          </a:prstGeom>
          <a:effectLst/>
        </p:spPr>
      </p:pic>
      <p:pic>
        <p:nvPicPr>
          <p:cNvPr id="47" name="Picture 4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50968" y="1358152"/>
            <a:ext cx="472340" cy="472340"/>
          </a:xfrm>
          <a:prstGeom prst="rect">
            <a:avLst/>
          </a:prstGeom>
          <a:effectLst/>
        </p:spPr>
      </p:pic>
      <p:pic>
        <p:nvPicPr>
          <p:cNvPr id="56" name="Picture 5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53052" y="2270473"/>
            <a:ext cx="472340" cy="472340"/>
          </a:xfrm>
          <a:prstGeom prst="rect">
            <a:avLst/>
          </a:prstGeom>
          <a:effectLst/>
        </p:spPr>
      </p:pic>
      <p:grpSp>
        <p:nvGrpSpPr>
          <p:cNvPr id="98" name="Group 97"/>
          <p:cNvGrpSpPr/>
          <p:nvPr/>
        </p:nvGrpSpPr>
        <p:grpSpPr>
          <a:xfrm>
            <a:off x="3658673" y="2309702"/>
            <a:ext cx="171699" cy="170989"/>
            <a:chOff x="3923928" y="4681538"/>
            <a:chExt cx="209379" cy="208515"/>
          </a:xfrm>
        </p:grpSpPr>
        <p:sp>
          <p:nvSpPr>
            <p:cNvPr id="96" name="Oval 95"/>
            <p:cNvSpPr>
              <a:spLocks noChangeAspect="1"/>
            </p:cNvSpPr>
            <p:nvPr/>
          </p:nvSpPr>
          <p:spPr>
            <a:xfrm>
              <a:off x="3923928" y="4681538"/>
              <a:ext cx="209379" cy="208515"/>
            </a:xfrm>
            <a:prstGeom prst="ellipse">
              <a:avLst/>
            </a:prstGeom>
            <a:solidFill>
              <a:schemeClr val="bg1"/>
            </a:solidFill>
            <a:ln w="12700">
              <a:solidFill>
                <a:srgbClr val="7D6E9F"/>
              </a:solidFill>
              <a:round/>
              <a:headEnd/>
              <a:tailEnd/>
            </a:ln>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500" kern="0" dirty="0">
                <a:solidFill>
                  <a:srgbClr val="EEECE1"/>
                </a:solidFill>
                <a:latin typeface="Gene Sans Light"/>
                <a:cs typeface="Arial"/>
                <a:sym typeface="Arial"/>
              </a:endParaRPr>
            </a:p>
          </p:txBody>
        </p:sp>
        <p:sp>
          <p:nvSpPr>
            <p:cNvPr id="94" name="Freeform 16"/>
            <p:cNvSpPr>
              <a:spLocks noChangeAspect="1"/>
            </p:cNvSpPr>
            <p:nvPr/>
          </p:nvSpPr>
          <p:spPr bwMode="auto">
            <a:xfrm rot="13271479">
              <a:off x="4009653" y="4702672"/>
              <a:ext cx="53949" cy="160590"/>
            </a:xfrm>
            <a:custGeom>
              <a:avLst/>
              <a:gdLst>
                <a:gd name="T0" fmla="*/ 0 w 43"/>
                <a:gd name="T1" fmla="*/ 104 h 128"/>
                <a:gd name="T2" fmla="*/ 0 w 43"/>
                <a:gd name="T3" fmla="*/ 0 h 128"/>
                <a:gd name="T4" fmla="*/ 43 w 43"/>
                <a:gd name="T5" fmla="*/ 0 h 128"/>
                <a:gd name="T6" fmla="*/ 43 w 43"/>
                <a:gd name="T7" fmla="*/ 104 h 128"/>
                <a:gd name="T8" fmla="*/ 21 w 43"/>
                <a:gd name="T9" fmla="*/ 128 h 128"/>
                <a:gd name="T10" fmla="*/ 0 w 43"/>
                <a:gd name="T11" fmla="*/ 104 h 128"/>
              </a:gdLst>
              <a:ahLst/>
              <a:cxnLst>
                <a:cxn ang="0">
                  <a:pos x="T0" y="T1"/>
                </a:cxn>
                <a:cxn ang="0">
                  <a:pos x="T2" y="T3"/>
                </a:cxn>
                <a:cxn ang="0">
                  <a:pos x="T4" y="T5"/>
                </a:cxn>
                <a:cxn ang="0">
                  <a:pos x="T6" y="T7"/>
                </a:cxn>
                <a:cxn ang="0">
                  <a:pos x="T8" y="T9"/>
                </a:cxn>
                <a:cxn ang="0">
                  <a:pos x="T10" y="T11"/>
                </a:cxn>
              </a:cxnLst>
              <a:rect l="0" t="0" r="r" b="b"/>
              <a:pathLst>
                <a:path w="43" h="128">
                  <a:moveTo>
                    <a:pt x="0" y="104"/>
                  </a:moveTo>
                  <a:lnTo>
                    <a:pt x="0" y="0"/>
                  </a:lnTo>
                  <a:lnTo>
                    <a:pt x="43" y="0"/>
                  </a:lnTo>
                  <a:lnTo>
                    <a:pt x="43" y="104"/>
                  </a:lnTo>
                  <a:lnTo>
                    <a:pt x="21" y="128"/>
                  </a:lnTo>
                  <a:lnTo>
                    <a:pt x="0" y="104"/>
                  </a:lnTo>
                  <a:close/>
                </a:path>
              </a:pathLst>
            </a:custGeom>
            <a:solidFill>
              <a:srgbClr val="9118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66">
                <a:buClr>
                  <a:srgbClr val="000000"/>
                </a:buClr>
                <a:defRPr/>
              </a:pPr>
              <a:endParaRPr lang="en-US" sz="1500" kern="0" dirty="0">
                <a:solidFill>
                  <a:srgbClr val="EEECE1"/>
                </a:solidFill>
                <a:latin typeface="Gene Sans Light"/>
                <a:cs typeface="Arial"/>
                <a:sym typeface="Arial"/>
              </a:endParaRPr>
            </a:p>
          </p:txBody>
        </p:sp>
      </p:grpSp>
      <p:cxnSp>
        <p:nvCxnSpPr>
          <p:cNvPr id="104" name="Straight Connector 103"/>
          <p:cNvCxnSpPr>
            <a:stCxn id="103" idx="2"/>
            <a:endCxn id="96" idx="1"/>
          </p:cNvCxnSpPr>
          <p:nvPr/>
        </p:nvCxnSpPr>
        <p:spPr>
          <a:xfrm>
            <a:off x="3680930" y="1997611"/>
            <a:ext cx="2888" cy="337132"/>
          </a:xfrm>
          <a:prstGeom prst="line">
            <a:avLst/>
          </a:prstGeom>
          <a:ln w="19050" cap="sq" cmpd="sng">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7" name="Curved Down Arrow 16"/>
          <p:cNvSpPr/>
          <p:nvPr/>
        </p:nvSpPr>
        <p:spPr>
          <a:xfrm>
            <a:off x="4567492" y="2283736"/>
            <a:ext cx="256423" cy="151536"/>
          </a:xfrm>
          <a:prstGeom prst="curvedDownArrow">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lIns="68579" tIns="34289" rIns="68579" bIns="34289" rtlCol="0" anchor="ctr"/>
          <a:lstStyle/>
          <a:p>
            <a:pPr algn="ctr" defTabSz="914378">
              <a:buClr>
                <a:srgbClr val="000000"/>
              </a:buClr>
              <a:defRPr/>
            </a:pPr>
            <a:endParaRPr lang="en-US" sz="1050" kern="0" dirty="0">
              <a:solidFill>
                <a:srgbClr val="EEECE1"/>
              </a:solidFill>
              <a:latin typeface="Gene Sans Light"/>
              <a:sym typeface="Arial"/>
            </a:endParaRPr>
          </a:p>
        </p:txBody>
      </p:sp>
      <p:sp>
        <p:nvSpPr>
          <p:cNvPr id="18" name="TextBox 17"/>
          <p:cNvSpPr txBox="1"/>
          <p:nvPr/>
        </p:nvSpPr>
        <p:spPr>
          <a:xfrm>
            <a:off x="4739111" y="2227408"/>
            <a:ext cx="190392" cy="242372"/>
          </a:xfrm>
          <a:prstGeom prst="rect">
            <a:avLst/>
          </a:prstGeom>
          <a:noFill/>
        </p:spPr>
        <p:txBody>
          <a:bodyPr wrap="square" lIns="68579" tIns="34289" rIns="68579" bIns="34289" rtlCol="0">
            <a:spAutoFit/>
          </a:bodyPr>
          <a:lstStyle/>
          <a:p>
            <a:pPr defTabSz="914378">
              <a:buClr>
                <a:srgbClr val="000000"/>
              </a:buClr>
              <a:defRPr/>
            </a:pPr>
            <a:r>
              <a:rPr lang="en-US" sz="1125" kern="0" dirty="0">
                <a:solidFill>
                  <a:srgbClr val="545859"/>
                </a:solidFill>
                <a:latin typeface="Gene Sans Light"/>
                <a:cs typeface="Arial"/>
                <a:sym typeface="Arial"/>
              </a:rPr>
              <a:t>+</a:t>
            </a:r>
          </a:p>
        </p:txBody>
      </p:sp>
      <p:sp>
        <p:nvSpPr>
          <p:cNvPr id="77" name="TextBox 76"/>
          <p:cNvSpPr txBox="1"/>
          <p:nvPr/>
        </p:nvSpPr>
        <p:spPr>
          <a:xfrm>
            <a:off x="5067595" y="2158828"/>
            <a:ext cx="536610" cy="315469"/>
          </a:xfrm>
          <a:prstGeom prst="rect">
            <a:avLst/>
          </a:prstGeom>
          <a:noFill/>
        </p:spPr>
        <p:txBody>
          <a:bodyPr wrap="square" lIns="68579" tIns="34289" rIns="68579" bIns="34289" rtlCol="0">
            <a:spAutoFit/>
          </a:bodyPr>
          <a:lstStyle/>
          <a:p>
            <a:pPr algn="ctr" defTabSz="914378">
              <a:buClr>
                <a:srgbClr val="000000"/>
              </a:buClr>
              <a:defRPr/>
            </a:pPr>
            <a:r>
              <a:rPr lang="en-US" sz="800" kern="0" dirty="0">
                <a:solidFill>
                  <a:srgbClr val="545859"/>
                </a:solidFill>
                <a:latin typeface="Gene Sans Light"/>
                <a:cs typeface="Arial"/>
                <a:sym typeface="Arial"/>
              </a:rPr>
              <a:t>(+) Signal 2</a:t>
            </a:r>
          </a:p>
        </p:txBody>
      </p:sp>
      <p:sp>
        <p:nvSpPr>
          <p:cNvPr id="83" name="TextBox 82"/>
          <p:cNvSpPr txBox="1"/>
          <p:nvPr/>
        </p:nvSpPr>
        <p:spPr>
          <a:xfrm>
            <a:off x="4683409" y="2400167"/>
            <a:ext cx="402307" cy="192358"/>
          </a:xfrm>
          <a:prstGeom prst="rect">
            <a:avLst/>
          </a:prstGeom>
          <a:noFill/>
        </p:spPr>
        <p:txBody>
          <a:bodyPr wrap="square" lIns="68579" tIns="34289" rIns="68579" bIns="34289" rtlCol="0">
            <a:spAutoFit/>
          </a:bodyPr>
          <a:lstStyle/>
          <a:p>
            <a:pPr algn="ctr" defTabSz="914378">
              <a:buClr>
                <a:srgbClr val="000000"/>
              </a:buClr>
              <a:defRPr/>
            </a:pPr>
            <a:r>
              <a:rPr lang="en-US" sz="800" kern="0" dirty="0">
                <a:solidFill>
                  <a:srgbClr val="545859"/>
                </a:solidFill>
                <a:latin typeface="Gene Sans Light"/>
                <a:cs typeface="Arial"/>
                <a:sym typeface="Arial"/>
              </a:rPr>
              <a:t>TCR</a:t>
            </a:r>
          </a:p>
        </p:txBody>
      </p:sp>
      <p:sp>
        <p:nvSpPr>
          <p:cNvPr id="84" name="TextBox 83"/>
          <p:cNvSpPr txBox="1"/>
          <p:nvPr/>
        </p:nvSpPr>
        <p:spPr>
          <a:xfrm>
            <a:off x="4723309" y="3701206"/>
            <a:ext cx="402307" cy="192358"/>
          </a:xfrm>
          <a:prstGeom prst="rect">
            <a:avLst/>
          </a:prstGeom>
          <a:noFill/>
        </p:spPr>
        <p:txBody>
          <a:bodyPr wrap="square" lIns="68579" tIns="34289" rIns="68579" bIns="34289" rtlCol="0">
            <a:spAutoFit/>
          </a:bodyPr>
          <a:lstStyle/>
          <a:p>
            <a:pPr algn="ctr" defTabSz="914378">
              <a:buClr>
                <a:srgbClr val="000000"/>
              </a:buClr>
              <a:defRPr/>
            </a:pPr>
            <a:r>
              <a:rPr lang="en-US" sz="800" kern="0" dirty="0">
                <a:solidFill>
                  <a:srgbClr val="545859"/>
                </a:solidFill>
                <a:latin typeface="Gene Sans Light"/>
                <a:cs typeface="Arial"/>
                <a:sym typeface="Arial"/>
              </a:rPr>
              <a:t>TCR</a:t>
            </a:r>
          </a:p>
        </p:txBody>
      </p:sp>
      <p:sp>
        <p:nvSpPr>
          <p:cNvPr id="11" name="Rounded Rectangular Callout 10"/>
          <p:cNvSpPr/>
          <p:nvPr/>
        </p:nvSpPr>
        <p:spPr>
          <a:xfrm>
            <a:off x="5407874" y="1239284"/>
            <a:ext cx="3265349" cy="689548"/>
          </a:xfrm>
          <a:prstGeom prst="rect">
            <a:avLst/>
          </a:prstGeom>
          <a:solidFill>
            <a:schemeClr val="bg1">
              <a:lumMod val="95000"/>
            </a:schemeClr>
          </a:solidFill>
          <a:ln>
            <a:solidFill>
              <a:schemeClr val="tx1"/>
            </a:solidFill>
          </a:ln>
          <a:effectLst/>
        </p:spPr>
        <p:txBody>
          <a:bodyPr wrap="square" lIns="68579" tIns="34289" rIns="68579" bIns="34289" anchor="ctr">
            <a:noAutofit/>
          </a:bodyPr>
          <a:lstStyle/>
          <a:p>
            <a:pPr algn="ctr" defTabSz="685766">
              <a:spcAft>
                <a:spcPts val="450"/>
              </a:spcAft>
              <a:buClr>
                <a:srgbClr val="000000"/>
              </a:buClr>
              <a:defRPr/>
            </a:pPr>
            <a:r>
              <a:rPr lang="en-US" sz="1200" kern="0" dirty="0">
                <a:solidFill>
                  <a:srgbClr val="545859"/>
                </a:solidFill>
                <a:latin typeface="Gene Sans Light"/>
                <a:cs typeface="Arial" pitchFamily="34" charset="0"/>
                <a:sym typeface="Arial"/>
              </a:rPr>
              <a:t>Helper T cells then produce cytokines that stimulate the expansion and differentiation of the CD8</a:t>
            </a:r>
            <a:r>
              <a:rPr lang="en-US" sz="1200" kern="0" baseline="30000" dirty="0">
                <a:solidFill>
                  <a:srgbClr val="545859"/>
                </a:solidFill>
                <a:latin typeface="Gene Sans Light"/>
                <a:cs typeface="Arial" pitchFamily="34" charset="0"/>
                <a:sym typeface="Arial"/>
              </a:rPr>
              <a:t>+</a:t>
            </a:r>
            <a:r>
              <a:rPr lang="en-US" sz="1200" kern="0" dirty="0">
                <a:solidFill>
                  <a:srgbClr val="545859"/>
                </a:solidFill>
                <a:latin typeface="Gene Sans Light"/>
                <a:cs typeface="Arial" pitchFamily="34" charset="0"/>
                <a:sym typeface="Arial"/>
              </a:rPr>
              <a:t> T cells</a:t>
            </a:r>
            <a:r>
              <a:rPr lang="en-US" sz="1200" kern="0" baseline="30000" dirty="0">
                <a:solidFill>
                  <a:srgbClr val="545859"/>
                </a:solidFill>
                <a:latin typeface="Gene Sans Light"/>
                <a:cs typeface="Arial" pitchFamily="34" charset="0"/>
                <a:sym typeface="Arial"/>
              </a:rPr>
              <a:t>1</a:t>
            </a:r>
          </a:p>
        </p:txBody>
      </p:sp>
      <p:sp>
        <p:nvSpPr>
          <p:cNvPr id="66" name="TextBox 65"/>
          <p:cNvSpPr txBox="1"/>
          <p:nvPr/>
        </p:nvSpPr>
        <p:spPr>
          <a:xfrm>
            <a:off x="381649" y="1294563"/>
            <a:ext cx="2350463" cy="297580"/>
          </a:xfrm>
          <a:prstGeom prst="rect">
            <a:avLst/>
          </a:prstGeom>
          <a:solidFill>
            <a:schemeClr val="accent2"/>
          </a:solidFill>
          <a:ln>
            <a:noFill/>
          </a:ln>
        </p:spPr>
        <p:txBody>
          <a:bodyPr wrap="square" lIns="68579" tIns="34289" rIns="68579" bIns="34289" anchor="ctr">
            <a:noAutofit/>
          </a:bodyPr>
          <a:lstStyle>
            <a:defPPr>
              <a:defRPr lang="en-US"/>
            </a:defPPr>
            <a:lvl1pPr algn="ctr" defTabSz="914400">
              <a:spcBef>
                <a:spcPct val="0"/>
              </a:spcBef>
              <a:defRPr sz="1600" b="1">
                <a:solidFill>
                  <a:schemeClr val="bg1"/>
                </a:solidFill>
                <a:latin typeface="Arial" charset="0"/>
                <a:ea typeface="ＭＳ Ｐゴシック" pitchFamily="34" charset="-128"/>
                <a:cs typeface="Arial" charset="0"/>
              </a:defRPr>
            </a:lvl1pPr>
          </a:lstStyle>
          <a:p>
            <a:pPr defTabSz="685766">
              <a:buClr>
                <a:srgbClr val="000000"/>
              </a:buClr>
              <a:defRPr/>
            </a:pPr>
            <a:r>
              <a:rPr lang="en-US" sz="1400" b="0" kern="0" dirty="0">
                <a:solidFill>
                  <a:prstClr val="white"/>
                </a:solidFill>
                <a:latin typeface="Gene Sans Light"/>
                <a:sym typeface="Arial"/>
              </a:rPr>
              <a:t>Adaptive Immunity</a:t>
            </a:r>
            <a:endParaRPr lang="en-US" sz="1400" b="0" kern="0" baseline="30000" dirty="0">
              <a:solidFill>
                <a:prstClr val="white"/>
              </a:solidFill>
              <a:latin typeface="Gene Sans Light"/>
              <a:sym typeface="Arial"/>
            </a:endParaRPr>
          </a:p>
        </p:txBody>
      </p:sp>
      <p:sp>
        <p:nvSpPr>
          <p:cNvPr id="78" name="TextBox 77"/>
          <p:cNvSpPr txBox="1"/>
          <p:nvPr/>
        </p:nvSpPr>
        <p:spPr>
          <a:xfrm>
            <a:off x="381649" y="3337506"/>
            <a:ext cx="2350463" cy="297580"/>
          </a:xfrm>
          <a:prstGeom prst="rect">
            <a:avLst/>
          </a:prstGeom>
          <a:solidFill>
            <a:schemeClr val="accent2"/>
          </a:solidFill>
          <a:ln>
            <a:noFill/>
          </a:ln>
        </p:spPr>
        <p:txBody>
          <a:bodyPr wrap="square" lIns="68579" tIns="34289" rIns="68579" bIns="34289" anchor="ctr">
            <a:noAutofit/>
          </a:bodyPr>
          <a:lstStyle>
            <a:defPPr>
              <a:defRPr lang="en-US"/>
            </a:defPPr>
            <a:lvl1pPr algn="ctr" defTabSz="914400">
              <a:spcBef>
                <a:spcPct val="0"/>
              </a:spcBef>
              <a:defRPr sz="1600" b="1">
                <a:solidFill>
                  <a:schemeClr val="bg1"/>
                </a:solidFill>
                <a:latin typeface="Arial" charset="0"/>
                <a:ea typeface="ＭＳ Ｐゴシック" pitchFamily="34" charset="-128"/>
                <a:cs typeface="Arial" charset="0"/>
              </a:defRPr>
            </a:lvl1pPr>
          </a:lstStyle>
          <a:p>
            <a:pPr defTabSz="685766">
              <a:buClr>
                <a:srgbClr val="000000"/>
              </a:buClr>
              <a:defRPr/>
            </a:pPr>
            <a:r>
              <a:rPr lang="en-US" sz="1400" b="0" kern="0" dirty="0">
                <a:solidFill>
                  <a:prstClr val="white"/>
                </a:solidFill>
                <a:latin typeface="Gene Sans Light"/>
                <a:sym typeface="Arial"/>
              </a:rPr>
              <a:t>Tolerance</a:t>
            </a:r>
            <a:endParaRPr lang="en-US" sz="1400" b="0" kern="0" baseline="30000" dirty="0">
              <a:solidFill>
                <a:prstClr val="white"/>
              </a:solidFill>
              <a:latin typeface="Gene Sans Light"/>
              <a:sym typeface="Arial"/>
            </a:endParaRPr>
          </a:p>
        </p:txBody>
      </p:sp>
      <p:cxnSp>
        <p:nvCxnSpPr>
          <p:cNvPr id="8" name="Straight Connector 7"/>
          <p:cNvCxnSpPr/>
          <p:nvPr/>
        </p:nvCxnSpPr>
        <p:spPr bwMode="auto">
          <a:xfrm>
            <a:off x="381648" y="3230089"/>
            <a:ext cx="8384400" cy="0"/>
          </a:xfrm>
          <a:prstGeom prst="line">
            <a:avLst/>
          </a:prstGeom>
          <a:noFill/>
          <a:ln w="12700" cap="rnd">
            <a:solidFill>
              <a:schemeClr val="tx1"/>
            </a:solidFill>
            <a:prstDash val="dash"/>
            <a:round/>
            <a:headEnd type="none" w="med" len="med"/>
            <a:tailEnd type="none" w="med" len="med"/>
          </a:ln>
          <a:extLst>
            <a:ext uri="{909E8E84-426E-40DD-AFC4-6F175D3DCCD1}">
              <a14:hiddenFill xmlns:a14="http://schemas.microsoft.com/office/drawing/2010/main">
                <a:noFill/>
              </a14:hiddenFill>
            </a:ext>
          </a:extLst>
        </p:spPr>
      </p:cxnSp>
      <p:sp>
        <p:nvSpPr>
          <p:cNvPr id="89" name="Rounded Rectangular Callout 88"/>
          <p:cNvSpPr/>
          <p:nvPr/>
        </p:nvSpPr>
        <p:spPr>
          <a:xfrm>
            <a:off x="381650" y="1675551"/>
            <a:ext cx="2345248" cy="1118905"/>
          </a:xfrm>
          <a:prstGeom prst="rect">
            <a:avLst/>
          </a:prstGeom>
          <a:solidFill>
            <a:schemeClr val="bg1">
              <a:lumMod val="95000"/>
            </a:schemeClr>
          </a:solidFill>
          <a:ln>
            <a:solidFill>
              <a:schemeClr val="tx1"/>
            </a:solidFill>
          </a:ln>
          <a:effectLst/>
        </p:spPr>
        <p:txBody>
          <a:bodyPr wrap="square" lIns="68579" tIns="34289" rIns="68579" bIns="34289" anchor="ctr">
            <a:noAutofit/>
          </a:bodyPr>
          <a:lstStyle/>
          <a:p>
            <a:pPr algn="ctr" defTabSz="685766">
              <a:spcAft>
                <a:spcPts val="450"/>
              </a:spcAft>
              <a:buClr>
                <a:srgbClr val="000000"/>
              </a:buClr>
              <a:defRPr/>
            </a:pPr>
            <a:r>
              <a:rPr lang="en-US" sz="1200" kern="0" dirty="0">
                <a:solidFill>
                  <a:srgbClr val="545859"/>
                </a:solidFill>
                <a:latin typeface="Gene Sans Light"/>
                <a:cs typeface="Arial" pitchFamily="34" charset="0"/>
                <a:sym typeface="Arial"/>
              </a:rPr>
              <a:t>Dendritic cells (APCs) ingest tumor-specific antigens and present them to CD8</a:t>
            </a:r>
            <a:r>
              <a:rPr lang="en-US" sz="1200" kern="0" baseline="30000" dirty="0">
                <a:solidFill>
                  <a:srgbClr val="545859"/>
                </a:solidFill>
                <a:latin typeface="Gene Sans Light"/>
                <a:cs typeface="Arial" pitchFamily="34" charset="0"/>
                <a:sym typeface="Arial"/>
              </a:rPr>
              <a:t>+</a:t>
            </a:r>
            <a:r>
              <a:rPr lang="en-US" sz="1200" kern="0" dirty="0">
                <a:solidFill>
                  <a:srgbClr val="545859"/>
                </a:solidFill>
                <a:latin typeface="Gene Sans Light"/>
                <a:cs typeface="Arial" pitchFamily="34" charset="0"/>
                <a:sym typeface="Arial"/>
              </a:rPr>
              <a:t> T cells and to CD4</a:t>
            </a:r>
            <a:r>
              <a:rPr lang="en-US" sz="1200" kern="0" baseline="30000" dirty="0">
                <a:solidFill>
                  <a:srgbClr val="545859"/>
                </a:solidFill>
                <a:latin typeface="Gene Sans Light"/>
                <a:cs typeface="Arial" pitchFamily="34" charset="0"/>
                <a:sym typeface="Arial"/>
              </a:rPr>
              <a:t>+</a:t>
            </a:r>
            <a:r>
              <a:rPr lang="en-US" sz="1200" kern="0" dirty="0">
                <a:solidFill>
                  <a:srgbClr val="545859"/>
                </a:solidFill>
                <a:latin typeface="Gene Sans Light"/>
                <a:cs typeface="Arial" pitchFamily="34" charset="0"/>
                <a:sym typeface="Arial"/>
              </a:rPr>
              <a:t> helper T cells using MHC molecules</a:t>
            </a:r>
            <a:r>
              <a:rPr lang="en-US" sz="1200" kern="0" baseline="30000" dirty="0">
                <a:solidFill>
                  <a:srgbClr val="545859"/>
                </a:solidFill>
                <a:latin typeface="Gene Sans Light"/>
                <a:cs typeface="Arial" pitchFamily="34" charset="0"/>
                <a:sym typeface="Arial"/>
              </a:rPr>
              <a:t>1</a:t>
            </a:r>
          </a:p>
        </p:txBody>
      </p:sp>
      <p:sp>
        <p:nvSpPr>
          <p:cNvPr id="90" name="Rounded Rectangular Callout 89"/>
          <p:cNvSpPr/>
          <p:nvPr/>
        </p:nvSpPr>
        <p:spPr>
          <a:xfrm>
            <a:off x="6703373" y="2083539"/>
            <a:ext cx="2012734" cy="785614"/>
          </a:xfrm>
          <a:prstGeom prst="rect">
            <a:avLst/>
          </a:prstGeom>
          <a:solidFill>
            <a:schemeClr val="bg1">
              <a:lumMod val="95000"/>
            </a:schemeClr>
          </a:solidFill>
          <a:ln>
            <a:solidFill>
              <a:schemeClr val="tx1"/>
            </a:solidFill>
          </a:ln>
          <a:effectLst/>
        </p:spPr>
        <p:txBody>
          <a:bodyPr wrap="square" lIns="68579" tIns="34289" rIns="68579" bIns="34289" anchor="ctr">
            <a:noAutofit/>
          </a:bodyPr>
          <a:lstStyle/>
          <a:p>
            <a:pPr algn="ctr" defTabSz="685766">
              <a:spcAft>
                <a:spcPts val="450"/>
              </a:spcAft>
              <a:buClr>
                <a:srgbClr val="000000"/>
              </a:buClr>
              <a:defRPr/>
            </a:pPr>
            <a:r>
              <a:rPr lang="en-US" sz="1200" kern="0" dirty="0">
                <a:solidFill>
                  <a:srgbClr val="545859"/>
                </a:solidFill>
                <a:latin typeface="Gene Sans Light"/>
                <a:cs typeface="Arial" pitchFamily="34" charset="0"/>
                <a:sym typeface="Arial"/>
              </a:rPr>
              <a:t>CD8</a:t>
            </a:r>
            <a:r>
              <a:rPr lang="en-US" sz="1200" kern="0" baseline="30000" dirty="0">
                <a:solidFill>
                  <a:srgbClr val="545859"/>
                </a:solidFill>
                <a:latin typeface="Gene Sans Light"/>
                <a:cs typeface="Arial" pitchFamily="34" charset="0"/>
                <a:sym typeface="Arial"/>
              </a:rPr>
              <a:t>+</a:t>
            </a:r>
            <a:r>
              <a:rPr lang="en-US" sz="1200" kern="0" dirty="0">
                <a:solidFill>
                  <a:srgbClr val="545859"/>
                </a:solidFill>
                <a:latin typeface="Gene Sans Light"/>
                <a:cs typeface="Arial" pitchFamily="34" charset="0"/>
                <a:sym typeface="Arial"/>
              </a:rPr>
              <a:t> cells undergo clonal expansion and differentiation</a:t>
            </a:r>
            <a:r>
              <a:rPr lang="en-US" sz="1200" kern="0" baseline="30000" dirty="0">
                <a:solidFill>
                  <a:srgbClr val="545859"/>
                </a:solidFill>
                <a:latin typeface="Gene Sans Light"/>
                <a:cs typeface="Arial" pitchFamily="34" charset="0"/>
                <a:sym typeface="Arial"/>
              </a:rPr>
              <a:t>1</a:t>
            </a:r>
          </a:p>
        </p:txBody>
      </p:sp>
      <p:sp>
        <p:nvSpPr>
          <p:cNvPr id="93" name="Rounded Rectangular Callout 92"/>
          <p:cNvSpPr/>
          <p:nvPr/>
        </p:nvSpPr>
        <p:spPr>
          <a:xfrm>
            <a:off x="6387173" y="3519993"/>
            <a:ext cx="2328933" cy="387245"/>
          </a:xfrm>
          <a:prstGeom prst="rect">
            <a:avLst/>
          </a:prstGeom>
          <a:solidFill>
            <a:schemeClr val="bg1">
              <a:lumMod val="95000"/>
            </a:schemeClr>
          </a:solidFill>
          <a:ln>
            <a:solidFill>
              <a:schemeClr val="tx1"/>
            </a:solidFill>
          </a:ln>
          <a:effectLst/>
        </p:spPr>
        <p:txBody>
          <a:bodyPr wrap="square" lIns="68579" tIns="34289" rIns="68579" bIns="34289" anchor="ctr">
            <a:noAutofit/>
          </a:bodyPr>
          <a:lstStyle/>
          <a:p>
            <a:pPr algn="ctr" defTabSz="685766">
              <a:spcAft>
                <a:spcPts val="450"/>
              </a:spcAft>
              <a:buClr>
                <a:srgbClr val="000000"/>
              </a:buClr>
              <a:defRPr/>
            </a:pPr>
            <a:r>
              <a:rPr lang="en-US" sz="1200" kern="0" dirty="0">
                <a:solidFill>
                  <a:srgbClr val="545859"/>
                </a:solidFill>
                <a:latin typeface="Gene Sans Light"/>
                <a:cs typeface="Arial" pitchFamily="34" charset="0"/>
                <a:sym typeface="Arial"/>
              </a:rPr>
              <a:t>Tolerance (anergy)</a:t>
            </a:r>
            <a:r>
              <a:rPr lang="en-US" sz="1200" kern="0" baseline="30000" dirty="0">
                <a:solidFill>
                  <a:srgbClr val="545859"/>
                </a:solidFill>
                <a:latin typeface="Gene Sans Light"/>
                <a:cs typeface="Arial" pitchFamily="34" charset="0"/>
                <a:sym typeface="Arial"/>
              </a:rPr>
              <a:t>2</a:t>
            </a:r>
          </a:p>
        </p:txBody>
      </p:sp>
      <p:sp>
        <p:nvSpPr>
          <p:cNvPr id="95" name="Rounded Rectangular Callout 94"/>
          <p:cNvSpPr/>
          <p:nvPr/>
        </p:nvSpPr>
        <p:spPr>
          <a:xfrm>
            <a:off x="4617926" y="4110084"/>
            <a:ext cx="2035905" cy="438580"/>
          </a:xfrm>
          <a:prstGeom prst="rect">
            <a:avLst/>
          </a:prstGeom>
          <a:solidFill>
            <a:schemeClr val="bg1">
              <a:lumMod val="95000"/>
            </a:schemeClr>
          </a:solidFill>
          <a:ln>
            <a:solidFill>
              <a:schemeClr val="tx1"/>
            </a:solidFill>
          </a:ln>
          <a:effectLst/>
        </p:spPr>
        <p:txBody>
          <a:bodyPr wrap="square" lIns="68579" tIns="34289" rIns="68579" bIns="34289" anchor="ctr">
            <a:spAutoFit/>
          </a:bodyPr>
          <a:lstStyle/>
          <a:p>
            <a:pPr algn="ctr" defTabSz="685766">
              <a:spcAft>
                <a:spcPts val="450"/>
              </a:spcAft>
              <a:buClr>
                <a:srgbClr val="000000"/>
              </a:buClr>
              <a:defRPr/>
            </a:pPr>
            <a:r>
              <a:rPr lang="en-US" sz="1200" kern="0" dirty="0">
                <a:solidFill>
                  <a:srgbClr val="545859"/>
                </a:solidFill>
                <a:latin typeface="Gene Sans Light"/>
                <a:cs typeface="Arial" pitchFamily="34" charset="0"/>
                <a:sym typeface="Arial"/>
              </a:rPr>
              <a:t>Reduce T-cell reactivity to self-antigens</a:t>
            </a:r>
            <a:r>
              <a:rPr lang="en-US" sz="1200" kern="0" baseline="30000" dirty="0">
                <a:solidFill>
                  <a:srgbClr val="545859"/>
                </a:solidFill>
                <a:latin typeface="Gene Sans Light"/>
                <a:cs typeface="Arial" pitchFamily="34" charset="0"/>
                <a:sym typeface="Arial"/>
              </a:rPr>
              <a:t>2</a:t>
            </a:r>
          </a:p>
        </p:txBody>
      </p:sp>
      <p:grpSp>
        <p:nvGrpSpPr>
          <p:cNvPr id="79" name="Google Shape;342;p4">
            <a:extLst>
              <a:ext uri="{FF2B5EF4-FFF2-40B4-BE49-F238E27FC236}">
                <a16:creationId xmlns:a16="http://schemas.microsoft.com/office/drawing/2014/main" id="{7F9EE036-2FA0-4D00-8E97-73EFEA571E57}"/>
              </a:ext>
            </a:extLst>
          </p:cNvPr>
          <p:cNvGrpSpPr/>
          <p:nvPr/>
        </p:nvGrpSpPr>
        <p:grpSpPr>
          <a:xfrm>
            <a:off x="8849668" y="55416"/>
            <a:ext cx="238916" cy="228628"/>
            <a:chOff x="11619274" y="118751"/>
            <a:chExt cx="432689" cy="414056"/>
          </a:xfrm>
        </p:grpSpPr>
        <p:sp>
          <p:nvSpPr>
            <p:cNvPr id="81" name="Google Shape;343;p4">
              <a:hlinkClick r:id="rId8" action="ppaction://hlinksldjump"/>
              <a:extLst>
                <a:ext uri="{FF2B5EF4-FFF2-40B4-BE49-F238E27FC236}">
                  <a16:creationId xmlns:a16="http://schemas.microsoft.com/office/drawing/2014/main" id="{A2D6736C-576E-4437-A075-53E350D7C1C8}"/>
                </a:ext>
              </a:extLst>
            </p:cNvPr>
            <p:cNvSpPr/>
            <p:nvPr/>
          </p:nvSpPr>
          <p:spPr>
            <a:xfrm>
              <a:off x="11619274" y="118751"/>
              <a:ext cx="432689" cy="414056"/>
            </a:xfrm>
            <a:prstGeom prst="roundRect">
              <a:avLst>
                <a:gd name="adj" fmla="val 16667"/>
              </a:avLst>
            </a:prstGeom>
            <a:solidFill>
              <a:schemeClr val="accent2"/>
            </a:solidFill>
            <a:ln>
              <a:noFill/>
            </a:ln>
          </p:spPr>
          <p:txBody>
            <a:bodyPr spcFirstLastPara="1" wrap="square" lIns="68550" tIns="34275" rIns="68550" bIns="34275" anchor="ctr" anchorCtr="0">
              <a:noAutofit/>
            </a:bodyPr>
            <a:lstStyle/>
            <a:p>
              <a:pPr algn="ctr" defTabSz="914378">
                <a:buClr>
                  <a:srgbClr val="000000"/>
                </a:buClr>
              </a:pPr>
              <a:endParaRPr lang="en-US" sz="825" kern="0" dirty="0">
                <a:solidFill>
                  <a:srgbClr val="FFFFFF"/>
                </a:solidFill>
                <a:latin typeface="Arial"/>
                <a:ea typeface="Arial"/>
                <a:cs typeface="Arial"/>
                <a:sym typeface="Arial"/>
              </a:endParaRPr>
            </a:p>
          </p:txBody>
        </p:sp>
        <p:pic>
          <p:nvPicPr>
            <p:cNvPr id="82" name="Google Shape;344;p4">
              <a:hlinkClick r:id="rId8" action="ppaction://hlinksldjump"/>
              <a:extLst>
                <a:ext uri="{FF2B5EF4-FFF2-40B4-BE49-F238E27FC236}">
                  <a16:creationId xmlns:a16="http://schemas.microsoft.com/office/drawing/2014/main" id="{6D90E62C-CC96-4F13-8BC5-B8D3AB1891F5}"/>
                </a:ext>
              </a:extLst>
            </p:cNvPr>
            <p:cNvPicPr preferRelativeResize="0"/>
            <p:nvPr/>
          </p:nvPicPr>
          <p:blipFill rotWithShape="1">
            <a:blip r:embed="rId9">
              <a:alphaModFix/>
            </a:blip>
            <a:srcRect/>
            <a:stretch/>
          </p:blipFill>
          <p:spPr>
            <a:xfrm>
              <a:off x="11681971" y="162551"/>
              <a:ext cx="307293" cy="307293"/>
            </a:xfrm>
            <a:prstGeom prst="rect">
              <a:avLst/>
            </a:prstGeom>
            <a:noFill/>
            <a:ln>
              <a:noFill/>
            </a:ln>
          </p:spPr>
        </p:pic>
      </p:grpSp>
      <p:cxnSp>
        <p:nvCxnSpPr>
          <p:cNvPr id="6" name="Straight Connector 5">
            <a:extLst>
              <a:ext uri="{FF2B5EF4-FFF2-40B4-BE49-F238E27FC236}">
                <a16:creationId xmlns:a16="http://schemas.microsoft.com/office/drawing/2014/main" id="{2A457713-D414-4771-A8DE-F762CE756FD1}"/>
              </a:ext>
            </a:extLst>
          </p:cNvPr>
          <p:cNvCxnSpPr>
            <a:cxnSpLocks/>
          </p:cNvCxnSpPr>
          <p:nvPr/>
        </p:nvCxnSpPr>
        <p:spPr>
          <a:xfrm>
            <a:off x="2736166" y="1948375"/>
            <a:ext cx="731520" cy="189914"/>
          </a:xfrm>
          <a:prstGeom prst="line">
            <a:avLst/>
          </a:prstGeom>
          <a:noFill/>
          <a:ln w="12700" cap="flat" cmpd="sng">
            <a:solidFill>
              <a:schemeClr val="tx1"/>
            </a:solidFill>
            <a:prstDash val="solid"/>
            <a:miter lim="800000"/>
            <a:headEnd type="none" w="sm" len="sm"/>
            <a:tailEnd type="none" w="sm" len="sm"/>
          </a:ln>
        </p:spPr>
      </p:cxnSp>
      <p:cxnSp>
        <p:nvCxnSpPr>
          <p:cNvPr id="85" name="Straight Connector 84">
            <a:extLst>
              <a:ext uri="{FF2B5EF4-FFF2-40B4-BE49-F238E27FC236}">
                <a16:creationId xmlns:a16="http://schemas.microsoft.com/office/drawing/2014/main" id="{41C513F7-3EFD-417B-A07F-CA6B1FEE7F95}"/>
              </a:ext>
            </a:extLst>
          </p:cNvPr>
          <p:cNvCxnSpPr>
            <a:cxnSpLocks/>
          </p:cNvCxnSpPr>
          <p:nvPr/>
        </p:nvCxnSpPr>
        <p:spPr>
          <a:xfrm flipV="1">
            <a:off x="4649373" y="1315330"/>
            <a:ext cx="766690" cy="56271"/>
          </a:xfrm>
          <a:prstGeom prst="line">
            <a:avLst/>
          </a:prstGeom>
          <a:noFill/>
          <a:ln w="12700" cap="flat" cmpd="sng">
            <a:solidFill>
              <a:schemeClr val="tx1"/>
            </a:solidFill>
            <a:prstDash val="solid"/>
            <a:miter lim="800000"/>
            <a:headEnd type="none" w="sm" len="sm"/>
            <a:tailEnd type="none" w="sm" len="sm"/>
          </a:ln>
        </p:spPr>
      </p:cxnSp>
      <p:cxnSp>
        <p:nvCxnSpPr>
          <p:cNvPr id="86" name="Straight Connector 85">
            <a:extLst>
              <a:ext uri="{FF2B5EF4-FFF2-40B4-BE49-F238E27FC236}">
                <a16:creationId xmlns:a16="http://schemas.microsoft.com/office/drawing/2014/main" id="{EEB275C0-CD89-4E9B-86D6-0751ADF92409}"/>
              </a:ext>
            </a:extLst>
          </p:cNvPr>
          <p:cNvCxnSpPr>
            <a:cxnSpLocks/>
          </p:cNvCxnSpPr>
          <p:nvPr/>
        </p:nvCxnSpPr>
        <p:spPr>
          <a:xfrm flipV="1">
            <a:off x="6485207" y="2152357"/>
            <a:ext cx="218049" cy="161778"/>
          </a:xfrm>
          <a:prstGeom prst="line">
            <a:avLst/>
          </a:prstGeom>
          <a:noFill/>
          <a:ln w="12700" cap="flat" cmpd="sng">
            <a:solidFill>
              <a:schemeClr val="tx1"/>
            </a:solidFill>
            <a:prstDash val="solid"/>
            <a:miter lim="800000"/>
            <a:headEnd type="none" w="sm" len="sm"/>
            <a:tailEnd type="none" w="sm" len="sm"/>
          </a:ln>
        </p:spPr>
      </p:cxnSp>
      <p:cxnSp>
        <p:nvCxnSpPr>
          <p:cNvPr id="87" name="Straight Connector 86">
            <a:extLst>
              <a:ext uri="{FF2B5EF4-FFF2-40B4-BE49-F238E27FC236}">
                <a16:creationId xmlns:a16="http://schemas.microsoft.com/office/drawing/2014/main" id="{45DA6833-B601-4D48-8295-8A12A6B53550}"/>
              </a:ext>
            </a:extLst>
          </p:cNvPr>
          <p:cNvCxnSpPr>
            <a:cxnSpLocks/>
            <a:endCxn id="93" idx="1"/>
          </p:cNvCxnSpPr>
          <p:nvPr/>
        </p:nvCxnSpPr>
        <p:spPr>
          <a:xfrm>
            <a:off x="6168684" y="3650567"/>
            <a:ext cx="218489" cy="63049"/>
          </a:xfrm>
          <a:prstGeom prst="line">
            <a:avLst/>
          </a:prstGeom>
          <a:noFill/>
          <a:ln w="12700" cap="flat" cmpd="sng">
            <a:solidFill>
              <a:schemeClr val="tx1"/>
            </a:solidFill>
            <a:prstDash val="solid"/>
            <a:miter lim="800000"/>
            <a:headEnd type="none" w="sm" len="sm"/>
            <a:tailEnd type="none" w="sm" len="sm"/>
          </a:ln>
        </p:spPr>
      </p:cxnSp>
      <p:cxnSp>
        <p:nvCxnSpPr>
          <p:cNvPr id="88" name="Straight Connector 87">
            <a:extLst>
              <a:ext uri="{FF2B5EF4-FFF2-40B4-BE49-F238E27FC236}">
                <a16:creationId xmlns:a16="http://schemas.microsoft.com/office/drawing/2014/main" id="{EABA750C-9D6B-41B3-AEAD-22AF5D707C32}"/>
              </a:ext>
            </a:extLst>
          </p:cNvPr>
          <p:cNvCxnSpPr>
            <a:cxnSpLocks/>
            <a:endCxn id="95" idx="0"/>
          </p:cNvCxnSpPr>
          <p:nvPr/>
        </p:nvCxnSpPr>
        <p:spPr>
          <a:xfrm>
            <a:off x="5190979" y="3974124"/>
            <a:ext cx="444900" cy="135960"/>
          </a:xfrm>
          <a:prstGeom prst="line">
            <a:avLst/>
          </a:prstGeom>
          <a:noFill/>
          <a:ln w="12700" cap="flat" cmpd="sng">
            <a:solidFill>
              <a:schemeClr val="tx1"/>
            </a:solidFill>
            <a:prstDash val="solid"/>
            <a:miter lim="800000"/>
            <a:headEnd type="none" w="sm" len="sm"/>
            <a:tailEnd type="none" w="sm" len="sm"/>
          </a:ln>
        </p:spPr>
      </p:cxnSp>
    </p:spTree>
    <p:extLst>
      <p:ext uri="{BB962C8B-B14F-4D97-AF65-F5344CB8AC3E}">
        <p14:creationId xmlns:p14="http://schemas.microsoft.com/office/powerpoint/2010/main" val="4183142339"/>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2"/>
          </p:nvPr>
        </p:nvSpPr>
        <p:spPr/>
        <p:txBody>
          <a:bodyPr/>
          <a:lstStyle/>
          <a:p>
            <a:endParaRPr lang="en-US"/>
          </a:p>
        </p:txBody>
      </p:sp>
      <p:sp>
        <p:nvSpPr>
          <p:cNvPr id="3" name="Text Placeholder 2"/>
          <p:cNvSpPr>
            <a:spLocks noGrp="1"/>
          </p:cNvSpPr>
          <p:nvPr>
            <p:ph type="body" idx="3"/>
          </p:nvPr>
        </p:nvSpPr>
        <p:spPr/>
        <p:txBody>
          <a:bodyPr/>
          <a:lstStyle/>
          <a:p>
            <a:r>
              <a:rPr lang="en-US" dirty="0">
                <a:latin typeface="Gene Sans Light" panose="00000400000000000000" pitchFamily="2" charset="0"/>
              </a:rPr>
              <a:t>1. Adapted from Martins F, et al. </a:t>
            </a:r>
            <a:r>
              <a:rPr lang="en-US" i="1" dirty="0">
                <a:latin typeface="Gene Sans Light" panose="00000400000000000000" pitchFamily="2" charset="0"/>
              </a:rPr>
              <a:t>Lancet </a:t>
            </a:r>
            <a:r>
              <a:rPr lang="en-US" i="1" dirty="0" err="1">
                <a:latin typeface="Gene Sans Light" panose="00000400000000000000" pitchFamily="2" charset="0"/>
              </a:rPr>
              <a:t>Oncol</a:t>
            </a:r>
            <a:r>
              <a:rPr lang="en-US" dirty="0">
                <a:latin typeface="Gene Sans Light" panose="00000400000000000000" pitchFamily="2" charset="0"/>
              </a:rPr>
              <a:t>. 2019;20:e54-64.</a:t>
            </a:r>
          </a:p>
        </p:txBody>
      </p:sp>
      <p:sp>
        <p:nvSpPr>
          <p:cNvPr id="5" name="Title 4"/>
          <p:cNvSpPr>
            <a:spLocks noGrp="1"/>
          </p:cNvSpPr>
          <p:nvPr>
            <p:ph type="title"/>
          </p:nvPr>
        </p:nvSpPr>
        <p:spPr/>
        <p:txBody>
          <a:bodyPr/>
          <a:lstStyle/>
          <a:p>
            <a:r>
              <a:rPr lang="en-US" kern="0" cap="none" dirty="0">
                <a:latin typeface="Arial"/>
                <a:cs typeface="Arial"/>
              </a:rPr>
              <a:t>Personalized Treatment of irAEs</a:t>
            </a:r>
            <a:r>
              <a:rPr lang="en-US" kern="0" cap="none" baseline="30000" dirty="0">
                <a:latin typeface="Arial"/>
                <a:cs typeface="Arial"/>
              </a:rPr>
              <a:t>1</a:t>
            </a:r>
            <a:endParaRPr lang="en-US" dirty="0"/>
          </a:p>
        </p:txBody>
      </p:sp>
      <p:sp>
        <p:nvSpPr>
          <p:cNvPr id="6" name="Google Shape;122;p3">
            <a:extLst>
              <a:ext uri="{FF2B5EF4-FFF2-40B4-BE49-F238E27FC236}">
                <a16:creationId xmlns:a16="http://schemas.microsoft.com/office/drawing/2014/main" id="{072DF044-7734-46E2-82FD-C3F7B3A2800C}"/>
              </a:ext>
            </a:extLst>
          </p:cNvPr>
          <p:cNvSpPr txBox="1">
            <a:spLocks/>
          </p:cNvSpPr>
          <p:nvPr/>
        </p:nvSpPr>
        <p:spPr>
          <a:xfrm>
            <a:off x="381000" y="94545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
        <p:nvSpPr>
          <p:cNvPr id="7" name="Google Shape;4201;p28">
            <a:extLst>
              <a:ext uri="{FF2B5EF4-FFF2-40B4-BE49-F238E27FC236}">
                <a16:creationId xmlns:a16="http://schemas.microsoft.com/office/drawing/2014/main" id="{5699F476-6C5F-4FC6-9515-55E0953B28AD}"/>
              </a:ext>
            </a:extLst>
          </p:cNvPr>
          <p:cNvSpPr txBox="1">
            <a:spLocks/>
          </p:cNvSpPr>
          <p:nvPr/>
        </p:nvSpPr>
        <p:spPr>
          <a:xfrm>
            <a:off x="377953" y="1290494"/>
            <a:ext cx="8383165" cy="2968192"/>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L="914400" marR="0" lvl="1" indent="-228600" algn="l" rtl="0">
              <a:lnSpc>
                <a:spcPct val="90000"/>
              </a:lnSpc>
              <a:spcBef>
                <a:spcPts val="6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285750" marR="0" lvl="0" indent="-158750" algn="l" defTabSz="914400" rtl="0" eaLnBrk="1" fontAlgn="auto" latinLnBrk="0" hangingPunct="1">
              <a:lnSpc>
                <a:spcPct val="90000"/>
              </a:lnSpc>
              <a:spcBef>
                <a:spcPts val="0"/>
              </a:spcBef>
              <a:spcAft>
                <a:spcPts val="0"/>
              </a:spcAft>
              <a:buClr>
                <a:srgbClr val="545859"/>
              </a:buClr>
              <a:buSzPts val="2000"/>
              <a:buFont typeface="Arial"/>
              <a:buNone/>
              <a:tabLst/>
              <a:defRPr/>
            </a:pPr>
            <a:endParaRPr kumimoji="0" lang="en-ID" sz="6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a:p>
            <a:pPr marL="285750" marR="0" lvl="0" indent="-158750" algn="l" defTabSz="914400" rtl="0" eaLnBrk="1" fontAlgn="auto" latinLnBrk="0" hangingPunct="1">
              <a:lnSpc>
                <a:spcPct val="90000"/>
              </a:lnSpc>
              <a:spcBef>
                <a:spcPts val="1500"/>
              </a:spcBef>
              <a:spcAft>
                <a:spcPts val="0"/>
              </a:spcAft>
              <a:buClr>
                <a:srgbClr val="545859"/>
              </a:buClr>
              <a:buSzPts val="2000"/>
              <a:buFont typeface="Arial"/>
              <a:buNone/>
              <a:tabLst/>
              <a:defRPr/>
            </a:pPr>
            <a:endParaRPr kumimoji="0" lang="en-ID" sz="6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endParaRPr>
          </a:p>
        </p:txBody>
      </p:sp>
      <p:sp>
        <p:nvSpPr>
          <p:cNvPr id="8" name="Google Shape;4205;p28">
            <a:extLst>
              <a:ext uri="{FF2B5EF4-FFF2-40B4-BE49-F238E27FC236}">
                <a16:creationId xmlns:a16="http://schemas.microsoft.com/office/drawing/2014/main" id="{B27AC7FA-36A8-4937-AFBC-B899B9520824}"/>
              </a:ext>
            </a:extLst>
          </p:cNvPr>
          <p:cNvSpPr/>
          <p:nvPr/>
        </p:nvSpPr>
        <p:spPr>
          <a:xfrm>
            <a:off x="381534" y="3795464"/>
            <a:ext cx="8381465" cy="229956"/>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6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9" name="Google Shape;4206;p28">
            <a:extLst>
              <a:ext uri="{FF2B5EF4-FFF2-40B4-BE49-F238E27FC236}">
                <a16:creationId xmlns:a16="http://schemas.microsoft.com/office/drawing/2014/main" id="{6090FE3C-13DE-4030-8A3D-DF7F42FA5878}"/>
              </a:ext>
            </a:extLst>
          </p:cNvPr>
          <p:cNvSpPr/>
          <p:nvPr/>
        </p:nvSpPr>
        <p:spPr>
          <a:xfrm>
            <a:off x="377952" y="4275518"/>
            <a:ext cx="8381465" cy="229956"/>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6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10" name="Google Shape;4207;p28">
            <a:extLst>
              <a:ext uri="{FF2B5EF4-FFF2-40B4-BE49-F238E27FC236}">
                <a16:creationId xmlns:a16="http://schemas.microsoft.com/office/drawing/2014/main" id="{0FD8B44B-ADAE-4EED-B7B3-CBDEE97A0A3A}"/>
              </a:ext>
            </a:extLst>
          </p:cNvPr>
          <p:cNvSpPr/>
          <p:nvPr/>
        </p:nvSpPr>
        <p:spPr>
          <a:xfrm>
            <a:off x="377952" y="3315411"/>
            <a:ext cx="8381465" cy="229956"/>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6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11" name="Google Shape;4208;p28">
            <a:extLst>
              <a:ext uri="{FF2B5EF4-FFF2-40B4-BE49-F238E27FC236}">
                <a16:creationId xmlns:a16="http://schemas.microsoft.com/office/drawing/2014/main" id="{38040FC4-5C88-4853-A980-8ADD0FFCFAFC}"/>
              </a:ext>
            </a:extLst>
          </p:cNvPr>
          <p:cNvSpPr/>
          <p:nvPr/>
        </p:nvSpPr>
        <p:spPr>
          <a:xfrm>
            <a:off x="1679410" y="3368497"/>
            <a:ext cx="1340218" cy="123784"/>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rgbClr val="FFFFFF"/>
                </a:solidFill>
                <a:effectLst/>
                <a:uLnTx/>
                <a:uFillTx/>
                <a:latin typeface="Gene Sans Light" panose="00000400000000000000" pitchFamily="2" charset="0"/>
                <a:cs typeface="Arial"/>
                <a:sym typeface="Arial"/>
              </a:rPr>
              <a:t>Steroid tapering</a:t>
            </a:r>
            <a:endParaRPr kumimoji="0" sz="1050" b="0" i="0" u="none" strike="noStrike" kern="0" cap="none" spc="0" normalizeH="0" baseline="0" noProof="0">
              <a:ln>
                <a:noFill/>
              </a:ln>
              <a:solidFill>
                <a:srgbClr val="FFFFFF"/>
              </a:solidFill>
              <a:effectLst/>
              <a:uLnTx/>
              <a:uFillTx/>
              <a:latin typeface="Gene Sans Light" panose="00000400000000000000" pitchFamily="2" charset="0"/>
              <a:cs typeface="Arial"/>
              <a:sym typeface="Arial"/>
            </a:endParaRPr>
          </a:p>
        </p:txBody>
      </p:sp>
      <p:cxnSp>
        <p:nvCxnSpPr>
          <p:cNvPr id="12" name="Google Shape;4209;p28">
            <a:extLst>
              <a:ext uri="{FF2B5EF4-FFF2-40B4-BE49-F238E27FC236}">
                <a16:creationId xmlns:a16="http://schemas.microsoft.com/office/drawing/2014/main" id="{0403D271-5328-480B-957F-649FA36A362B}"/>
              </a:ext>
            </a:extLst>
          </p:cNvPr>
          <p:cNvCxnSpPr/>
          <p:nvPr/>
        </p:nvCxnSpPr>
        <p:spPr>
          <a:xfrm>
            <a:off x="7319537" y="3518198"/>
            <a:ext cx="0" cy="905348"/>
          </a:xfrm>
          <a:prstGeom prst="straightConnector1">
            <a:avLst/>
          </a:prstGeom>
          <a:solidFill>
            <a:srgbClr val="F2F2F2"/>
          </a:solidFill>
          <a:ln w="9525" cap="flat" cmpd="sng">
            <a:solidFill>
              <a:schemeClr val="accent6"/>
            </a:solidFill>
            <a:prstDash val="solid"/>
            <a:round/>
            <a:headEnd type="none" w="sm" len="sm"/>
            <a:tailEnd type="none" w="sm" len="sm"/>
          </a:ln>
        </p:spPr>
      </p:cxnSp>
      <p:sp>
        <p:nvSpPr>
          <p:cNvPr id="13" name="Google Shape;4210;p28">
            <a:extLst>
              <a:ext uri="{FF2B5EF4-FFF2-40B4-BE49-F238E27FC236}">
                <a16:creationId xmlns:a16="http://schemas.microsoft.com/office/drawing/2014/main" id="{1894B48C-856D-462E-9BC2-CDDDF19096FD}"/>
              </a:ext>
            </a:extLst>
          </p:cNvPr>
          <p:cNvSpPr/>
          <p:nvPr/>
        </p:nvSpPr>
        <p:spPr>
          <a:xfrm>
            <a:off x="6005193" y="3801477"/>
            <a:ext cx="2749725" cy="217930"/>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Anti-integrin α4, Janus kinase inhibitor or non-selective immunosuppression</a:t>
            </a:r>
            <a:endParaRPr kumimoji="0" sz="105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endParaRPr>
          </a:p>
        </p:txBody>
      </p:sp>
      <p:sp>
        <p:nvSpPr>
          <p:cNvPr id="14" name="Google Shape;4211;p28">
            <a:extLst>
              <a:ext uri="{FF2B5EF4-FFF2-40B4-BE49-F238E27FC236}">
                <a16:creationId xmlns:a16="http://schemas.microsoft.com/office/drawing/2014/main" id="{9EAE5B87-579A-41B3-97F6-D5014787998F}"/>
              </a:ext>
            </a:extLst>
          </p:cNvPr>
          <p:cNvSpPr txBox="1"/>
          <p:nvPr/>
        </p:nvSpPr>
        <p:spPr>
          <a:xfrm>
            <a:off x="7370818" y="3665699"/>
            <a:ext cx="372045" cy="18462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No</a:t>
            </a:r>
            <a:endParaRPr kumimoji="0" sz="105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endParaRPr>
          </a:p>
        </p:txBody>
      </p:sp>
      <p:sp>
        <p:nvSpPr>
          <p:cNvPr id="15" name="Google Shape;4212;p28">
            <a:extLst>
              <a:ext uri="{FF2B5EF4-FFF2-40B4-BE49-F238E27FC236}">
                <a16:creationId xmlns:a16="http://schemas.microsoft.com/office/drawing/2014/main" id="{0B55204A-1A87-4D70-BDAB-A568ACC11EE7}"/>
              </a:ext>
            </a:extLst>
          </p:cNvPr>
          <p:cNvSpPr txBox="1"/>
          <p:nvPr/>
        </p:nvSpPr>
        <p:spPr>
          <a:xfrm>
            <a:off x="7379061" y="4132935"/>
            <a:ext cx="372045" cy="18462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No</a:t>
            </a:r>
            <a:endParaRPr kumimoji="0" sz="105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endParaRPr>
          </a:p>
        </p:txBody>
      </p:sp>
      <p:sp>
        <p:nvSpPr>
          <p:cNvPr id="16" name="Google Shape;4213;p28">
            <a:extLst>
              <a:ext uri="{FF2B5EF4-FFF2-40B4-BE49-F238E27FC236}">
                <a16:creationId xmlns:a16="http://schemas.microsoft.com/office/drawing/2014/main" id="{5E8CEA34-CD81-4AF4-81DF-4761861F7732}"/>
              </a:ext>
            </a:extLst>
          </p:cNvPr>
          <p:cNvSpPr/>
          <p:nvPr/>
        </p:nvSpPr>
        <p:spPr>
          <a:xfrm>
            <a:off x="6002964" y="4280696"/>
            <a:ext cx="2749271" cy="219600"/>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Alkylating agent, plasmapheresis</a:t>
            </a:r>
            <a:endParaRPr kumimoji="0" sz="105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endParaRPr>
          </a:p>
        </p:txBody>
      </p:sp>
      <p:sp>
        <p:nvSpPr>
          <p:cNvPr id="17" name="Google Shape;4214;p28">
            <a:extLst>
              <a:ext uri="{FF2B5EF4-FFF2-40B4-BE49-F238E27FC236}">
                <a16:creationId xmlns:a16="http://schemas.microsoft.com/office/drawing/2014/main" id="{6627F414-6681-4B34-B0FF-EC93C0FC7DFC}"/>
              </a:ext>
            </a:extLst>
          </p:cNvPr>
          <p:cNvSpPr/>
          <p:nvPr/>
        </p:nvSpPr>
        <p:spPr>
          <a:xfrm>
            <a:off x="6873262" y="3570375"/>
            <a:ext cx="1008676" cy="126476"/>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Response to therapy?</a:t>
            </a:r>
            <a:endParaRPr kumimoji="0" sz="105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endParaRPr>
          </a:p>
        </p:txBody>
      </p:sp>
      <p:sp>
        <p:nvSpPr>
          <p:cNvPr id="18" name="Google Shape;4215;p28">
            <a:extLst>
              <a:ext uri="{FF2B5EF4-FFF2-40B4-BE49-F238E27FC236}">
                <a16:creationId xmlns:a16="http://schemas.microsoft.com/office/drawing/2014/main" id="{F76BD215-9BD6-4379-A724-44F38E080FCA}"/>
              </a:ext>
            </a:extLst>
          </p:cNvPr>
          <p:cNvSpPr/>
          <p:nvPr/>
        </p:nvSpPr>
        <p:spPr>
          <a:xfrm>
            <a:off x="6005195" y="3321424"/>
            <a:ext cx="2749724" cy="217930"/>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Anti–Il-6, anti–Il-1, anti–Il-12 and anti–Il-23, </a:t>
            </a:r>
            <a:b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br>
            <a: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anti–Il-17 or anti-TNFα </a:t>
            </a:r>
            <a:endParaRPr kumimoji="0" sz="105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endParaRPr>
          </a:p>
        </p:txBody>
      </p:sp>
      <p:sp>
        <p:nvSpPr>
          <p:cNvPr id="19" name="Google Shape;4216;p28">
            <a:extLst>
              <a:ext uri="{FF2B5EF4-FFF2-40B4-BE49-F238E27FC236}">
                <a16:creationId xmlns:a16="http://schemas.microsoft.com/office/drawing/2014/main" id="{60FFE856-456A-416A-87E7-D53E9F86407B}"/>
              </a:ext>
            </a:extLst>
          </p:cNvPr>
          <p:cNvSpPr txBox="1"/>
          <p:nvPr/>
        </p:nvSpPr>
        <p:spPr>
          <a:xfrm>
            <a:off x="4900483" y="3590265"/>
            <a:ext cx="343985" cy="18462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Yes</a:t>
            </a:r>
            <a:endParaRPr kumimoji="0" sz="105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endParaRPr>
          </a:p>
        </p:txBody>
      </p:sp>
      <p:sp>
        <p:nvSpPr>
          <p:cNvPr id="20" name="Google Shape;4217;p28">
            <a:extLst>
              <a:ext uri="{FF2B5EF4-FFF2-40B4-BE49-F238E27FC236}">
                <a16:creationId xmlns:a16="http://schemas.microsoft.com/office/drawing/2014/main" id="{B46B66C5-1996-4615-9FB7-A5F4D41BB161}"/>
              </a:ext>
            </a:extLst>
          </p:cNvPr>
          <p:cNvSpPr/>
          <p:nvPr/>
        </p:nvSpPr>
        <p:spPr>
          <a:xfrm>
            <a:off x="6873262" y="4056940"/>
            <a:ext cx="1008676" cy="126476"/>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Response to therapy?</a:t>
            </a:r>
            <a:endParaRPr kumimoji="0" sz="105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endParaRPr>
          </a:p>
        </p:txBody>
      </p:sp>
      <p:sp>
        <p:nvSpPr>
          <p:cNvPr id="21" name="Google Shape;4218;p28">
            <a:extLst>
              <a:ext uri="{FF2B5EF4-FFF2-40B4-BE49-F238E27FC236}">
                <a16:creationId xmlns:a16="http://schemas.microsoft.com/office/drawing/2014/main" id="{F477BF81-29F0-465A-8B66-CAAAA9546CDE}"/>
              </a:ext>
            </a:extLst>
          </p:cNvPr>
          <p:cNvSpPr txBox="1"/>
          <p:nvPr/>
        </p:nvSpPr>
        <p:spPr>
          <a:xfrm>
            <a:off x="4900483" y="4071265"/>
            <a:ext cx="343985" cy="18462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Yes</a:t>
            </a:r>
            <a:endParaRPr kumimoji="0" sz="105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endParaRPr>
          </a:p>
        </p:txBody>
      </p:sp>
      <p:cxnSp>
        <p:nvCxnSpPr>
          <p:cNvPr id="22" name="Google Shape;4222;p28">
            <a:extLst>
              <a:ext uri="{FF2B5EF4-FFF2-40B4-BE49-F238E27FC236}">
                <a16:creationId xmlns:a16="http://schemas.microsoft.com/office/drawing/2014/main" id="{DBE250EA-A054-4337-9785-E00CA00F39E7}"/>
              </a:ext>
            </a:extLst>
          </p:cNvPr>
          <p:cNvCxnSpPr>
            <a:endCxn id="11" idx="3"/>
          </p:cNvCxnSpPr>
          <p:nvPr/>
        </p:nvCxnSpPr>
        <p:spPr>
          <a:xfrm rot="10800000">
            <a:off x="3019628" y="3430389"/>
            <a:ext cx="478931" cy="0"/>
          </a:xfrm>
          <a:prstGeom prst="straightConnector1">
            <a:avLst/>
          </a:prstGeom>
          <a:solidFill>
            <a:srgbClr val="F2F2F2"/>
          </a:solidFill>
          <a:ln w="9525" cap="flat" cmpd="sng">
            <a:solidFill>
              <a:schemeClr val="accent6"/>
            </a:solidFill>
            <a:prstDash val="solid"/>
            <a:round/>
            <a:headEnd type="none" w="sm" len="sm"/>
            <a:tailEnd type="triangle" w="med" len="med"/>
          </a:ln>
        </p:spPr>
      </p:cxnSp>
      <p:cxnSp>
        <p:nvCxnSpPr>
          <p:cNvPr id="23" name="Google Shape;4223;p28">
            <a:extLst>
              <a:ext uri="{FF2B5EF4-FFF2-40B4-BE49-F238E27FC236}">
                <a16:creationId xmlns:a16="http://schemas.microsoft.com/office/drawing/2014/main" id="{315EDA83-DD41-4A11-A737-D7E48970FC03}"/>
              </a:ext>
            </a:extLst>
          </p:cNvPr>
          <p:cNvCxnSpPr/>
          <p:nvPr/>
        </p:nvCxnSpPr>
        <p:spPr>
          <a:xfrm>
            <a:off x="5269383" y="3425675"/>
            <a:ext cx="653337" cy="0"/>
          </a:xfrm>
          <a:prstGeom prst="straightConnector1">
            <a:avLst/>
          </a:prstGeom>
          <a:solidFill>
            <a:srgbClr val="F2F2F2"/>
          </a:solidFill>
          <a:ln w="9525" cap="flat" cmpd="sng">
            <a:solidFill>
              <a:schemeClr val="accent6"/>
            </a:solidFill>
            <a:prstDash val="solid"/>
            <a:round/>
            <a:headEnd type="none" w="sm" len="sm"/>
            <a:tailEnd type="triangle" w="med" len="med"/>
          </a:ln>
        </p:spPr>
      </p:cxnSp>
      <p:cxnSp>
        <p:nvCxnSpPr>
          <p:cNvPr id="24" name="Google Shape;4224;p28">
            <a:extLst>
              <a:ext uri="{FF2B5EF4-FFF2-40B4-BE49-F238E27FC236}">
                <a16:creationId xmlns:a16="http://schemas.microsoft.com/office/drawing/2014/main" id="{F93E6F47-5AA5-4ED0-B248-23D0FC72B05B}"/>
              </a:ext>
            </a:extLst>
          </p:cNvPr>
          <p:cNvCxnSpPr/>
          <p:nvPr/>
        </p:nvCxnSpPr>
        <p:spPr>
          <a:xfrm>
            <a:off x="5269383" y="3301533"/>
            <a:ext cx="0" cy="124142"/>
          </a:xfrm>
          <a:prstGeom prst="straightConnector1">
            <a:avLst/>
          </a:prstGeom>
          <a:solidFill>
            <a:srgbClr val="F2F2F2"/>
          </a:solidFill>
          <a:ln w="9525" cap="flat" cmpd="sng">
            <a:solidFill>
              <a:schemeClr val="accent6"/>
            </a:solidFill>
            <a:prstDash val="solid"/>
            <a:round/>
            <a:headEnd type="none" w="sm" len="sm"/>
            <a:tailEnd type="none" w="sm" len="sm"/>
          </a:ln>
        </p:spPr>
      </p:cxnSp>
      <p:sp>
        <p:nvSpPr>
          <p:cNvPr id="25" name="Google Shape;4225;p28">
            <a:extLst>
              <a:ext uri="{FF2B5EF4-FFF2-40B4-BE49-F238E27FC236}">
                <a16:creationId xmlns:a16="http://schemas.microsoft.com/office/drawing/2014/main" id="{2CC13744-F4DB-459D-95B4-B729FB743DC9}"/>
              </a:ext>
            </a:extLst>
          </p:cNvPr>
          <p:cNvSpPr txBox="1"/>
          <p:nvPr/>
        </p:nvSpPr>
        <p:spPr>
          <a:xfrm>
            <a:off x="3886534" y="3338076"/>
            <a:ext cx="1101713" cy="184626"/>
          </a:xfrm>
          <a:prstGeom prst="rect">
            <a:avLst/>
          </a:prstGeom>
          <a:solidFill>
            <a:srgbClr val="F2F2F2"/>
          </a:solidFill>
          <a:ln>
            <a:noFill/>
          </a:ln>
        </p:spPr>
        <p:txBody>
          <a:bodyPr spcFirstLastPara="1" wrap="square" lIns="91425" tIns="45700" rIns="91425" bIns="4570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First-line treatment</a:t>
            </a:r>
            <a:endParaRPr kumimoji="0" sz="105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endParaRPr>
          </a:p>
        </p:txBody>
      </p:sp>
      <p:sp>
        <p:nvSpPr>
          <p:cNvPr id="26" name="Google Shape;4226;p28">
            <a:extLst>
              <a:ext uri="{FF2B5EF4-FFF2-40B4-BE49-F238E27FC236}">
                <a16:creationId xmlns:a16="http://schemas.microsoft.com/office/drawing/2014/main" id="{804AC2E0-467A-47C9-BE99-12B5495782A6}"/>
              </a:ext>
            </a:extLst>
          </p:cNvPr>
          <p:cNvSpPr txBox="1"/>
          <p:nvPr/>
        </p:nvSpPr>
        <p:spPr>
          <a:xfrm>
            <a:off x="3780656" y="3824499"/>
            <a:ext cx="1313474" cy="184626"/>
          </a:xfrm>
          <a:prstGeom prst="rect">
            <a:avLst/>
          </a:prstGeom>
          <a:solidFill>
            <a:srgbClr val="F2F2F2"/>
          </a:solidFill>
          <a:ln>
            <a:noFill/>
          </a:ln>
        </p:spPr>
        <p:txBody>
          <a:bodyPr spcFirstLastPara="1" wrap="square" lIns="91425" tIns="45700" rIns="91425" bIns="4570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Second-line treatment</a:t>
            </a:r>
            <a:endParaRPr kumimoji="0" sz="105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endParaRPr>
          </a:p>
        </p:txBody>
      </p:sp>
      <p:sp>
        <p:nvSpPr>
          <p:cNvPr id="27" name="Google Shape;4227;p28">
            <a:extLst>
              <a:ext uri="{FF2B5EF4-FFF2-40B4-BE49-F238E27FC236}">
                <a16:creationId xmlns:a16="http://schemas.microsoft.com/office/drawing/2014/main" id="{04239AE4-50DA-4717-A4BE-6501466453C8}"/>
              </a:ext>
            </a:extLst>
          </p:cNvPr>
          <p:cNvSpPr txBox="1"/>
          <p:nvPr/>
        </p:nvSpPr>
        <p:spPr>
          <a:xfrm>
            <a:off x="3780656" y="4298184"/>
            <a:ext cx="1313474" cy="184626"/>
          </a:xfrm>
          <a:prstGeom prst="rect">
            <a:avLst/>
          </a:prstGeom>
          <a:solidFill>
            <a:srgbClr val="F2F2F2"/>
          </a:solidFill>
          <a:ln>
            <a:noFill/>
          </a:ln>
        </p:spPr>
        <p:txBody>
          <a:bodyPr spcFirstLastPara="1" wrap="square" lIns="91425" tIns="45700" rIns="91425" bIns="4570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Third-line treatment</a:t>
            </a:r>
            <a:endParaRPr kumimoji="0" sz="105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endParaRPr>
          </a:p>
        </p:txBody>
      </p:sp>
      <p:cxnSp>
        <p:nvCxnSpPr>
          <p:cNvPr id="28" name="Google Shape;4228;p28">
            <a:extLst>
              <a:ext uri="{FF2B5EF4-FFF2-40B4-BE49-F238E27FC236}">
                <a16:creationId xmlns:a16="http://schemas.microsoft.com/office/drawing/2014/main" id="{AB992670-C421-4D93-BC48-15ACB222129A}"/>
              </a:ext>
            </a:extLst>
          </p:cNvPr>
          <p:cNvCxnSpPr/>
          <p:nvPr/>
        </p:nvCxnSpPr>
        <p:spPr>
          <a:xfrm>
            <a:off x="3498455" y="3055201"/>
            <a:ext cx="0" cy="371314"/>
          </a:xfrm>
          <a:prstGeom prst="straightConnector1">
            <a:avLst/>
          </a:prstGeom>
          <a:noFill/>
          <a:ln w="9525" cap="flat" cmpd="sng">
            <a:solidFill>
              <a:schemeClr val="accent6"/>
            </a:solidFill>
            <a:prstDash val="solid"/>
            <a:round/>
            <a:headEnd type="none" w="sm" len="sm"/>
            <a:tailEnd type="none" w="sm" len="sm"/>
          </a:ln>
        </p:spPr>
      </p:cxnSp>
      <p:sp>
        <p:nvSpPr>
          <p:cNvPr id="29" name="Google Shape;4229;p28">
            <a:extLst>
              <a:ext uri="{FF2B5EF4-FFF2-40B4-BE49-F238E27FC236}">
                <a16:creationId xmlns:a16="http://schemas.microsoft.com/office/drawing/2014/main" id="{69EDEF7C-C1C5-479C-B201-0D8ABB47A8A8}"/>
              </a:ext>
            </a:extLst>
          </p:cNvPr>
          <p:cNvSpPr/>
          <p:nvPr/>
        </p:nvSpPr>
        <p:spPr>
          <a:xfrm>
            <a:off x="3252135" y="1238249"/>
            <a:ext cx="2367574" cy="150795"/>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1"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Affected organ(s) biopsy available?</a:t>
            </a:r>
            <a:endParaRPr kumimoji="0" sz="1050" b="1"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endParaRPr>
          </a:p>
        </p:txBody>
      </p:sp>
      <p:cxnSp>
        <p:nvCxnSpPr>
          <p:cNvPr id="30" name="Google Shape;4230;p28">
            <a:extLst>
              <a:ext uri="{FF2B5EF4-FFF2-40B4-BE49-F238E27FC236}">
                <a16:creationId xmlns:a16="http://schemas.microsoft.com/office/drawing/2014/main" id="{31DBD408-2280-47CB-A3D4-D61B4833039D}"/>
              </a:ext>
            </a:extLst>
          </p:cNvPr>
          <p:cNvCxnSpPr/>
          <p:nvPr/>
        </p:nvCxnSpPr>
        <p:spPr>
          <a:xfrm>
            <a:off x="4435923" y="1364726"/>
            <a:ext cx="0" cy="159348"/>
          </a:xfrm>
          <a:prstGeom prst="straightConnector1">
            <a:avLst/>
          </a:prstGeom>
          <a:noFill/>
          <a:ln w="9525" cap="flat" cmpd="sng">
            <a:solidFill>
              <a:schemeClr val="accent6"/>
            </a:solidFill>
            <a:prstDash val="solid"/>
            <a:round/>
            <a:headEnd type="none" w="sm" len="sm"/>
            <a:tailEnd type="none" w="sm" len="sm"/>
          </a:ln>
        </p:spPr>
      </p:cxnSp>
      <p:cxnSp>
        <p:nvCxnSpPr>
          <p:cNvPr id="31" name="Google Shape;4231;p28">
            <a:extLst>
              <a:ext uri="{FF2B5EF4-FFF2-40B4-BE49-F238E27FC236}">
                <a16:creationId xmlns:a16="http://schemas.microsoft.com/office/drawing/2014/main" id="{66C9A6EA-A9B9-48A0-85AE-78CB9C4421DC}"/>
              </a:ext>
            </a:extLst>
          </p:cNvPr>
          <p:cNvCxnSpPr/>
          <p:nvPr/>
        </p:nvCxnSpPr>
        <p:spPr>
          <a:xfrm>
            <a:off x="2678590" y="1524073"/>
            <a:ext cx="5008174" cy="0"/>
          </a:xfrm>
          <a:prstGeom prst="straightConnector1">
            <a:avLst/>
          </a:prstGeom>
          <a:noFill/>
          <a:ln w="9525" cap="flat" cmpd="sng">
            <a:solidFill>
              <a:schemeClr val="accent6"/>
            </a:solidFill>
            <a:prstDash val="solid"/>
            <a:round/>
            <a:headEnd type="none" w="sm" len="sm"/>
            <a:tailEnd type="none" w="sm" len="sm"/>
          </a:ln>
        </p:spPr>
      </p:cxnSp>
      <p:sp>
        <p:nvSpPr>
          <p:cNvPr id="32" name="Google Shape;4232;p28">
            <a:extLst>
              <a:ext uri="{FF2B5EF4-FFF2-40B4-BE49-F238E27FC236}">
                <a16:creationId xmlns:a16="http://schemas.microsoft.com/office/drawing/2014/main" id="{E49F2C6E-D39E-4D81-9602-21231982CB26}"/>
              </a:ext>
            </a:extLst>
          </p:cNvPr>
          <p:cNvSpPr/>
          <p:nvPr/>
        </p:nvSpPr>
        <p:spPr>
          <a:xfrm>
            <a:off x="7742864" y="2724550"/>
            <a:ext cx="912641" cy="126476"/>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Steroid tapering</a:t>
            </a:r>
            <a:endParaRPr kumimoji="0" sz="105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endParaRPr>
          </a:p>
        </p:txBody>
      </p:sp>
      <p:sp>
        <p:nvSpPr>
          <p:cNvPr id="33" name="Google Shape;4233;p28">
            <a:extLst>
              <a:ext uri="{FF2B5EF4-FFF2-40B4-BE49-F238E27FC236}">
                <a16:creationId xmlns:a16="http://schemas.microsoft.com/office/drawing/2014/main" id="{591C1EB2-CB0D-476F-A74F-0656D50A0F21}"/>
              </a:ext>
            </a:extLst>
          </p:cNvPr>
          <p:cNvSpPr txBox="1"/>
          <p:nvPr/>
        </p:nvSpPr>
        <p:spPr>
          <a:xfrm>
            <a:off x="2452395" y="2767007"/>
            <a:ext cx="341714" cy="18462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rPr>
              <a:t>No</a:t>
            </a:r>
            <a:endParaRPr kumimoji="0" sz="105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34" name="Google Shape;4234;p28">
            <a:extLst>
              <a:ext uri="{FF2B5EF4-FFF2-40B4-BE49-F238E27FC236}">
                <a16:creationId xmlns:a16="http://schemas.microsoft.com/office/drawing/2014/main" id="{1E8D2931-F149-49E7-9607-BACF57B39445}"/>
              </a:ext>
            </a:extLst>
          </p:cNvPr>
          <p:cNvSpPr txBox="1"/>
          <p:nvPr/>
        </p:nvSpPr>
        <p:spPr>
          <a:xfrm>
            <a:off x="2062262" y="2909875"/>
            <a:ext cx="341714" cy="18462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rPr>
              <a:t>Yes</a:t>
            </a:r>
            <a:endParaRPr kumimoji="0" sz="105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35" name="Google Shape;4235;p28">
            <a:extLst>
              <a:ext uri="{FF2B5EF4-FFF2-40B4-BE49-F238E27FC236}">
                <a16:creationId xmlns:a16="http://schemas.microsoft.com/office/drawing/2014/main" id="{652C2267-326A-49C7-9607-444F5C8B27B6}"/>
              </a:ext>
            </a:extLst>
          </p:cNvPr>
          <p:cNvSpPr txBox="1"/>
          <p:nvPr/>
        </p:nvSpPr>
        <p:spPr>
          <a:xfrm>
            <a:off x="7742863" y="2050090"/>
            <a:ext cx="341714" cy="18462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Yes</a:t>
            </a:r>
            <a:endParaRPr kumimoji="0" sz="105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endParaRPr>
          </a:p>
        </p:txBody>
      </p:sp>
      <p:sp>
        <p:nvSpPr>
          <p:cNvPr id="36" name="Google Shape;4236;p28">
            <a:extLst>
              <a:ext uri="{FF2B5EF4-FFF2-40B4-BE49-F238E27FC236}">
                <a16:creationId xmlns:a16="http://schemas.microsoft.com/office/drawing/2014/main" id="{1DB90379-C71A-4E1F-A470-8A31BCAF3E4F}"/>
              </a:ext>
            </a:extLst>
          </p:cNvPr>
          <p:cNvSpPr txBox="1"/>
          <p:nvPr/>
        </p:nvSpPr>
        <p:spPr>
          <a:xfrm>
            <a:off x="3488803" y="3125425"/>
            <a:ext cx="341714" cy="18462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rPr>
              <a:t>Yes</a:t>
            </a:r>
            <a:endParaRPr kumimoji="0" sz="105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37" name="Google Shape;4237;p28">
            <a:extLst>
              <a:ext uri="{FF2B5EF4-FFF2-40B4-BE49-F238E27FC236}">
                <a16:creationId xmlns:a16="http://schemas.microsoft.com/office/drawing/2014/main" id="{7844D109-C02F-4AAA-876B-296EC77F96E7}"/>
              </a:ext>
            </a:extLst>
          </p:cNvPr>
          <p:cNvSpPr txBox="1"/>
          <p:nvPr/>
        </p:nvSpPr>
        <p:spPr>
          <a:xfrm>
            <a:off x="3974316" y="1353046"/>
            <a:ext cx="341714" cy="18462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Yes</a:t>
            </a:r>
            <a:endParaRPr kumimoji="0" sz="105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endParaRPr>
          </a:p>
        </p:txBody>
      </p:sp>
      <p:sp>
        <p:nvSpPr>
          <p:cNvPr id="38" name="Google Shape;4238;p28">
            <a:extLst>
              <a:ext uri="{FF2B5EF4-FFF2-40B4-BE49-F238E27FC236}">
                <a16:creationId xmlns:a16="http://schemas.microsoft.com/office/drawing/2014/main" id="{A4EB7790-0951-477E-A030-44A8619D2D22}"/>
              </a:ext>
            </a:extLst>
          </p:cNvPr>
          <p:cNvSpPr txBox="1"/>
          <p:nvPr/>
        </p:nvSpPr>
        <p:spPr>
          <a:xfrm>
            <a:off x="4657512" y="1353046"/>
            <a:ext cx="430275" cy="18462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rPr>
              <a:t>No</a:t>
            </a:r>
            <a:endParaRPr kumimoji="0" sz="1050" b="0" i="0" u="none" strike="noStrike" kern="0" cap="none" spc="0" normalizeH="0" baseline="0" noProof="0">
              <a:ln>
                <a:noFill/>
              </a:ln>
              <a:solidFill>
                <a:srgbClr val="545859"/>
              </a:solidFill>
              <a:effectLst/>
              <a:uLnTx/>
              <a:uFillTx/>
              <a:latin typeface="Gene Sans Light" panose="00000400000000000000" pitchFamily="2" charset="0"/>
              <a:cs typeface="Arial"/>
              <a:sym typeface="Arial"/>
            </a:endParaRPr>
          </a:p>
        </p:txBody>
      </p:sp>
      <p:sp>
        <p:nvSpPr>
          <p:cNvPr id="39" name="Google Shape;4239;p28">
            <a:extLst>
              <a:ext uri="{FF2B5EF4-FFF2-40B4-BE49-F238E27FC236}">
                <a16:creationId xmlns:a16="http://schemas.microsoft.com/office/drawing/2014/main" id="{7C8938DA-7F95-476B-BEDD-A4B351B3FF8F}"/>
              </a:ext>
            </a:extLst>
          </p:cNvPr>
          <p:cNvSpPr txBox="1"/>
          <p:nvPr/>
        </p:nvSpPr>
        <p:spPr>
          <a:xfrm>
            <a:off x="6379167" y="2050090"/>
            <a:ext cx="382681" cy="18462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No</a:t>
            </a:r>
            <a:endParaRPr kumimoji="0" sz="105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endParaRPr>
          </a:p>
        </p:txBody>
      </p:sp>
      <p:sp>
        <p:nvSpPr>
          <p:cNvPr id="40" name="Google Shape;4240;p28">
            <a:extLst>
              <a:ext uri="{FF2B5EF4-FFF2-40B4-BE49-F238E27FC236}">
                <a16:creationId xmlns:a16="http://schemas.microsoft.com/office/drawing/2014/main" id="{88347660-A50C-4DF3-A055-2C9BED4C5D79}"/>
              </a:ext>
            </a:extLst>
          </p:cNvPr>
          <p:cNvSpPr txBox="1"/>
          <p:nvPr/>
        </p:nvSpPr>
        <p:spPr>
          <a:xfrm>
            <a:off x="4791740" y="3031289"/>
            <a:ext cx="352103" cy="18462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rPr>
              <a:t>No</a:t>
            </a:r>
            <a:endParaRPr kumimoji="0" sz="1050" b="0" i="0" u="none" strike="noStrike" kern="0" cap="none" spc="0" normalizeH="0" baseline="0" noProof="0" dirty="0">
              <a:ln>
                <a:noFill/>
              </a:ln>
              <a:solidFill>
                <a:srgbClr val="545859"/>
              </a:solidFill>
              <a:effectLst/>
              <a:uLnTx/>
              <a:uFillTx/>
              <a:latin typeface="Gene Sans Light" panose="00000400000000000000" pitchFamily="2" charset="0"/>
              <a:cs typeface="Arial"/>
              <a:sym typeface="Arial"/>
            </a:endParaRPr>
          </a:p>
        </p:txBody>
      </p:sp>
      <p:cxnSp>
        <p:nvCxnSpPr>
          <p:cNvPr id="41" name="Google Shape;4241;p28">
            <a:extLst>
              <a:ext uri="{FF2B5EF4-FFF2-40B4-BE49-F238E27FC236}">
                <a16:creationId xmlns:a16="http://schemas.microsoft.com/office/drawing/2014/main" id="{7E78E055-77EA-4D10-AB4F-10FB3696F280}"/>
              </a:ext>
            </a:extLst>
          </p:cNvPr>
          <p:cNvCxnSpPr>
            <a:cxnSpLocks/>
            <a:endCxn id="54" idx="0"/>
          </p:cNvCxnSpPr>
          <p:nvPr/>
        </p:nvCxnSpPr>
        <p:spPr>
          <a:xfrm>
            <a:off x="873994" y="1613450"/>
            <a:ext cx="0" cy="732096"/>
          </a:xfrm>
          <a:prstGeom prst="straightConnector1">
            <a:avLst/>
          </a:prstGeom>
          <a:noFill/>
          <a:ln w="9525" cap="flat" cmpd="sng">
            <a:solidFill>
              <a:schemeClr val="accent6"/>
            </a:solidFill>
            <a:prstDash val="solid"/>
            <a:round/>
            <a:headEnd type="none" w="sm" len="sm"/>
            <a:tailEnd type="triangle" w="med" len="med"/>
          </a:ln>
        </p:spPr>
      </p:cxnSp>
      <p:cxnSp>
        <p:nvCxnSpPr>
          <p:cNvPr id="42" name="Google Shape;4242;p28">
            <a:extLst>
              <a:ext uri="{FF2B5EF4-FFF2-40B4-BE49-F238E27FC236}">
                <a16:creationId xmlns:a16="http://schemas.microsoft.com/office/drawing/2014/main" id="{90E11DB8-5577-47DD-A29E-E6EA36E68E89}"/>
              </a:ext>
            </a:extLst>
          </p:cNvPr>
          <p:cNvCxnSpPr/>
          <p:nvPr/>
        </p:nvCxnSpPr>
        <p:spPr>
          <a:xfrm>
            <a:off x="2349519" y="1727342"/>
            <a:ext cx="0" cy="1648875"/>
          </a:xfrm>
          <a:prstGeom prst="straightConnector1">
            <a:avLst/>
          </a:prstGeom>
          <a:noFill/>
          <a:ln w="9525" cap="flat" cmpd="sng">
            <a:solidFill>
              <a:schemeClr val="accent6"/>
            </a:solidFill>
            <a:prstDash val="solid"/>
            <a:round/>
            <a:headEnd type="none" w="sm" len="sm"/>
            <a:tailEnd type="triangle" w="med" len="med"/>
          </a:ln>
        </p:spPr>
      </p:cxnSp>
      <p:cxnSp>
        <p:nvCxnSpPr>
          <p:cNvPr id="43" name="Google Shape;4243;p28">
            <a:extLst>
              <a:ext uri="{FF2B5EF4-FFF2-40B4-BE49-F238E27FC236}">
                <a16:creationId xmlns:a16="http://schemas.microsoft.com/office/drawing/2014/main" id="{99EDAA96-6478-47C1-8136-B6265D6F2541}"/>
              </a:ext>
            </a:extLst>
          </p:cNvPr>
          <p:cNvCxnSpPr>
            <a:cxnSpLocks/>
          </p:cNvCxnSpPr>
          <p:nvPr/>
        </p:nvCxnSpPr>
        <p:spPr>
          <a:xfrm>
            <a:off x="4128529" y="1681163"/>
            <a:ext cx="0" cy="626620"/>
          </a:xfrm>
          <a:prstGeom prst="straightConnector1">
            <a:avLst/>
          </a:prstGeom>
          <a:noFill/>
          <a:ln w="9525" cap="flat" cmpd="sng">
            <a:solidFill>
              <a:schemeClr val="accent6"/>
            </a:solidFill>
            <a:prstDash val="solid"/>
            <a:round/>
            <a:headEnd type="none" w="sm" len="sm"/>
            <a:tailEnd type="triangle" w="med" len="med"/>
          </a:ln>
        </p:spPr>
      </p:cxnSp>
      <p:cxnSp>
        <p:nvCxnSpPr>
          <p:cNvPr id="44" name="Google Shape;4244;p28">
            <a:extLst>
              <a:ext uri="{FF2B5EF4-FFF2-40B4-BE49-F238E27FC236}">
                <a16:creationId xmlns:a16="http://schemas.microsoft.com/office/drawing/2014/main" id="{C7DD17C1-498E-4E9F-8DCA-C46194D945AF}"/>
              </a:ext>
            </a:extLst>
          </p:cNvPr>
          <p:cNvCxnSpPr/>
          <p:nvPr/>
        </p:nvCxnSpPr>
        <p:spPr>
          <a:xfrm>
            <a:off x="2350142" y="2787788"/>
            <a:ext cx="1019711" cy="0"/>
          </a:xfrm>
          <a:prstGeom prst="straightConnector1">
            <a:avLst/>
          </a:prstGeom>
          <a:noFill/>
          <a:ln w="9525" cap="flat" cmpd="sng">
            <a:solidFill>
              <a:schemeClr val="accent6"/>
            </a:solidFill>
            <a:prstDash val="solid"/>
            <a:round/>
            <a:headEnd type="none" w="sm" len="sm"/>
            <a:tailEnd type="triangle" w="med" len="med"/>
          </a:ln>
        </p:spPr>
      </p:cxnSp>
      <p:cxnSp>
        <p:nvCxnSpPr>
          <p:cNvPr id="45" name="Google Shape;4245;p28">
            <a:extLst>
              <a:ext uri="{FF2B5EF4-FFF2-40B4-BE49-F238E27FC236}">
                <a16:creationId xmlns:a16="http://schemas.microsoft.com/office/drawing/2014/main" id="{9B3A57E7-77DB-4EFB-B496-3BFCDFC29493}"/>
              </a:ext>
            </a:extLst>
          </p:cNvPr>
          <p:cNvCxnSpPr>
            <a:cxnSpLocks/>
            <a:stCxn id="51" idx="2"/>
            <a:endCxn id="64" idx="0"/>
          </p:cNvCxnSpPr>
          <p:nvPr/>
        </p:nvCxnSpPr>
        <p:spPr>
          <a:xfrm>
            <a:off x="4648059" y="2851026"/>
            <a:ext cx="0" cy="98589"/>
          </a:xfrm>
          <a:prstGeom prst="straightConnector1">
            <a:avLst/>
          </a:prstGeom>
          <a:noFill/>
          <a:ln w="9525" cap="flat" cmpd="sng">
            <a:solidFill>
              <a:schemeClr val="accent6"/>
            </a:solidFill>
            <a:prstDash val="solid"/>
            <a:round/>
            <a:headEnd type="none" w="sm" len="sm"/>
            <a:tailEnd type="none" w="sm" len="sm"/>
          </a:ln>
        </p:spPr>
      </p:cxnSp>
      <p:cxnSp>
        <p:nvCxnSpPr>
          <p:cNvPr id="46" name="Google Shape;4248;p28">
            <a:extLst>
              <a:ext uri="{FF2B5EF4-FFF2-40B4-BE49-F238E27FC236}">
                <a16:creationId xmlns:a16="http://schemas.microsoft.com/office/drawing/2014/main" id="{649CF8B3-D2EF-4F0F-A9B6-7465E8920395}"/>
              </a:ext>
            </a:extLst>
          </p:cNvPr>
          <p:cNvCxnSpPr/>
          <p:nvPr/>
        </p:nvCxnSpPr>
        <p:spPr>
          <a:xfrm>
            <a:off x="7685991" y="1524073"/>
            <a:ext cx="0" cy="741135"/>
          </a:xfrm>
          <a:prstGeom prst="straightConnector1">
            <a:avLst/>
          </a:prstGeom>
          <a:noFill/>
          <a:ln w="9525" cap="flat" cmpd="sng">
            <a:solidFill>
              <a:schemeClr val="accent6"/>
            </a:solidFill>
            <a:prstDash val="solid"/>
            <a:round/>
            <a:headEnd type="none" w="sm" len="sm"/>
            <a:tailEnd type="triangle" w="med" len="med"/>
          </a:ln>
        </p:spPr>
      </p:cxnSp>
      <p:cxnSp>
        <p:nvCxnSpPr>
          <p:cNvPr id="47" name="Google Shape;4249;p28">
            <a:extLst>
              <a:ext uri="{FF2B5EF4-FFF2-40B4-BE49-F238E27FC236}">
                <a16:creationId xmlns:a16="http://schemas.microsoft.com/office/drawing/2014/main" id="{475B31E7-C30D-498A-8D84-B63B23467E67}"/>
              </a:ext>
            </a:extLst>
          </p:cNvPr>
          <p:cNvCxnSpPr>
            <a:cxnSpLocks/>
          </p:cNvCxnSpPr>
          <p:nvPr/>
        </p:nvCxnSpPr>
        <p:spPr>
          <a:xfrm>
            <a:off x="5562618" y="2264029"/>
            <a:ext cx="2636566" cy="0"/>
          </a:xfrm>
          <a:prstGeom prst="straightConnector1">
            <a:avLst/>
          </a:prstGeom>
          <a:noFill/>
          <a:ln w="9525" cap="flat" cmpd="sng">
            <a:solidFill>
              <a:schemeClr val="accent6"/>
            </a:solidFill>
            <a:prstDash val="solid"/>
            <a:round/>
            <a:headEnd type="none" w="sm" len="sm"/>
            <a:tailEnd type="none" w="sm" len="sm"/>
          </a:ln>
        </p:spPr>
      </p:cxnSp>
      <p:cxnSp>
        <p:nvCxnSpPr>
          <p:cNvPr id="48" name="Google Shape;4250;p28">
            <a:extLst>
              <a:ext uri="{FF2B5EF4-FFF2-40B4-BE49-F238E27FC236}">
                <a16:creationId xmlns:a16="http://schemas.microsoft.com/office/drawing/2014/main" id="{6F1996A6-C16A-4629-858E-7BD5A757BB49}"/>
              </a:ext>
            </a:extLst>
          </p:cNvPr>
          <p:cNvCxnSpPr/>
          <p:nvPr/>
        </p:nvCxnSpPr>
        <p:spPr>
          <a:xfrm>
            <a:off x="8199184" y="2265209"/>
            <a:ext cx="0" cy="397308"/>
          </a:xfrm>
          <a:prstGeom prst="straightConnector1">
            <a:avLst/>
          </a:prstGeom>
          <a:noFill/>
          <a:ln w="9525" cap="flat" cmpd="sng">
            <a:solidFill>
              <a:schemeClr val="accent6"/>
            </a:solidFill>
            <a:prstDash val="solid"/>
            <a:round/>
            <a:headEnd type="none" w="sm" len="sm"/>
            <a:tailEnd type="triangle" w="med" len="med"/>
          </a:ln>
        </p:spPr>
      </p:cxnSp>
      <p:cxnSp>
        <p:nvCxnSpPr>
          <p:cNvPr id="49" name="Google Shape;4251;p28">
            <a:extLst>
              <a:ext uri="{FF2B5EF4-FFF2-40B4-BE49-F238E27FC236}">
                <a16:creationId xmlns:a16="http://schemas.microsoft.com/office/drawing/2014/main" id="{FA2CEC38-B047-4028-9952-5B720F1A8519}"/>
              </a:ext>
            </a:extLst>
          </p:cNvPr>
          <p:cNvCxnSpPr>
            <a:cxnSpLocks/>
          </p:cNvCxnSpPr>
          <p:nvPr/>
        </p:nvCxnSpPr>
        <p:spPr>
          <a:xfrm>
            <a:off x="5562618" y="2265209"/>
            <a:ext cx="0" cy="419268"/>
          </a:xfrm>
          <a:prstGeom prst="straightConnector1">
            <a:avLst/>
          </a:prstGeom>
          <a:noFill/>
          <a:ln w="9525" cap="flat" cmpd="sng">
            <a:solidFill>
              <a:schemeClr val="accent6"/>
            </a:solidFill>
            <a:prstDash val="solid"/>
            <a:round/>
            <a:headEnd type="none" w="sm" len="sm"/>
            <a:tailEnd type="triangle" w="med" len="med"/>
          </a:ln>
        </p:spPr>
      </p:cxnSp>
      <p:sp>
        <p:nvSpPr>
          <p:cNvPr id="50" name="Google Shape;4252;p28">
            <a:extLst>
              <a:ext uri="{FF2B5EF4-FFF2-40B4-BE49-F238E27FC236}">
                <a16:creationId xmlns:a16="http://schemas.microsoft.com/office/drawing/2014/main" id="{4CBEC844-CBE3-463F-BAA8-5315241A147C}"/>
              </a:ext>
            </a:extLst>
          </p:cNvPr>
          <p:cNvSpPr/>
          <p:nvPr/>
        </p:nvSpPr>
        <p:spPr>
          <a:xfrm>
            <a:off x="6629477" y="1613450"/>
            <a:ext cx="2122759" cy="127990"/>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rgbClr val="FFFFFF"/>
                </a:solidFill>
                <a:effectLst/>
                <a:uLnTx/>
                <a:uFillTx/>
                <a:latin typeface="Gene Sans Light" panose="00000400000000000000" pitchFamily="2" charset="0"/>
                <a:cs typeface="Arial"/>
                <a:sym typeface="Arial"/>
              </a:rPr>
              <a:t>Anti–Il-6, anti-TNFα or anti–Il-1</a:t>
            </a:r>
            <a:endParaRPr kumimoji="0" sz="1050" b="0" i="0" u="none" strike="noStrike" kern="0" cap="none" spc="0" normalizeH="0" baseline="0" noProof="0">
              <a:ln>
                <a:noFill/>
              </a:ln>
              <a:solidFill>
                <a:srgbClr val="FFFFFF"/>
              </a:solidFill>
              <a:effectLst/>
              <a:uLnTx/>
              <a:uFillTx/>
              <a:latin typeface="Gene Sans Light" panose="00000400000000000000" pitchFamily="2" charset="0"/>
              <a:cs typeface="Arial"/>
              <a:sym typeface="Arial"/>
            </a:endParaRPr>
          </a:p>
        </p:txBody>
      </p:sp>
      <p:sp>
        <p:nvSpPr>
          <p:cNvPr id="51" name="Google Shape;4246;p28">
            <a:extLst>
              <a:ext uri="{FF2B5EF4-FFF2-40B4-BE49-F238E27FC236}">
                <a16:creationId xmlns:a16="http://schemas.microsoft.com/office/drawing/2014/main" id="{CA755988-5CE2-4EE4-B81C-75F7BD5BAEE0}"/>
              </a:ext>
            </a:extLst>
          </p:cNvPr>
          <p:cNvSpPr/>
          <p:nvPr/>
        </p:nvSpPr>
        <p:spPr>
          <a:xfrm>
            <a:off x="3394060" y="2724550"/>
            <a:ext cx="2507997" cy="126476"/>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Second course (after 2 weeks)</a:t>
            </a:r>
            <a:endParaRPr kumimoji="0" sz="105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endParaRPr>
          </a:p>
        </p:txBody>
      </p:sp>
      <p:sp>
        <p:nvSpPr>
          <p:cNvPr id="52" name="Google Shape;4253;p28">
            <a:extLst>
              <a:ext uri="{FF2B5EF4-FFF2-40B4-BE49-F238E27FC236}">
                <a16:creationId xmlns:a16="http://schemas.microsoft.com/office/drawing/2014/main" id="{AF368916-7A0D-460F-991E-BDE76F0F3CF9}"/>
              </a:ext>
            </a:extLst>
          </p:cNvPr>
          <p:cNvSpPr/>
          <p:nvPr/>
        </p:nvSpPr>
        <p:spPr>
          <a:xfrm>
            <a:off x="3067814" y="1820460"/>
            <a:ext cx="2121430" cy="146699"/>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Monocytic, neutrophilic and/or granulomatous features</a:t>
            </a:r>
            <a:endParaRPr kumimoji="0" sz="105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endParaRPr>
          </a:p>
        </p:txBody>
      </p:sp>
      <p:sp>
        <p:nvSpPr>
          <p:cNvPr id="53" name="Google Shape;4254;p28">
            <a:extLst>
              <a:ext uri="{FF2B5EF4-FFF2-40B4-BE49-F238E27FC236}">
                <a16:creationId xmlns:a16="http://schemas.microsoft.com/office/drawing/2014/main" id="{CEC97271-9FA2-48FD-B688-4D52AE66F854}"/>
              </a:ext>
            </a:extLst>
          </p:cNvPr>
          <p:cNvSpPr/>
          <p:nvPr/>
        </p:nvSpPr>
        <p:spPr>
          <a:xfrm>
            <a:off x="3067815" y="2345546"/>
            <a:ext cx="2121428" cy="128450"/>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Anti-TNFα</a:t>
            </a:r>
            <a:endParaRPr kumimoji="0"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endParaRPr>
          </a:p>
        </p:txBody>
      </p:sp>
      <p:sp>
        <p:nvSpPr>
          <p:cNvPr id="54" name="Google Shape;4255;p28">
            <a:extLst>
              <a:ext uri="{FF2B5EF4-FFF2-40B4-BE49-F238E27FC236}">
                <a16:creationId xmlns:a16="http://schemas.microsoft.com/office/drawing/2014/main" id="{FF814968-2E7E-45BA-B320-FD916B55984E}"/>
              </a:ext>
            </a:extLst>
          </p:cNvPr>
          <p:cNvSpPr/>
          <p:nvPr/>
        </p:nvSpPr>
        <p:spPr>
          <a:xfrm>
            <a:off x="377952" y="2345546"/>
            <a:ext cx="992083" cy="128450"/>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Anti–Il-6</a:t>
            </a:r>
            <a:endParaRPr kumimoji="0" sz="105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endParaRPr>
          </a:p>
        </p:txBody>
      </p:sp>
      <p:sp>
        <p:nvSpPr>
          <p:cNvPr id="55" name="Google Shape;4256;p28">
            <a:extLst>
              <a:ext uri="{FF2B5EF4-FFF2-40B4-BE49-F238E27FC236}">
                <a16:creationId xmlns:a16="http://schemas.microsoft.com/office/drawing/2014/main" id="{501ECE4A-3CAC-4D32-A75C-BCE3443363A1}"/>
              </a:ext>
            </a:extLst>
          </p:cNvPr>
          <p:cNvSpPr/>
          <p:nvPr/>
        </p:nvSpPr>
        <p:spPr>
          <a:xfrm>
            <a:off x="377952" y="2015943"/>
            <a:ext cx="992085" cy="218489"/>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T-cell prominent</a:t>
            </a:r>
            <a:endParaRPr kumimoji="0" sz="105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endParaRPr>
          </a:p>
        </p:txBody>
      </p:sp>
      <p:sp>
        <p:nvSpPr>
          <p:cNvPr id="56" name="Google Shape;4257;p28">
            <a:extLst>
              <a:ext uri="{FF2B5EF4-FFF2-40B4-BE49-F238E27FC236}">
                <a16:creationId xmlns:a16="http://schemas.microsoft.com/office/drawing/2014/main" id="{1DCCBA8E-F19A-4A55-A78E-525AA7551A11}"/>
              </a:ext>
            </a:extLst>
          </p:cNvPr>
          <p:cNvSpPr/>
          <p:nvPr/>
        </p:nvSpPr>
        <p:spPr>
          <a:xfrm>
            <a:off x="377952" y="1820460"/>
            <a:ext cx="2579874" cy="146699"/>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Lymphocytic</a:t>
            </a:r>
            <a:endParaRPr kumimoji="0" sz="105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endParaRPr>
          </a:p>
        </p:txBody>
      </p:sp>
      <p:sp>
        <p:nvSpPr>
          <p:cNvPr id="57" name="Google Shape;4258;p28">
            <a:extLst>
              <a:ext uri="{FF2B5EF4-FFF2-40B4-BE49-F238E27FC236}">
                <a16:creationId xmlns:a16="http://schemas.microsoft.com/office/drawing/2014/main" id="{B9A027EF-FC8C-4413-91EF-9AFC0D26FFB7}"/>
              </a:ext>
            </a:extLst>
          </p:cNvPr>
          <p:cNvSpPr/>
          <p:nvPr/>
        </p:nvSpPr>
        <p:spPr>
          <a:xfrm>
            <a:off x="1741212" y="2015943"/>
            <a:ext cx="1216614" cy="218458"/>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Mixed pattern with B cell/plasma cells</a:t>
            </a:r>
            <a:endParaRPr kumimoji="0" sz="105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endParaRPr>
          </a:p>
        </p:txBody>
      </p:sp>
      <p:sp>
        <p:nvSpPr>
          <p:cNvPr id="58" name="Google Shape;4259;p28">
            <a:extLst>
              <a:ext uri="{FF2B5EF4-FFF2-40B4-BE49-F238E27FC236}">
                <a16:creationId xmlns:a16="http://schemas.microsoft.com/office/drawing/2014/main" id="{52E8CA7F-81B1-4D15-86BF-D16CAA406FD5}"/>
              </a:ext>
            </a:extLst>
          </p:cNvPr>
          <p:cNvSpPr/>
          <p:nvPr/>
        </p:nvSpPr>
        <p:spPr>
          <a:xfrm>
            <a:off x="1741210" y="2346685"/>
            <a:ext cx="1216614" cy="126172"/>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AntiCD20 or anti-BAFF</a:t>
            </a:r>
            <a:endParaRPr kumimoji="0"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endParaRPr>
          </a:p>
        </p:txBody>
      </p:sp>
      <p:sp>
        <p:nvSpPr>
          <p:cNvPr id="59" name="Google Shape;4260;p28">
            <a:extLst>
              <a:ext uri="{FF2B5EF4-FFF2-40B4-BE49-F238E27FC236}">
                <a16:creationId xmlns:a16="http://schemas.microsoft.com/office/drawing/2014/main" id="{242F4863-436B-4165-A239-11A5FAD3EF13}"/>
              </a:ext>
            </a:extLst>
          </p:cNvPr>
          <p:cNvSpPr/>
          <p:nvPr/>
        </p:nvSpPr>
        <p:spPr>
          <a:xfrm>
            <a:off x="1741213" y="2553390"/>
            <a:ext cx="1216612" cy="120007"/>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a:ln>
                  <a:noFill/>
                </a:ln>
                <a:solidFill>
                  <a:srgbClr val="FFFFFF"/>
                </a:solidFill>
                <a:effectLst/>
                <a:uLnTx/>
                <a:uFillTx/>
                <a:latin typeface="Gene Sans Light" panose="00000400000000000000" pitchFamily="2" charset="0"/>
                <a:cs typeface="Arial"/>
                <a:sym typeface="Arial"/>
              </a:rPr>
              <a:t>Response to therapy?</a:t>
            </a:r>
            <a:endParaRPr kumimoji="0" sz="1050" b="0" i="0" u="none" strike="noStrike" kern="0" cap="none" spc="0" normalizeH="0" baseline="0" noProof="0">
              <a:ln>
                <a:noFill/>
              </a:ln>
              <a:solidFill>
                <a:srgbClr val="FFFFFF"/>
              </a:solidFill>
              <a:effectLst/>
              <a:uLnTx/>
              <a:uFillTx/>
              <a:latin typeface="Gene Sans Light" panose="00000400000000000000" pitchFamily="2" charset="0"/>
              <a:cs typeface="Arial"/>
              <a:sym typeface="Arial"/>
            </a:endParaRPr>
          </a:p>
        </p:txBody>
      </p:sp>
      <p:cxnSp>
        <p:nvCxnSpPr>
          <p:cNvPr id="60" name="Google Shape;4261;p28">
            <a:extLst>
              <a:ext uri="{FF2B5EF4-FFF2-40B4-BE49-F238E27FC236}">
                <a16:creationId xmlns:a16="http://schemas.microsoft.com/office/drawing/2014/main" id="{989D3E1C-1674-436E-88D9-F35B4D349FB1}"/>
              </a:ext>
            </a:extLst>
          </p:cNvPr>
          <p:cNvCxnSpPr/>
          <p:nvPr/>
        </p:nvCxnSpPr>
        <p:spPr>
          <a:xfrm>
            <a:off x="2678590" y="1528354"/>
            <a:ext cx="0" cy="189453"/>
          </a:xfrm>
          <a:prstGeom prst="straightConnector1">
            <a:avLst/>
          </a:prstGeom>
          <a:noFill/>
          <a:ln w="9525" cap="flat" cmpd="sng">
            <a:solidFill>
              <a:schemeClr val="accent6"/>
            </a:solidFill>
            <a:prstDash val="solid"/>
            <a:round/>
            <a:headEnd type="none" w="sm" len="sm"/>
            <a:tailEnd type="none" w="sm" len="sm"/>
          </a:ln>
        </p:spPr>
      </p:cxnSp>
      <p:sp>
        <p:nvSpPr>
          <p:cNvPr id="61" name="Google Shape;4262;p28">
            <a:extLst>
              <a:ext uri="{FF2B5EF4-FFF2-40B4-BE49-F238E27FC236}">
                <a16:creationId xmlns:a16="http://schemas.microsoft.com/office/drawing/2014/main" id="{E734D7CD-E3F7-4B32-B0FB-D2FCC748BA7E}"/>
              </a:ext>
            </a:extLst>
          </p:cNvPr>
          <p:cNvSpPr/>
          <p:nvPr/>
        </p:nvSpPr>
        <p:spPr>
          <a:xfrm>
            <a:off x="377952" y="1613450"/>
            <a:ext cx="4811290" cy="126476"/>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Immune-type predominant infiltrate</a:t>
            </a:r>
            <a:endParaRPr kumimoji="0" sz="105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endParaRPr>
          </a:p>
        </p:txBody>
      </p:sp>
      <p:cxnSp>
        <p:nvCxnSpPr>
          <p:cNvPr id="62" name="Google Shape;4263;p28">
            <a:extLst>
              <a:ext uri="{FF2B5EF4-FFF2-40B4-BE49-F238E27FC236}">
                <a16:creationId xmlns:a16="http://schemas.microsoft.com/office/drawing/2014/main" id="{C27619C8-F79E-40EA-8115-DCBF003393CF}"/>
              </a:ext>
            </a:extLst>
          </p:cNvPr>
          <p:cNvCxnSpPr/>
          <p:nvPr/>
        </p:nvCxnSpPr>
        <p:spPr>
          <a:xfrm>
            <a:off x="4824219" y="3070795"/>
            <a:ext cx="0" cy="104524"/>
          </a:xfrm>
          <a:prstGeom prst="straightConnector1">
            <a:avLst/>
          </a:prstGeom>
          <a:noFill/>
          <a:ln w="9525" cap="flat" cmpd="sng">
            <a:solidFill>
              <a:schemeClr val="accent6"/>
            </a:solidFill>
            <a:prstDash val="solid"/>
            <a:round/>
            <a:headEnd type="none" w="sm" len="sm"/>
            <a:tailEnd type="none" w="sm" len="sm"/>
          </a:ln>
        </p:spPr>
      </p:cxnSp>
      <p:sp>
        <p:nvSpPr>
          <p:cNvPr id="63" name="Google Shape;4264;p28">
            <a:extLst>
              <a:ext uri="{FF2B5EF4-FFF2-40B4-BE49-F238E27FC236}">
                <a16:creationId xmlns:a16="http://schemas.microsoft.com/office/drawing/2014/main" id="{EC48E354-E04E-457F-820D-99A1D421F8FA}"/>
              </a:ext>
            </a:extLst>
          </p:cNvPr>
          <p:cNvSpPr/>
          <p:nvPr/>
        </p:nvSpPr>
        <p:spPr>
          <a:xfrm>
            <a:off x="4682810" y="3174680"/>
            <a:ext cx="1219252" cy="126853"/>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Switch therapy</a:t>
            </a:r>
            <a:endParaRPr kumimoji="0" sz="105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endParaRPr>
          </a:p>
        </p:txBody>
      </p:sp>
      <p:sp>
        <p:nvSpPr>
          <p:cNvPr id="64" name="Google Shape;4247;p28">
            <a:extLst>
              <a:ext uri="{FF2B5EF4-FFF2-40B4-BE49-F238E27FC236}">
                <a16:creationId xmlns:a16="http://schemas.microsoft.com/office/drawing/2014/main" id="{88BEFCF1-9A92-4932-857B-0A30B77DFA75}"/>
              </a:ext>
            </a:extLst>
          </p:cNvPr>
          <p:cNvSpPr/>
          <p:nvPr/>
        </p:nvSpPr>
        <p:spPr>
          <a:xfrm>
            <a:off x="3394060" y="2949615"/>
            <a:ext cx="2507997" cy="126476"/>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Response to therapy?</a:t>
            </a:r>
            <a:endParaRPr kumimoji="0" sz="105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endParaRPr>
          </a:p>
        </p:txBody>
      </p:sp>
      <p:sp>
        <p:nvSpPr>
          <p:cNvPr id="65" name="Google Shape;4265;p28">
            <a:extLst>
              <a:ext uri="{FF2B5EF4-FFF2-40B4-BE49-F238E27FC236}">
                <a16:creationId xmlns:a16="http://schemas.microsoft.com/office/drawing/2014/main" id="{6CF94472-332B-45B2-813E-0C1006D3F6A7}"/>
              </a:ext>
            </a:extLst>
          </p:cNvPr>
          <p:cNvSpPr/>
          <p:nvPr/>
        </p:nvSpPr>
        <p:spPr>
          <a:xfrm>
            <a:off x="6631519" y="1820460"/>
            <a:ext cx="2122759" cy="141305"/>
          </a:xfrm>
          <a:prstGeom prst="rect">
            <a:avLst/>
          </a:prstGeom>
          <a:solidFill>
            <a:schemeClr val="tx2"/>
          </a:solidFill>
          <a:ln w="12700" cap="flat" cmpd="sng">
            <a:noFill/>
            <a:prstDash val="solid"/>
            <a:round/>
            <a:headEnd type="none" w="sm" len="sm"/>
            <a:tailEnd type="none" w="sm" len="sm"/>
          </a:ln>
        </p:spPr>
        <p:txBody>
          <a:bodyPr spcFirstLastPara="1" wrap="square" lIns="72000" tIns="36000" rIns="72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60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rPr>
              <a:t>Response to therapy?</a:t>
            </a:r>
            <a:endParaRPr kumimoji="0" sz="1050" b="0" i="0" u="none" strike="noStrike" kern="0" cap="none" spc="0" normalizeH="0" baseline="0" noProof="0" dirty="0">
              <a:ln>
                <a:noFill/>
              </a:ln>
              <a:solidFill>
                <a:srgbClr val="FFFFFF"/>
              </a:solidFill>
              <a:effectLst/>
              <a:uLnTx/>
              <a:uFillTx/>
              <a:latin typeface="Gene Sans Light" panose="00000400000000000000" pitchFamily="2" charset="0"/>
              <a:cs typeface="Arial"/>
              <a:sym typeface="Arial"/>
            </a:endParaRPr>
          </a:p>
        </p:txBody>
      </p:sp>
      <p:cxnSp>
        <p:nvCxnSpPr>
          <p:cNvPr id="66" name="Connector: Elbow 8">
            <a:extLst>
              <a:ext uri="{FF2B5EF4-FFF2-40B4-BE49-F238E27FC236}">
                <a16:creationId xmlns:a16="http://schemas.microsoft.com/office/drawing/2014/main" id="{8DFB004E-378A-4B0B-BABB-7CFB326621D5}"/>
              </a:ext>
            </a:extLst>
          </p:cNvPr>
          <p:cNvCxnSpPr>
            <a:endCxn id="11" idx="2"/>
          </p:cNvCxnSpPr>
          <p:nvPr/>
        </p:nvCxnSpPr>
        <p:spPr>
          <a:xfrm rot="10800000">
            <a:off x="2349519" y="3492282"/>
            <a:ext cx="4964030" cy="732967"/>
          </a:xfrm>
          <a:prstGeom prst="bentConnector2">
            <a:avLst/>
          </a:prstGeom>
          <a:solidFill>
            <a:srgbClr val="F2F2F2"/>
          </a:solidFill>
          <a:ln w="9525" cap="flat" cmpd="sng">
            <a:solidFill>
              <a:schemeClr val="accent6"/>
            </a:solidFill>
            <a:prstDash val="solid"/>
            <a:round/>
            <a:headEnd type="none" w="sm" len="sm"/>
            <a:tailEnd type="triangle" w="med" len="med"/>
          </a:ln>
        </p:spPr>
      </p:cxnSp>
      <p:cxnSp>
        <p:nvCxnSpPr>
          <p:cNvPr id="67" name="Connector: Elbow 13">
            <a:extLst>
              <a:ext uri="{FF2B5EF4-FFF2-40B4-BE49-F238E27FC236}">
                <a16:creationId xmlns:a16="http://schemas.microsoft.com/office/drawing/2014/main" id="{400E7B55-8E11-42C0-A2FA-48B5457E4728}"/>
              </a:ext>
            </a:extLst>
          </p:cNvPr>
          <p:cNvCxnSpPr>
            <a:cxnSpLocks/>
            <a:endCxn id="11" idx="2"/>
          </p:cNvCxnSpPr>
          <p:nvPr/>
        </p:nvCxnSpPr>
        <p:spPr>
          <a:xfrm rot="10800000">
            <a:off x="2349519" y="3492281"/>
            <a:ext cx="4964030" cy="247714"/>
          </a:xfrm>
          <a:prstGeom prst="bentConnector2">
            <a:avLst/>
          </a:prstGeom>
          <a:solidFill>
            <a:srgbClr val="F2F2F2"/>
          </a:solidFill>
          <a:ln w="9525" cap="flat" cmpd="sng">
            <a:solidFill>
              <a:schemeClr val="accent6"/>
            </a:solidFill>
            <a:prstDash val="solid"/>
            <a:round/>
            <a:headEnd type="none" w="sm" len="sm"/>
            <a:tailEnd type="triangle" w="med" len="med"/>
          </a:ln>
        </p:spPr>
      </p:cxnSp>
    </p:spTree>
    <p:extLst>
      <p:ext uri="{BB962C8B-B14F-4D97-AF65-F5344CB8AC3E}">
        <p14:creationId xmlns:p14="http://schemas.microsoft.com/office/powerpoint/2010/main" val="3109158487"/>
      </p:ext>
    </p:extLst>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2"/>
          </p:nvPr>
        </p:nvSpPr>
        <p:spPr/>
        <p:txBody>
          <a:bodyPr/>
          <a:lstStyle/>
          <a:p>
            <a:endParaRPr lang="en-US"/>
          </a:p>
        </p:txBody>
      </p:sp>
      <p:sp>
        <p:nvSpPr>
          <p:cNvPr id="3" name="Text Placeholder 2"/>
          <p:cNvSpPr>
            <a:spLocks noGrp="1"/>
          </p:cNvSpPr>
          <p:nvPr>
            <p:ph type="body" idx="3"/>
          </p:nvPr>
        </p:nvSpPr>
        <p:spPr>
          <a:xfrm>
            <a:off x="381648" y="4309347"/>
            <a:ext cx="8385048" cy="546704"/>
          </a:xfrm>
        </p:spPr>
        <p:txBody>
          <a:bodyPr/>
          <a:lstStyle/>
          <a:p>
            <a:r>
              <a:rPr lang="da-DK" dirty="0">
                <a:solidFill>
                  <a:srgbClr val="545859"/>
                </a:solidFill>
                <a:latin typeface="Gene Sans Light" panose="00000400000000000000" pitchFamily="50" charset="0"/>
              </a:rPr>
              <a:t>1. Schneider BJ, et al. J Clin Oncol. 2021;</a:t>
            </a:r>
            <a:r>
              <a:rPr lang="en-US" dirty="0">
                <a:solidFill>
                  <a:srgbClr val="545859"/>
                </a:solidFill>
                <a:latin typeface="Gene Sans Light" panose="00000400000000000000" pitchFamily="50" charset="0"/>
              </a:rPr>
              <a:t> JCO2101440</a:t>
            </a:r>
            <a:r>
              <a:rPr lang="da-DK" dirty="0">
                <a:solidFill>
                  <a:srgbClr val="545859"/>
                </a:solidFill>
                <a:latin typeface="Gene Sans Light" panose="00000400000000000000" pitchFamily="50" charset="0"/>
              </a:rPr>
              <a:t>. 2. </a:t>
            </a:r>
            <a:r>
              <a:rPr lang="en-US" dirty="0">
                <a:solidFill>
                  <a:srgbClr val="545859"/>
                </a:solidFill>
                <a:latin typeface="Gene Sans Light" panose="00000400000000000000" pitchFamily="50" charset="0"/>
              </a:rPr>
              <a:t>Referenced with permission from the NCCN Clinical Practice Guidelines in Oncology (NCCN Guidelines®) for Management of Immunotherapy-Related Toxicities V.4.2021. © National Comprehensive Cancer Network, Inc. 2021. All rights reserved. Accessed [Nov 2, 2021]. To view the most recent and complete version of the guideline, go online to NCCN.org. NCCN makes no warranties of any kind whatsoever regarding their content, use or application and disclaims any responsibility for their application or use in any way.</a:t>
            </a:r>
            <a:r>
              <a:rPr lang="da-DK" dirty="0">
                <a:solidFill>
                  <a:srgbClr val="545859"/>
                </a:solidFill>
                <a:latin typeface="Gene Sans Light" panose="00000400000000000000" pitchFamily="50" charset="0"/>
              </a:rPr>
              <a:t> 3. Haanen JBAG, et al. Ann Oncol. 2017;28:v119-iv142. 4. Brahmer J, et al. J Immunother. 2021;</a:t>
            </a:r>
            <a:r>
              <a:rPr lang="en-US" dirty="0">
                <a:solidFill>
                  <a:srgbClr val="545859"/>
                </a:solidFill>
                <a:latin typeface="Gene Sans Light" panose="00000400000000000000" pitchFamily="50" charset="0"/>
              </a:rPr>
              <a:t>9</a:t>
            </a:r>
            <a:r>
              <a:rPr lang="en-US" b="1" dirty="0">
                <a:solidFill>
                  <a:srgbClr val="545859"/>
                </a:solidFill>
                <a:latin typeface="Gene Sans Light" panose="00000400000000000000" pitchFamily="50" charset="0"/>
              </a:rPr>
              <a:t>:</a:t>
            </a:r>
            <a:r>
              <a:rPr lang="en-US" dirty="0">
                <a:solidFill>
                  <a:srgbClr val="545859"/>
                </a:solidFill>
                <a:latin typeface="Gene Sans Light" panose="00000400000000000000" pitchFamily="50" charset="0"/>
              </a:rPr>
              <a:t>e002435.</a:t>
            </a:r>
            <a:endParaRPr lang="da-DK" dirty="0">
              <a:solidFill>
                <a:srgbClr val="545859"/>
              </a:solidFill>
              <a:latin typeface="Gene Sans Light" panose="00000400000000000000" pitchFamily="50" charset="0"/>
            </a:endParaRPr>
          </a:p>
        </p:txBody>
      </p:sp>
      <p:sp>
        <p:nvSpPr>
          <p:cNvPr id="5" name="Title 4"/>
          <p:cNvSpPr>
            <a:spLocks noGrp="1"/>
          </p:cNvSpPr>
          <p:nvPr>
            <p:ph type="title"/>
          </p:nvPr>
        </p:nvSpPr>
        <p:spPr/>
        <p:txBody>
          <a:bodyPr/>
          <a:lstStyle/>
          <a:p>
            <a:r>
              <a:rPr lang="en-US" kern="0" cap="none" dirty="0">
                <a:cs typeface="Arial"/>
              </a:rPr>
              <a:t>Comparison of Consensus Guidelines</a:t>
            </a:r>
            <a:endParaRPr lang="en-US" dirty="0"/>
          </a:p>
        </p:txBody>
      </p:sp>
      <p:sp>
        <p:nvSpPr>
          <p:cNvPr id="6" name="Google Shape;122;p3">
            <a:extLst>
              <a:ext uri="{FF2B5EF4-FFF2-40B4-BE49-F238E27FC236}">
                <a16:creationId xmlns:a16="http://schemas.microsoft.com/office/drawing/2014/main" id="{7D8053E3-1DB7-412E-8E8D-E5B7CC5081F6}"/>
              </a:ext>
            </a:extLst>
          </p:cNvPr>
          <p:cNvSpPr txBox="1">
            <a:spLocks/>
          </p:cNvSpPr>
          <p:nvPr/>
        </p:nvSpPr>
        <p:spPr>
          <a:xfrm>
            <a:off x="381000" y="913089"/>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graphicFrame>
        <p:nvGraphicFramePr>
          <p:cNvPr id="7" name="Google Shape;4300;p30"/>
          <p:cNvGraphicFramePr/>
          <p:nvPr/>
        </p:nvGraphicFramePr>
        <p:xfrm>
          <a:off x="381000" y="1149665"/>
          <a:ext cx="8381999" cy="3117005"/>
        </p:xfrm>
        <a:graphic>
          <a:graphicData uri="http://schemas.openxmlformats.org/drawingml/2006/table">
            <a:tbl>
              <a:tblPr firstRow="1" bandRow="1">
                <a:noFill/>
              </a:tblPr>
              <a:tblGrid>
                <a:gridCol w="1024814">
                  <a:extLst>
                    <a:ext uri="{9D8B030D-6E8A-4147-A177-3AD203B41FA5}">
                      <a16:colId xmlns:a16="http://schemas.microsoft.com/office/drawing/2014/main" val="20000"/>
                    </a:ext>
                  </a:extLst>
                </a:gridCol>
                <a:gridCol w="1865210">
                  <a:extLst>
                    <a:ext uri="{9D8B030D-6E8A-4147-A177-3AD203B41FA5}">
                      <a16:colId xmlns:a16="http://schemas.microsoft.com/office/drawing/2014/main" val="20001"/>
                    </a:ext>
                  </a:extLst>
                </a:gridCol>
                <a:gridCol w="1940313">
                  <a:extLst>
                    <a:ext uri="{9D8B030D-6E8A-4147-A177-3AD203B41FA5}">
                      <a16:colId xmlns:a16="http://schemas.microsoft.com/office/drawing/2014/main" val="20002"/>
                    </a:ext>
                  </a:extLst>
                </a:gridCol>
                <a:gridCol w="1521236">
                  <a:extLst>
                    <a:ext uri="{9D8B030D-6E8A-4147-A177-3AD203B41FA5}">
                      <a16:colId xmlns:a16="http://schemas.microsoft.com/office/drawing/2014/main" val="20003"/>
                    </a:ext>
                  </a:extLst>
                </a:gridCol>
                <a:gridCol w="2030426">
                  <a:extLst>
                    <a:ext uri="{9D8B030D-6E8A-4147-A177-3AD203B41FA5}">
                      <a16:colId xmlns:a16="http://schemas.microsoft.com/office/drawing/2014/main" val="20004"/>
                    </a:ext>
                  </a:extLst>
                </a:gridCol>
              </a:tblGrid>
              <a:tr h="214654">
                <a:tc>
                  <a:txBody>
                    <a:bodyPr/>
                    <a:lstStyle/>
                    <a:p>
                      <a:pPr marL="0" marR="0" lvl="0" indent="0" algn="l" rtl="0">
                        <a:spcBef>
                          <a:spcPts val="0"/>
                        </a:spcBef>
                        <a:spcAft>
                          <a:spcPts val="0"/>
                        </a:spcAft>
                        <a:buNone/>
                      </a:pPr>
                      <a:endParaRPr sz="900" b="1" dirty="0">
                        <a:latin typeface="Gene Sans Light" panose="00000400000000000000" pitchFamily="50" charset="0"/>
                        <a:ea typeface="Arial"/>
                        <a:cs typeface="Arial"/>
                        <a:sym typeface="Arial"/>
                      </a:endParaRPr>
                    </a:p>
                  </a:txBody>
                  <a:tcPr anchor="ctr">
                    <a:lnL w="9525" cap="flat" cmpd="sng">
                      <a:noFill/>
                      <a:prstDash val="solid"/>
                      <a:round/>
                      <a:headEnd type="none" w="sm" len="sm"/>
                      <a:tailEnd type="none" w="sm" len="sm"/>
                    </a:lnL>
                    <a:lnR w="12700" cap="flat" cmpd="sng">
                      <a:noFill/>
                      <a:prstDash val="solid"/>
                      <a:round/>
                      <a:headEnd type="none" w="sm" len="sm"/>
                      <a:tailEnd type="none" w="sm" len="sm"/>
                    </a:lnR>
                    <a:lnT w="9525" cap="flat" cmpd="sng">
                      <a:noFill/>
                      <a:prstDash val="solid"/>
                      <a:round/>
                      <a:headEnd type="none" w="sm" len="sm"/>
                      <a:tailEnd type="none" w="sm" len="sm"/>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rtl="0">
                        <a:spcBef>
                          <a:spcPts val="0"/>
                        </a:spcBef>
                        <a:spcAft>
                          <a:spcPts val="0"/>
                        </a:spcAft>
                        <a:buNone/>
                      </a:pPr>
                      <a:r>
                        <a:rPr lang="en-US" sz="900" b="1" dirty="0">
                          <a:solidFill>
                            <a:schemeClr val="bg1"/>
                          </a:solidFill>
                          <a:latin typeface="Gene Sans" panose="00000500000000000000" pitchFamily="50" charset="0"/>
                          <a:ea typeface="Arial"/>
                          <a:cs typeface="Arial"/>
                          <a:sym typeface="Arial"/>
                        </a:rPr>
                        <a:t>ASCO</a:t>
                      </a:r>
                      <a:r>
                        <a:rPr lang="en-US" sz="900" b="1" baseline="30000" dirty="0">
                          <a:solidFill>
                            <a:schemeClr val="bg1"/>
                          </a:solidFill>
                          <a:latin typeface="Gene Sans" panose="00000500000000000000" pitchFamily="50" charset="0"/>
                          <a:ea typeface="Arial"/>
                          <a:cs typeface="Arial"/>
                          <a:sym typeface="Arial"/>
                        </a:rPr>
                        <a:t>1</a:t>
                      </a:r>
                      <a:endParaRPr sz="1100" b="1" dirty="0">
                        <a:solidFill>
                          <a:schemeClr val="bg1"/>
                        </a:solidFill>
                        <a:latin typeface="Gene Sans" panose="00000500000000000000" pitchFamily="50" charset="0"/>
                      </a:endParaRPr>
                    </a:p>
                  </a:txBody>
                  <a:tcPr anchor="ctr">
                    <a:lnL w="12700" cap="flat" cmpd="sng">
                      <a:noFill/>
                      <a:prstDash val="solid"/>
                      <a:round/>
                      <a:headEnd type="none" w="sm" len="sm"/>
                      <a:tailEnd type="none" w="sm" len="sm"/>
                    </a:lnL>
                    <a:lnR w="12700" cap="flat" cmpd="sng">
                      <a:noFill/>
                      <a:prstDash val="solid"/>
                      <a:round/>
                      <a:headEnd type="none" w="sm" len="sm"/>
                      <a:tailEnd type="none" w="sm" len="sm"/>
                    </a:lnR>
                    <a:lnT w="9525" cap="flat" cmpd="sng">
                      <a:noFill/>
                      <a:prstDash val="solid"/>
                      <a:round/>
                      <a:headEnd type="none" w="sm" len="sm"/>
                      <a:tailEnd type="none" w="sm" len="sm"/>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rtl="0">
                        <a:spcBef>
                          <a:spcPts val="0"/>
                        </a:spcBef>
                        <a:spcAft>
                          <a:spcPts val="0"/>
                        </a:spcAft>
                        <a:buNone/>
                      </a:pPr>
                      <a:r>
                        <a:rPr lang="en-US" sz="900" b="1" dirty="0">
                          <a:solidFill>
                            <a:schemeClr val="bg1"/>
                          </a:solidFill>
                          <a:latin typeface="Gene Sans" panose="00000500000000000000" pitchFamily="50" charset="0"/>
                          <a:ea typeface="Arial"/>
                          <a:cs typeface="Arial"/>
                          <a:sym typeface="Arial"/>
                        </a:rPr>
                        <a:t>NCCN</a:t>
                      </a:r>
                      <a:r>
                        <a:rPr lang="en-US" sz="900" b="1" baseline="30000" dirty="0">
                          <a:solidFill>
                            <a:schemeClr val="bg1"/>
                          </a:solidFill>
                          <a:latin typeface="Gene Sans" panose="00000500000000000000" pitchFamily="50" charset="0"/>
                          <a:ea typeface="Arial"/>
                          <a:cs typeface="Arial"/>
                          <a:sym typeface="Arial"/>
                        </a:rPr>
                        <a:t>2</a:t>
                      </a:r>
                      <a:endParaRPr sz="900" b="1" dirty="0">
                        <a:solidFill>
                          <a:schemeClr val="bg1"/>
                        </a:solidFill>
                        <a:latin typeface="Gene Sans" panose="00000500000000000000" pitchFamily="50" charset="0"/>
                        <a:ea typeface="Arial"/>
                        <a:cs typeface="Arial"/>
                        <a:sym typeface="Arial"/>
                      </a:endParaRPr>
                    </a:p>
                  </a:txBody>
                  <a:tcPr anchor="ctr">
                    <a:lnL w="12700" cap="flat" cmpd="sng">
                      <a:noFill/>
                      <a:prstDash val="solid"/>
                      <a:round/>
                      <a:headEnd type="none" w="sm" len="sm"/>
                      <a:tailEnd type="none" w="sm" len="sm"/>
                    </a:lnL>
                    <a:lnR w="12700" cap="flat" cmpd="sng">
                      <a:noFill/>
                      <a:prstDash val="solid"/>
                      <a:round/>
                      <a:headEnd type="none" w="sm" len="sm"/>
                      <a:tailEnd type="none" w="sm" len="sm"/>
                    </a:lnR>
                    <a:lnT w="9525" cap="flat" cmpd="sng">
                      <a:noFill/>
                      <a:prstDash val="solid"/>
                      <a:round/>
                      <a:headEnd type="none" w="sm" len="sm"/>
                      <a:tailEnd type="none" w="sm" len="sm"/>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rtl="0">
                        <a:spcBef>
                          <a:spcPts val="0"/>
                        </a:spcBef>
                        <a:spcAft>
                          <a:spcPts val="0"/>
                        </a:spcAft>
                        <a:buNone/>
                      </a:pPr>
                      <a:r>
                        <a:rPr lang="en-US" sz="900" b="1" dirty="0">
                          <a:solidFill>
                            <a:schemeClr val="bg1"/>
                          </a:solidFill>
                          <a:latin typeface="Gene Sans" panose="00000500000000000000" pitchFamily="50" charset="0"/>
                          <a:ea typeface="Arial"/>
                          <a:cs typeface="Arial"/>
                          <a:sym typeface="Arial"/>
                        </a:rPr>
                        <a:t>ESMO</a:t>
                      </a:r>
                      <a:r>
                        <a:rPr lang="en-US" sz="900" b="1" baseline="30000" dirty="0">
                          <a:solidFill>
                            <a:schemeClr val="bg1"/>
                          </a:solidFill>
                          <a:latin typeface="Gene Sans" panose="00000500000000000000" pitchFamily="50" charset="0"/>
                          <a:ea typeface="Arial"/>
                          <a:cs typeface="Arial"/>
                          <a:sym typeface="Arial"/>
                        </a:rPr>
                        <a:t>3</a:t>
                      </a:r>
                      <a:endParaRPr sz="900" b="1" dirty="0">
                        <a:solidFill>
                          <a:schemeClr val="bg1"/>
                        </a:solidFill>
                        <a:latin typeface="Gene Sans" panose="00000500000000000000" pitchFamily="50" charset="0"/>
                        <a:ea typeface="Arial"/>
                        <a:cs typeface="Arial"/>
                        <a:sym typeface="Arial"/>
                      </a:endParaRPr>
                    </a:p>
                  </a:txBody>
                  <a:tcPr anchor="ctr">
                    <a:lnL w="12700" cap="flat" cmpd="sng">
                      <a:noFill/>
                      <a:prstDash val="solid"/>
                      <a:round/>
                      <a:headEnd type="none" w="sm" len="sm"/>
                      <a:tailEnd type="none" w="sm" len="sm"/>
                    </a:lnL>
                    <a:lnR w="12700" cap="flat" cmpd="sng">
                      <a:noFill/>
                      <a:prstDash val="solid"/>
                      <a:round/>
                      <a:headEnd type="none" w="sm" len="sm"/>
                      <a:tailEnd type="none" w="sm" len="sm"/>
                    </a:lnR>
                    <a:lnT w="9525" cap="flat" cmpd="sng">
                      <a:noFill/>
                      <a:prstDash val="solid"/>
                      <a:round/>
                      <a:headEnd type="none" w="sm" len="sm"/>
                      <a:tailEnd type="none" w="sm" len="sm"/>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rtl="0">
                        <a:spcBef>
                          <a:spcPts val="0"/>
                        </a:spcBef>
                        <a:spcAft>
                          <a:spcPts val="0"/>
                        </a:spcAft>
                        <a:buNone/>
                      </a:pPr>
                      <a:r>
                        <a:rPr lang="en-US" sz="900" b="1" dirty="0">
                          <a:solidFill>
                            <a:schemeClr val="bg1"/>
                          </a:solidFill>
                          <a:latin typeface="Gene Sans" panose="00000500000000000000" pitchFamily="50" charset="0"/>
                          <a:ea typeface="Arial"/>
                          <a:cs typeface="Arial"/>
                          <a:sym typeface="Arial"/>
                        </a:rPr>
                        <a:t>SITC</a:t>
                      </a:r>
                      <a:r>
                        <a:rPr lang="en-US" sz="900" b="1" baseline="30000" dirty="0">
                          <a:solidFill>
                            <a:schemeClr val="bg1"/>
                          </a:solidFill>
                          <a:latin typeface="Gene Sans" panose="00000500000000000000" pitchFamily="50" charset="0"/>
                          <a:ea typeface="Arial"/>
                          <a:cs typeface="Arial"/>
                          <a:sym typeface="Arial"/>
                        </a:rPr>
                        <a:t>4</a:t>
                      </a:r>
                      <a:endParaRPr sz="900" b="1" dirty="0">
                        <a:solidFill>
                          <a:schemeClr val="bg1"/>
                        </a:solidFill>
                        <a:latin typeface="Gene Sans" panose="00000500000000000000" pitchFamily="50" charset="0"/>
                        <a:ea typeface="Arial"/>
                        <a:cs typeface="Arial"/>
                        <a:sym typeface="Arial"/>
                      </a:endParaRPr>
                    </a:p>
                  </a:txBody>
                  <a:tcPr anchor="ctr">
                    <a:lnL w="12700" cap="flat" cmpd="sng">
                      <a:noFill/>
                      <a:prstDash val="solid"/>
                      <a:round/>
                      <a:headEnd type="none" w="sm" len="sm"/>
                      <a:tailEnd type="none" w="sm" len="sm"/>
                    </a:lnL>
                    <a:lnR w="9525" cap="flat" cmpd="sng">
                      <a:noFill/>
                      <a:prstDash val="solid"/>
                      <a:round/>
                      <a:headEnd type="none" w="sm" len="sm"/>
                      <a:tailEnd type="none" w="sm" len="sm"/>
                    </a:lnR>
                    <a:lnT w="9525" cap="flat" cmpd="sng">
                      <a:noFill/>
                      <a:prstDash val="solid"/>
                      <a:round/>
                      <a:headEnd type="none" w="sm" len="sm"/>
                      <a:tailEnd type="none" w="sm" len="sm"/>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214654">
                <a:tc>
                  <a:txBody>
                    <a:bodyPr/>
                    <a:lstStyle/>
                    <a:p>
                      <a:pPr marL="0" marR="0" lvl="0" indent="0" algn="l" rtl="0">
                        <a:spcBef>
                          <a:spcPts val="0"/>
                        </a:spcBef>
                        <a:spcAft>
                          <a:spcPts val="0"/>
                        </a:spcAft>
                        <a:buNone/>
                      </a:pPr>
                      <a:r>
                        <a:rPr lang="en-US" sz="900" b="1" dirty="0">
                          <a:solidFill>
                            <a:schemeClr val="tx2"/>
                          </a:solidFill>
                          <a:latin typeface="Gene Sans Light" panose="00000400000000000000" pitchFamily="50" charset="0"/>
                          <a:ea typeface="Arial"/>
                          <a:cs typeface="Arial"/>
                          <a:sym typeface="Arial"/>
                        </a:rPr>
                        <a:t>Year Published</a:t>
                      </a:r>
                      <a:endParaRPr sz="1100" dirty="0">
                        <a:solidFill>
                          <a:schemeClr val="tx2"/>
                        </a:solidFill>
                        <a:latin typeface="Gene Sans Light" panose="00000400000000000000" pitchFamily="50" charset="0"/>
                      </a:endParaRPr>
                    </a:p>
                  </a:txBody>
                  <a:tcPr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Clr>
                          <a:schemeClr val="lt1"/>
                        </a:buClr>
                        <a:buSzPts val="1200"/>
                        <a:buFont typeface="Arial"/>
                        <a:buNone/>
                      </a:pPr>
                      <a:r>
                        <a:rPr lang="en-US" sz="900" b="1" dirty="0">
                          <a:solidFill>
                            <a:schemeClr val="tx2"/>
                          </a:solidFill>
                          <a:latin typeface="Gene Sans Light" panose="00000400000000000000" pitchFamily="50" charset="0"/>
                          <a:ea typeface="Arial"/>
                          <a:cs typeface="Arial"/>
                          <a:sym typeface="Arial"/>
                        </a:rPr>
                        <a:t>2021</a:t>
                      </a:r>
                      <a:endParaRPr sz="1100" dirty="0">
                        <a:solidFill>
                          <a:schemeClr val="tx2"/>
                        </a:solidFill>
                        <a:latin typeface="Gene Sans Light" panose="00000400000000000000" pitchFamily="50" charset="0"/>
                      </a:endParaRPr>
                    </a:p>
                  </a:txBody>
                  <a:tcPr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lnSpc>
                          <a:spcPct val="100000"/>
                        </a:lnSpc>
                        <a:spcBef>
                          <a:spcPts val="0"/>
                        </a:spcBef>
                        <a:spcAft>
                          <a:spcPts val="0"/>
                        </a:spcAft>
                        <a:buClr>
                          <a:schemeClr val="lt1"/>
                        </a:buClr>
                        <a:buSzPts val="1200"/>
                        <a:buFont typeface="Arial"/>
                        <a:buNone/>
                      </a:pPr>
                      <a:r>
                        <a:rPr lang="en-US" sz="900" b="1" dirty="0">
                          <a:solidFill>
                            <a:schemeClr val="tx2"/>
                          </a:solidFill>
                          <a:latin typeface="Gene Sans Light" panose="00000400000000000000" pitchFamily="50" charset="0"/>
                          <a:ea typeface="Arial"/>
                          <a:cs typeface="Arial"/>
                          <a:sym typeface="Arial"/>
                        </a:rPr>
                        <a:t>2021 (v4.2021)</a:t>
                      </a:r>
                      <a:endParaRPr sz="900" b="1" dirty="0">
                        <a:solidFill>
                          <a:schemeClr val="tx2"/>
                        </a:solidFill>
                        <a:latin typeface="Gene Sans Light" panose="00000400000000000000" pitchFamily="50" charset="0"/>
                        <a:ea typeface="Arial"/>
                        <a:cs typeface="Arial"/>
                        <a:sym typeface="Arial"/>
                      </a:endParaRPr>
                    </a:p>
                  </a:txBody>
                  <a:tcPr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lnSpc>
                          <a:spcPct val="100000"/>
                        </a:lnSpc>
                        <a:spcBef>
                          <a:spcPts val="0"/>
                        </a:spcBef>
                        <a:spcAft>
                          <a:spcPts val="0"/>
                        </a:spcAft>
                        <a:buClr>
                          <a:schemeClr val="lt1"/>
                        </a:buClr>
                        <a:buSzPts val="1200"/>
                        <a:buFont typeface="Arial"/>
                        <a:buNone/>
                      </a:pPr>
                      <a:r>
                        <a:rPr lang="en-US" sz="900" b="1" dirty="0">
                          <a:solidFill>
                            <a:schemeClr val="tx2"/>
                          </a:solidFill>
                          <a:latin typeface="Gene Sans Light" panose="00000400000000000000" pitchFamily="50" charset="0"/>
                          <a:ea typeface="Arial"/>
                          <a:cs typeface="Arial"/>
                          <a:sym typeface="Arial"/>
                        </a:rPr>
                        <a:t>2017</a:t>
                      </a:r>
                      <a:endParaRPr sz="900" b="1" dirty="0">
                        <a:solidFill>
                          <a:schemeClr val="tx2"/>
                        </a:solidFill>
                        <a:latin typeface="Gene Sans Light" panose="00000400000000000000" pitchFamily="50" charset="0"/>
                        <a:ea typeface="Arial"/>
                        <a:cs typeface="Arial"/>
                        <a:sym typeface="Arial"/>
                      </a:endParaRPr>
                    </a:p>
                  </a:txBody>
                  <a:tcPr anchor="ct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a:lnSpc>
                          <a:spcPct val="100000"/>
                        </a:lnSpc>
                        <a:spcBef>
                          <a:spcPts val="0"/>
                        </a:spcBef>
                        <a:spcAft>
                          <a:spcPts val="0"/>
                        </a:spcAft>
                        <a:buClr>
                          <a:schemeClr val="lt1"/>
                        </a:buClr>
                        <a:buSzPts val="1200"/>
                        <a:buFont typeface="Arial"/>
                        <a:buNone/>
                      </a:pPr>
                      <a:r>
                        <a:rPr lang="en-US" sz="900" b="1" dirty="0">
                          <a:solidFill>
                            <a:schemeClr val="tx2"/>
                          </a:solidFill>
                          <a:latin typeface="Gene Sans Light" panose="00000400000000000000" pitchFamily="50" charset="0"/>
                          <a:ea typeface="Arial"/>
                          <a:cs typeface="Arial"/>
                          <a:sym typeface="Arial"/>
                        </a:rPr>
                        <a:t>2021</a:t>
                      </a:r>
                      <a:endParaRPr sz="900" b="1" dirty="0">
                        <a:solidFill>
                          <a:schemeClr val="tx2"/>
                        </a:solidFill>
                        <a:latin typeface="Gene Sans Light" panose="00000400000000000000" pitchFamily="50" charset="0"/>
                        <a:ea typeface="Arial"/>
                        <a:cs typeface="Arial"/>
                        <a:sym typeface="Arial"/>
                      </a:endParaRPr>
                    </a:p>
                  </a:txBody>
                  <a:tcPr anchor="ct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93845">
                <a:tc>
                  <a:txBody>
                    <a:bodyPr/>
                    <a:lstStyle/>
                    <a:p>
                      <a:pPr marL="0" marR="0" lvl="0" indent="0" algn="l" rtl="0">
                        <a:spcBef>
                          <a:spcPts val="0"/>
                        </a:spcBef>
                        <a:spcAft>
                          <a:spcPts val="0"/>
                        </a:spcAft>
                        <a:buNone/>
                      </a:pPr>
                      <a:r>
                        <a:rPr lang="en-US" sz="900" b="1" dirty="0">
                          <a:solidFill>
                            <a:schemeClr val="dk1"/>
                          </a:solidFill>
                          <a:latin typeface="Gene Sans Light" panose="00000400000000000000" pitchFamily="50" charset="0"/>
                        </a:rPr>
                        <a:t>Goal/Objectives</a:t>
                      </a:r>
                      <a:endParaRPr sz="900" b="1" dirty="0">
                        <a:solidFill>
                          <a:schemeClr val="dk1"/>
                        </a:solidFill>
                        <a:latin typeface="Gene Sans Light" panose="00000400000000000000" pitchFamily="50" charset="0"/>
                        <a:ea typeface="Arial"/>
                        <a:cs typeface="Arial"/>
                        <a:sym typeface="Arial"/>
                      </a:endParaRPr>
                    </a:p>
                  </a:txBody>
                  <a:tcPr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900" dirty="0">
                          <a:solidFill>
                            <a:schemeClr val="dk1"/>
                          </a:solidFill>
                          <a:latin typeface="Gene Sans Light" panose="00000400000000000000" pitchFamily="50" charset="0"/>
                        </a:rPr>
                        <a:t>Increase awareness, outline strategies, offer guidance on management of </a:t>
                      </a:r>
                      <a:r>
                        <a:rPr lang="en-US" sz="900" dirty="0" err="1">
                          <a:solidFill>
                            <a:schemeClr val="dk1"/>
                          </a:solidFill>
                          <a:latin typeface="Gene Sans Light" panose="00000400000000000000" pitchFamily="50" charset="0"/>
                        </a:rPr>
                        <a:t>irAEs</a:t>
                      </a:r>
                      <a:r>
                        <a:rPr lang="en-US" sz="900" dirty="0">
                          <a:solidFill>
                            <a:schemeClr val="dk1"/>
                          </a:solidFill>
                          <a:latin typeface="Gene Sans Light" panose="00000400000000000000" pitchFamily="50" charset="0"/>
                        </a:rPr>
                        <a:t> </a:t>
                      </a:r>
                      <a:br>
                        <a:rPr lang="en-US" sz="900" dirty="0">
                          <a:solidFill>
                            <a:schemeClr val="dk1"/>
                          </a:solidFill>
                          <a:latin typeface="Gene Sans Light" panose="00000400000000000000" pitchFamily="50" charset="0"/>
                        </a:rPr>
                      </a:br>
                      <a:r>
                        <a:rPr lang="en-US" sz="900" dirty="0">
                          <a:solidFill>
                            <a:schemeClr val="dk1"/>
                          </a:solidFill>
                          <a:latin typeface="Gene Sans Light" panose="00000400000000000000" pitchFamily="50" charset="0"/>
                        </a:rPr>
                        <a:t>in CPI-treated patients</a:t>
                      </a:r>
                      <a:endParaRPr sz="900" dirty="0">
                        <a:solidFill>
                          <a:schemeClr val="dk1"/>
                        </a:solidFill>
                        <a:latin typeface="Gene Sans Light" panose="00000400000000000000" pitchFamily="50" charset="0"/>
                        <a:ea typeface="Arial"/>
                        <a:cs typeface="Arial"/>
                        <a:sym typeface="Arial"/>
                      </a:endParaRPr>
                    </a:p>
                  </a:txBody>
                  <a:tcP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900" dirty="0">
                          <a:solidFill>
                            <a:schemeClr val="dk1"/>
                          </a:solidFill>
                          <a:latin typeface="Gene Sans Light" panose="00000400000000000000" pitchFamily="50" charset="0"/>
                        </a:rPr>
                        <a:t>Provide guidance on the </a:t>
                      </a:r>
                      <a:r>
                        <a:rPr lang="en-US" sz="900" dirty="0">
                          <a:solidFill>
                            <a:srgbClr val="545859"/>
                          </a:solidFill>
                          <a:latin typeface="Gene Sans Light" panose="00000400000000000000" pitchFamily="50" charset="0"/>
                        </a:rPr>
                        <a:t>management of </a:t>
                      </a:r>
                      <a:r>
                        <a:rPr lang="en-US" sz="900" dirty="0" err="1">
                          <a:solidFill>
                            <a:srgbClr val="545859"/>
                          </a:solidFill>
                          <a:latin typeface="Gene Sans Light" panose="00000400000000000000" pitchFamily="50" charset="0"/>
                        </a:rPr>
                        <a:t>irAEs</a:t>
                      </a:r>
                      <a:r>
                        <a:rPr lang="en-US" sz="900" dirty="0">
                          <a:solidFill>
                            <a:srgbClr val="545859"/>
                          </a:solidFill>
                          <a:latin typeface="Gene Sans Light" panose="00000400000000000000" pitchFamily="50" charset="0"/>
                        </a:rPr>
                        <a:t> resulting </a:t>
                      </a:r>
                      <a:br>
                        <a:rPr lang="en-US" sz="900" dirty="0">
                          <a:solidFill>
                            <a:srgbClr val="545859"/>
                          </a:solidFill>
                          <a:latin typeface="Gene Sans Light" panose="00000400000000000000" pitchFamily="50" charset="0"/>
                        </a:rPr>
                      </a:br>
                      <a:r>
                        <a:rPr lang="en-US" sz="900" dirty="0">
                          <a:solidFill>
                            <a:srgbClr val="545859"/>
                          </a:solidFill>
                          <a:latin typeface="Gene Sans Light" panose="00000400000000000000" pitchFamily="50" charset="0"/>
                        </a:rPr>
                        <a:t>from cancer</a:t>
                      </a:r>
                      <a:r>
                        <a:rPr lang="en-US" sz="900" baseline="0" dirty="0">
                          <a:solidFill>
                            <a:srgbClr val="545859"/>
                          </a:solidFill>
                          <a:latin typeface="Gene Sans Light" panose="00000400000000000000" pitchFamily="50" charset="0"/>
                        </a:rPr>
                        <a:t> immunotherapy</a:t>
                      </a:r>
                      <a:endParaRPr sz="900" dirty="0">
                        <a:solidFill>
                          <a:srgbClr val="545859"/>
                        </a:solidFill>
                        <a:latin typeface="Gene Sans Light" panose="00000400000000000000" pitchFamily="50" charset="0"/>
                        <a:ea typeface="Arial"/>
                        <a:cs typeface="Arial"/>
                        <a:sym typeface="Arial"/>
                      </a:endParaRPr>
                    </a:p>
                  </a:txBody>
                  <a:tcP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900" dirty="0">
                          <a:solidFill>
                            <a:schemeClr val="dk1"/>
                          </a:solidFill>
                          <a:latin typeface="Gene Sans Light" panose="00000400000000000000" pitchFamily="50" charset="0"/>
                        </a:rPr>
                        <a:t>None explicitly provided</a:t>
                      </a:r>
                      <a:endParaRPr sz="900" dirty="0">
                        <a:solidFill>
                          <a:schemeClr val="dk1"/>
                        </a:solidFill>
                        <a:latin typeface="Gene Sans Light" panose="00000400000000000000" pitchFamily="50" charset="0"/>
                        <a:ea typeface="Arial"/>
                        <a:cs typeface="Arial"/>
                        <a:sym typeface="Arial"/>
                      </a:endParaRPr>
                    </a:p>
                  </a:txBody>
                  <a:tcP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900" dirty="0">
                          <a:solidFill>
                            <a:srgbClr val="545859"/>
                          </a:solidFill>
                          <a:latin typeface="Gene Sans Light" panose="00000400000000000000" pitchFamily="50" charset="0"/>
                          <a:ea typeface="+mn-ea"/>
                          <a:cs typeface="+mn-cs"/>
                          <a:sym typeface="Arial"/>
                        </a:rPr>
                        <a:t>Provides</a:t>
                      </a:r>
                      <a:r>
                        <a:rPr lang="en-US" sz="900" baseline="0" dirty="0">
                          <a:solidFill>
                            <a:srgbClr val="545859"/>
                          </a:solidFill>
                          <a:latin typeface="Gene Sans Light" panose="00000400000000000000" pitchFamily="50" charset="0"/>
                          <a:ea typeface="+mn-ea"/>
                          <a:cs typeface="+mn-cs"/>
                          <a:sym typeface="Arial"/>
                        </a:rPr>
                        <a:t> guidance on management of </a:t>
                      </a:r>
                      <a:r>
                        <a:rPr lang="en-US" sz="900" baseline="0" dirty="0" err="1">
                          <a:solidFill>
                            <a:srgbClr val="545859"/>
                          </a:solidFill>
                          <a:latin typeface="Gene Sans Light" panose="00000400000000000000" pitchFamily="50" charset="0"/>
                          <a:ea typeface="+mn-ea"/>
                          <a:cs typeface="+mn-cs"/>
                          <a:sym typeface="Arial"/>
                        </a:rPr>
                        <a:t>irAEs</a:t>
                      </a:r>
                      <a:r>
                        <a:rPr lang="en-US" sz="900" baseline="0" dirty="0">
                          <a:solidFill>
                            <a:srgbClr val="545859"/>
                          </a:solidFill>
                          <a:latin typeface="Gene Sans Light" panose="00000400000000000000" pitchFamily="50" charset="0"/>
                          <a:ea typeface="+mn-ea"/>
                          <a:cs typeface="+mn-cs"/>
                          <a:sym typeface="Arial"/>
                        </a:rPr>
                        <a:t> to improve patient outcomes during and following treatment with ICIs</a:t>
                      </a:r>
                      <a:endParaRPr sz="900" dirty="0">
                        <a:solidFill>
                          <a:srgbClr val="545859"/>
                        </a:solidFill>
                        <a:latin typeface="Gene Sans Light" panose="00000400000000000000" pitchFamily="50" charset="0"/>
                        <a:ea typeface="Arial"/>
                        <a:cs typeface="Arial"/>
                        <a:sym typeface="Arial"/>
                      </a:endParaRPr>
                    </a:p>
                  </a:txBody>
                  <a:tcP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858617">
                <a:tc>
                  <a:txBody>
                    <a:bodyPr/>
                    <a:lstStyle/>
                    <a:p>
                      <a:pPr marL="0" marR="0" lvl="0" indent="0" algn="l" rtl="0">
                        <a:spcBef>
                          <a:spcPts val="0"/>
                        </a:spcBef>
                        <a:spcAft>
                          <a:spcPts val="0"/>
                        </a:spcAft>
                        <a:buNone/>
                      </a:pPr>
                      <a:r>
                        <a:rPr lang="en-US" sz="900" b="1" dirty="0">
                          <a:solidFill>
                            <a:schemeClr val="dk1"/>
                          </a:solidFill>
                          <a:latin typeface="Gene Sans Light" panose="00000400000000000000" pitchFamily="50" charset="0"/>
                        </a:rPr>
                        <a:t>Methods</a:t>
                      </a:r>
                      <a:endParaRPr sz="900" b="1" dirty="0">
                        <a:solidFill>
                          <a:schemeClr val="dk1"/>
                        </a:solidFill>
                        <a:latin typeface="Gene Sans Light" panose="00000400000000000000" pitchFamily="50" charset="0"/>
                        <a:ea typeface="Arial"/>
                        <a:cs typeface="Arial"/>
                        <a:sym typeface="Arial"/>
                      </a:endParaRPr>
                    </a:p>
                  </a:txBody>
                  <a:tcPr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900" dirty="0">
                          <a:solidFill>
                            <a:schemeClr val="dk1"/>
                          </a:solidFill>
                          <a:latin typeface="Gene Sans Light" panose="00000400000000000000" pitchFamily="50" charset="0"/>
                        </a:rPr>
                        <a:t>Interdisciplinary panel</a:t>
                      </a:r>
                      <a:endParaRPr sz="1100" dirty="0">
                        <a:latin typeface="Gene Sans Light" panose="00000400000000000000" pitchFamily="50" charset="0"/>
                      </a:endParaRPr>
                    </a:p>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900" dirty="0">
                          <a:solidFill>
                            <a:schemeClr val="dk1"/>
                          </a:solidFill>
                          <a:latin typeface="Gene Sans Light" panose="00000400000000000000" pitchFamily="50" charset="0"/>
                        </a:rPr>
                        <a:t>Guidelines developed per systematic literature review </a:t>
                      </a:r>
                      <a:r>
                        <a:rPr lang="en-US" sz="900" dirty="0">
                          <a:solidFill>
                            <a:srgbClr val="545859"/>
                          </a:solidFill>
                          <a:latin typeface="Gene Sans Light" panose="00000400000000000000" pitchFamily="50" charset="0"/>
                        </a:rPr>
                        <a:t>(2017-2021) and </a:t>
                      </a:r>
                      <a:r>
                        <a:rPr lang="en-US" sz="900" dirty="0">
                          <a:solidFill>
                            <a:schemeClr val="dk1"/>
                          </a:solidFill>
                          <a:latin typeface="Gene Sans Light" panose="00000400000000000000" pitchFamily="50" charset="0"/>
                        </a:rPr>
                        <a:t>informal consensus process</a:t>
                      </a:r>
                      <a:endParaRPr sz="900" dirty="0">
                        <a:solidFill>
                          <a:schemeClr val="dk1"/>
                        </a:solidFill>
                        <a:latin typeface="Gene Sans Light" panose="00000400000000000000" pitchFamily="50" charset="0"/>
                        <a:ea typeface="Arial"/>
                        <a:cs typeface="Arial"/>
                        <a:sym typeface="Arial"/>
                      </a:endParaRPr>
                    </a:p>
                  </a:txBody>
                  <a:tcP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900" dirty="0">
                          <a:solidFill>
                            <a:srgbClr val="545859"/>
                          </a:solidFill>
                          <a:latin typeface="Gene Sans Light" panose="00000400000000000000" pitchFamily="50" charset="0"/>
                        </a:rPr>
                        <a:t>Interdisciplinary panel, including NCCN/ASCO members </a:t>
                      </a:r>
                      <a:endParaRPr sz="1100" dirty="0">
                        <a:solidFill>
                          <a:srgbClr val="545859"/>
                        </a:solidFill>
                        <a:latin typeface="Gene Sans Light" panose="00000400000000000000" pitchFamily="50" charset="0"/>
                      </a:endParaRPr>
                    </a:p>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900" dirty="0">
                          <a:solidFill>
                            <a:srgbClr val="545859"/>
                          </a:solidFill>
                          <a:latin typeface="Gene Sans Light" panose="00000400000000000000" pitchFamily="50" charset="0"/>
                        </a:rPr>
                        <a:t>Consensus recommendations literature and/or expert opinion based</a:t>
                      </a:r>
                      <a:endParaRPr sz="900" dirty="0">
                        <a:solidFill>
                          <a:srgbClr val="545859"/>
                        </a:solidFill>
                        <a:latin typeface="Gene Sans Light" panose="00000400000000000000" pitchFamily="50" charset="0"/>
                        <a:ea typeface="Arial"/>
                        <a:cs typeface="Arial"/>
                        <a:sym typeface="Arial"/>
                      </a:endParaRPr>
                    </a:p>
                  </a:txBody>
                  <a:tcP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900" dirty="0">
                          <a:solidFill>
                            <a:srgbClr val="545859"/>
                          </a:solidFill>
                          <a:latin typeface="Gene Sans Light" panose="00000400000000000000" pitchFamily="50" charset="0"/>
                        </a:rPr>
                        <a:t>Per ESMO SOP</a:t>
                      </a:r>
                      <a:endParaRPr sz="1100" dirty="0">
                        <a:solidFill>
                          <a:srgbClr val="545859"/>
                        </a:solidFill>
                        <a:latin typeface="Gene Sans Light" panose="00000400000000000000" pitchFamily="50" charset="0"/>
                      </a:endParaRPr>
                    </a:p>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900" dirty="0">
                          <a:solidFill>
                            <a:srgbClr val="545859"/>
                          </a:solidFill>
                          <a:latin typeface="Gene Sans Light" panose="00000400000000000000" pitchFamily="50" charset="0"/>
                        </a:rPr>
                        <a:t>Recommendations provided with grades and </a:t>
                      </a:r>
                      <a:r>
                        <a:rPr lang="en-US" sz="900" dirty="0" err="1">
                          <a:solidFill>
                            <a:srgbClr val="545859"/>
                          </a:solidFill>
                          <a:latin typeface="Gene Sans Light" panose="00000400000000000000" pitchFamily="50" charset="0"/>
                        </a:rPr>
                        <a:t>LoE</a:t>
                      </a:r>
                      <a:r>
                        <a:rPr lang="en-US" sz="900" dirty="0">
                          <a:solidFill>
                            <a:srgbClr val="545859"/>
                          </a:solidFill>
                          <a:latin typeface="Gene Sans Light" panose="00000400000000000000" pitchFamily="50" charset="0"/>
                        </a:rPr>
                        <a:t>, literature selected by expert authors</a:t>
                      </a:r>
                      <a:endParaRPr sz="900" dirty="0">
                        <a:solidFill>
                          <a:srgbClr val="545859"/>
                        </a:solidFill>
                        <a:latin typeface="Gene Sans Light" panose="00000400000000000000" pitchFamily="50" charset="0"/>
                        <a:ea typeface="Arial"/>
                        <a:cs typeface="Arial"/>
                        <a:sym typeface="Arial"/>
                      </a:endParaRPr>
                    </a:p>
                  </a:txBody>
                  <a:tcP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900" dirty="0">
                          <a:solidFill>
                            <a:srgbClr val="545859"/>
                          </a:solidFill>
                          <a:latin typeface="Gene Sans Light" panose="00000400000000000000" pitchFamily="50" charset="0"/>
                        </a:rPr>
                        <a:t>Interdisciplinary panel</a:t>
                      </a:r>
                      <a:endParaRPr sz="1100" dirty="0">
                        <a:solidFill>
                          <a:srgbClr val="545859"/>
                        </a:solidFill>
                        <a:latin typeface="Gene Sans Light" panose="00000400000000000000" pitchFamily="50" charset="0"/>
                      </a:endParaRPr>
                    </a:p>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900" dirty="0">
                          <a:solidFill>
                            <a:srgbClr val="545859"/>
                          </a:solidFill>
                          <a:latin typeface="Gene Sans Light" panose="00000400000000000000" pitchFamily="50" charset="0"/>
                        </a:rPr>
                        <a:t>Consensus recommendations per literature and/or accumulated clinical experience</a:t>
                      </a:r>
                      <a:endParaRPr sz="900" dirty="0">
                        <a:solidFill>
                          <a:srgbClr val="545859"/>
                        </a:solidFill>
                        <a:latin typeface="Gene Sans Light" panose="00000400000000000000" pitchFamily="50" charset="0"/>
                        <a:ea typeface="Arial"/>
                        <a:cs typeface="Arial"/>
                        <a:sym typeface="Arial"/>
                      </a:endParaRPr>
                    </a:p>
                  </a:txBody>
                  <a:tcP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987410">
                <a:tc>
                  <a:txBody>
                    <a:bodyPr/>
                    <a:lstStyle/>
                    <a:p>
                      <a:pPr marL="0" marR="0" lvl="0" indent="0" algn="l" rtl="0">
                        <a:spcBef>
                          <a:spcPts val="0"/>
                        </a:spcBef>
                        <a:spcAft>
                          <a:spcPts val="0"/>
                        </a:spcAft>
                        <a:buNone/>
                      </a:pPr>
                      <a:r>
                        <a:rPr lang="en-US" sz="900" b="1" dirty="0">
                          <a:solidFill>
                            <a:schemeClr val="dk1"/>
                          </a:solidFill>
                          <a:latin typeface="Gene Sans Light" panose="00000400000000000000" pitchFamily="50" charset="0"/>
                        </a:rPr>
                        <a:t>Unique Content </a:t>
                      </a:r>
                      <a:br>
                        <a:rPr lang="en-US" sz="900" b="1" dirty="0">
                          <a:solidFill>
                            <a:schemeClr val="dk1"/>
                          </a:solidFill>
                          <a:latin typeface="Gene Sans Light" panose="00000400000000000000" pitchFamily="50" charset="0"/>
                        </a:rPr>
                      </a:br>
                      <a:r>
                        <a:rPr lang="en-US" sz="900" b="1" dirty="0">
                          <a:solidFill>
                            <a:schemeClr val="dk1"/>
                          </a:solidFill>
                          <a:latin typeface="Gene Sans Light" panose="00000400000000000000" pitchFamily="50" charset="0"/>
                        </a:rPr>
                        <a:t>Highlights</a:t>
                      </a:r>
                      <a:endParaRPr sz="900" b="1" dirty="0">
                        <a:solidFill>
                          <a:schemeClr val="dk1"/>
                        </a:solidFill>
                        <a:latin typeface="Gene Sans Light" panose="00000400000000000000" pitchFamily="50" charset="0"/>
                        <a:ea typeface="Arial"/>
                        <a:cs typeface="Arial"/>
                        <a:sym typeface="Arial"/>
                      </a:endParaRPr>
                    </a:p>
                  </a:txBody>
                  <a:tcPr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900" dirty="0">
                          <a:solidFill>
                            <a:srgbClr val="545859"/>
                          </a:solidFill>
                          <a:latin typeface="Gene Sans Light" panose="00000400000000000000" pitchFamily="50" charset="0"/>
                        </a:rPr>
                        <a:t>Immunotherapy wallet card</a:t>
                      </a:r>
                      <a:endParaRPr sz="1100" dirty="0">
                        <a:solidFill>
                          <a:srgbClr val="545859"/>
                        </a:solidFill>
                        <a:latin typeface="Gene Sans Light" panose="00000400000000000000" pitchFamily="50" charset="0"/>
                      </a:endParaRPr>
                    </a:p>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900" dirty="0">
                          <a:solidFill>
                            <a:srgbClr val="545859"/>
                          </a:solidFill>
                          <a:latin typeface="Gene Sans Light" panose="00000400000000000000" pitchFamily="50" charset="0"/>
                        </a:rPr>
                        <a:t>Sections on patient communication</a:t>
                      </a:r>
                      <a:r>
                        <a:rPr lang="en-US" sz="900" strike="noStrike" dirty="0">
                          <a:solidFill>
                            <a:srgbClr val="545859"/>
                          </a:solidFill>
                          <a:latin typeface="Gene Sans Light" panose="00000400000000000000" pitchFamily="50" charset="0"/>
                        </a:rPr>
                        <a:t>, on-going studies</a:t>
                      </a:r>
                      <a:r>
                        <a:rPr lang="en-US" sz="900" dirty="0">
                          <a:solidFill>
                            <a:srgbClr val="545859"/>
                          </a:solidFill>
                          <a:latin typeface="Gene Sans Light" panose="00000400000000000000" pitchFamily="50" charset="0"/>
                        </a:rPr>
                        <a:t>, </a:t>
                      </a:r>
                      <a:r>
                        <a:rPr lang="en-US" sz="900" strike="noStrike" baseline="0" dirty="0">
                          <a:solidFill>
                            <a:srgbClr val="545859"/>
                          </a:solidFill>
                          <a:latin typeface="Gene Sans Light" panose="00000400000000000000" pitchFamily="50" charset="0"/>
                        </a:rPr>
                        <a:t>and a detailed table on prevention and management of AEs d/t steroid use</a:t>
                      </a:r>
                      <a:endParaRPr sz="900" strike="sngStrike" dirty="0">
                        <a:solidFill>
                          <a:srgbClr val="545859"/>
                        </a:solidFill>
                        <a:latin typeface="Gene Sans Light" panose="00000400000000000000" pitchFamily="50" charset="0"/>
                        <a:ea typeface="Arial"/>
                        <a:cs typeface="Arial"/>
                        <a:sym typeface="Arial"/>
                      </a:endParaRPr>
                    </a:p>
                  </a:txBody>
                  <a:tcP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900" dirty="0">
                          <a:solidFill>
                            <a:schemeClr val="dk1"/>
                          </a:solidFill>
                          <a:latin typeface="Gene Sans Light" panose="00000400000000000000" pitchFamily="50" charset="0"/>
                        </a:rPr>
                        <a:t>Sections on principles of immunosuppression, patient education, immunotherapy rechallenge, and routine monitoring</a:t>
                      </a:r>
                      <a:endParaRPr sz="900" dirty="0">
                        <a:solidFill>
                          <a:schemeClr val="dk1"/>
                        </a:solidFill>
                        <a:latin typeface="Gene Sans Light" panose="00000400000000000000" pitchFamily="50" charset="0"/>
                        <a:ea typeface="Arial"/>
                        <a:cs typeface="Arial"/>
                        <a:sym typeface="Arial"/>
                      </a:endParaRPr>
                    </a:p>
                  </a:txBody>
                  <a:tcP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900" strike="noStrike" dirty="0">
                          <a:solidFill>
                            <a:schemeClr val="dk1"/>
                          </a:solidFill>
                          <a:latin typeface="Gene Sans Light" panose="00000400000000000000" pitchFamily="50" charset="0"/>
                        </a:rPr>
                        <a:t>Succinct summary of </a:t>
                      </a:r>
                      <a:r>
                        <a:rPr lang="en-US" sz="900" strike="noStrike" dirty="0" err="1">
                          <a:solidFill>
                            <a:schemeClr val="dk1"/>
                          </a:solidFill>
                          <a:latin typeface="Gene Sans Light" panose="00000400000000000000" pitchFamily="50" charset="0"/>
                        </a:rPr>
                        <a:t>irAE</a:t>
                      </a:r>
                      <a:r>
                        <a:rPr lang="en-US" sz="900" strike="noStrike" baseline="0" dirty="0">
                          <a:solidFill>
                            <a:schemeClr val="dk1"/>
                          </a:solidFill>
                          <a:latin typeface="Gene Sans Light" panose="00000400000000000000" pitchFamily="50" charset="0"/>
                        </a:rPr>
                        <a:t> </a:t>
                      </a:r>
                      <a:r>
                        <a:rPr lang="en-US" sz="900" strike="noStrike" dirty="0">
                          <a:solidFill>
                            <a:schemeClr val="dk1"/>
                          </a:solidFill>
                          <a:latin typeface="Gene Sans Light" panose="00000400000000000000" pitchFamily="50" charset="0"/>
                        </a:rPr>
                        <a:t>recommendations, </a:t>
                      </a:r>
                      <a:r>
                        <a:rPr lang="en-US" sz="900" strike="noStrike" dirty="0">
                          <a:solidFill>
                            <a:srgbClr val="545859"/>
                          </a:solidFill>
                          <a:latin typeface="Gene Sans Light" panose="00000400000000000000" pitchFamily="50" charset="0"/>
                        </a:rPr>
                        <a:t>separate patient guide</a:t>
                      </a:r>
                      <a:endParaRPr sz="900" strike="noStrike" dirty="0">
                        <a:solidFill>
                          <a:srgbClr val="545859"/>
                        </a:solidFill>
                        <a:latin typeface="Gene Sans Light" panose="00000400000000000000" pitchFamily="50" charset="0"/>
                        <a:ea typeface="Arial"/>
                        <a:cs typeface="Arial"/>
                        <a:sym typeface="Arial"/>
                      </a:endParaRPr>
                    </a:p>
                  </a:txBody>
                  <a:tcPr>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900" strike="noStrike" dirty="0">
                          <a:solidFill>
                            <a:srgbClr val="545859"/>
                          </a:solidFill>
                          <a:latin typeface="Gene Sans Light" panose="00000400000000000000" pitchFamily="50" charset="0"/>
                        </a:rPr>
                        <a:t>Guidance on pre-treatment considerations</a:t>
                      </a:r>
                      <a:r>
                        <a:rPr lang="en-US" sz="900" strike="noStrike" baseline="0" dirty="0">
                          <a:solidFill>
                            <a:srgbClr val="545859"/>
                          </a:solidFill>
                          <a:latin typeface="Gene Sans Light" panose="00000400000000000000" pitchFamily="50" charset="0"/>
                        </a:rPr>
                        <a:t> and</a:t>
                      </a:r>
                      <a:r>
                        <a:rPr lang="en-US" sz="900" strike="noStrike" dirty="0">
                          <a:solidFill>
                            <a:srgbClr val="545859"/>
                          </a:solidFill>
                          <a:latin typeface="Gene Sans Light" panose="00000400000000000000" pitchFamily="50" charset="0"/>
                        </a:rPr>
                        <a:t> when to refer</a:t>
                      </a:r>
                      <a:endParaRPr sz="900" strike="sngStrike" dirty="0">
                        <a:solidFill>
                          <a:srgbClr val="545859"/>
                        </a:solidFill>
                        <a:latin typeface="Gene Sans Light" panose="00000400000000000000" pitchFamily="50" charset="0"/>
                        <a:ea typeface="Arial"/>
                        <a:cs typeface="Arial"/>
                        <a:sym typeface="Arial"/>
                      </a:endParaRPr>
                    </a:p>
                  </a:txBody>
                  <a:tcPr>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721033721"/>
      </p:ext>
    </p:extLst>
  </p:cSld>
  <p:clrMapOvr>
    <a:masterClrMapping/>
  </p:clrMapOvr>
  <p:transition spd="med">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2"/>
          </p:nvPr>
        </p:nvSpPr>
        <p:spPr/>
        <p:txBody>
          <a:bodyPr/>
          <a:lstStyle/>
          <a:p>
            <a:endParaRPr lang="en-US"/>
          </a:p>
        </p:txBody>
      </p:sp>
      <p:sp>
        <p:nvSpPr>
          <p:cNvPr id="3" name="Text Placeholder 2"/>
          <p:cNvSpPr>
            <a:spLocks noGrp="1"/>
          </p:cNvSpPr>
          <p:nvPr>
            <p:ph type="body" idx="3"/>
          </p:nvPr>
        </p:nvSpPr>
        <p:spPr/>
        <p:txBody>
          <a:bodyPr/>
          <a:lstStyle/>
          <a:p>
            <a:r>
              <a:rPr lang="en-US" dirty="0"/>
              <a:t>1. </a:t>
            </a:r>
            <a:r>
              <a:rPr lang="da-DK" dirty="0">
                <a:solidFill>
                  <a:srgbClr val="545859"/>
                </a:solidFill>
                <a:latin typeface="Gene Sans Light" panose="00000400000000000000" pitchFamily="50" charset="0"/>
              </a:rPr>
              <a:t>. Schneider BJ, et al. J Clin Oncol. 2021;</a:t>
            </a:r>
            <a:r>
              <a:rPr lang="en-US" dirty="0">
                <a:solidFill>
                  <a:srgbClr val="545859"/>
                </a:solidFill>
                <a:latin typeface="Gene Sans Light" panose="00000400000000000000" pitchFamily="50" charset="0"/>
              </a:rPr>
              <a:t> JCO2101440</a:t>
            </a:r>
            <a:r>
              <a:rPr lang="da-DK" dirty="0">
                <a:solidFill>
                  <a:srgbClr val="545859"/>
                </a:solidFill>
                <a:latin typeface="Gene Sans Light" panose="00000400000000000000" pitchFamily="50" charset="0"/>
              </a:rPr>
              <a:t>. 2. Brahmer J, et al. J Immunother. 2021;</a:t>
            </a:r>
            <a:r>
              <a:rPr lang="en-US" dirty="0">
                <a:solidFill>
                  <a:srgbClr val="545859"/>
                </a:solidFill>
                <a:latin typeface="Gene Sans Light" panose="00000400000000000000" pitchFamily="50" charset="0"/>
              </a:rPr>
              <a:t>9</a:t>
            </a:r>
            <a:r>
              <a:rPr lang="en-US" b="1" dirty="0">
                <a:solidFill>
                  <a:srgbClr val="545859"/>
                </a:solidFill>
                <a:latin typeface="Gene Sans Light" panose="00000400000000000000" pitchFamily="50" charset="0"/>
              </a:rPr>
              <a:t>:</a:t>
            </a:r>
            <a:r>
              <a:rPr lang="en-US" dirty="0">
                <a:solidFill>
                  <a:srgbClr val="545859"/>
                </a:solidFill>
                <a:latin typeface="Gene Sans Light" panose="00000400000000000000" pitchFamily="50" charset="0"/>
              </a:rPr>
              <a:t>e002435</a:t>
            </a:r>
            <a:endParaRPr lang="da-DK" dirty="0">
              <a:solidFill>
                <a:srgbClr val="545859"/>
              </a:solidFill>
              <a:latin typeface="Gene Sans Light" panose="00000400000000000000" pitchFamily="50" charset="0"/>
            </a:endParaRPr>
          </a:p>
        </p:txBody>
      </p:sp>
      <p:sp>
        <p:nvSpPr>
          <p:cNvPr id="5" name="Title 4"/>
          <p:cNvSpPr>
            <a:spLocks noGrp="1"/>
          </p:cNvSpPr>
          <p:nvPr>
            <p:ph type="title"/>
          </p:nvPr>
        </p:nvSpPr>
        <p:spPr/>
        <p:txBody>
          <a:bodyPr/>
          <a:lstStyle/>
          <a:p>
            <a:r>
              <a:rPr lang="en-US" kern="0" cap="none" dirty="0">
                <a:cs typeface="Arial"/>
              </a:rPr>
              <a:t>Comparison of Consensus Guidelines (</a:t>
            </a:r>
            <a:r>
              <a:rPr lang="en-US" i="1" kern="0" cap="none" dirty="0">
                <a:cs typeface="Arial"/>
              </a:rPr>
              <a:t>cont.</a:t>
            </a:r>
            <a:r>
              <a:rPr lang="en-US" kern="0" cap="none" dirty="0">
                <a:cs typeface="Arial"/>
              </a:rPr>
              <a:t>)</a:t>
            </a:r>
            <a:endParaRPr lang="en-US" dirty="0"/>
          </a:p>
        </p:txBody>
      </p:sp>
      <p:sp>
        <p:nvSpPr>
          <p:cNvPr id="6" name="Google Shape;122;p3">
            <a:extLst>
              <a:ext uri="{FF2B5EF4-FFF2-40B4-BE49-F238E27FC236}">
                <a16:creationId xmlns:a16="http://schemas.microsoft.com/office/drawing/2014/main" id="{87303917-5CF3-44CE-BBBB-83D7C8B839C7}"/>
              </a:ext>
            </a:extLst>
          </p:cNvPr>
          <p:cNvSpPr txBox="1">
            <a:spLocks/>
          </p:cNvSpPr>
          <p:nvPr/>
        </p:nvSpPr>
        <p:spPr>
          <a:xfrm>
            <a:off x="381000" y="94545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graphicFrame>
        <p:nvGraphicFramePr>
          <p:cNvPr id="7" name="Google Shape;4310;p31">
            <a:extLst>
              <a:ext uri="{FF2B5EF4-FFF2-40B4-BE49-F238E27FC236}">
                <a16:creationId xmlns:a16="http://schemas.microsoft.com/office/drawing/2014/main" id="{97F4995C-0467-4A5B-A44D-7C7FD150D409}"/>
              </a:ext>
            </a:extLst>
          </p:cNvPr>
          <p:cNvGraphicFramePr/>
          <p:nvPr/>
        </p:nvGraphicFramePr>
        <p:xfrm>
          <a:off x="380351" y="1680443"/>
          <a:ext cx="8382001" cy="2816648"/>
        </p:xfrm>
        <a:graphic>
          <a:graphicData uri="http://schemas.openxmlformats.org/drawingml/2006/table">
            <a:tbl>
              <a:tblPr firstRow="1" bandRow="1">
                <a:noFill/>
              </a:tblPr>
              <a:tblGrid>
                <a:gridCol w="807881">
                  <a:extLst>
                    <a:ext uri="{9D8B030D-6E8A-4147-A177-3AD203B41FA5}">
                      <a16:colId xmlns:a16="http://schemas.microsoft.com/office/drawing/2014/main" val="20000"/>
                    </a:ext>
                  </a:extLst>
                </a:gridCol>
                <a:gridCol w="3787060">
                  <a:extLst>
                    <a:ext uri="{9D8B030D-6E8A-4147-A177-3AD203B41FA5}">
                      <a16:colId xmlns:a16="http://schemas.microsoft.com/office/drawing/2014/main" val="20001"/>
                    </a:ext>
                  </a:extLst>
                </a:gridCol>
                <a:gridCol w="3787060">
                  <a:extLst>
                    <a:ext uri="{9D8B030D-6E8A-4147-A177-3AD203B41FA5}">
                      <a16:colId xmlns:a16="http://schemas.microsoft.com/office/drawing/2014/main" val="20002"/>
                    </a:ext>
                  </a:extLst>
                </a:gridCol>
              </a:tblGrid>
              <a:tr h="237560">
                <a:tc>
                  <a:txBody>
                    <a:bodyPr/>
                    <a:lstStyle/>
                    <a:p>
                      <a:pPr marL="0" marR="0" lvl="0" indent="0" algn="l" rtl="0">
                        <a:spcBef>
                          <a:spcPts val="0"/>
                        </a:spcBef>
                        <a:spcAft>
                          <a:spcPts val="0"/>
                        </a:spcAft>
                        <a:buNone/>
                      </a:pPr>
                      <a:r>
                        <a:rPr lang="en-US" sz="1050" b="1" dirty="0">
                          <a:solidFill>
                            <a:schemeClr val="bg1"/>
                          </a:solidFill>
                          <a:latin typeface="Gene Sans" panose="00000500000000000000" pitchFamily="50" charset="0"/>
                        </a:rPr>
                        <a:t>Grade</a:t>
                      </a:r>
                      <a:endParaRPr sz="1050" b="1" dirty="0">
                        <a:solidFill>
                          <a:schemeClr val="bg1"/>
                        </a:solidFill>
                        <a:latin typeface="Gene Sans" panose="00000500000000000000" pitchFamily="50" charset="0"/>
                      </a:endParaRPr>
                    </a:p>
                  </a:txBody>
                  <a:tcPr marL="68588" marR="68588" marT="34294" marB="34294" anchor="ctr">
                    <a:lnL w="9525"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rtl="0">
                        <a:spcBef>
                          <a:spcPts val="0"/>
                        </a:spcBef>
                        <a:spcAft>
                          <a:spcPts val="0"/>
                        </a:spcAft>
                        <a:buNone/>
                      </a:pPr>
                      <a:r>
                        <a:rPr lang="en-US" sz="1050" b="1" dirty="0">
                          <a:solidFill>
                            <a:schemeClr val="bg1"/>
                          </a:solidFill>
                          <a:latin typeface="Gene Sans" panose="00000500000000000000" pitchFamily="50" charset="0"/>
                        </a:rPr>
                        <a:t>ASCO</a:t>
                      </a:r>
                      <a:r>
                        <a:rPr lang="en-US" sz="1050" b="1" baseline="30000" dirty="0">
                          <a:solidFill>
                            <a:schemeClr val="bg1"/>
                          </a:solidFill>
                          <a:latin typeface="Gene Sans" panose="00000500000000000000" pitchFamily="50" charset="0"/>
                        </a:rPr>
                        <a:t>1</a:t>
                      </a:r>
                      <a:endParaRPr sz="1050" b="1" dirty="0">
                        <a:solidFill>
                          <a:schemeClr val="bg1"/>
                        </a:solidFill>
                        <a:latin typeface="Gene Sans" panose="00000500000000000000" pitchFamily="50" charset="0"/>
                      </a:endParaRPr>
                    </a:p>
                  </a:txBody>
                  <a:tcPr marL="68588" marR="68588" marT="34294" marB="34294" anchor="ct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rtl="0">
                        <a:spcBef>
                          <a:spcPts val="0"/>
                        </a:spcBef>
                        <a:spcAft>
                          <a:spcPts val="0"/>
                        </a:spcAft>
                        <a:buNone/>
                      </a:pPr>
                      <a:r>
                        <a:rPr lang="en-US" sz="1050" b="1" dirty="0">
                          <a:solidFill>
                            <a:schemeClr val="bg1"/>
                          </a:solidFill>
                          <a:latin typeface="Gene Sans" panose="00000500000000000000" pitchFamily="50" charset="0"/>
                        </a:rPr>
                        <a:t>SITC</a:t>
                      </a:r>
                      <a:r>
                        <a:rPr lang="en-US" sz="1050" b="1" baseline="30000" dirty="0">
                          <a:solidFill>
                            <a:schemeClr val="bg1"/>
                          </a:solidFill>
                          <a:latin typeface="Gene Sans" panose="00000500000000000000" pitchFamily="50" charset="0"/>
                        </a:rPr>
                        <a:t>2</a:t>
                      </a:r>
                      <a:endParaRPr sz="1050" b="1" dirty="0">
                        <a:solidFill>
                          <a:schemeClr val="bg1"/>
                        </a:solidFill>
                        <a:latin typeface="Gene Sans" panose="00000500000000000000" pitchFamily="50" charset="0"/>
                      </a:endParaRPr>
                    </a:p>
                  </a:txBody>
                  <a:tcPr marL="68588" marR="68588" marT="34294" marB="34294" anchor="ctr">
                    <a:lnL w="12700" cap="flat" cmpd="sng">
                      <a:noFill/>
                      <a:prstDash val="solid"/>
                      <a:round/>
                      <a:headEnd type="none" w="sm" len="sm"/>
                      <a:tailEnd type="none" w="sm" len="sm"/>
                    </a:lnL>
                    <a:lnR w="12700" cap="flat" cmpd="sng">
                      <a:noFill/>
                      <a:prstDash val="solid"/>
                      <a:round/>
                      <a:headEnd type="none" w="sm" len="sm"/>
                      <a:tailEnd type="none" w="sm" len="sm"/>
                    </a:lnR>
                    <a:lnT w="12700" cap="flat" cmpd="sng">
                      <a:noFill/>
                      <a:prstDash val="solid"/>
                      <a:round/>
                      <a:headEnd type="none" w="sm" len="sm"/>
                      <a:tailEnd type="none" w="sm" len="sm"/>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03847">
                <a:tc>
                  <a:txBody>
                    <a:bodyPr/>
                    <a:lstStyle/>
                    <a:p>
                      <a:pPr marL="0" marR="0" lvl="0" indent="0" algn="l" rtl="0">
                        <a:spcBef>
                          <a:spcPts val="0"/>
                        </a:spcBef>
                        <a:spcAft>
                          <a:spcPts val="0"/>
                        </a:spcAft>
                        <a:buNone/>
                      </a:pPr>
                      <a:r>
                        <a:rPr lang="en-US" sz="1050" b="1" dirty="0">
                          <a:solidFill>
                            <a:schemeClr val="dk1"/>
                          </a:solidFill>
                          <a:latin typeface="Gene Sans Light" panose="00000400000000000000" pitchFamily="50" charset="0"/>
                        </a:rPr>
                        <a:t>Grade 1</a:t>
                      </a:r>
                      <a:endParaRPr sz="1050" dirty="0">
                        <a:latin typeface="Gene Sans Light" panose="00000400000000000000" pitchFamily="50" charset="0"/>
                      </a:endParaRPr>
                    </a:p>
                  </a:txBody>
                  <a:tcPr marL="68588" marR="68588" marT="34294" marB="34294"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rtl="0">
                        <a:spcBef>
                          <a:spcPts val="0"/>
                        </a:spcBef>
                        <a:spcAft>
                          <a:spcPts val="0"/>
                        </a:spcAft>
                        <a:buClr>
                          <a:schemeClr val="dk1"/>
                        </a:buClr>
                        <a:buSzPct val="100000"/>
                        <a:buFont typeface="Arial" panose="020B0604020202020204" pitchFamily="34" charset="0"/>
                        <a:buChar char="•"/>
                      </a:pPr>
                      <a:r>
                        <a:rPr lang="en-US" sz="1050" dirty="0">
                          <a:solidFill>
                            <a:schemeClr val="dk1"/>
                          </a:solidFill>
                          <a:latin typeface="Gene Sans Light" panose="00000400000000000000" pitchFamily="50" charset="0"/>
                        </a:rPr>
                        <a:t>Continued CPI with close monitoring</a:t>
                      </a:r>
                      <a:endParaRPr sz="1050" dirty="0">
                        <a:solidFill>
                          <a:srgbClr val="FF0000"/>
                        </a:solidFill>
                        <a:latin typeface="Gene Sans Light" panose="00000400000000000000" pitchFamily="50" charset="0"/>
                      </a:endParaRPr>
                    </a:p>
                  </a:txBody>
                  <a:tcPr marL="68588" marR="68588" marT="34294" marB="34294">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1050" u="none" strike="noStrike" dirty="0">
                          <a:solidFill>
                            <a:schemeClr val="dk1"/>
                          </a:solidFill>
                          <a:latin typeface="Gene Sans Light" panose="00000400000000000000" pitchFamily="50" charset="0"/>
                        </a:rPr>
                        <a:t>Continue </a:t>
                      </a:r>
                      <a:r>
                        <a:rPr lang="en-US" sz="1050" u="none" strike="noStrike" dirty="0">
                          <a:solidFill>
                            <a:srgbClr val="545859"/>
                          </a:solidFill>
                          <a:latin typeface="Gene Sans Light" panose="00000400000000000000" pitchFamily="50" charset="0"/>
                        </a:rPr>
                        <a:t>immunotherapy</a:t>
                      </a:r>
                      <a:r>
                        <a:rPr lang="en-US" sz="1050" u="none" strike="noStrike" baseline="0" dirty="0">
                          <a:solidFill>
                            <a:srgbClr val="545859"/>
                          </a:solidFill>
                          <a:latin typeface="Gene Sans Light" panose="00000400000000000000" pitchFamily="50" charset="0"/>
                        </a:rPr>
                        <a:t> and monitor for worsening symptoms</a:t>
                      </a:r>
                      <a:endParaRPr sz="1050" dirty="0">
                        <a:solidFill>
                          <a:srgbClr val="545859"/>
                        </a:solidFill>
                        <a:latin typeface="Gene Sans Light" panose="00000400000000000000" pitchFamily="50" charset="0"/>
                      </a:endParaRPr>
                    </a:p>
                  </a:txBody>
                  <a:tcPr marL="68588" marR="68588" marT="34294" marB="34294">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570133">
                <a:tc>
                  <a:txBody>
                    <a:bodyPr/>
                    <a:lstStyle/>
                    <a:p>
                      <a:pPr marL="0" marR="0" lvl="0" indent="0" algn="l" rtl="0">
                        <a:spcBef>
                          <a:spcPts val="0"/>
                        </a:spcBef>
                        <a:spcAft>
                          <a:spcPts val="0"/>
                        </a:spcAft>
                        <a:buNone/>
                      </a:pPr>
                      <a:r>
                        <a:rPr lang="en-US" sz="1050" b="1">
                          <a:solidFill>
                            <a:schemeClr val="dk1"/>
                          </a:solidFill>
                          <a:latin typeface="Gene Sans Light" panose="00000400000000000000" pitchFamily="50" charset="0"/>
                        </a:rPr>
                        <a:t>Grade 2</a:t>
                      </a:r>
                      <a:endParaRPr sz="1050">
                        <a:latin typeface="Gene Sans Light" panose="00000400000000000000" pitchFamily="50" charset="0"/>
                      </a:endParaRPr>
                    </a:p>
                  </a:txBody>
                  <a:tcPr marL="68588" marR="68588" marT="34294" marB="34294"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1050" dirty="0">
                          <a:solidFill>
                            <a:schemeClr val="dk1"/>
                          </a:solidFill>
                          <a:latin typeface="Gene Sans Light" panose="00000400000000000000" pitchFamily="50" charset="0"/>
                        </a:rPr>
                        <a:t>Suspend CPI</a:t>
                      </a:r>
                      <a:endParaRPr sz="1050" dirty="0">
                        <a:latin typeface="Gene Sans Light" panose="00000400000000000000" pitchFamily="50" charset="0"/>
                      </a:endParaRPr>
                    </a:p>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1050" dirty="0">
                          <a:solidFill>
                            <a:schemeClr val="dk1"/>
                          </a:solidFill>
                          <a:latin typeface="Gene Sans Light" panose="00000400000000000000" pitchFamily="50" charset="0"/>
                        </a:rPr>
                        <a:t>Consider resuming once ≤ G1</a:t>
                      </a:r>
                      <a:endParaRPr sz="1050" dirty="0">
                        <a:latin typeface="Gene Sans Light" panose="00000400000000000000" pitchFamily="50" charset="0"/>
                      </a:endParaRPr>
                    </a:p>
                    <a:p>
                      <a:pPr marL="171450" marR="0" lvl="0" indent="-171450" algn="l" rtl="0">
                        <a:lnSpc>
                          <a:spcPct val="100000"/>
                        </a:lnSpc>
                        <a:spcBef>
                          <a:spcPts val="0"/>
                        </a:spcBef>
                        <a:spcAft>
                          <a:spcPts val="0"/>
                        </a:spcAft>
                        <a:buClr>
                          <a:schemeClr val="dk1"/>
                        </a:buClr>
                        <a:buSzPct val="100000"/>
                        <a:buFont typeface="Arial" panose="020B0604020202020204" pitchFamily="34" charset="0"/>
                        <a:buChar char="•"/>
                      </a:pPr>
                      <a:r>
                        <a:rPr lang="en-US" sz="1050" dirty="0">
                          <a:solidFill>
                            <a:schemeClr val="dk1"/>
                          </a:solidFill>
                          <a:latin typeface="Gene Sans Light" panose="00000400000000000000" pitchFamily="50" charset="0"/>
                        </a:rPr>
                        <a:t>Corticosteroids may be administered </a:t>
                      </a:r>
                      <a:endParaRPr sz="1050" dirty="0">
                        <a:latin typeface="Gene Sans Light" panose="00000400000000000000" pitchFamily="50" charset="0"/>
                      </a:endParaRPr>
                    </a:p>
                  </a:txBody>
                  <a:tcPr marL="68588" marR="68588" marT="34294" marB="34294">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rtl="0">
                        <a:spcBef>
                          <a:spcPts val="0"/>
                        </a:spcBef>
                        <a:spcAft>
                          <a:spcPts val="0"/>
                        </a:spcAft>
                        <a:buClr>
                          <a:schemeClr val="dk1"/>
                        </a:buClr>
                        <a:buSzPct val="100000"/>
                        <a:buFont typeface="Arial" panose="020B0604020202020204" pitchFamily="34" charset="0"/>
                        <a:buChar char="•"/>
                      </a:pPr>
                      <a:r>
                        <a:rPr lang="en-US" sz="1050" dirty="0" err="1">
                          <a:solidFill>
                            <a:srgbClr val="545859"/>
                          </a:solidFill>
                          <a:latin typeface="Gene Sans Light" panose="00000400000000000000" pitchFamily="50" charset="0"/>
                        </a:rPr>
                        <a:t>Withold</a:t>
                      </a:r>
                      <a:r>
                        <a:rPr lang="en-US" sz="1050" dirty="0">
                          <a:solidFill>
                            <a:srgbClr val="545859"/>
                          </a:solidFill>
                          <a:latin typeface="Gene Sans Light" panose="00000400000000000000" pitchFamily="50" charset="0"/>
                        </a:rPr>
                        <a:t> CPI</a:t>
                      </a:r>
                      <a:endParaRPr sz="1050" strike="sngStrike" dirty="0">
                        <a:solidFill>
                          <a:srgbClr val="545859"/>
                        </a:solidFill>
                        <a:latin typeface="Gene Sans Light" panose="00000400000000000000" pitchFamily="50" charset="0"/>
                      </a:endParaRPr>
                    </a:p>
                    <a:p>
                      <a:pPr marL="171450" marR="0" lvl="0" indent="-171450" algn="l" rtl="0">
                        <a:spcBef>
                          <a:spcPts val="0"/>
                        </a:spcBef>
                        <a:spcAft>
                          <a:spcPts val="0"/>
                        </a:spcAft>
                        <a:buClr>
                          <a:schemeClr val="dk1"/>
                        </a:buClr>
                        <a:buSzPct val="100000"/>
                        <a:buFont typeface="Arial" panose="020B0604020202020204" pitchFamily="34" charset="0"/>
                        <a:buChar char="•"/>
                      </a:pPr>
                      <a:r>
                        <a:rPr lang="en-US" sz="1050" dirty="0">
                          <a:solidFill>
                            <a:srgbClr val="545859"/>
                          </a:solidFill>
                          <a:latin typeface="Gene Sans Light" panose="00000400000000000000" pitchFamily="50" charset="0"/>
                        </a:rPr>
                        <a:t>Corticosteroids</a:t>
                      </a:r>
                      <a:r>
                        <a:rPr lang="en-US" sz="1050" baseline="0" dirty="0">
                          <a:solidFill>
                            <a:srgbClr val="545859"/>
                          </a:solidFill>
                          <a:latin typeface="Gene Sans Light" panose="00000400000000000000" pitchFamily="50" charset="0"/>
                        </a:rPr>
                        <a:t> may be administered </a:t>
                      </a:r>
                      <a:endParaRPr sz="1050" strike="sngStrike" dirty="0">
                        <a:solidFill>
                          <a:srgbClr val="545859"/>
                        </a:solidFill>
                        <a:latin typeface="Gene Sans Light" panose="00000400000000000000" pitchFamily="50" charset="0"/>
                      </a:endParaRPr>
                    </a:p>
                    <a:p>
                      <a:pPr marL="171450" marR="0" lvl="0" indent="-171450" algn="l" rtl="0">
                        <a:spcBef>
                          <a:spcPts val="0"/>
                        </a:spcBef>
                        <a:spcAft>
                          <a:spcPts val="0"/>
                        </a:spcAft>
                        <a:buClr>
                          <a:schemeClr val="dk1"/>
                        </a:buClr>
                        <a:buSzPct val="100000"/>
                        <a:buFont typeface="Arial" panose="020B0604020202020204" pitchFamily="34" charset="0"/>
                        <a:buChar char="•"/>
                      </a:pPr>
                      <a:r>
                        <a:rPr lang="en-US" sz="1050" dirty="0">
                          <a:solidFill>
                            <a:srgbClr val="545859"/>
                          </a:solidFill>
                          <a:latin typeface="Gene Sans Light" panose="00000400000000000000" pitchFamily="50" charset="0"/>
                        </a:rPr>
                        <a:t>Continue CPI once signs and symptoms have resolved or are controlled with ≤10 mg of prednisone (or equivalent) per day </a:t>
                      </a:r>
                      <a:endParaRPr sz="1050" strike="sngStrike" dirty="0">
                        <a:solidFill>
                          <a:srgbClr val="545859"/>
                        </a:solidFill>
                        <a:latin typeface="Gene Sans Light" panose="00000400000000000000" pitchFamily="50" charset="0"/>
                      </a:endParaRPr>
                    </a:p>
                  </a:txBody>
                  <a:tcPr marL="68588" marR="68588" marT="34294" marB="34294">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902706">
                <a:tc>
                  <a:txBody>
                    <a:bodyPr/>
                    <a:lstStyle/>
                    <a:p>
                      <a:pPr marL="0" marR="0" lvl="0" indent="0" algn="l" rtl="0">
                        <a:spcBef>
                          <a:spcPts val="0"/>
                        </a:spcBef>
                        <a:spcAft>
                          <a:spcPts val="0"/>
                        </a:spcAft>
                        <a:buNone/>
                      </a:pPr>
                      <a:r>
                        <a:rPr lang="en-US" sz="1050" b="1" dirty="0">
                          <a:solidFill>
                            <a:schemeClr val="dk1"/>
                          </a:solidFill>
                          <a:latin typeface="Gene Sans Light" panose="00000400000000000000" pitchFamily="50" charset="0"/>
                        </a:rPr>
                        <a:t>Grade 3</a:t>
                      </a:r>
                      <a:endParaRPr sz="1050" dirty="0">
                        <a:latin typeface="Gene Sans Light" panose="00000400000000000000" pitchFamily="50" charset="0"/>
                      </a:endParaRPr>
                    </a:p>
                  </a:txBody>
                  <a:tcPr marL="68588" marR="68588" marT="34294" marB="34294"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rtl="0">
                        <a:spcBef>
                          <a:spcPts val="0"/>
                        </a:spcBef>
                        <a:spcAft>
                          <a:spcPts val="0"/>
                        </a:spcAft>
                        <a:buClr>
                          <a:schemeClr val="dk1"/>
                        </a:buClr>
                        <a:buSzPct val="100000"/>
                        <a:buFont typeface="Arial" panose="020B0604020202020204" pitchFamily="34" charset="0"/>
                        <a:buChar char="•"/>
                      </a:pPr>
                      <a:r>
                        <a:rPr lang="en-US" sz="1050" dirty="0">
                          <a:solidFill>
                            <a:schemeClr val="dk1"/>
                          </a:solidFill>
                          <a:latin typeface="Gene Sans Light" panose="00000400000000000000" pitchFamily="50" charset="0"/>
                        </a:rPr>
                        <a:t>Suspend CPI</a:t>
                      </a:r>
                      <a:endParaRPr sz="1050" dirty="0">
                        <a:latin typeface="Gene Sans Light" panose="00000400000000000000" pitchFamily="50" charset="0"/>
                      </a:endParaRPr>
                    </a:p>
                    <a:p>
                      <a:pPr marL="171450" marR="0" lvl="0" indent="-171450" algn="l" rtl="0">
                        <a:spcBef>
                          <a:spcPts val="0"/>
                        </a:spcBef>
                        <a:spcAft>
                          <a:spcPts val="0"/>
                        </a:spcAft>
                        <a:buClr>
                          <a:schemeClr val="dk1"/>
                        </a:buClr>
                        <a:buSzPct val="100000"/>
                        <a:buFont typeface="Arial" panose="020B0604020202020204" pitchFamily="34" charset="0"/>
                        <a:buChar char="•"/>
                      </a:pPr>
                      <a:r>
                        <a:rPr lang="en-US" sz="1050" dirty="0">
                          <a:solidFill>
                            <a:schemeClr val="dk1"/>
                          </a:solidFill>
                          <a:latin typeface="Gene Sans Light" panose="00000400000000000000" pitchFamily="50" charset="0"/>
                        </a:rPr>
                        <a:t>Initiate high-dose corticosteroids; taper over at least </a:t>
                      </a:r>
                      <a:br>
                        <a:rPr lang="en-US" sz="1050" dirty="0">
                          <a:solidFill>
                            <a:schemeClr val="dk1"/>
                          </a:solidFill>
                          <a:latin typeface="Gene Sans Light" panose="00000400000000000000" pitchFamily="50" charset="0"/>
                        </a:rPr>
                      </a:br>
                      <a:r>
                        <a:rPr lang="en-US" sz="1050" dirty="0">
                          <a:solidFill>
                            <a:schemeClr val="dk1"/>
                          </a:solidFill>
                          <a:latin typeface="Gene Sans Light" panose="00000400000000000000" pitchFamily="50" charset="0"/>
                        </a:rPr>
                        <a:t>4 to 6 weeks</a:t>
                      </a:r>
                      <a:endParaRPr sz="1050" dirty="0">
                        <a:latin typeface="Gene Sans Light" panose="00000400000000000000" pitchFamily="50" charset="0"/>
                      </a:endParaRPr>
                    </a:p>
                    <a:p>
                      <a:pPr marL="171450" marR="0" lvl="0" indent="-171450" algn="l" rtl="0">
                        <a:spcBef>
                          <a:spcPts val="0"/>
                        </a:spcBef>
                        <a:spcAft>
                          <a:spcPts val="0"/>
                        </a:spcAft>
                        <a:buClr>
                          <a:schemeClr val="dk1"/>
                        </a:buClr>
                        <a:buSzPct val="100000"/>
                        <a:buFont typeface="Arial" panose="020B0604020202020204" pitchFamily="34" charset="0"/>
                        <a:buChar char="•"/>
                      </a:pPr>
                      <a:r>
                        <a:rPr lang="en-US" sz="1050" dirty="0">
                          <a:solidFill>
                            <a:schemeClr val="dk1"/>
                          </a:solidFill>
                          <a:latin typeface="Gene Sans Light" panose="00000400000000000000" pitchFamily="50" charset="0"/>
                        </a:rPr>
                        <a:t>Some </a:t>
                      </a:r>
                      <a:r>
                        <a:rPr lang="en-US" sz="1050" dirty="0">
                          <a:solidFill>
                            <a:srgbClr val="545859"/>
                          </a:solidFill>
                          <a:latin typeface="Gene Sans Light" panose="00000400000000000000" pitchFamily="50" charset="0"/>
                        </a:rPr>
                        <a:t>refractory cases may require infliximab </a:t>
                      </a:r>
                      <a:r>
                        <a:rPr lang="en-US" sz="1050" strike="noStrike" dirty="0">
                          <a:solidFill>
                            <a:srgbClr val="545859"/>
                          </a:solidFill>
                          <a:latin typeface="Gene Sans Light" panose="00000400000000000000" pitchFamily="50" charset="0"/>
                        </a:rPr>
                        <a:t>or </a:t>
                      </a:r>
                      <a:r>
                        <a:rPr lang="en-US" sz="1050" dirty="0">
                          <a:solidFill>
                            <a:srgbClr val="545859"/>
                          </a:solidFill>
                          <a:latin typeface="Gene Sans Light" panose="00000400000000000000" pitchFamily="50" charset="0"/>
                        </a:rPr>
                        <a:t>other immunosuppressive therapy</a:t>
                      </a:r>
                      <a:endParaRPr sz="1050" dirty="0">
                        <a:solidFill>
                          <a:srgbClr val="545859"/>
                        </a:solidFill>
                        <a:latin typeface="Gene Sans Light" panose="00000400000000000000" pitchFamily="50" charset="0"/>
                      </a:endParaRPr>
                    </a:p>
                  </a:txBody>
                  <a:tcPr marL="68588" marR="68588" marT="34294" marB="34294">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rtl="0">
                        <a:spcBef>
                          <a:spcPts val="0"/>
                        </a:spcBef>
                        <a:spcAft>
                          <a:spcPts val="0"/>
                        </a:spcAft>
                        <a:buClr>
                          <a:schemeClr val="dk1"/>
                        </a:buClr>
                        <a:buSzPct val="100000"/>
                        <a:buFont typeface="Arial" panose="020B0604020202020204" pitchFamily="34" charset="0"/>
                        <a:buChar char="•"/>
                      </a:pPr>
                      <a:r>
                        <a:rPr lang="en-US" sz="1050" strike="noStrike" dirty="0">
                          <a:solidFill>
                            <a:srgbClr val="545859"/>
                          </a:solidFill>
                          <a:latin typeface="Gene Sans Light" panose="00000400000000000000" pitchFamily="50" charset="0"/>
                        </a:rPr>
                        <a:t>No general recommendation</a:t>
                      </a:r>
                      <a:endParaRPr sz="1050" strike="noStrike" dirty="0">
                        <a:solidFill>
                          <a:srgbClr val="545859"/>
                        </a:solidFill>
                        <a:latin typeface="Gene Sans Light" panose="00000400000000000000" pitchFamily="50" charset="0"/>
                      </a:endParaRPr>
                    </a:p>
                  </a:txBody>
                  <a:tcPr marL="68588" marR="68588" marT="34294" marB="34294">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403847">
                <a:tc>
                  <a:txBody>
                    <a:bodyPr/>
                    <a:lstStyle/>
                    <a:p>
                      <a:pPr marL="0" marR="0" lvl="0" indent="0" algn="l" rtl="0">
                        <a:spcBef>
                          <a:spcPts val="0"/>
                        </a:spcBef>
                        <a:spcAft>
                          <a:spcPts val="0"/>
                        </a:spcAft>
                        <a:buNone/>
                      </a:pPr>
                      <a:r>
                        <a:rPr lang="en-US" sz="1050" b="1" dirty="0">
                          <a:solidFill>
                            <a:schemeClr val="dk1"/>
                          </a:solidFill>
                          <a:latin typeface="Gene Sans Light" panose="00000400000000000000" pitchFamily="50" charset="0"/>
                        </a:rPr>
                        <a:t>Grade 4</a:t>
                      </a:r>
                      <a:endParaRPr sz="1050" dirty="0">
                        <a:latin typeface="Gene Sans Light" panose="00000400000000000000" pitchFamily="50" charset="0"/>
                      </a:endParaRPr>
                    </a:p>
                  </a:txBody>
                  <a:tcPr marL="68588" marR="68588" marT="34294" marB="34294" anchor="ctr">
                    <a:lnL w="9525"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rtl="0">
                        <a:spcBef>
                          <a:spcPts val="0"/>
                        </a:spcBef>
                        <a:spcAft>
                          <a:spcPts val="0"/>
                        </a:spcAft>
                        <a:buClr>
                          <a:schemeClr val="dk1"/>
                        </a:buClr>
                        <a:buSzPct val="100000"/>
                        <a:buFont typeface="Arial" panose="020B0604020202020204" pitchFamily="34" charset="0"/>
                        <a:buChar char="•"/>
                      </a:pPr>
                      <a:r>
                        <a:rPr lang="en-US" sz="1050" dirty="0">
                          <a:solidFill>
                            <a:schemeClr val="dk1"/>
                          </a:solidFill>
                          <a:latin typeface="Gene Sans Light" panose="00000400000000000000" pitchFamily="50" charset="0"/>
                        </a:rPr>
                        <a:t>Permanent discontinuation recommended</a:t>
                      </a:r>
                      <a:endParaRPr sz="1050" dirty="0">
                        <a:solidFill>
                          <a:srgbClr val="FF0000"/>
                        </a:solidFill>
                        <a:latin typeface="Gene Sans Light" panose="00000400000000000000" pitchFamily="50" charset="0"/>
                      </a:endParaRPr>
                    </a:p>
                  </a:txBody>
                  <a:tcPr marL="68588" marR="68588" marT="34294" marB="34294">
                    <a:lnL w="12700" cap="flat" cmpd="sng">
                      <a:noFill/>
                      <a:prstDash val="solid"/>
                      <a:round/>
                      <a:headEnd type="none" w="sm" len="sm"/>
                      <a:tailEnd type="none" w="sm" len="sm"/>
                    </a:lnL>
                    <a:lnR w="12700"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rtl="0">
                        <a:spcBef>
                          <a:spcPts val="0"/>
                        </a:spcBef>
                        <a:spcAft>
                          <a:spcPts val="0"/>
                        </a:spcAft>
                        <a:buClr>
                          <a:schemeClr val="dk1"/>
                        </a:buClr>
                        <a:buSzPct val="100000"/>
                        <a:buFont typeface="Arial" panose="020B0604020202020204" pitchFamily="34" charset="0"/>
                        <a:buChar char="•"/>
                      </a:pPr>
                      <a:r>
                        <a:rPr lang="en-US" sz="1050" strike="noStrike" dirty="0">
                          <a:solidFill>
                            <a:srgbClr val="545859"/>
                          </a:solidFill>
                          <a:latin typeface="Gene Sans Light" panose="00000400000000000000" pitchFamily="50" charset="0"/>
                        </a:rPr>
                        <a:t>No general recommendation</a:t>
                      </a:r>
                      <a:endParaRPr sz="1050" strike="noStrike" dirty="0">
                        <a:solidFill>
                          <a:srgbClr val="545859"/>
                        </a:solidFill>
                        <a:latin typeface="Gene Sans Light" panose="00000400000000000000" pitchFamily="50" charset="0"/>
                      </a:endParaRPr>
                    </a:p>
                  </a:txBody>
                  <a:tcPr marL="68588" marR="68588" marT="34294" marB="34294">
                    <a:lnL w="12700" cap="flat" cmpd="sng">
                      <a:noFill/>
                      <a:prstDash val="solid"/>
                      <a:round/>
                      <a:headEnd type="none" w="sm" len="sm"/>
                      <a:tailEnd type="none" w="sm" len="sm"/>
                    </a:lnL>
                    <a:lnR w="9525" cap="flat" cmpd="sng">
                      <a:noFill/>
                      <a:prstDash val="solid"/>
                      <a:round/>
                      <a:headEnd type="none" w="sm" len="sm"/>
                      <a:tailEnd type="none" w="sm" len="sm"/>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8" name="Rectangle 7">
            <a:extLst>
              <a:ext uri="{FF2B5EF4-FFF2-40B4-BE49-F238E27FC236}">
                <a16:creationId xmlns:a16="http://schemas.microsoft.com/office/drawing/2014/main" id="{942C7A22-0D68-4272-B488-6CBC62B04B16}"/>
              </a:ext>
            </a:extLst>
          </p:cNvPr>
          <p:cNvSpPr/>
          <p:nvPr/>
        </p:nvSpPr>
        <p:spPr>
          <a:xfrm>
            <a:off x="381000" y="1144398"/>
            <a:ext cx="4032956" cy="483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Gene Sans Light" panose="00000400000000000000" pitchFamily="50" charset="0"/>
              <a:ea typeface="+mn-ea"/>
              <a:cs typeface="+mn-cs"/>
              <a:sym typeface="Arial"/>
            </a:endParaRPr>
          </a:p>
        </p:txBody>
      </p:sp>
      <p:sp>
        <p:nvSpPr>
          <p:cNvPr id="9" name="Rectangle 8">
            <a:extLst>
              <a:ext uri="{FF2B5EF4-FFF2-40B4-BE49-F238E27FC236}">
                <a16:creationId xmlns:a16="http://schemas.microsoft.com/office/drawing/2014/main" id="{E047AD42-5D80-4F6C-B525-FC65A024309F}"/>
              </a:ext>
            </a:extLst>
          </p:cNvPr>
          <p:cNvSpPr/>
          <p:nvPr/>
        </p:nvSpPr>
        <p:spPr>
          <a:xfrm>
            <a:off x="4738186" y="1144398"/>
            <a:ext cx="4032956" cy="483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Gene Sans Light" panose="00000400000000000000" pitchFamily="50" charset="0"/>
              <a:ea typeface="+mn-ea"/>
              <a:cs typeface="+mn-cs"/>
              <a:sym typeface="Arial"/>
            </a:endParaRPr>
          </a:p>
        </p:txBody>
      </p:sp>
      <p:sp>
        <p:nvSpPr>
          <p:cNvPr id="10" name="Google Shape;4305;p31">
            <a:extLst>
              <a:ext uri="{FF2B5EF4-FFF2-40B4-BE49-F238E27FC236}">
                <a16:creationId xmlns:a16="http://schemas.microsoft.com/office/drawing/2014/main" id="{AE4C952C-DF20-4F4A-85B5-7165AED4B798}"/>
              </a:ext>
            </a:extLst>
          </p:cNvPr>
          <p:cNvSpPr txBox="1">
            <a:spLocks/>
          </p:cNvSpPr>
          <p:nvPr/>
        </p:nvSpPr>
        <p:spPr>
          <a:xfrm>
            <a:off x="1013460" y="1224815"/>
            <a:ext cx="3078093" cy="323165"/>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L="914400" marR="0" lvl="1" indent="-228600" algn="l" rtl="0">
              <a:lnSpc>
                <a:spcPct val="90000"/>
              </a:lnSpc>
              <a:spcBef>
                <a:spcPts val="6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1050" b="0" i="0" u="none" strike="noStrike" kern="0" cap="none" spc="0" normalizeH="0" baseline="0" noProof="0" dirty="0">
                <a:ln>
                  <a:noFill/>
                </a:ln>
                <a:solidFill>
                  <a:srgbClr val="FFFFFF"/>
                </a:solidFill>
                <a:effectLst/>
                <a:uLnTx/>
                <a:uFillTx/>
                <a:latin typeface="Gene Sans Light" panose="00000400000000000000" pitchFamily="50" charset="0"/>
                <a:cs typeface="Arial"/>
                <a:sym typeface="Arial"/>
              </a:rPr>
              <a:t>There is overlap between the guidelines on management of specific AEs</a:t>
            </a:r>
          </a:p>
        </p:txBody>
      </p:sp>
      <p:sp>
        <p:nvSpPr>
          <p:cNvPr id="11" name="Google Shape;4305;p31">
            <a:extLst>
              <a:ext uri="{FF2B5EF4-FFF2-40B4-BE49-F238E27FC236}">
                <a16:creationId xmlns:a16="http://schemas.microsoft.com/office/drawing/2014/main" id="{0F21085E-7D49-4F12-B551-E1A6C048825D}"/>
              </a:ext>
            </a:extLst>
          </p:cNvPr>
          <p:cNvSpPr txBox="1">
            <a:spLocks/>
          </p:cNvSpPr>
          <p:nvPr/>
        </p:nvSpPr>
        <p:spPr>
          <a:xfrm>
            <a:off x="5370646" y="1224815"/>
            <a:ext cx="3078093" cy="323165"/>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L="914400" marR="0" lvl="1" indent="-228600" algn="l" rtl="0">
              <a:lnSpc>
                <a:spcPct val="90000"/>
              </a:lnSpc>
              <a:spcBef>
                <a:spcPts val="6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545859"/>
              </a:buClr>
              <a:buSzPts val="2000"/>
              <a:buFont typeface="Arial"/>
              <a:buNone/>
              <a:tabLst/>
              <a:defRPr/>
            </a:pPr>
            <a:r>
              <a:rPr kumimoji="0" lang="en-US" sz="1050" b="0" i="0" u="none" strike="noStrike" kern="0" cap="none" spc="0" normalizeH="0" baseline="0" noProof="0" dirty="0">
                <a:ln>
                  <a:noFill/>
                </a:ln>
                <a:solidFill>
                  <a:srgbClr val="FFFFFF"/>
                </a:solidFill>
                <a:effectLst/>
                <a:uLnTx/>
                <a:uFillTx/>
                <a:latin typeface="Gene Sans Light" panose="00000400000000000000" pitchFamily="50" charset="0"/>
                <a:cs typeface="Arial"/>
                <a:sym typeface="Arial"/>
              </a:rPr>
              <a:t>ASCO</a:t>
            </a:r>
            <a:r>
              <a:rPr kumimoji="0" lang="en-US" sz="1050" b="0" i="0" u="none" strike="noStrike" kern="0" cap="none" spc="0" normalizeH="0" baseline="30000" noProof="0" dirty="0">
                <a:ln>
                  <a:noFill/>
                </a:ln>
                <a:solidFill>
                  <a:srgbClr val="FFFFFF"/>
                </a:solidFill>
                <a:effectLst/>
                <a:uLnTx/>
                <a:uFillTx/>
                <a:latin typeface="Gene Sans Light" panose="00000400000000000000" pitchFamily="50" charset="0"/>
                <a:cs typeface="Arial"/>
                <a:sym typeface="Arial"/>
              </a:rPr>
              <a:t>1</a:t>
            </a:r>
            <a:r>
              <a:rPr kumimoji="0" lang="en-US" sz="1050" b="0" i="0" u="none" strike="noStrike" kern="0" cap="none" spc="0" normalizeH="0" baseline="0" noProof="0" dirty="0">
                <a:ln>
                  <a:noFill/>
                </a:ln>
                <a:solidFill>
                  <a:srgbClr val="FFFFFF"/>
                </a:solidFill>
                <a:effectLst/>
                <a:uLnTx/>
                <a:uFillTx/>
                <a:latin typeface="Gene Sans Light" panose="00000400000000000000" pitchFamily="50" charset="0"/>
                <a:cs typeface="Arial"/>
                <a:sym typeface="Arial"/>
              </a:rPr>
              <a:t> and SITC</a:t>
            </a:r>
            <a:r>
              <a:rPr kumimoji="0" lang="en-US" sz="1050" b="0" i="0" u="none" strike="noStrike" kern="0" cap="none" spc="0" normalizeH="0" baseline="30000" noProof="0" dirty="0">
                <a:ln>
                  <a:noFill/>
                </a:ln>
                <a:solidFill>
                  <a:srgbClr val="FFFFFF"/>
                </a:solidFill>
                <a:effectLst/>
                <a:uLnTx/>
                <a:uFillTx/>
                <a:latin typeface="Gene Sans Light" panose="00000400000000000000" pitchFamily="50" charset="0"/>
                <a:cs typeface="Arial"/>
                <a:sym typeface="Arial"/>
              </a:rPr>
              <a:t>2</a:t>
            </a:r>
            <a:r>
              <a:rPr kumimoji="0" lang="en-US" sz="1050" b="0" i="0" u="none" strike="noStrike" kern="0" cap="none" spc="0" normalizeH="0" baseline="0" noProof="0" dirty="0">
                <a:ln>
                  <a:noFill/>
                </a:ln>
                <a:solidFill>
                  <a:srgbClr val="FFFFFF"/>
                </a:solidFill>
                <a:effectLst/>
                <a:uLnTx/>
                <a:uFillTx/>
                <a:latin typeface="Gene Sans Light" panose="00000400000000000000" pitchFamily="50" charset="0"/>
                <a:cs typeface="Arial"/>
                <a:sym typeface="Arial"/>
              </a:rPr>
              <a:t> guidelines also provide general guidance</a:t>
            </a:r>
          </a:p>
        </p:txBody>
      </p:sp>
      <p:grpSp>
        <p:nvGrpSpPr>
          <p:cNvPr id="12" name="Group 11">
            <a:extLst>
              <a:ext uri="{FF2B5EF4-FFF2-40B4-BE49-F238E27FC236}">
                <a16:creationId xmlns:a16="http://schemas.microsoft.com/office/drawing/2014/main" id="{8DDF2A00-4946-47B7-9C41-22B2012DD4DA}"/>
              </a:ext>
            </a:extLst>
          </p:cNvPr>
          <p:cNvGrpSpPr/>
          <p:nvPr/>
        </p:nvGrpSpPr>
        <p:grpSpPr>
          <a:xfrm>
            <a:off x="594454" y="1268210"/>
            <a:ext cx="230952" cy="236375"/>
            <a:chOff x="5570538" y="4338638"/>
            <a:chExt cx="338137" cy="346075"/>
          </a:xfrm>
        </p:grpSpPr>
        <p:sp>
          <p:nvSpPr>
            <p:cNvPr id="13" name="Oval 227">
              <a:extLst>
                <a:ext uri="{FF2B5EF4-FFF2-40B4-BE49-F238E27FC236}">
                  <a16:creationId xmlns:a16="http://schemas.microsoft.com/office/drawing/2014/main" id="{91B91D5C-3292-44A4-9BDA-F2CD78A76922}"/>
                </a:ext>
              </a:extLst>
            </p:cNvPr>
            <p:cNvSpPr>
              <a:spLocks noChangeArrowheads="1"/>
            </p:cNvSpPr>
            <p:nvPr/>
          </p:nvSpPr>
          <p:spPr bwMode="auto">
            <a:xfrm>
              <a:off x="5600700" y="4338638"/>
              <a:ext cx="104775" cy="106363"/>
            </a:xfrm>
            <a:prstGeom prst="ellipse">
              <a:avLst/>
            </a:pr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14" name="Freeform 228">
              <a:extLst>
                <a:ext uri="{FF2B5EF4-FFF2-40B4-BE49-F238E27FC236}">
                  <a16:creationId xmlns:a16="http://schemas.microsoft.com/office/drawing/2014/main" id="{A6C6DDC4-451C-4D7C-B901-D1A06CD4A764}"/>
                </a:ext>
              </a:extLst>
            </p:cNvPr>
            <p:cNvSpPr>
              <a:spLocks/>
            </p:cNvSpPr>
            <p:nvPr/>
          </p:nvSpPr>
          <p:spPr bwMode="auto">
            <a:xfrm>
              <a:off x="5570538" y="4475163"/>
              <a:ext cx="165100" cy="209550"/>
            </a:xfrm>
            <a:custGeom>
              <a:avLst/>
              <a:gdLst>
                <a:gd name="T0" fmla="*/ 44 w 44"/>
                <a:gd name="T1" fmla="*/ 0 h 56"/>
                <a:gd name="T2" fmla="*/ 0 w 44"/>
                <a:gd name="T3" fmla="*/ 0 h 56"/>
                <a:gd name="T4" fmla="*/ 14 w 44"/>
                <a:gd name="T5" fmla="*/ 30 h 56"/>
                <a:gd name="T6" fmla="*/ 14 w 44"/>
                <a:gd name="T7" fmla="*/ 56 h 56"/>
                <a:gd name="T8" fmla="*/ 30 w 44"/>
                <a:gd name="T9" fmla="*/ 56 h 56"/>
                <a:gd name="T10" fmla="*/ 30 w 44"/>
                <a:gd name="T11" fmla="*/ 30 h 56"/>
                <a:gd name="T12" fmla="*/ 44 w 44"/>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44" h="56">
                  <a:moveTo>
                    <a:pt x="44" y="0"/>
                  </a:moveTo>
                  <a:cubicBezTo>
                    <a:pt x="0" y="0"/>
                    <a:pt x="0" y="0"/>
                    <a:pt x="0" y="0"/>
                  </a:cubicBezTo>
                  <a:cubicBezTo>
                    <a:pt x="0" y="16"/>
                    <a:pt x="7" y="26"/>
                    <a:pt x="14" y="30"/>
                  </a:cubicBezTo>
                  <a:cubicBezTo>
                    <a:pt x="14" y="56"/>
                    <a:pt x="14" y="56"/>
                    <a:pt x="14" y="56"/>
                  </a:cubicBezTo>
                  <a:cubicBezTo>
                    <a:pt x="30" y="56"/>
                    <a:pt x="30" y="56"/>
                    <a:pt x="30" y="56"/>
                  </a:cubicBezTo>
                  <a:cubicBezTo>
                    <a:pt x="30" y="30"/>
                    <a:pt x="30" y="30"/>
                    <a:pt x="30" y="30"/>
                  </a:cubicBezTo>
                  <a:cubicBezTo>
                    <a:pt x="38" y="26"/>
                    <a:pt x="44" y="16"/>
                    <a:pt x="44" y="0"/>
                  </a:cubicBez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15" name="Freeform 229">
              <a:extLst>
                <a:ext uri="{FF2B5EF4-FFF2-40B4-BE49-F238E27FC236}">
                  <a16:creationId xmlns:a16="http://schemas.microsoft.com/office/drawing/2014/main" id="{86DCFA2D-AB7D-4670-96A9-E395230892C5}"/>
                </a:ext>
              </a:extLst>
            </p:cNvPr>
            <p:cNvSpPr>
              <a:spLocks/>
            </p:cNvSpPr>
            <p:nvPr/>
          </p:nvSpPr>
          <p:spPr bwMode="auto">
            <a:xfrm>
              <a:off x="5637213" y="4475163"/>
              <a:ext cx="30163" cy="104775"/>
            </a:xfrm>
            <a:custGeom>
              <a:avLst/>
              <a:gdLst>
                <a:gd name="T0" fmla="*/ 15 w 19"/>
                <a:gd name="T1" fmla="*/ 0 h 66"/>
                <a:gd name="T2" fmla="*/ 5 w 19"/>
                <a:gd name="T3" fmla="*/ 0 h 66"/>
                <a:gd name="T4" fmla="*/ 0 w 19"/>
                <a:gd name="T5" fmla="*/ 57 h 66"/>
                <a:gd name="T6" fmla="*/ 10 w 19"/>
                <a:gd name="T7" fmla="*/ 66 h 66"/>
                <a:gd name="T8" fmla="*/ 19 w 19"/>
                <a:gd name="T9" fmla="*/ 57 h 66"/>
                <a:gd name="T10" fmla="*/ 15 w 19"/>
                <a:gd name="T11" fmla="*/ 0 h 66"/>
                <a:gd name="T12" fmla="*/ 15 w 19"/>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19" h="66">
                  <a:moveTo>
                    <a:pt x="15" y="0"/>
                  </a:moveTo>
                  <a:lnTo>
                    <a:pt x="5" y="0"/>
                  </a:lnTo>
                  <a:lnTo>
                    <a:pt x="0" y="57"/>
                  </a:lnTo>
                  <a:lnTo>
                    <a:pt x="10" y="66"/>
                  </a:lnTo>
                  <a:lnTo>
                    <a:pt x="19" y="57"/>
                  </a:lnTo>
                  <a:lnTo>
                    <a:pt x="15" y="0"/>
                  </a:lnTo>
                  <a:lnTo>
                    <a:pt x="15" y="0"/>
                  </a:lnTo>
                  <a:close/>
                </a:path>
              </a:pathLst>
            </a:custGeom>
            <a:noFill/>
            <a:ln w="1270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16" name="Freeform 230">
              <a:extLst>
                <a:ext uri="{FF2B5EF4-FFF2-40B4-BE49-F238E27FC236}">
                  <a16:creationId xmlns:a16="http://schemas.microsoft.com/office/drawing/2014/main" id="{D564982F-8121-4644-BBA4-05C1D020ACFA}"/>
                </a:ext>
              </a:extLst>
            </p:cNvPr>
            <p:cNvSpPr>
              <a:spLocks/>
            </p:cNvSpPr>
            <p:nvPr/>
          </p:nvSpPr>
          <p:spPr bwMode="auto">
            <a:xfrm>
              <a:off x="5749925" y="4354513"/>
              <a:ext cx="158750" cy="211138"/>
            </a:xfrm>
            <a:custGeom>
              <a:avLst/>
              <a:gdLst>
                <a:gd name="T0" fmla="*/ 10 w 100"/>
                <a:gd name="T1" fmla="*/ 133 h 133"/>
                <a:gd name="T2" fmla="*/ 100 w 100"/>
                <a:gd name="T3" fmla="*/ 133 h 133"/>
                <a:gd name="T4" fmla="*/ 100 w 100"/>
                <a:gd name="T5" fmla="*/ 0 h 133"/>
                <a:gd name="T6" fmla="*/ 0 w 100"/>
                <a:gd name="T7" fmla="*/ 0 h 133"/>
              </a:gdLst>
              <a:ahLst/>
              <a:cxnLst>
                <a:cxn ang="0">
                  <a:pos x="T0" y="T1"/>
                </a:cxn>
                <a:cxn ang="0">
                  <a:pos x="T2" y="T3"/>
                </a:cxn>
                <a:cxn ang="0">
                  <a:pos x="T4" y="T5"/>
                </a:cxn>
                <a:cxn ang="0">
                  <a:pos x="T6" y="T7"/>
                </a:cxn>
              </a:cxnLst>
              <a:rect l="0" t="0" r="r" b="b"/>
              <a:pathLst>
                <a:path w="100" h="133">
                  <a:moveTo>
                    <a:pt x="10" y="133"/>
                  </a:moveTo>
                  <a:lnTo>
                    <a:pt x="100" y="133"/>
                  </a:lnTo>
                  <a:lnTo>
                    <a:pt x="100" y="0"/>
                  </a:lnTo>
                  <a:lnTo>
                    <a:pt x="0" y="0"/>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17" name="Freeform 231">
              <a:extLst>
                <a:ext uri="{FF2B5EF4-FFF2-40B4-BE49-F238E27FC236}">
                  <a16:creationId xmlns:a16="http://schemas.microsoft.com/office/drawing/2014/main" id="{9E280408-D8D2-4EA9-AA8F-0663FA0143EE}"/>
                </a:ext>
              </a:extLst>
            </p:cNvPr>
            <p:cNvSpPr>
              <a:spLocks/>
            </p:cNvSpPr>
            <p:nvPr/>
          </p:nvSpPr>
          <p:spPr bwMode="auto">
            <a:xfrm>
              <a:off x="5788025" y="4398963"/>
              <a:ext cx="74613" cy="106363"/>
            </a:xfrm>
            <a:custGeom>
              <a:avLst/>
              <a:gdLst>
                <a:gd name="T0" fmla="*/ 0 w 47"/>
                <a:gd name="T1" fmla="*/ 67 h 67"/>
                <a:gd name="T2" fmla="*/ 24 w 47"/>
                <a:gd name="T3" fmla="*/ 0 h 67"/>
                <a:gd name="T4" fmla="*/ 47 w 47"/>
                <a:gd name="T5" fmla="*/ 67 h 67"/>
              </a:gdLst>
              <a:ahLst/>
              <a:cxnLst>
                <a:cxn ang="0">
                  <a:pos x="T0" y="T1"/>
                </a:cxn>
                <a:cxn ang="0">
                  <a:pos x="T2" y="T3"/>
                </a:cxn>
                <a:cxn ang="0">
                  <a:pos x="T4" y="T5"/>
                </a:cxn>
              </a:cxnLst>
              <a:rect l="0" t="0" r="r" b="b"/>
              <a:pathLst>
                <a:path w="47" h="67">
                  <a:moveTo>
                    <a:pt x="0" y="67"/>
                  </a:moveTo>
                  <a:lnTo>
                    <a:pt x="24" y="0"/>
                  </a:lnTo>
                  <a:lnTo>
                    <a:pt x="47" y="67"/>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18" name="Line 232">
              <a:extLst>
                <a:ext uri="{FF2B5EF4-FFF2-40B4-BE49-F238E27FC236}">
                  <a16:creationId xmlns:a16="http://schemas.microsoft.com/office/drawing/2014/main" id="{9C1905D6-A6D9-4623-8462-7E58374A5F81}"/>
                </a:ext>
              </a:extLst>
            </p:cNvPr>
            <p:cNvSpPr>
              <a:spLocks noChangeShapeType="1"/>
            </p:cNvSpPr>
            <p:nvPr/>
          </p:nvSpPr>
          <p:spPr bwMode="auto">
            <a:xfrm>
              <a:off x="5799138" y="4475163"/>
              <a:ext cx="52388" cy="0"/>
            </a:xfrm>
            <a:prstGeom prst="line">
              <a:avLst/>
            </a:prstGeom>
            <a:noFill/>
            <a:ln w="1270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grpSp>
      <p:grpSp>
        <p:nvGrpSpPr>
          <p:cNvPr id="19" name="Group 18">
            <a:extLst>
              <a:ext uri="{FF2B5EF4-FFF2-40B4-BE49-F238E27FC236}">
                <a16:creationId xmlns:a16="http://schemas.microsoft.com/office/drawing/2014/main" id="{6194D58A-EBFB-42ED-BD47-DC4F62758ADD}"/>
              </a:ext>
            </a:extLst>
          </p:cNvPr>
          <p:cNvGrpSpPr/>
          <p:nvPr/>
        </p:nvGrpSpPr>
        <p:grpSpPr>
          <a:xfrm>
            <a:off x="4971831" y="1268210"/>
            <a:ext cx="174570" cy="236375"/>
            <a:chOff x="2722563" y="2171701"/>
            <a:chExt cx="255588" cy="346075"/>
          </a:xfrm>
        </p:grpSpPr>
        <p:sp>
          <p:nvSpPr>
            <p:cNvPr id="20" name="Freeform 5">
              <a:extLst>
                <a:ext uri="{FF2B5EF4-FFF2-40B4-BE49-F238E27FC236}">
                  <a16:creationId xmlns:a16="http://schemas.microsoft.com/office/drawing/2014/main" id="{A3FB8ADC-D9E9-4449-B121-3BBF85357661}"/>
                </a:ext>
              </a:extLst>
            </p:cNvPr>
            <p:cNvSpPr>
              <a:spLocks/>
            </p:cNvSpPr>
            <p:nvPr/>
          </p:nvSpPr>
          <p:spPr bwMode="auto">
            <a:xfrm>
              <a:off x="2722563" y="2171701"/>
              <a:ext cx="255588" cy="346075"/>
            </a:xfrm>
            <a:custGeom>
              <a:avLst/>
              <a:gdLst>
                <a:gd name="T0" fmla="*/ 161 w 161"/>
                <a:gd name="T1" fmla="*/ 218 h 218"/>
                <a:gd name="T2" fmla="*/ 0 w 161"/>
                <a:gd name="T3" fmla="*/ 218 h 218"/>
                <a:gd name="T4" fmla="*/ 0 w 161"/>
                <a:gd name="T5" fmla="*/ 0 h 218"/>
                <a:gd name="T6" fmla="*/ 104 w 161"/>
                <a:gd name="T7" fmla="*/ 0 h 218"/>
                <a:gd name="T8" fmla="*/ 161 w 161"/>
                <a:gd name="T9" fmla="*/ 57 h 218"/>
                <a:gd name="T10" fmla="*/ 161 w 161"/>
                <a:gd name="T11" fmla="*/ 218 h 218"/>
              </a:gdLst>
              <a:ahLst/>
              <a:cxnLst>
                <a:cxn ang="0">
                  <a:pos x="T0" y="T1"/>
                </a:cxn>
                <a:cxn ang="0">
                  <a:pos x="T2" y="T3"/>
                </a:cxn>
                <a:cxn ang="0">
                  <a:pos x="T4" y="T5"/>
                </a:cxn>
                <a:cxn ang="0">
                  <a:pos x="T6" y="T7"/>
                </a:cxn>
                <a:cxn ang="0">
                  <a:pos x="T8" y="T9"/>
                </a:cxn>
                <a:cxn ang="0">
                  <a:pos x="T10" y="T11"/>
                </a:cxn>
              </a:cxnLst>
              <a:rect l="0" t="0" r="r" b="b"/>
              <a:pathLst>
                <a:path w="161" h="218">
                  <a:moveTo>
                    <a:pt x="161" y="218"/>
                  </a:moveTo>
                  <a:lnTo>
                    <a:pt x="0" y="218"/>
                  </a:lnTo>
                  <a:lnTo>
                    <a:pt x="0" y="0"/>
                  </a:lnTo>
                  <a:lnTo>
                    <a:pt x="104" y="0"/>
                  </a:lnTo>
                  <a:lnTo>
                    <a:pt x="161" y="57"/>
                  </a:lnTo>
                  <a:lnTo>
                    <a:pt x="161" y="218"/>
                  </a:lnTo>
                  <a:close/>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1" name="Freeform 6">
              <a:extLst>
                <a:ext uri="{FF2B5EF4-FFF2-40B4-BE49-F238E27FC236}">
                  <a16:creationId xmlns:a16="http://schemas.microsoft.com/office/drawing/2014/main" id="{C7045AD1-A424-4058-A8BD-81FDFE75F012}"/>
                </a:ext>
              </a:extLst>
            </p:cNvPr>
            <p:cNvSpPr>
              <a:spLocks/>
            </p:cNvSpPr>
            <p:nvPr/>
          </p:nvSpPr>
          <p:spPr bwMode="auto">
            <a:xfrm>
              <a:off x="2887663" y="2171701"/>
              <a:ext cx="90488" cy="90488"/>
            </a:xfrm>
            <a:custGeom>
              <a:avLst/>
              <a:gdLst>
                <a:gd name="T0" fmla="*/ 0 w 57"/>
                <a:gd name="T1" fmla="*/ 0 h 57"/>
                <a:gd name="T2" fmla="*/ 0 w 57"/>
                <a:gd name="T3" fmla="*/ 57 h 57"/>
                <a:gd name="T4" fmla="*/ 57 w 57"/>
                <a:gd name="T5" fmla="*/ 57 h 57"/>
              </a:gdLst>
              <a:ahLst/>
              <a:cxnLst>
                <a:cxn ang="0">
                  <a:pos x="T0" y="T1"/>
                </a:cxn>
                <a:cxn ang="0">
                  <a:pos x="T2" y="T3"/>
                </a:cxn>
                <a:cxn ang="0">
                  <a:pos x="T4" y="T5"/>
                </a:cxn>
              </a:cxnLst>
              <a:rect l="0" t="0" r="r" b="b"/>
              <a:pathLst>
                <a:path w="57" h="57">
                  <a:moveTo>
                    <a:pt x="0" y="0"/>
                  </a:moveTo>
                  <a:lnTo>
                    <a:pt x="0" y="57"/>
                  </a:lnTo>
                  <a:lnTo>
                    <a:pt x="57" y="57"/>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2" name="Line 7">
              <a:extLst>
                <a:ext uri="{FF2B5EF4-FFF2-40B4-BE49-F238E27FC236}">
                  <a16:creationId xmlns:a16="http://schemas.microsoft.com/office/drawing/2014/main" id="{FCE68F08-1FEC-4157-803A-071A18FF61CB}"/>
                </a:ext>
              </a:extLst>
            </p:cNvPr>
            <p:cNvSpPr>
              <a:spLocks noChangeShapeType="1"/>
            </p:cNvSpPr>
            <p:nvPr/>
          </p:nvSpPr>
          <p:spPr bwMode="auto">
            <a:xfrm>
              <a:off x="2857501" y="2322514"/>
              <a:ext cx="6032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3" name="Line 8">
              <a:extLst>
                <a:ext uri="{FF2B5EF4-FFF2-40B4-BE49-F238E27FC236}">
                  <a16:creationId xmlns:a16="http://schemas.microsoft.com/office/drawing/2014/main" id="{7B491DCE-DC90-4C7D-B43F-D756C993952A}"/>
                </a:ext>
              </a:extLst>
            </p:cNvPr>
            <p:cNvSpPr>
              <a:spLocks noChangeShapeType="1"/>
            </p:cNvSpPr>
            <p:nvPr/>
          </p:nvSpPr>
          <p:spPr bwMode="auto">
            <a:xfrm>
              <a:off x="2857501" y="2382839"/>
              <a:ext cx="6032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4" name="Line 9">
              <a:extLst>
                <a:ext uri="{FF2B5EF4-FFF2-40B4-BE49-F238E27FC236}">
                  <a16:creationId xmlns:a16="http://schemas.microsoft.com/office/drawing/2014/main" id="{439A60B3-32F2-4BD1-8EB6-CB4EECFA63E8}"/>
                </a:ext>
              </a:extLst>
            </p:cNvPr>
            <p:cNvSpPr>
              <a:spLocks noChangeShapeType="1"/>
            </p:cNvSpPr>
            <p:nvPr/>
          </p:nvSpPr>
          <p:spPr bwMode="auto">
            <a:xfrm>
              <a:off x="2857501" y="2443164"/>
              <a:ext cx="60325" cy="0"/>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5" name="Freeform 10">
              <a:extLst>
                <a:ext uri="{FF2B5EF4-FFF2-40B4-BE49-F238E27FC236}">
                  <a16:creationId xmlns:a16="http://schemas.microsoft.com/office/drawing/2014/main" id="{3D59100F-E7A1-4FEE-A2D3-922864DEC30A}"/>
                </a:ext>
              </a:extLst>
            </p:cNvPr>
            <p:cNvSpPr>
              <a:spLocks/>
            </p:cNvSpPr>
            <p:nvPr/>
          </p:nvSpPr>
          <p:spPr bwMode="auto">
            <a:xfrm>
              <a:off x="2768601" y="2292351"/>
              <a:ext cx="58738" cy="36513"/>
            </a:xfrm>
            <a:custGeom>
              <a:avLst/>
              <a:gdLst>
                <a:gd name="T0" fmla="*/ 37 w 37"/>
                <a:gd name="T1" fmla="*/ 0 h 23"/>
                <a:gd name="T2" fmla="*/ 14 w 37"/>
                <a:gd name="T3" fmla="*/ 23 h 23"/>
                <a:gd name="T4" fmla="*/ 0 w 37"/>
                <a:gd name="T5" fmla="*/ 9 h 23"/>
              </a:gdLst>
              <a:ahLst/>
              <a:cxnLst>
                <a:cxn ang="0">
                  <a:pos x="T0" y="T1"/>
                </a:cxn>
                <a:cxn ang="0">
                  <a:pos x="T2" y="T3"/>
                </a:cxn>
                <a:cxn ang="0">
                  <a:pos x="T4" y="T5"/>
                </a:cxn>
              </a:cxnLst>
              <a:rect l="0" t="0" r="r" b="b"/>
              <a:pathLst>
                <a:path w="37" h="23">
                  <a:moveTo>
                    <a:pt x="37" y="0"/>
                  </a:moveTo>
                  <a:lnTo>
                    <a:pt x="14" y="23"/>
                  </a:lnTo>
                  <a:lnTo>
                    <a:pt x="0" y="9"/>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6" name="Freeform 11">
              <a:extLst>
                <a:ext uri="{FF2B5EF4-FFF2-40B4-BE49-F238E27FC236}">
                  <a16:creationId xmlns:a16="http://schemas.microsoft.com/office/drawing/2014/main" id="{04DB69E0-4A16-4C08-8C77-6BCF5ECD935D}"/>
                </a:ext>
              </a:extLst>
            </p:cNvPr>
            <p:cNvSpPr>
              <a:spLocks/>
            </p:cNvSpPr>
            <p:nvPr/>
          </p:nvSpPr>
          <p:spPr bwMode="auto">
            <a:xfrm>
              <a:off x="2768601" y="2352676"/>
              <a:ext cx="58738" cy="36513"/>
            </a:xfrm>
            <a:custGeom>
              <a:avLst/>
              <a:gdLst>
                <a:gd name="T0" fmla="*/ 37 w 37"/>
                <a:gd name="T1" fmla="*/ 0 h 23"/>
                <a:gd name="T2" fmla="*/ 14 w 37"/>
                <a:gd name="T3" fmla="*/ 23 h 23"/>
                <a:gd name="T4" fmla="*/ 0 w 37"/>
                <a:gd name="T5" fmla="*/ 9 h 23"/>
              </a:gdLst>
              <a:ahLst/>
              <a:cxnLst>
                <a:cxn ang="0">
                  <a:pos x="T0" y="T1"/>
                </a:cxn>
                <a:cxn ang="0">
                  <a:pos x="T2" y="T3"/>
                </a:cxn>
                <a:cxn ang="0">
                  <a:pos x="T4" y="T5"/>
                </a:cxn>
              </a:cxnLst>
              <a:rect l="0" t="0" r="r" b="b"/>
              <a:pathLst>
                <a:path w="37" h="23">
                  <a:moveTo>
                    <a:pt x="37" y="0"/>
                  </a:moveTo>
                  <a:lnTo>
                    <a:pt x="14" y="23"/>
                  </a:lnTo>
                  <a:lnTo>
                    <a:pt x="0" y="9"/>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sp>
          <p:nvSpPr>
            <p:cNvPr id="27" name="Freeform 12">
              <a:extLst>
                <a:ext uri="{FF2B5EF4-FFF2-40B4-BE49-F238E27FC236}">
                  <a16:creationId xmlns:a16="http://schemas.microsoft.com/office/drawing/2014/main" id="{28AF1184-2D01-46EF-A930-5B5C227535AC}"/>
                </a:ext>
              </a:extLst>
            </p:cNvPr>
            <p:cNvSpPr>
              <a:spLocks/>
            </p:cNvSpPr>
            <p:nvPr/>
          </p:nvSpPr>
          <p:spPr bwMode="auto">
            <a:xfrm>
              <a:off x="2768601" y="2413001"/>
              <a:ext cx="58738" cy="36513"/>
            </a:xfrm>
            <a:custGeom>
              <a:avLst/>
              <a:gdLst>
                <a:gd name="T0" fmla="*/ 37 w 37"/>
                <a:gd name="T1" fmla="*/ 0 h 23"/>
                <a:gd name="T2" fmla="*/ 14 w 37"/>
                <a:gd name="T3" fmla="*/ 23 h 23"/>
                <a:gd name="T4" fmla="*/ 0 w 37"/>
                <a:gd name="T5" fmla="*/ 9 h 23"/>
              </a:gdLst>
              <a:ahLst/>
              <a:cxnLst>
                <a:cxn ang="0">
                  <a:pos x="T0" y="T1"/>
                </a:cxn>
                <a:cxn ang="0">
                  <a:pos x="T2" y="T3"/>
                </a:cxn>
                <a:cxn ang="0">
                  <a:pos x="T4" y="T5"/>
                </a:cxn>
              </a:cxnLst>
              <a:rect l="0" t="0" r="r" b="b"/>
              <a:pathLst>
                <a:path w="37" h="23">
                  <a:moveTo>
                    <a:pt x="37" y="0"/>
                  </a:moveTo>
                  <a:lnTo>
                    <a:pt x="14" y="23"/>
                  </a:lnTo>
                  <a:lnTo>
                    <a:pt x="0" y="9"/>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Gene Sans Light" panose="00000400000000000000" pitchFamily="50" charset="0"/>
                <a:cs typeface="Arial"/>
                <a:sym typeface="Arial"/>
              </a:endParaRPr>
            </a:p>
          </p:txBody>
        </p:sp>
      </p:grpSp>
    </p:spTree>
    <p:extLst>
      <p:ext uri="{BB962C8B-B14F-4D97-AF65-F5344CB8AC3E}">
        <p14:creationId xmlns:p14="http://schemas.microsoft.com/office/powerpoint/2010/main" val="2815785472"/>
      </p:ext>
    </p:extLst>
  </p:cSld>
  <p:clrMapOvr>
    <a:masterClrMapping/>
  </p:clrMapOvr>
  <p:transition spd="med">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2"/>
          </p:nvPr>
        </p:nvSpPr>
        <p:spPr/>
        <p:txBody>
          <a:bodyPr/>
          <a:lstStyle/>
          <a:p>
            <a:endParaRPr lang="en-US"/>
          </a:p>
        </p:txBody>
      </p:sp>
      <p:sp>
        <p:nvSpPr>
          <p:cNvPr id="3" name="Text Placeholder 2"/>
          <p:cNvSpPr>
            <a:spLocks noGrp="1"/>
          </p:cNvSpPr>
          <p:nvPr>
            <p:ph type="body" idx="3"/>
          </p:nvPr>
        </p:nvSpPr>
        <p:spPr/>
        <p:txBody>
          <a:bodyPr/>
          <a:lstStyle/>
          <a:p>
            <a:r>
              <a:rPr lang="en-US" dirty="0">
                <a:latin typeface="Gene Sans Light" panose="00000400000000000000" pitchFamily="50" charset="0"/>
              </a:rPr>
              <a:t>1. Johnson DB, et al. JAMA </a:t>
            </a:r>
            <a:r>
              <a:rPr lang="en-US" dirty="0" err="1">
                <a:latin typeface="Gene Sans Light" panose="00000400000000000000" pitchFamily="50" charset="0"/>
              </a:rPr>
              <a:t>Oncol</a:t>
            </a:r>
            <a:r>
              <a:rPr lang="en-US" dirty="0">
                <a:latin typeface="Gene Sans Light" panose="00000400000000000000" pitchFamily="50" charset="0"/>
              </a:rPr>
              <a:t>. 2016;2:234-240. 2. Johnson DB, et al. Cancer. 2017;123:1904-1911. 3. Menzies AM, et al. Ann </a:t>
            </a:r>
            <a:r>
              <a:rPr lang="en-US" dirty="0" err="1">
                <a:latin typeface="Gene Sans Light" panose="00000400000000000000" pitchFamily="50" charset="0"/>
              </a:rPr>
              <a:t>Oncol</a:t>
            </a:r>
            <a:r>
              <a:rPr lang="en-US" dirty="0">
                <a:latin typeface="Gene Sans Light" panose="00000400000000000000" pitchFamily="50" charset="0"/>
              </a:rPr>
              <a:t>. 2017;28:368-376. 4. </a:t>
            </a:r>
            <a:r>
              <a:rPr lang="en-US" dirty="0" err="1">
                <a:latin typeface="Gene Sans Light" panose="00000400000000000000" pitchFamily="50" charset="0"/>
              </a:rPr>
              <a:t>Danlos</a:t>
            </a:r>
            <a:r>
              <a:rPr lang="en-US" dirty="0">
                <a:latin typeface="Gene Sans Light" panose="00000400000000000000" pitchFamily="50" charset="0"/>
              </a:rPr>
              <a:t> FX, et al. </a:t>
            </a:r>
            <a:r>
              <a:rPr lang="en-US" dirty="0" err="1">
                <a:latin typeface="Gene Sans Light" panose="00000400000000000000" pitchFamily="50" charset="0"/>
              </a:rPr>
              <a:t>Eur</a:t>
            </a:r>
            <a:r>
              <a:rPr lang="en-US" dirty="0">
                <a:latin typeface="Gene Sans Light" panose="00000400000000000000" pitchFamily="50" charset="0"/>
              </a:rPr>
              <a:t> J Cancer. 2018;91:21–29. 5. Calabrese LH, et al. Nat Rev </a:t>
            </a:r>
            <a:r>
              <a:rPr lang="en-US" dirty="0" err="1">
                <a:latin typeface="Gene Sans Light" panose="00000400000000000000" pitchFamily="50" charset="0"/>
              </a:rPr>
              <a:t>Rheumatol</a:t>
            </a:r>
            <a:r>
              <a:rPr lang="en-US" dirty="0">
                <a:latin typeface="Gene Sans Light" panose="00000400000000000000" pitchFamily="50" charset="0"/>
              </a:rPr>
              <a:t>. 2018;14:569-579. 6. Mitchell EL, et al. </a:t>
            </a:r>
            <a:r>
              <a:rPr lang="en-US" dirty="0" err="1">
                <a:latin typeface="Gene Sans Light" panose="00000400000000000000" pitchFamily="50" charset="0"/>
              </a:rPr>
              <a:t>Eur</a:t>
            </a:r>
            <a:r>
              <a:rPr lang="en-US" dirty="0">
                <a:latin typeface="Gene Sans Light" panose="00000400000000000000" pitchFamily="50" charset="0"/>
              </a:rPr>
              <a:t> J Cancer. 2018;105:88-102 6. </a:t>
            </a:r>
          </a:p>
        </p:txBody>
      </p:sp>
      <p:sp>
        <p:nvSpPr>
          <p:cNvPr id="5" name="Title 4"/>
          <p:cNvSpPr>
            <a:spLocks noGrp="1"/>
          </p:cNvSpPr>
          <p:nvPr>
            <p:ph type="title"/>
          </p:nvPr>
        </p:nvSpPr>
        <p:spPr/>
        <p:txBody>
          <a:bodyPr/>
          <a:lstStyle/>
          <a:p>
            <a:r>
              <a:rPr lang="en-US" kern="0" cap="none" dirty="0">
                <a:latin typeface="Arial"/>
                <a:cs typeface="Arial"/>
              </a:rPr>
              <a:t>Treatment of Patients With Pre-Existing Rheumatic Diseases</a:t>
            </a:r>
            <a:endParaRPr lang="en-US" dirty="0"/>
          </a:p>
        </p:txBody>
      </p:sp>
      <p:sp>
        <p:nvSpPr>
          <p:cNvPr id="6" name="Google Shape;122;p3">
            <a:extLst>
              <a:ext uri="{FF2B5EF4-FFF2-40B4-BE49-F238E27FC236}">
                <a16:creationId xmlns:a16="http://schemas.microsoft.com/office/drawing/2014/main" id="{39FC570C-02CD-4E1A-B4F3-FC51BC240F0F}"/>
              </a:ext>
            </a:extLst>
          </p:cNvPr>
          <p:cNvSpPr txBox="1">
            <a:spLocks/>
          </p:cNvSpPr>
          <p:nvPr/>
        </p:nvSpPr>
        <p:spPr>
          <a:xfrm>
            <a:off x="381000" y="94545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
        <p:nvSpPr>
          <p:cNvPr id="7" name="Rectangle 6">
            <a:extLst>
              <a:ext uri="{FF2B5EF4-FFF2-40B4-BE49-F238E27FC236}">
                <a16:creationId xmlns:a16="http://schemas.microsoft.com/office/drawing/2014/main" id="{4894D3C9-836E-4DAB-94CA-32045AF6B123}"/>
              </a:ext>
            </a:extLst>
          </p:cNvPr>
          <p:cNvSpPr/>
          <p:nvPr/>
        </p:nvSpPr>
        <p:spPr>
          <a:xfrm>
            <a:off x="0" y="1284253"/>
            <a:ext cx="586740" cy="27636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 name="Google Shape;4315;p32">
            <a:extLst>
              <a:ext uri="{FF2B5EF4-FFF2-40B4-BE49-F238E27FC236}">
                <a16:creationId xmlns:a16="http://schemas.microsoft.com/office/drawing/2014/main" id="{3501DAA8-595F-4575-AAB8-323419A6F91F}"/>
              </a:ext>
            </a:extLst>
          </p:cNvPr>
          <p:cNvSpPr txBox="1">
            <a:spLocks/>
          </p:cNvSpPr>
          <p:nvPr/>
        </p:nvSpPr>
        <p:spPr>
          <a:xfrm>
            <a:off x="925904" y="1614499"/>
            <a:ext cx="3451629" cy="315900"/>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L="914400" marR="0" lvl="1" indent="-228600" algn="l" rtl="0">
              <a:lnSpc>
                <a:spcPct val="90000"/>
              </a:lnSpc>
              <a:spcBef>
                <a:spcPts val="6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545859"/>
              </a:buClr>
              <a:buSzPts val="20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Patients with pre-existing rheumatic diseases were not included in clinical trials of CPIs</a:t>
            </a:r>
          </a:p>
        </p:txBody>
      </p:sp>
      <p:sp>
        <p:nvSpPr>
          <p:cNvPr id="9" name="Rectangle 8">
            <a:extLst>
              <a:ext uri="{FF2B5EF4-FFF2-40B4-BE49-F238E27FC236}">
                <a16:creationId xmlns:a16="http://schemas.microsoft.com/office/drawing/2014/main" id="{8E110D67-68AF-4E55-8ADB-F3161078BDF3}"/>
              </a:ext>
            </a:extLst>
          </p:cNvPr>
          <p:cNvSpPr/>
          <p:nvPr/>
        </p:nvSpPr>
        <p:spPr>
          <a:xfrm>
            <a:off x="381000" y="1564472"/>
            <a:ext cx="417126" cy="4159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Google Shape;4315;p32">
            <a:extLst>
              <a:ext uri="{FF2B5EF4-FFF2-40B4-BE49-F238E27FC236}">
                <a16:creationId xmlns:a16="http://schemas.microsoft.com/office/drawing/2014/main" id="{25CA3310-9201-4564-9D65-E780A8045A7F}"/>
              </a:ext>
            </a:extLst>
          </p:cNvPr>
          <p:cNvSpPr txBox="1">
            <a:spLocks/>
          </p:cNvSpPr>
          <p:nvPr/>
        </p:nvSpPr>
        <p:spPr>
          <a:xfrm>
            <a:off x="925904" y="2403612"/>
            <a:ext cx="3451629" cy="473849"/>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L="914400" marR="0" lvl="1" indent="-228600" algn="l" rtl="0">
              <a:lnSpc>
                <a:spcPct val="90000"/>
              </a:lnSpc>
              <a:spcBef>
                <a:spcPts val="6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545859"/>
              </a:buClr>
              <a:buSzPts val="20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Up to 44% of patients with immune-mediated inflammatory diseases treated with CPIs will experience disease flares</a:t>
            </a:r>
            <a:r>
              <a:rPr kumimoji="0" lang="en-US" sz="11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1-4</a:t>
            </a:r>
            <a:endPar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11" name="Rectangle 10">
            <a:extLst>
              <a:ext uri="{FF2B5EF4-FFF2-40B4-BE49-F238E27FC236}">
                <a16:creationId xmlns:a16="http://schemas.microsoft.com/office/drawing/2014/main" id="{297D796F-6841-44C9-B447-7BAB9C4DFBE8}"/>
              </a:ext>
            </a:extLst>
          </p:cNvPr>
          <p:cNvSpPr/>
          <p:nvPr/>
        </p:nvSpPr>
        <p:spPr>
          <a:xfrm>
            <a:off x="381000" y="2403612"/>
            <a:ext cx="417126" cy="415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Google Shape;4315;p32">
            <a:extLst>
              <a:ext uri="{FF2B5EF4-FFF2-40B4-BE49-F238E27FC236}">
                <a16:creationId xmlns:a16="http://schemas.microsoft.com/office/drawing/2014/main" id="{53ECE6B3-CA27-43E9-9B1A-BBDE84E41E3E}"/>
              </a:ext>
            </a:extLst>
          </p:cNvPr>
          <p:cNvSpPr txBox="1">
            <a:spLocks/>
          </p:cNvSpPr>
          <p:nvPr/>
        </p:nvSpPr>
        <p:spPr>
          <a:xfrm>
            <a:off x="925904" y="3300647"/>
            <a:ext cx="3451629" cy="102747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L="914400" marR="0" lvl="1" indent="-228600" algn="l" rtl="0">
              <a:lnSpc>
                <a:spcPct val="90000"/>
              </a:lnSpc>
              <a:spcBef>
                <a:spcPts val="6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600"/>
              </a:spcAft>
              <a:buClr>
                <a:srgbClr val="545859"/>
              </a:buClr>
              <a:buSzPts val="20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27% to 29% may develop de novo </a:t>
            </a:r>
            <a:r>
              <a:rPr kumimoji="0" lang="en-US" sz="11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irAEs</a:t>
            </a: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after receiving CPIs</a:t>
            </a:r>
            <a:r>
              <a:rPr kumimoji="0" lang="en-US" sz="11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1-3</a:t>
            </a:r>
            <a:endPar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a:p>
            <a:pPr marL="171450" marR="0" lvl="1" indent="-171450" algn="l" defTabSz="914400" rtl="0" eaLnBrk="1" fontAlgn="auto" latinLnBrk="0" hangingPunct="1">
              <a:lnSpc>
                <a:spcPct val="90000"/>
              </a:lnSpc>
              <a:spcBef>
                <a:spcPts val="0"/>
              </a:spcBef>
              <a:spcAft>
                <a:spcPts val="0"/>
              </a:spcAft>
              <a:buClr>
                <a:srgbClr val="545859"/>
              </a:buClr>
              <a:buSzPct val="100000"/>
              <a:buFont typeface="Arial" panose="020B0604020202020204" pitchFamily="34" charset="0"/>
              <a:buChar char="•"/>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Small prospective study showed patients with pre-existing autoimmunity were more likely to have earlier onset of </a:t>
            </a:r>
            <a:r>
              <a:rPr kumimoji="0" lang="en-US" sz="11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irAEs</a:t>
            </a: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than those without pre-existing autoimmunity</a:t>
            </a:r>
            <a:r>
              <a:rPr kumimoji="0" lang="en-US" sz="11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4</a:t>
            </a:r>
            <a:endPar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13" name="Rectangle 12">
            <a:extLst>
              <a:ext uri="{FF2B5EF4-FFF2-40B4-BE49-F238E27FC236}">
                <a16:creationId xmlns:a16="http://schemas.microsoft.com/office/drawing/2014/main" id="{401D216F-FDDD-4EEE-B5CB-A97BE0486484}"/>
              </a:ext>
            </a:extLst>
          </p:cNvPr>
          <p:cNvSpPr/>
          <p:nvPr/>
        </p:nvSpPr>
        <p:spPr>
          <a:xfrm>
            <a:off x="381000" y="3300647"/>
            <a:ext cx="417126" cy="415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 name="Google Shape;4315;p32">
            <a:extLst>
              <a:ext uri="{FF2B5EF4-FFF2-40B4-BE49-F238E27FC236}">
                <a16:creationId xmlns:a16="http://schemas.microsoft.com/office/drawing/2014/main" id="{9D2C6B52-F994-428C-A6CF-1980A58BB5EA}"/>
              </a:ext>
            </a:extLst>
          </p:cNvPr>
          <p:cNvSpPr txBox="1">
            <a:spLocks/>
          </p:cNvSpPr>
          <p:nvPr/>
        </p:nvSpPr>
        <p:spPr>
          <a:xfrm>
            <a:off x="5297131" y="1564472"/>
            <a:ext cx="3465221" cy="631800"/>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L="914400" marR="0" lvl="1" indent="-228600" algn="l" rtl="0">
              <a:lnSpc>
                <a:spcPct val="90000"/>
              </a:lnSpc>
              <a:spcBef>
                <a:spcPts val="6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545859"/>
              </a:buClr>
              <a:buSzPts val="20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Patients with rheumatic disease should be considered for preemptive referral to a rheumatologist prior to immunotherapy and early referral in the event of rheumatic irAEs</a:t>
            </a:r>
            <a:r>
              <a:rPr kumimoji="0" lang="en-US" sz="11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5</a:t>
            </a:r>
            <a:endPar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15" name="Rectangle 14">
            <a:extLst>
              <a:ext uri="{FF2B5EF4-FFF2-40B4-BE49-F238E27FC236}">
                <a16:creationId xmlns:a16="http://schemas.microsoft.com/office/drawing/2014/main" id="{56F6F89C-CF6D-480C-BF4E-EE3E2EE6566E}"/>
              </a:ext>
            </a:extLst>
          </p:cNvPr>
          <p:cNvSpPr/>
          <p:nvPr/>
        </p:nvSpPr>
        <p:spPr>
          <a:xfrm>
            <a:off x="4752224" y="1564472"/>
            <a:ext cx="417125" cy="4159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 name="Rectangle 15">
            <a:extLst>
              <a:ext uri="{FF2B5EF4-FFF2-40B4-BE49-F238E27FC236}">
                <a16:creationId xmlns:a16="http://schemas.microsoft.com/office/drawing/2014/main" id="{D59EE6F1-86D1-45BC-A222-91AC8E87D66C}"/>
              </a:ext>
            </a:extLst>
          </p:cNvPr>
          <p:cNvSpPr/>
          <p:nvPr/>
        </p:nvSpPr>
        <p:spPr>
          <a:xfrm>
            <a:off x="4752224" y="2617411"/>
            <a:ext cx="417125" cy="4159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D" sz="11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 name="Google Shape;4315;p32">
            <a:extLst>
              <a:ext uri="{FF2B5EF4-FFF2-40B4-BE49-F238E27FC236}">
                <a16:creationId xmlns:a16="http://schemas.microsoft.com/office/drawing/2014/main" id="{7FB0F89F-66D0-4EAE-BEBB-3DDC963F98B5}"/>
              </a:ext>
            </a:extLst>
          </p:cNvPr>
          <p:cNvSpPr txBox="1">
            <a:spLocks/>
          </p:cNvSpPr>
          <p:nvPr/>
        </p:nvSpPr>
        <p:spPr>
          <a:xfrm>
            <a:off x="5297131" y="2617411"/>
            <a:ext cx="3465221" cy="869522"/>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L="914400" marR="0" lvl="1" indent="-228600" algn="l" rtl="0">
              <a:lnSpc>
                <a:spcPct val="90000"/>
              </a:lnSpc>
              <a:spcBef>
                <a:spcPts val="6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600"/>
              </a:spcAft>
              <a:buClr>
                <a:srgbClr val="545859"/>
              </a:buClr>
              <a:buSzPts val="20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Rheumatic </a:t>
            </a:r>
            <a:r>
              <a:rPr kumimoji="0" lang="en-US" sz="11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irAEs</a:t>
            </a: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often require high-dose corticosteroids and may require synthetic or biologic DMARD           therapy</a:t>
            </a:r>
            <a:r>
              <a:rPr kumimoji="0" lang="en-US" sz="11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5-6</a:t>
            </a: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a:t>
            </a:r>
          </a:p>
          <a:p>
            <a:pPr marL="171450" marR="0" lvl="1" indent="-171450" algn="l" defTabSz="914400" rtl="0" eaLnBrk="1" fontAlgn="auto" latinLnBrk="0" hangingPunct="1">
              <a:lnSpc>
                <a:spcPct val="90000"/>
              </a:lnSpc>
              <a:spcBef>
                <a:spcPts val="0"/>
              </a:spcBef>
              <a:spcAft>
                <a:spcPts val="0"/>
              </a:spcAft>
              <a:buClr>
                <a:srgbClr val="545859"/>
              </a:buClr>
              <a:buSzPct val="100000"/>
              <a:buFont typeface="Arial" panose="020B0604020202020204" pitchFamily="34" charset="0"/>
              <a:buChar char="•"/>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Risks and benefits of prolonged DMARD therapy (conventional and biologic)</a:t>
            </a:r>
          </a:p>
        </p:txBody>
      </p:sp>
      <p:cxnSp>
        <p:nvCxnSpPr>
          <p:cNvPr id="18" name="Straight Connector 17">
            <a:extLst>
              <a:ext uri="{FF2B5EF4-FFF2-40B4-BE49-F238E27FC236}">
                <a16:creationId xmlns:a16="http://schemas.microsoft.com/office/drawing/2014/main" id="{93C40DE6-0C4A-4AB4-BB98-19C4861500CB}"/>
              </a:ext>
            </a:extLst>
          </p:cNvPr>
          <p:cNvCxnSpPr>
            <a:cxnSpLocks/>
          </p:cNvCxnSpPr>
          <p:nvPr/>
        </p:nvCxnSpPr>
        <p:spPr>
          <a:xfrm>
            <a:off x="925904" y="3089054"/>
            <a:ext cx="3451629" cy="0"/>
          </a:xfrm>
          <a:prstGeom prst="line">
            <a:avLst/>
          </a:prstGeom>
          <a:ln w="63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EBB145B-828F-46D2-99B7-F3773495489F}"/>
              </a:ext>
            </a:extLst>
          </p:cNvPr>
          <p:cNvCxnSpPr>
            <a:cxnSpLocks/>
          </p:cNvCxnSpPr>
          <p:nvPr/>
        </p:nvCxnSpPr>
        <p:spPr>
          <a:xfrm>
            <a:off x="5297131" y="2406842"/>
            <a:ext cx="3468916" cy="0"/>
          </a:xfrm>
          <a:prstGeom prst="line">
            <a:avLst/>
          </a:prstGeom>
          <a:ln w="63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2C96E0A-88D0-4F70-A745-848374828C28}"/>
              </a:ext>
            </a:extLst>
          </p:cNvPr>
          <p:cNvCxnSpPr>
            <a:cxnSpLocks/>
          </p:cNvCxnSpPr>
          <p:nvPr/>
        </p:nvCxnSpPr>
        <p:spPr>
          <a:xfrm>
            <a:off x="925904" y="2138679"/>
            <a:ext cx="3451629" cy="0"/>
          </a:xfrm>
          <a:prstGeom prst="line">
            <a:avLst/>
          </a:prstGeom>
          <a:ln w="6350" cap="rnd">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9F2BB9E8-B12F-49E2-BB27-68BF7410FBA6}"/>
              </a:ext>
            </a:extLst>
          </p:cNvPr>
          <p:cNvGrpSpPr/>
          <p:nvPr/>
        </p:nvGrpSpPr>
        <p:grpSpPr>
          <a:xfrm>
            <a:off x="496368" y="1674774"/>
            <a:ext cx="186390" cy="195351"/>
            <a:chOff x="3405188" y="3284538"/>
            <a:chExt cx="330201" cy="346076"/>
          </a:xfrm>
        </p:grpSpPr>
        <p:sp>
          <p:nvSpPr>
            <p:cNvPr id="22" name="Freeform 141">
              <a:extLst>
                <a:ext uri="{FF2B5EF4-FFF2-40B4-BE49-F238E27FC236}">
                  <a16:creationId xmlns:a16="http://schemas.microsoft.com/office/drawing/2014/main" id="{5D3F62B1-3D0F-43E8-A4ED-5480A21DCD38}"/>
                </a:ext>
              </a:extLst>
            </p:cNvPr>
            <p:cNvSpPr>
              <a:spLocks/>
            </p:cNvSpPr>
            <p:nvPr/>
          </p:nvSpPr>
          <p:spPr bwMode="auto">
            <a:xfrm>
              <a:off x="3435351" y="3435351"/>
              <a:ext cx="104775" cy="134938"/>
            </a:xfrm>
            <a:custGeom>
              <a:avLst/>
              <a:gdLst>
                <a:gd name="T0" fmla="*/ 0 w 28"/>
                <a:gd name="T1" fmla="*/ 0 h 36"/>
                <a:gd name="T2" fmla="*/ 28 w 28"/>
                <a:gd name="T3" fmla="*/ 0 h 36"/>
                <a:gd name="T4" fmla="*/ 28 w 28"/>
                <a:gd name="T5" fmla="*/ 12 h 36"/>
                <a:gd name="T6" fmla="*/ 20 w 28"/>
                <a:gd name="T7" fmla="*/ 20 h 36"/>
                <a:gd name="T8" fmla="*/ 20 w 28"/>
                <a:gd name="T9" fmla="*/ 36 h 36"/>
                <a:gd name="T10" fmla="*/ 8 w 28"/>
                <a:gd name="T11" fmla="*/ 36 h 36"/>
                <a:gd name="T12" fmla="*/ 8 w 28"/>
                <a:gd name="T13" fmla="*/ 20 h 36"/>
                <a:gd name="T14" fmla="*/ 0 w 28"/>
                <a:gd name="T15" fmla="*/ 12 h 36"/>
                <a:gd name="T16" fmla="*/ 0 w 28"/>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6">
                  <a:moveTo>
                    <a:pt x="0" y="0"/>
                  </a:moveTo>
                  <a:cubicBezTo>
                    <a:pt x="28" y="0"/>
                    <a:pt x="28" y="0"/>
                    <a:pt x="28" y="0"/>
                  </a:cubicBezTo>
                  <a:cubicBezTo>
                    <a:pt x="28" y="12"/>
                    <a:pt x="28" y="12"/>
                    <a:pt x="28" y="12"/>
                  </a:cubicBezTo>
                  <a:cubicBezTo>
                    <a:pt x="28" y="16"/>
                    <a:pt x="24" y="20"/>
                    <a:pt x="20" y="20"/>
                  </a:cubicBezTo>
                  <a:cubicBezTo>
                    <a:pt x="20" y="36"/>
                    <a:pt x="20" y="36"/>
                    <a:pt x="20" y="36"/>
                  </a:cubicBezTo>
                  <a:cubicBezTo>
                    <a:pt x="8" y="36"/>
                    <a:pt x="8" y="36"/>
                    <a:pt x="8" y="36"/>
                  </a:cubicBezTo>
                  <a:cubicBezTo>
                    <a:pt x="8" y="20"/>
                    <a:pt x="8" y="20"/>
                    <a:pt x="8" y="20"/>
                  </a:cubicBezTo>
                  <a:cubicBezTo>
                    <a:pt x="4" y="20"/>
                    <a:pt x="0" y="16"/>
                    <a:pt x="0" y="12"/>
                  </a:cubicBezTo>
                  <a:lnTo>
                    <a:pt x="0" y="0"/>
                  </a:ln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3" name="Oval 142">
              <a:extLst>
                <a:ext uri="{FF2B5EF4-FFF2-40B4-BE49-F238E27FC236}">
                  <a16:creationId xmlns:a16="http://schemas.microsoft.com/office/drawing/2014/main" id="{A0D0A1AA-C5F9-4750-9622-2F612E195C03}"/>
                </a:ext>
              </a:extLst>
            </p:cNvPr>
            <p:cNvSpPr>
              <a:spLocks noChangeArrowheads="1"/>
            </p:cNvSpPr>
            <p:nvPr/>
          </p:nvSpPr>
          <p:spPr bwMode="auto">
            <a:xfrm>
              <a:off x="3449638" y="3344863"/>
              <a:ext cx="76200" cy="74613"/>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4" name="Freeform 143">
              <a:extLst>
                <a:ext uri="{FF2B5EF4-FFF2-40B4-BE49-F238E27FC236}">
                  <a16:creationId xmlns:a16="http://schemas.microsoft.com/office/drawing/2014/main" id="{FD1636D3-D237-4DC7-9A45-FB14F7E207D1}"/>
                </a:ext>
              </a:extLst>
            </p:cNvPr>
            <p:cNvSpPr>
              <a:spLocks/>
            </p:cNvSpPr>
            <p:nvPr/>
          </p:nvSpPr>
          <p:spPr bwMode="auto">
            <a:xfrm>
              <a:off x="3405188" y="3314701"/>
              <a:ext cx="165100" cy="285750"/>
            </a:xfrm>
            <a:custGeom>
              <a:avLst/>
              <a:gdLst>
                <a:gd name="T0" fmla="*/ 0 w 44"/>
                <a:gd name="T1" fmla="*/ 72 h 76"/>
                <a:gd name="T2" fmla="*/ 4 w 44"/>
                <a:gd name="T3" fmla="*/ 76 h 76"/>
                <a:gd name="T4" fmla="*/ 40 w 44"/>
                <a:gd name="T5" fmla="*/ 76 h 76"/>
                <a:gd name="T6" fmla="*/ 44 w 44"/>
                <a:gd name="T7" fmla="*/ 72 h 76"/>
                <a:gd name="T8" fmla="*/ 44 w 44"/>
                <a:gd name="T9" fmla="*/ 4 h 76"/>
                <a:gd name="T10" fmla="*/ 40 w 44"/>
                <a:gd name="T11" fmla="*/ 0 h 76"/>
                <a:gd name="T12" fmla="*/ 4 w 44"/>
                <a:gd name="T13" fmla="*/ 0 h 76"/>
                <a:gd name="T14" fmla="*/ 0 w 44"/>
                <a:gd name="T15" fmla="*/ 4 h 76"/>
                <a:gd name="T16" fmla="*/ 0 w 44"/>
                <a:gd name="T17" fmla="*/ 7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6">
                  <a:moveTo>
                    <a:pt x="0" y="72"/>
                  </a:moveTo>
                  <a:cubicBezTo>
                    <a:pt x="0" y="74"/>
                    <a:pt x="2" y="76"/>
                    <a:pt x="4" y="76"/>
                  </a:cubicBezTo>
                  <a:cubicBezTo>
                    <a:pt x="40" y="76"/>
                    <a:pt x="40" y="76"/>
                    <a:pt x="40" y="76"/>
                  </a:cubicBezTo>
                  <a:cubicBezTo>
                    <a:pt x="42" y="76"/>
                    <a:pt x="44" y="74"/>
                    <a:pt x="44" y="72"/>
                  </a:cubicBezTo>
                  <a:cubicBezTo>
                    <a:pt x="44" y="4"/>
                    <a:pt x="44" y="4"/>
                    <a:pt x="44" y="4"/>
                  </a:cubicBezTo>
                  <a:cubicBezTo>
                    <a:pt x="44" y="2"/>
                    <a:pt x="42" y="0"/>
                    <a:pt x="40" y="0"/>
                  </a:cubicBezTo>
                  <a:cubicBezTo>
                    <a:pt x="4" y="0"/>
                    <a:pt x="4" y="0"/>
                    <a:pt x="4" y="0"/>
                  </a:cubicBezTo>
                  <a:cubicBezTo>
                    <a:pt x="2" y="0"/>
                    <a:pt x="0" y="2"/>
                    <a:pt x="0" y="4"/>
                  </a:cubicBezTo>
                  <a:lnTo>
                    <a:pt x="0" y="72"/>
                  </a:ln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5" name="Rectangle 144">
              <a:extLst>
                <a:ext uri="{FF2B5EF4-FFF2-40B4-BE49-F238E27FC236}">
                  <a16:creationId xmlns:a16="http://schemas.microsoft.com/office/drawing/2014/main" id="{A7600764-C0BA-446C-9FBA-CC42E4C89856}"/>
                </a:ext>
              </a:extLst>
            </p:cNvPr>
            <p:cNvSpPr>
              <a:spLocks noChangeArrowheads="1"/>
            </p:cNvSpPr>
            <p:nvPr/>
          </p:nvSpPr>
          <p:spPr bwMode="auto">
            <a:xfrm>
              <a:off x="3419476" y="3600451"/>
              <a:ext cx="30163" cy="30163"/>
            </a:xfrm>
            <a:prstGeom prst="rect">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6" name="Rectangle 145">
              <a:extLst>
                <a:ext uri="{FF2B5EF4-FFF2-40B4-BE49-F238E27FC236}">
                  <a16:creationId xmlns:a16="http://schemas.microsoft.com/office/drawing/2014/main" id="{092879C4-099B-454B-B7A8-72FB3E45AF2D}"/>
                </a:ext>
              </a:extLst>
            </p:cNvPr>
            <p:cNvSpPr>
              <a:spLocks noChangeArrowheads="1"/>
            </p:cNvSpPr>
            <p:nvPr/>
          </p:nvSpPr>
          <p:spPr bwMode="auto">
            <a:xfrm>
              <a:off x="3525838" y="3600451"/>
              <a:ext cx="30163" cy="30163"/>
            </a:xfrm>
            <a:prstGeom prst="rect">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7" name="Rectangle 146">
              <a:extLst>
                <a:ext uri="{FF2B5EF4-FFF2-40B4-BE49-F238E27FC236}">
                  <a16:creationId xmlns:a16="http://schemas.microsoft.com/office/drawing/2014/main" id="{C4FC5A94-C730-4096-8F76-966DB20A8C80}"/>
                </a:ext>
              </a:extLst>
            </p:cNvPr>
            <p:cNvSpPr>
              <a:spLocks noChangeArrowheads="1"/>
            </p:cNvSpPr>
            <p:nvPr/>
          </p:nvSpPr>
          <p:spPr bwMode="auto">
            <a:xfrm>
              <a:off x="3419476" y="3284538"/>
              <a:ext cx="30163" cy="30163"/>
            </a:xfrm>
            <a:prstGeom prst="rect">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8" name="Rectangle 147">
              <a:extLst>
                <a:ext uri="{FF2B5EF4-FFF2-40B4-BE49-F238E27FC236}">
                  <a16:creationId xmlns:a16="http://schemas.microsoft.com/office/drawing/2014/main" id="{57F46AFB-9528-467C-990B-F43180E76C41}"/>
                </a:ext>
              </a:extLst>
            </p:cNvPr>
            <p:cNvSpPr>
              <a:spLocks noChangeArrowheads="1"/>
            </p:cNvSpPr>
            <p:nvPr/>
          </p:nvSpPr>
          <p:spPr bwMode="auto">
            <a:xfrm>
              <a:off x="3525838" y="3284538"/>
              <a:ext cx="30163" cy="30163"/>
            </a:xfrm>
            <a:prstGeom prst="rect">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9" name="Freeform 148">
              <a:extLst>
                <a:ext uri="{FF2B5EF4-FFF2-40B4-BE49-F238E27FC236}">
                  <a16:creationId xmlns:a16="http://schemas.microsoft.com/office/drawing/2014/main" id="{6A98197B-86A1-4508-88D6-EF3158EF94C9}"/>
                </a:ext>
              </a:extLst>
            </p:cNvPr>
            <p:cNvSpPr>
              <a:spLocks/>
            </p:cNvSpPr>
            <p:nvPr/>
          </p:nvSpPr>
          <p:spPr bwMode="auto">
            <a:xfrm>
              <a:off x="3600451" y="3328988"/>
              <a:ext cx="134938" cy="136525"/>
            </a:xfrm>
            <a:custGeom>
              <a:avLst/>
              <a:gdLst>
                <a:gd name="T0" fmla="*/ 85 w 85"/>
                <a:gd name="T1" fmla="*/ 29 h 86"/>
                <a:gd name="T2" fmla="*/ 57 w 85"/>
                <a:gd name="T3" fmla="*/ 29 h 86"/>
                <a:gd name="T4" fmla="*/ 57 w 85"/>
                <a:gd name="T5" fmla="*/ 0 h 86"/>
                <a:gd name="T6" fmla="*/ 28 w 85"/>
                <a:gd name="T7" fmla="*/ 0 h 86"/>
                <a:gd name="T8" fmla="*/ 28 w 85"/>
                <a:gd name="T9" fmla="*/ 29 h 86"/>
                <a:gd name="T10" fmla="*/ 0 w 85"/>
                <a:gd name="T11" fmla="*/ 29 h 86"/>
                <a:gd name="T12" fmla="*/ 0 w 85"/>
                <a:gd name="T13" fmla="*/ 57 h 86"/>
                <a:gd name="T14" fmla="*/ 28 w 85"/>
                <a:gd name="T15" fmla="*/ 57 h 86"/>
                <a:gd name="T16" fmla="*/ 28 w 85"/>
                <a:gd name="T17" fmla="*/ 86 h 86"/>
                <a:gd name="T18" fmla="*/ 57 w 85"/>
                <a:gd name="T19" fmla="*/ 86 h 86"/>
                <a:gd name="T20" fmla="*/ 57 w 85"/>
                <a:gd name="T21" fmla="*/ 57 h 86"/>
                <a:gd name="T22" fmla="*/ 85 w 85"/>
                <a:gd name="T23" fmla="*/ 57 h 86"/>
                <a:gd name="T24" fmla="*/ 85 w 85"/>
                <a:gd name="T25" fmla="*/ 29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86">
                  <a:moveTo>
                    <a:pt x="85" y="29"/>
                  </a:moveTo>
                  <a:lnTo>
                    <a:pt x="57" y="29"/>
                  </a:lnTo>
                  <a:lnTo>
                    <a:pt x="57" y="0"/>
                  </a:lnTo>
                  <a:lnTo>
                    <a:pt x="28" y="0"/>
                  </a:lnTo>
                  <a:lnTo>
                    <a:pt x="28" y="29"/>
                  </a:lnTo>
                  <a:lnTo>
                    <a:pt x="0" y="29"/>
                  </a:lnTo>
                  <a:lnTo>
                    <a:pt x="0" y="57"/>
                  </a:lnTo>
                  <a:lnTo>
                    <a:pt x="28" y="57"/>
                  </a:lnTo>
                  <a:lnTo>
                    <a:pt x="28" y="86"/>
                  </a:lnTo>
                  <a:lnTo>
                    <a:pt x="57" y="86"/>
                  </a:lnTo>
                  <a:lnTo>
                    <a:pt x="57" y="57"/>
                  </a:lnTo>
                  <a:lnTo>
                    <a:pt x="85" y="57"/>
                  </a:lnTo>
                  <a:lnTo>
                    <a:pt x="85" y="29"/>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0" name="Group 29">
            <a:extLst>
              <a:ext uri="{FF2B5EF4-FFF2-40B4-BE49-F238E27FC236}">
                <a16:creationId xmlns:a16="http://schemas.microsoft.com/office/drawing/2014/main" id="{B0E0E00C-A112-4B09-AF5B-1AB5FA29C83B}"/>
              </a:ext>
            </a:extLst>
          </p:cNvPr>
          <p:cNvGrpSpPr/>
          <p:nvPr/>
        </p:nvGrpSpPr>
        <p:grpSpPr>
          <a:xfrm>
            <a:off x="504881" y="2513913"/>
            <a:ext cx="169364" cy="195351"/>
            <a:chOff x="9188451" y="4006851"/>
            <a:chExt cx="300038" cy="346075"/>
          </a:xfrm>
        </p:grpSpPr>
        <p:sp>
          <p:nvSpPr>
            <p:cNvPr id="31" name="Freeform 5">
              <a:extLst>
                <a:ext uri="{FF2B5EF4-FFF2-40B4-BE49-F238E27FC236}">
                  <a16:creationId xmlns:a16="http://schemas.microsoft.com/office/drawing/2014/main" id="{32B55893-A5B0-478A-B7FC-0647554C66ED}"/>
                </a:ext>
              </a:extLst>
            </p:cNvPr>
            <p:cNvSpPr>
              <a:spLocks/>
            </p:cNvSpPr>
            <p:nvPr/>
          </p:nvSpPr>
          <p:spPr bwMode="auto">
            <a:xfrm>
              <a:off x="9188451" y="4006851"/>
              <a:ext cx="300038" cy="346075"/>
            </a:xfrm>
            <a:custGeom>
              <a:avLst/>
              <a:gdLst>
                <a:gd name="T0" fmla="*/ 60 w 80"/>
                <a:gd name="T1" fmla="*/ 9 h 92"/>
                <a:gd name="T2" fmla="*/ 40 w 80"/>
                <a:gd name="T3" fmla="*/ 0 h 92"/>
                <a:gd name="T4" fmla="*/ 40 w 80"/>
                <a:gd name="T5" fmla="*/ 0 h 92"/>
                <a:gd name="T6" fmla="*/ 20 w 80"/>
                <a:gd name="T7" fmla="*/ 9 h 92"/>
                <a:gd name="T8" fmla="*/ 0 w 80"/>
                <a:gd name="T9" fmla="*/ 2 h 92"/>
                <a:gd name="T10" fmla="*/ 0 w 80"/>
                <a:gd name="T11" fmla="*/ 61 h 92"/>
                <a:gd name="T12" fmla="*/ 40 w 80"/>
                <a:gd name="T13" fmla="*/ 92 h 92"/>
                <a:gd name="T14" fmla="*/ 80 w 80"/>
                <a:gd name="T15" fmla="*/ 61 h 92"/>
                <a:gd name="T16" fmla="*/ 80 w 80"/>
                <a:gd name="T17" fmla="*/ 2 h 92"/>
                <a:gd name="T18" fmla="*/ 60 w 80"/>
                <a:gd name="T19" fmla="*/ 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92">
                  <a:moveTo>
                    <a:pt x="60" y="9"/>
                  </a:moveTo>
                  <a:cubicBezTo>
                    <a:pt x="52" y="9"/>
                    <a:pt x="45" y="6"/>
                    <a:pt x="40" y="0"/>
                  </a:cubicBezTo>
                  <a:cubicBezTo>
                    <a:pt x="40" y="0"/>
                    <a:pt x="40" y="0"/>
                    <a:pt x="40" y="0"/>
                  </a:cubicBezTo>
                  <a:cubicBezTo>
                    <a:pt x="35" y="6"/>
                    <a:pt x="28" y="9"/>
                    <a:pt x="20" y="9"/>
                  </a:cubicBezTo>
                  <a:cubicBezTo>
                    <a:pt x="13" y="9"/>
                    <a:pt x="7" y="7"/>
                    <a:pt x="0" y="2"/>
                  </a:cubicBezTo>
                  <a:cubicBezTo>
                    <a:pt x="0" y="61"/>
                    <a:pt x="0" y="61"/>
                    <a:pt x="0" y="61"/>
                  </a:cubicBezTo>
                  <a:cubicBezTo>
                    <a:pt x="0" y="61"/>
                    <a:pt x="6" y="82"/>
                    <a:pt x="40" y="92"/>
                  </a:cubicBezTo>
                  <a:cubicBezTo>
                    <a:pt x="74" y="82"/>
                    <a:pt x="80" y="61"/>
                    <a:pt x="80" y="61"/>
                  </a:cubicBezTo>
                  <a:cubicBezTo>
                    <a:pt x="80" y="2"/>
                    <a:pt x="80" y="2"/>
                    <a:pt x="80" y="2"/>
                  </a:cubicBezTo>
                  <a:cubicBezTo>
                    <a:pt x="73" y="7"/>
                    <a:pt x="67" y="9"/>
                    <a:pt x="60" y="9"/>
                  </a:cubicBez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2" name="Freeform 6">
              <a:extLst>
                <a:ext uri="{FF2B5EF4-FFF2-40B4-BE49-F238E27FC236}">
                  <a16:creationId xmlns:a16="http://schemas.microsoft.com/office/drawing/2014/main" id="{DB44B6CD-5EEA-4224-B026-FAB840A175D4}"/>
                </a:ext>
              </a:extLst>
            </p:cNvPr>
            <p:cNvSpPr>
              <a:spLocks/>
            </p:cNvSpPr>
            <p:nvPr/>
          </p:nvSpPr>
          <p:spPr bwMode="auto">
            <a:xfrm>
              <a:off x="9263063" y="4097338"/>
              <a:ext cx="150813" cy="149225"/>
            </a:xfrm>
            <a:custGeom>
              <a:avLst/>
              <a:gdLst>
                <a:gd name="T0" fmla="*/ 95 w 95"/>
                <a:gd name="T1" fmla="*/ 28 h 94"/>
                <a:gd name="T2" fmla="*/ 67 w 95"/>
                <a:gd name="T3" fmla="*/ 28 h 94"/>
                <a:gd name="T4" fmla="*/ 67 w 95"/>
                <a:gd name="T5" fmla="*/ 0 h 94"/>
                <a:gd name="T6" fmla="*/ 29 w 95"/>
                <a:gd name="T7" fmla="*/ 0 h 94"/>
                <a:gd name="T8" fmla="*/ 29 w 95"/>
                <a:gd name="T9" fmla="*/ 28 h 94"/>
                <a:gd name="T10" fmla="*/ 0 w 95"/>
                <a:gd name="T11" fmla="*/ 28 h 94"/>
                <a:gd name="T12" fmla="*/ 0 w 95"/>
                <a:gd name="T13" fmla="*/ 66 h 94"/>
                <a:gd name="T14" fmla="*/ 29 w 95"/>
                <a:gd name="T15" fmla="*/ 66 h 94"/>
                <a:gd name="T16" fmla="*/ 29 w 95"/>
                <a:gd name="T17" fmla="*/ 94 h 94"/>
                <a:gd name="T18" fmla="*/ 67 w 95"/>
                <a:gd name="T19" fmla="*/ 94 h 94"/>
                <a:gd name="T20" fmla="*/ 67 w 95"/>
                <a:gd name="T21" fmla="*/ 66 h 94"/>
                <a:gd name="T22" fmla="*/ 95 w 95"/>
                <a:gd name="T23" fmla="*/ 66 h 94"/>
                <a:gd name="T24" fmla="*/ 95 w 95"/>
                <a:gd name="T25" fmla="*/ 2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 h="94">
                  <a:moveTo>
                    <a:pt x="95" y="28"/>
                  </a:moveTo>
                  <a:lnTo>
                    <a:pt x="67" y="28"/>
                  </a:lnTo>
                  <a:lnTo>
                    <a:pt x="67" y="0"/>
                  </a:lnTo>
                  <a:lnTo>
                    <a:pt x="29" y="0"/>
                  </a:lnTo>
                  <a:lnTo>
                    <a:pt x="29" y="28"/>
                  </a:lnTo>
                  <a:lnTo>
                    <a:pt x="0" y="28"/>
                  </a:lnTo>
                  <a:lnTo>
                    <a:pt x="0" y="66"/>
                  </a:lnTo>
                  <a:lnTo>
                    <a:pt x="29" y="66"/>
                  </a:lnTo>
                  <a:lnTo>
                    <a:pt x="29" y="94"/>
                  </a:lnTo>
                  <a:lnTo>
                    <a:pt x="67" y="94"/>
                  </a:lnTo>
                  <a:lnTo>
                    <a:pt x="67" y="66"/>
                  </a:lnTo>
                  <a:lnTo>
                    <a:pt x="95" y="66"/>
                  </a:lnTo>
                  <a:lnTo>
                    <a:pt x="95" y="28"/>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3" name="Group 32">
            <a:extLst>
              <a:ext uri="{FF2B5EF4-FFF2-40B4-BE49-F238E27FC236}">
                <a16:creationId xmlns:a16="http://schemas.microsoft.com/office/drawing/2014/main" id="{80B43848-8B3F-41A5-B68F-F87D6A1076E4}"/>
              </a:ext>
            </a:extLst>
          </p:cNvPr>
          <p:cNvGrpSpPr/>
          <p:nvPr/>
        </p:nvGrpSpPr>
        <p:grpSpPr>
          <a:xfrm>
            <a:off x="491888" y="3410948"/>
            <a:ext cx="195351" cy="195351"/>
            <a:chOff x="7010401" y="1839913"/>
            <a:chExt cx="346075" cy="346075"/>
          </a:xfrm>
        </p:grpSpPr>
        <p:sp>
          <p:nvSpPr>
            <p:cNvPr id="34" name="Oval 11">
              <a:extLst>
                <a:ext uri="{FF2B5EF4-FFF2-40B4-BE49-F238E27FC236}">
                  <a16:creationId xmlns:a16="http://schemas.microsoft.com/office/drawing/2014/main" id="{47DFD82B-2530-4B89-94E1-DDD8C365DC15}"/>
                </a:ext>
              </a:extLst>
            </p:cNvPr>
            <p:cNvSpPr>
              <a:spLocks noChangeArrowheads="1"/>
            </p:cNvSpPr>
            <p:nvPr/>
          </p:nvSpPr>
          <p:spPr bwMode="auto">
            <a:xfrm>
              <a:off x="7010401" y="1839913"/>
              <a:ext cx="346075" cy="346075"/>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Oval 12">
              <a:extLst>
                <a:ext uri="{FF2B5EF4-FFF2-40B4-BE49-F238E27FC236}">
                  <a16:creationId xmlns:a16="http://schemas.microsoft.com/office/drawing/2014/main" id="{F28A7756-5E39-4244-9D56-FC306BBB7A86}"/>
                </a:ext>
              </a:extLst>
            </p:cNvPr>
            <p:cNvSpPr>
              <a:spLocks noChangeArrowheads="1"/>
            </p:cNvSpPr>
            <p:nvPr/>
          </p:nvSpPr>
          <p:spPr bwMode="auto">
            <a:xfrm>
              <a:off x="7054851" y="1884363"/>
              <a:ext cx="255588" cy="255588"/>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Freeform 13">
              <a:extLst>
                <a:ext uri="{FF2B5EF4-FFF2-40B4-BE49-F238E27FC236}">
                  <a16:creationId xmlns:a16="http://schemas.microsoft.com/office/drawing/2014/main" id="{2EC51260-8F88-4B08-90B9-7374C74C480D}"/>
                </a:ext>
              </a:extLst>
            </p:cNvPr>
            <p:cNvSpPr>
              <a:spLocks/>
            </p:cNvSpPr>
            <p:nvPr/>
          </p:nvSpPr>
          <p:spPr bwMode="auto">
            <a:xfrm>
              <a:off x="7115176" y="1944688"/>
              <a:ext cx="134938" cy="134938"/>
            </a:xfrm>
            <a:custGeom>
              <a:avLst/>
              <a:gdLst>
                <a:gd name="T0" fmla="*/ 85 w 85"/>
                <a:gd name="T1" fmla="*/ 29 h 85"/>
                <a:gd name="T2" fmla="*/ 57 w 85"/>
                <a:gd name="T3" fmla="*/ 29 h 85"/>
                <a:gd name="T4" fmla="*/ 57 w 85"/>
                <a:gd name="T5" fmla="*/ 0 h 85"/>
                <a:gd name="T6" fmla="*/ 29 w 85"/>
                <a:gd name="T7" fmla="*/ 0 h 85"/>
                <a:gd name="T8" fmla="*/ 29 w 85"/>
                <a:gd name="T9" fmla="*/ 29 h 85"/>
                <a:gd name="T10" fmla="*/ 0 w 85"/>
                <a:gd name="T11" fmla="*/ 29 h 85"/>
                <a:gd name="T12" fmla="*/ 0 w 85"/>
                <a:gd name="T13" fmla="*/ 57 h 85"/>
                <a:gd name="T14" fmla="*/ 29 w 85"/>
                <a:gd name="T15" fmla="*/ 57 h 85"/>
                <a:gd name="T16" fmla="*/ 29 w 85"/>
                <a:gd name="T17" fmla="*/ 85 h 85"/>
                <a:gd name="T18" fmla="*/ 57 w 85"/>
                <a:gd name="T19" fmla="*/ 85 h 85"/>
                <a:gd name="T20" fmla="*/ 57 w 85"/>
                <a:gd name="T21" fmla="*/ 57 h 85"/>
                <a:gd name="T22" fmla="*/ 85 w 85"/>
                <a:gd name="T23" fmla="*/ 57 h 85"/>
                <a:gd name="T24" fmla="*/ 85 w 85"/>
                <a:gd name="T25" fmla="*/ 2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85">
                  <a:moveTo>
                    <a:pt x="85" y="29"/>
                  </a:moveTo>
                  <a:lnTo>
                    <a:pt x="57" y="29"/>
                  </a:lnTo>
                  <a:lnTo>
                    <a:pt x="57" y="0"/>
                  </a:lnTo>
                  <a:lnTo>
                    <a:pt x="29" y="0"/>
                  </a:lnTo>
                  <a:lnTo>
                    <a:pt x="29" y="29"/>
                  </a:lnTo>
                  <a:lnTo>
                    <a:pt x="0" y="29"/>
                  </a:lnTo>
                  <a:lnTo>
                    <a:pt x="0" y="57"/>
                  </a:lnTo>
                  <a:lnTo>
                    <a:pt x="29" y="57"/>
                  </a:lnTo>
                  <a:lnTo>
                    <a:pt x="29" y="85"/>
                  </a:lnTo>
                  <a:lnTo>
                    <a:pt x="57" y="85"/>
                  </a:lnTo>
                  <a:lnTo>
                    <a:pt x="57" y="57"/>
                  </a:lnTo>
                  <a:lnTo>
                    <a:pt x="85" y="57"/>
                  </a:lnTo>
                  <a:lnTo>
                    <a:pt x="85" y="29"/>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7" name="Group 36">
            <a:extLst>
              <a:ext uri="{FF2B5EF4-FFF2-40B4-BE49-F238E27FC236}">
                <a16:creationId xmlns:a16="http://schemas.microsoft.com/office/drawing/2014/main" id="{8D1226C8-D1A4-4634-9ADA-158568DB95B4}"/>
              </a:ext>
            </a:extLst>
          </p:cNvPr>
          <p:cNvGrpSpPr/>
          <p:nvPr/>
        </p:nvGrpSpPr>
        <p:grpSpPr>
          <a:xfrm rot="18900000">
            <a:off x="4910156" y="2727713"/>
            <a:ext cx="101260" cy="195351"/>
            <a:chOff x="6380163" y="3284538"/>
            <a:chExt cx="179388" cy="346075"/>
          </a:xfrm>
        </p:grpSpPr>
        <p:sp>
          <p:nvSpPr>
            <p:cNvPr id="38" name="Line 124">
              <a:extLst>
                <a:ext uri="{FF2B5EF4-FFF2-40B4-BE49-F238E27FC236}">
                  <a16:creationId xmlns:a16="http://schemas.microsoft.com/office/drawing/2014/main" id="{74AE7E8C-04C4-42D4-A02C-226BA53C55F6}"/>
                </a:ext>
              </a:extLst>
            </p:cNvPr>
            <p:cNvSpPr>
              <a:spLocks noChangeShapeType="1"/>
            </p:cNvSpPr>
            <p:nvPr/>
          </p:nvSpPr>
          <p:spPr bwMode="auto">
            <a:xfrm>
              <a:off x="6469063" y="3570288"/>
              <a:ext cx="0" cy="60325"/>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Line 125">
              <a:extLst>
                <a:ext uri="{FF2B5EF4-FFF2-40B4-BE49-F238E27FC236}">
                  <a16:creationId xmlns:a16="http://schemas.microsoft.com/office/drawing/2014/main" id="{6CFE8BC2-5D1F-4229-A308-0BC3940C07D1}"/>
                </a:ext>
              </a:extLst>
            </p:cNvPr>
            <p:cNvSpPr>
              <a:spLocks noChangeShapeType="1"/>
            </p:cNvSpPr>
            <p:nvPr/>
          </p:nvSpPr>
          <p:spPr bwMode="auto">
            <a:xfrm>
              <a:off x="6424613" y="3284538"/>
              <a:ext cx="90488"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Line 126">
              <a:extLst>
                <a:ext uri="{FF2B5EF4-FFF2-40B4-BE49-F238E27FC236}">
                  <a16:creationId xmlns:a16="http://schemas.microsoft.com/office/drawing/2014/main" id="{81E539D9-2D63-4549-8051-B5C9C7EA69F1}"/>
                </a:ext>
              </a:extLst>
            </p:cNvPr>
            <p:cNvSpPr>
              <a:spLocks noChangeShapeType="1"/>
            </p:cNvSpPr>
            <p:nvPr/>
          </p:nvSpPr>
          <p:spPr bwMode="auto">
            <a:xfrm>
              <a:off x="6424613" y="3405188"/>
              <a:ext cx="2222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Line 127">
              <a:extLst>
                <a:ext uri="{FF2B5EF4-FFF2-40B4-BE49-F238E27FC236}">
                  <a16:creationId xmlns:a16="http://schemas.microsoft.com/office/drawing/2014/main" id="{CEF53B54-3490-4C98-A0E4-528DE88E8EE3}"/>
                </a:ext>
              </a:extLst>
            </p:cNvPr>
            <p:cNvSpPr>
              <a:spLocks noChangeShapeType="1"/>
            </p:cNvSpPr>
            <p:nvPr/>
          </p:nvSpPr>
          <p:spPr bwMode="auto">
            <a:xfrm>
              <a:off x="6424613" y="3435351"/>
              <a:ext cx="2222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Line 128">
              <a:extLst>
                <a:ext uri="{FF2B5EF4-FFF2-40B4-BE49-F238E27FC236}">
                  <a16:creationId xmlns:a16="http://schemas.microsoft.com/office/drawing/2014/main" id="{BC7F4993-2520-4CB9-96F8-3A73ECAB169E}"/>
                </a:ext>
              </a:extLst>
            </p:cNvPr>
            <p:cNvSpPr>
              <a:spLocks noChangeShapeType="1"/>
            </p:cNvSpPr>
            <p:nvPr/>
          </p:nvSpPr>
          <p:spPr bwMode="auto">
            <a:xfrm>
              <a:off x="6424613" y="3465513"/>
              <a:ext cx="2222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Freeform 129">
              <a:extLst>
                <a:ext uri="{FF2B5EF4-FFF2-40B4-BE49-F238E27FC236}">
                  <a16:creationId xmlns:a16="http://schemas.microsoft.com/office/drawing/2014/main" id="{CF3A2C75-6F94-4A11-AAE4-75DBC2D131ED}"/>
                </a:ext>
              </a:extLst>
            </p:cNvPr>
            <p:cNvSpPr>
              <a:spLocks/>
            </p:cNvSpPr>
            <p:nvPr/>
          </p:nvSpPr>
          <p:spPr bwMode="auto">
            <a:xfrm>
              <a:off x="6424613" y="3359151"/>
              <a:ext cx="90488" cy="211138"/>
            </a:xfrm>
            <a:custGeom>
              <a:avLst/>
              <a:gdLst>
                <a:gd name="T0" fmla="*/ 0 w 24"/>
                <a:gd name="T1" fmla="*/ 0 h 56"/>
                <a:gd name="T2" fmla="*/ 0 w 24"/>
                <a:gd name="T3" fmla="*/ 40 h 56"/>
                <a:gd name="T4" fmla="*/ 12 w 24"/>
                <a:gd name="T5" fmla="*/ 56 h 56"/>
                <a:gd name="T6" fmla="*/ 24 w 24"/>
                <a:gd name="T7" fmla="*/ 40 h 56"/>
                <a:gd name="T8" fmla="*/ 24 w 24"/>
                <a:gd name="T9" fmla="*/ 0 h 56"/>
                <a:gd name="T10" fmla="*/ 0 w 24"/>
                <a:gd name="T11" fmla="*/ 0 h 56"/>
              </a:gdLst>
              <a:ahLst/>
              <a:cxnLst>
                <a:cxn ang="0">
                  <a:pos x="T0" y="T1"/>
                </a:cxn>
                <a:cxn ang="0">
                  <a:pos x="T2" y="T3"/>
                </a:cxn>
                <a:cxn ang="0">
                  <a:pos x="T4" y="T5"/>
                </a:cxn>
                <a:cxn ang="0">
                  <a:pos x="T6" y="T7"/>
                </a:cxn>
                <a:cxn ang="0">
                  <a:pos x="T8" y="T9"/>
                </a:cxn>
                <a:cxn ang="0">
                  <a:pos x="T10" y="T11"/>
                </a:cxn>
              </a:cxnLst>
              <a:rect l="0" t="0" r="r" b="b"/>
              <a:pathLst>
                <a:path w="24" h="56">
                  <a:moveTo>
                    <a:pt x="0" y="0"/>
                  </a:moveTo>
                  <a:cubicBezTo>
                    <a:pt x="0" y="40"/>
                    <a:pt x="0" y="40"/>
                    <a:pt x="0" y="40"/>
                  </a:cubicBezTo>
                  <a:cubicBezTo>
                    <a:pt x="0" y="49"/>
                    <a:pt x="4" y="56"/>
                    <a:pt x="12" y="56"/>
                  </a:cubicBezTo>
                  <a:cubicBezTo>
                    <a:pt x="20" y="56"/>
                    <a:pt x="24" y="49"/>
                    <a:pt x="24" y="40"/>
                  </a:cubicBezTo>
                  <a:cubicBezTo>
                    <a:pt x="24" y="0"/>
                    <a:pt x="24" y="0"/>
                    <a:pt x="24" y="0"/>
                  </a:cubicBezTo>
                  <a:lnTo>
                    <a:pt x="0" y="0"/>
                  </a:lnTo>
                  <a:close/>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Rectangle 130">
              <a:extLst>
                <a:ext uri="{FF2B5EF4-FFF2-40B4-BE49-F238E27FC236}">
                  <a16:creationId xmlns:a16="http://schemas.microsoft.com/office/drawing/2014/main" id="{53AB7FE3-C59C-4026-80B1-DE5A93DB1C21}"/>
                </a:ext>
              </a:extLst>
            </p:cNvPr>
            <p:cNvSpPr>
              <a:spLocks noChangeArrowheads="1"/>
            </p:cNvSpPr>
            <p:nvPr/>
          </p:nvSpPr>
          <p:spPr bwMode="auto">
            <a:xfrm>
              <a:off x="6454776" y="3284538"/>
              <a:ext cx="30163" cy="74613"/>
            </a:xfrm>
            <a:prstGeom prst="rect">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Line 131">
              <a:extLst>
                <a:ext uri="{FF2B5EF4-FFF2-40B4-BE49-F238E27FC236}">
                  <a16:creationId xmlns:a16="http://schemas.microsoft.com/office/drawing/2014/main" id="{2ACF1EF1-F1BA-4C68-85DD-79E9DF027580}"/>
                </a:ext>
              </a:extLst>
            </p:cNvPr>
            <p:cNvSpPr>
              <a:spLocks noChangeShapeType="1"/>
            </p:cNvSpPr>
            <p:nvPr/>
          </p:nvSpPr>
          <p:spPr bwMode="auto">
            <a:xfrm>
              <a:off x="6380163" y="3359151"/>
              <a:ext cx="179388"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6" name="Group 45">
            <a:extLst>
              <a:ext uri="{FF2B5EF4-FFF2-40B4-BE49-F238E27FC236}">
                <a16:creationId xmlns:a16="http://schemas.microsoft.com/office/drawing/2014/main" id="{AD7A55BC-10D2-48CB-9FFD-414AFC0764C3}"/>
              </a:ext>
            </a:extLst>
          </p:cNvPr>
          <p:cNvGrpSpPr/>
          <p:nvPr/>
        </p:nvGrpSpPr>
        <p:grpSpPr>
          <a:xfrm>
            <a:off x="4863111" y="1674774"/>
            <a:ext cx="195351" cy="195351"/>
            <a:chOff x="3405188" y="1839913"/>
            <a:chExt cx="346076" cy="346076"/>
          </a:xfrm>
        </p:grpSpPr>
        <p:sp>
          <p:nvSpPr>
            <p:cNvPr id="47" name="Oval 80">
              <a:extLst>
                <a:ext uri="{FF2B5EF4-FFF2-40B4-BE49-F238E27FC236}">
                  <a16:creationId xmlns:a16="http://schemas.microsoft.com/office/drawing/2014/main" id="{8C28187B-BE1C-4589-B992-038C703BE14C}"/>
                </a:ext>
              </a:extLst>
            </p:cNvPr>
            <p:cNvSpPr>
              <a:spLocks noChangeArrowheads="1"/>
            </p:cNvSpPr>
            <p:nvPr/>
          </p:nvSpPr>
          <p:spPr bwMode="auto">
            <a:xfrm>
              <a:off x="3449638" y="1839913"/>
              <a:ext cx="120650" cy="120650"/>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Freeform 81">
              <a:extLst>
                <a:ext uri="{FF2B5EF4-FFF2-40B4-BE49-F238E27FC236}">
                  <a16:creationId xmlns:a16="http://schemas.microsoft.com/office/drawing/2014/main" id="{DBBF7126-B7B9-4332-B6F0-463832EDB2B7}"/>
                </a:ext>
              </a:extLst>
            </p:cNvPr>
            <p:cNvSpPr>
              <a:spLocks/>
            </p:cNvSpPr>
            <p:nvPr/>
          </p:nvSpPr>
          <p:spPr bwMode="auto">
            <a:xfrm>
              <a:off x="3405188" y="1990726"/>
              <a:ext cx="209550" cy="195263"/>
            </a:xfrm>
            <a:custGeom>
              <a:avLst/>
              <a:gdLst>
                <a:gd name="T0" fmla="*/ 56 w 56"/>
                <a:gd name="T1" fmla="*/ 20 h 52"/>
                <a:gd name="T2" fmla="*/ 56 w 56"/>
                <a:gd name="T3" fmla="*/ 4 h 52"/>
                <a:gd name="T4" fmla="*/ 52 w 56"/>
                <a:gd name="T5" fmla="*/ 0 h 52"/>
                <a:gd name="T6" fmla="*/ 4 w 56"/>
                <a:gd name="T7" fmla="*/ 0 h 52"/>
                <a:gd name="T8" fmla="*/ 0 w 56"/>
                <a:gd name="T9" fmla="*/ 4 h 52"/>
                <a:gd name="T10" fmla="*/ 0 w 56"/>
                <a:gd name="T11" fmla="*/ 52 h 52"/>
              </a:gdLst>
              <a:ahLst/>
              <a:cxnLst>
                <a:cxn ang="0">
                  <a:pos x="T0" y="T1"/>
                </a:cxn>
                <a:cxn ang="0">
                  <a:pos x="T2" y="T3"/>
                </a:cxn>
                <a:cxn ang="0">
                  <a:pos x="T4" y="T5"/>
                </a:cxn>
                <a:cxn ang="0">
                  <a:pos x="T6" y="T7"/>
                </a:cxn>
                <a:cxn ang="0">
                  <a:pos x="T8" y="T9"/>
                </a:cxn>
                <a:cxn ang="0">
                  <a:pos x="T10" y="T11"/>
                </a:cxn>
              </a:cxnLst>
              <a:rect l="0" t="0" r="r" b="b"/>
              <a:pathLst>
                <a:path w="56" h="52">
                  <a:moveTo>
                    <a:pt x="56" y="20"/>
                  </a:moveTo>
                  <a:cubicBezTo>
                    <a:pt x="56" y="4"/>
                    <a:pt x="56" y="4"/>
                    <a:pt x="56" y="4"/>
                  </a:cubicBezTo>
                  <a:cubicBezTo>
                    <a:pt x="56" y="2"/>
                    <a:pt x="54" y="0"/>
                    <a:pt x="52" y="0"/>
                  </a:cubicBezTo>
                  <a:cubicBezTo>
                    <a:pt x="4" y="0"/>
                    <a:pt x="4" y="0"/>
                    <a:pt x="4" y="0"/>
                  </a:cubicBezTo>
                  <a:cubicBezTo>
                    <a:pt x="2" y="0"/>
                    <a:pt x="0" y="2"/>
                    <a:pt x="0" y="4"/>
                  </a:cubicBezTo>
                  <a:cubicBezTo>
                    <a:pt x="0" y="52"/>
                    <a:pt x="0" y="52"/>
                    <a:pt x="0" y="5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Freeform 82">
              <a:extLst>
                <a:ext uri="{FF2B5EF4-FFF2-40B4-BE49-F238E27FC236}">
                  <a16:creationId xmlns:a16="http://schemas.microsoft.com/office/drawing/2014/main" id="{E82FFFD7-F3A8-40F1-9998-F99C8FA0D8E7}"/>
                </a:ext>
              </a:extLst>
            </p:cNvPr>
            <p:cNvSpPr>
              <a:spLocks/>
            </p:cNvSpPr>
            <p:nvPr/>
          </p:nvSpPr>
          <p:spPr bwMode="auto">
            <a:xfrm>
              <a:off x="3540126" y="2065338"/>
              <a:ext cx="211138" cy="120650"/>
            </a:xfrm>
            <a:custGeom>
              <a:avLst/>
              <a:gdLst>
                <a:gd name="T0" fmla="*/ 56 w 56"/>
                <a:gd name="T1" fmla="*/ 32 h 32"/>
                <a:gd name="T2" fmla="*/ 56 w 56"/>
                <a:gd name="T3" fmla="*/ 4 h 32"/>
                <a:gd name="T4" fmla="*/ 52 w 56"/>
                <a:gd name="T5" fmla="*/ 0 h 32"/>
                <a:gd name="T6" fmla="*/ 4 w 56"/>
                <a:gd name="T7" fmla="*/ 0 h 32"/>
                <a:gd name="T8" fmla="*/ 0 w 56"/>
                <a:gd name="T9" fmla="*/ 4 h 32"/>
                <a:gd name="T10" fmla="*/ 0 w 56"/>
                <a:gd name="T11" fmla="*/ 32 h 32"/>
              </a:gdLst>
              <a:ahLst/>
              <a:cxnLst>
                <a:cxn ang="0">
                  <a:pos x="T0" y="T1"/>
                </a:cxn>
                <a:cxn ang="0">
                  <a:pos x="T2" y="T3"/>
                </a:cxn>
                <a:cxn ang="0">
                  <a:pos x="T4" y="T5"/>
                </a:cxn>
                <a:cxn ang="0">
                  <a:pos x="T6" y="T7"/>
                </a:cxn>
                <a:cxn ang="0">
                  <a:pos x="T8" y="T9"/>
                </a:cxn>
                <a:cxn ang="0">
                  <a:pos x="T10" y="T11"/>
                </a:cxn>
              </a:cxnLst>
              <a:rect l="0" t="0" r="r" b="b"/>
              <a:pathLst>
                <a:path w="56" h="32">
                  <a:moveTo>
                    <a:pt x="56" y="32"/>
                  </a:moveTo>
                  <a:cubicBezTo>
                    <a:pt x="56" y="4"/>
                    <a:pt x="56" y="4"/>
                    <a:pt x="56" y="4"/>
                  </a:cubicBezTo>
                  <a:cubicBezTo>
                    <a:pt x="56" y="2"/>
                    <a:pt x="54" y="0"/>
                    <a:pt x="52" y="0"/>
                  </a:cubicBezTo>
                  <a:cubicBezTo>
                    <a:pt x="4" y="0"/>
                    <a:pt x="4" y="0"/>
                    <a:pt x="4" y="0"/>
                  </a:cubicBezTo>
                  <a:cubicBezTo>
                    <a:pt x="2" y="0"/>
                    <a:pt x="0" y="2"/>
                    <a:pt x="0" y="4"/>
                  </a:cubicBezTo>
                  <a:cubicBezTo>
                    <a:pt x="0" y="32"/>
                    <a:pt x="0" y="32"/>
                    <a:pt x="0" y="32"/>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Line 83">
              <a:extLst>
                <a:ext uri="{FF2B5EF4-FFF2-40B4-BE49-F238E27FC236}">
                  <a16:creationId xmlns:a16="http://schemas.microsoft.com/office/drawing/2014/main" id="{DC06644D-1BF5-44F2-89A6-852DC3F9D4AE}"/>
                </a:ext>
              </a:extLst>
            </p:cNvPr>
            <p:cNvSpPr>
              <a:spLocks noChangeShapeType="1"/>
            </p:cNvSpPr>
            <p:nvPr/>
          </p:nvSpPr>
          <p:spPr bwMode="auto">
            <a:xfrm>
              <a:off x="3449638" y="2035176"/>
              <a:ext cx="12065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Line 84">
              <a:extLst>
                <a:ext uri="{FF2B5EF4-FFF2-40B4-BE49-F238E27FC236}">
                  <a16:creationId xmlns:a16="http://schemas.microsoft.com/office/drawing/2014/main" id="{D46F14A1-E680-429B-AA6A-614F83F4916D}"/>
                </a:ext>
              </a:extLst>
            </p:cNvPr>
            <p:cNvSpPr>
              <a:spLocks noChangeShapeType="1"/>
            </p:cNvSpPr>
            <p:nvPr/>
          </p:nvSpPr>
          <p:spPr bwMode="auto">
            <a:xfrm>
              <a:off x="3449638" y="2079626"/>
              <a:ext cx="90488"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Line 85">
              <a:extLst>
                <a:ext uri="{FF2B5EF4-FFF2-40B4-BE49-F238E27FC236}">
                  <a16:creationId xmlns:a16="http://schemas.microsoft.com/office/drawing/2014/main" id="{617465B7-F752-4F83-B952-D60DCF033810}"/>
                </a:ext>
              </a:extLst>
            </p:cNvPr>
            <p:cNvSpPr>
              <a:spLocks noChangeShapeType="1"/>
            </p:cNvSpPr>
            <p:nvPr/>
          </p:nvSpPr>
          <p:spPr bwMode="auto">
            <a:xfrm>
              <a:off x="3449638" y="2125663"/>
              <a:ext cx="90488"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Line 86">
              <a:extLst>
                <a:ext uri="{FF2B5EF4-FFF2-40B4-BE49-F238E27FC236}">
                  <a16:creationId xmlns:a16="http://schemas.microsoft.com/office/drawing/2014/main" id="{CA3C630A-EF61-49E8-A0FF-0AB433C22B95}"/>
                </a:ext>
              </a:extLst>
            </p:cNvPr>
            <p:cNvSpPr>
              <a:spLocks noChangeShapeType="1"/>
            </p:cNvSpPr>
            <p:nvPr/>
          </p:nvSpPr>
          <p:spPr bwMode="auto">
            <a:xfrm>
              <a:off x="3509963" y="1870076"/>
              <a:ext cx="0" cy="60325"/>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Line 87">
              <a:extLst>
                <a:ext uri="{FF2B5EF4-FFF2-40B4-BE49-F238E27FC236}">
                  <a16:creationId xmlns:a16="http://schemas.microsoft.com/office/drawing/2014/main" id="{EF157424-9093-4F80-959B-12997BF57A3D}"/>
                </a:ext>
              </a:extLst>
            </p:cNvPr>
            <p:cNvSpPr>
              <a:spLocks noChangeShapeType="1"/>
            </p:cNvSpPr>
            <p:nvPr/>
          </p:nvSpPr>
          <p:spPr bwMode="auto">
            <a:xfrm flipH="1">
              <a:off x="3479801" y="1900238"/>
              <a:ext cx="6032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Line 88">
              <a:extLst>
                <a:ext uri="{FF2B5EF4-FFF2-40B4-BE49-F238E27FC236}">
                  <a16:creationId xmlns:a16="http://schemas.microsoft.com/office/drawing/2014/main" id="{AEC24857-C454-40A1-A539-E09F9F89BF73}"/>
                </a:ext>
              </a:extLst>
            </p:cNvPr>
            <p:cNvSpPr>
              <a:spLocks noChangeShapeType="1"/>
            </p:cNvSpPr>
            <p:nvPr/>
          </p:nvSpPr>
          <p:spPr bwMode="auto">
            <a:xfrm>
              <a:off x="3509963" y="1960563"/>
              <a:ext cx="0" cy="30163"/>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Line 89">
              <a:extLst>
                <a:ext uri="{FF2B5EF4-FFF2-40B4-BE49-F238E27FC236}">
                  <a16:creationId xmlns:a16="http://schemas.microsoft.com/office/drawing/2014/main" id="{41B19698-21AF-46DA-B88E-FA0960FE0892}"/>
                </a:ext>
              </a:extLst>
            </p:cNvPr>
            <p:cNvSpPr>
              <a:spLocks noChangeShapeType="1"/>
            </p:cNvSpPr>
            <p:nvPr/>
          </p:nvSpPr>
          <p:spPr bwMode="auto">
            <a:xfrm>
              <a:off x="3405188" y="2185988"/>
              <a:ext cx="3460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Rectangle 90">
              <a:extLst>
                <a:ext uri="{FF2B5EF4-FFF2-40B4-BE49-F238E27FC236}">
                  <a16:creationId xmlns:a16="http://schemas.microsoft.com/office/drawing/2014/main" id="{05B41BEF-0A08-4AA9-82F4-204C135B0254}"/>
                </a:ext>
              </a:extLst>
            </p:cNvPr>
            <p:cNvSpPr>
              <a:spLocks noChangeArrowheads="1"/>
            </p:cNvSpPr>
            <p:nvPr/>
          </p:nvSpPr>
          <p:spPr bwMode="auto">
            <a:xfrm>
              <a:off x="3630613" y="2155826"/>
              <a:ext cx="30163" cy="30163"/>
            </a:xfrm>
            <a:prstGeom prst="rect">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Line 91">
              <a:extLst>
                <a:ext uri="{FF2B5EF4-FFF2-40B4-BE49-F238E27FC236}">
                  <a16:creationId xmlns:a16="http://schemas.microsoft.com/office/drawing/2014/main" id="{F3242592-059B-402B-A42B-DD50FC6B00C1}"/>
                </a:ext>
              </a:extLst>
            </p:cNvPr>
            <p:cNvSpPr>
              <a:spLocks noChangeShapeType="1"/>
            </p:cNvSpPr>
            <p:nvPr/>
          </p:nvSpPr>
          <p:spPr bwMode="auto">
            <a:xfrm>
              <a:off x="3570288" y="2125663"/>
              <a:ext cx="158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Line 92">
              <a:extLst>
                <a:ext uri="{FF2B5EF4-FFF2-40B4-BE49-F238E27FC236}">
                  <a16:creationId xmlns:a16="http://schemas.microsoft.com/office/drawing/2014/main" id="{6DA2E109-F545-41C9-B7C1-DEC1292E30E5}"/>
                </a:ext>
              </a:extLst>
            </p:cNvPr>
            <p:cNvSpPr>
              <a:spLocks noChangeShapeType="1"/>
            </p:cNvSpPr>
            <p:nvPr/>
          </p:nvSpPr>
          <p:spPr bwMode="auto">
            <a:xfrm flipH="1">
              <a:off x="3570288" y="2095501"/>
              <a:ext cx="158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60" name="Line 93">
              <a:extLst>
                <a:ext uri="{FF2B5EF4-FFF2-40B4-BE49-F238E27FC236}">
                  <a16:creationId xmlns:a16="http://schemas.microsoft.com/office/drawing/2014/main" id="{1BCBBBDD-3A5C-41C0-B444-ACE2DCF642B3}"/>
                </a:ext>
              </a:extLst>
            </p:cNvPr>
            <p:cNvSpPr>
              <a:spLocks noChangeShapeType="1"/>
            </p:cNvSpPr>
            <p:nvPr/>
          </p:nvSpPr>
          <p:spPr bwMode="auto">
            <a:xfrm>
              <a:off x="3614738" y="2125663"/>
              <a:ext cx="158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61" name="Line 94">
              <a:extLst>
                <a:ext uri="{FF2B5EF4-FFF2-40B4-BE49-F238E27FC236}">
                  <a16:creationId xmlns:a16="http://schemas.microsoft.com/office/drawing/2014/main" id="{D669D7D0-B2AA-4E4F-A36F-06CE478F534E}"/>
                </a:ext>
              </a:extLst>
            </p:cNvPr>
            <p:cNvSpPr>
              <a:spLocks noChangeShapeType="1"/>
            </p:cNvSpPr>
            <p:nvPr/>
          </p:nvSpPr>
          <p:spPr bwMode="auto">
            <a:xfrm flipH="1">
              <a:off x="3614738" y="2095501"/>
              <a:ext cx="158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62" name="Line 95">
              <a:extLst>
                <a:ext uri="{FF2B5EF4-FFF2-40B4-BE49-F238E27FC236}">
                  <a16:creationId xmlns:a16="http://schemas.microsoft.com/office/drawing/2014/main" id="{CC38B7FB-6CBD-4050-A536-FF6EFFCF054B}"/>
                </a:ext>
              </a:extLst>
            </p:cNvPr>
            <p:cNvSpPr>
              <a:spLocks noChangeShapeType="1"/>
            </p:cNvSpPr>
            <p:nvPr/>
          </p:nvSpPr>
          <p:spPr bwMode="auto">
            <a:xfrm>
              <a:off x="3660776" y="2125663"/>
              <a:ext cx="14288"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63" name="Line 96">
              <a:extLst>
                <a:ext uri="{FF2B5EF4-FFF2-40B4-BE49-F238E27FC236}">
                  <a16:creationId xmlns:a16="http://schemas.microsoft.com/office/drawing/2014/main" id="{D268EA84-F1DC-4DA8-A690-5006B8BD43B9}"/>
                </a:ext>
              </a:extLst>
            </p:cNvPr>
            <p:cNvSpPr>
              <a:spLocks noChangeShapeType="1"/>
            </p:cNvSpPr>
            <p:nvPr/>
          </p:nvSpPr>
          <p:spPr bwMode="auto">
            <a:xfrm flipH="1">
              <a:off x="3660776" y="2095501"/>
              <a:ext cx="14288"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64" name="Line 97">
              <a:extLst>
                <a:ext uri="{FF2B5EF4-FFF2-40B4-BE49-F238E27FC236}">
                  <a16:creationId xmlns:a16="http://schemas.microsoft.com/office/drawing/2014/main" id="{C44A4A80-4CCA-459B-97F5-E8759D8F026D}"/>
                </a:ext>
              </a:extLst>
            </p:cNvPr>
            <p:cNvSpPr>
              <a:spLocks noChangeShapeType="1"/>
            </p:cNvSpPr>
            <p:nvPr/>
          </p:nvSpPr>
          <p:spPr bwMode="auto">
            <a:xfrm>
              <a:off x="3705226" y="2125663"/>
              <a:ext cx="158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65" name="Line 98">
              <a:extLst>
                <a:ext uri="{FF2B5EF4-FFF2-40B4-BE49-F238E27FC236}">
                  <a16:creationId xmlns:a16="http://schemas.microsoft.com/office/drawing/2014/main" id="{19EBF615-9D8E-4063-AAF1-FB7E78BDFD48}"/>
                </a:ext>
              </a:extLst>
            </p:cNvPr>
            <p:cNvSpPr>
              <a:spLocks noChangeShapeType="1"/>
            </p:cNvSpPr>
            <p:nvPr/>
          </p:nvSpPr>
          <p:spPr bwMode="auto">
            <a:xfrm flipH="1">
              <a:off x="3705226" y="2095501"/>
              <a:ext cx="1587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spTree>
    <p:extLst>
      <p:ext uri="{BB962C8B-B14F-4D97-AF65-F5344CB8AC3E}">
        <p14:creationId xmlns:p14="http://schemas.microsoft.com/office/powerpoint/2010/main" val="2874446204"/>
      </p:ext>
    </p:extLst>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2"/>
          </p:nvPr>
        </p:nvSpPr>
        <p:spPr/>
        <p:txBody>
          <a:bodyPr/>
          <a:lstStyle/>
          <a:p>
            <a:endParaRPr lang="en-US"/>
          </a:p>
        </p:txBody>
      </p:sp>
      <p:sp>
        <p:nvSpPr>
          <p:cNvPr id="3" name="Text Placeholder 2"/>
          <p:cNvSpPr>
            <a:spLocks noGrp="1"/>
          </p:cNvSpPr>
          <p:nvPr>
            <p:ph type="body" idx="3"/>
          </p:nvPr>
        </p:nvSpPr>
        <p:spPr/>
        <p:txBody>
          <a:bodyPr/>
          <a:lstStyle/>
          <a:p>
            <a:r>
              <a:rPr lang="en-US" dirty="0">
                <a:latin typeface="Gene Sans Light" panose="00000400000000000000" pitchFamily="50" charset="0"/>
              </a:rPr>
              <a:t>1. Cook MR and Kim C. JAMA </a:t>
            </a:r>
            <a:r>
              <a:rPr lang="en-US" dirty="0" err="1">
                <a:latin typeface="Gene Sans Light" panose="00000400000000000000" pitchFamily="50" charset="0"/>
              </a:rPr>
              <a:t>Oncol</a:t>
            </a:r>
            <a:r>
              <a:rPr lang="en-US" dirty="0">
                <a:latin typeface="Gene Sans Light" panose="00000400000000000000" pitchFamily="50" charset="0"/>
              </a:rPr>
              <a:t>. 2019. </a:t>
            </a:r>
            <a:r>
              <a:rPr lang="en-US" dirty="0" err="1">
                <a:latin typeface="Gene Sans Light" panose="00000400000000000000" pitchFamily="50" charset="0"/>
              </a:rPr>
              <a:t>doi</a:t>
            </a:r>
            <a:r>
              <a:rPr lang="en-US" dirty="0">
                <a:latin typeface="Gene Sans Light" panose="00000400000000000000" pitchFamily="50" charset="0"/>
              </a:rPr>
              <a:t>: 10.1001/jamaoncol.2018.6737 [</a:t>
            </a:r>
            <a:r>
              <a:rPr lang="en-US" dirty="0" err="1">
                <a:latin typeface="Gene Sans Light" panose="00000400000000000000" pitchFamily="50" charset="0"/>
              </a:rPr>
              <a:t>Epub</a:t>
            </a:r>
            <a:r>
              <a:rPr lang="en-US" dirty="0">
                <a:latin typeface="Gene Sans Light" panose="00000400000000000000" pitchFamily="50" charset="0"/>
              </a:rPr>
              <a:t> ahead of print].</a:t>
            </a:r>
          </a:p>
        </p:txBody>
      </p:sp>
      <p:sp>
        <p:nvSpPr>
          <p:cNvPr id="5" name="Title 4"/>
          <p:cNvSpPr>
            <a:spLocks noGrp="1"/>
          </p:cNvSpPr>
          <p:nvPr>
            <p:ph type="title"/>
          </p:nvPr>
        </p:nvSpPr>
        <p:spPr/>
        <p:txBody>
          <a:bodyPr/>
          <a:lstStyle/>
          <a:p>
            <a:r>
              <a:rPr lang="en-US" kern="0" cap="none" dirty="0">
                <a:cs typeface="Arial"/>
              </a:rPr>
              <a:t>CPI Treatment in Patients With HIV</a:t>
            </a:r>
            <a:endParaRPr lang="en-US" dirty="0"/>
          </a:p>
        </p:txBody>
      </p:sp>
      <p:sp>
        <p:nvSpPr>
          <p:cNvPr id="6" name="Google Shape;122;p3">
            <a:extLst>
              <a:ext uri="{FF2B5EF4-FFF2-40B4-BE49-F238E27FC236}">
                <a16:creationId xmlns:a16="http://schemas.microsoft.com/office/drawing/2014/main" id="{8D2D24A1-C3EE-4A83-A6D9-78E7FD3B700D}"/>
              </a:ext>
            </a:extLst>
          </p:cNvPr>
          <p:cNvSpPr txBox="1">
            <a:spLocks/>
          </p:cNvSpPr>
          <p:nvPr/>
        </p:nvSpPr>
        <p:spPr>
          <a:xfrm>
            <a:off x="381000" y="94545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
        <p:nvSpPr>
          <p:cNvPr id="7" name="Rectangle 6">
            <a:extLst>
              <a:ext uri="{FF2B5EF4-FFF2-40B4-BE49-F238E27FC236}">
                <a16:creationId xmlns:a16="http://schemas.microsoft.com/office/drawing/2014/main" id="{2D345E50-F207-44C8-A9E1-18963C573B04}"/>
              </a:ext>
            </a:extLst>
          </p:cNvPr>
          <p:cNvSpPr/>
          <p:nvPr/>
        </p:nvSpPr>
        <p:spPr>
          <a:xfrm>
            <a:off x="0" y="1352550"/>
            <a:ext cx="9144000" cy="11475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grpSp>
        <p:nvGrpSpPr>
          <p:cNvPr id="8" name="Group 7">
            <a:extLst>
              <a:ext uri="{FF2B5EF4-FFF2-40B4-BE49-F238E27FC236}">
                <a16:creationId xmlns:a16="http://schemas.microsoft.com/office/drawing/2014/main" id="{F8508D43-E55C-4ABB-ADE0-25A203D10F35}"/>
              </a:ext>
            </a:extLst>
          </p:cNvPr>
          <p:cNvGrpSpPr/>
          <p:nvPr/>
        </p:nvGrpSpPr>
        <p:grpSpPr>
          <a:xfrm>
            <a:off x="377304" y="2892415"/>
            <a:ext cx="8388743" cy="1371145"/>
            <a:chOff x="377304" y="2052417"/>
            <a:chExt cx="8261871" cy="1371145"/>
          </a:xfrm>
        </p:grpSpPr>
        <p:sp>
          <p:nvSpPr>
            <p:cNvPr id="9" name="Google Shape;4324;p33">
              <a:extLst>
                <a:ext uri="{FF2B5EF4-FFF2-40B4-BE49-F238E27FC236}">
                  <a16:creationId xmlns:a16="http://schemas.microsoft.com/office/drawing/2014/main" id="{F328C947-B900-4244-8E6C-2390C380DB35}"/>
                </a:ext>
              </a:extLst>
            </p:cNvPr>
            <p:cNvSpPr txBox="1">
              <a:spLocks/>
            </p:cNvSpPr>
            <p:nvPr/>
          </p:nvSpPr>
          <p:spPr>
            <a:xfrm>
              <a:off x="377304" y="2052417"/>
              <a:ext cx="1505902" cy="761747"/>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L="914400" marR="0" lvl="1" indent="-228600" algn="l" rtl="0">
                <a:lnSpc>
                  <a:spcPct val="90000"/>
                </a:lnSpc>
                <a:spcBef>
                  <a:spcPts val="6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1" indent="0" algn="l" defTabSz="914400" rtl="0" eaLnBrk="1" fontAlgn="auto" latinLnBrk="0" hangingPunct="1">
                <a:lnSpc>
                  <a:spcPct val="90000"/>
                </a:lnSpc>
                <a:spcBef>
                  <a:spcPts val="0"/>
                </a:spcBef>
                <a:spcAft>
                  <a:spcPts val="0"/>
                </a:spcAft>
                <a:buClr>
                  <a:srgbClr val="545859"/>
                </a:buClr>
                <a:buSzPts val="22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CPI therapy was generally well tolerated, with 6 patients (9%) experiencing grade 3 or higher </a:t>
              </a:r>
              <a:r>
                <a:rPr kumimoji="0" lang="en-US" sz="11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irAEs</a:t>
              </a:r>
              <a:endPar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10" name="Google Shape;4324;p33">
              <a:extLst>
                <a:ext uri="{FF2B5EF4-FFF2-40B4-BE49-F238E27FC236}">
                  <a16:creationId xmlns:a16="http://schemas.microsoft.com/office/drawing/2014/main" id="{C02DE900-C65B-48C9-8814-39487182B2D2}"/>
                </a:ext>
              </a:extLst>
            </p:cNvPr>
            <p:cNvSpPr txBox="1">
              <a:spLocks/>
            </p:cNvSpPr>
            <p:nvPr/>
          </p:nvSpPr>
          <p:spPr>
            <a:xfrm>
              <a:off x="2066296" y="2052417"/>
              <a:ext cx="1505902" cy="609398"/>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L="914400" marR="0" lvl="1" indent="-228600" algn="l" rtl="0">
                <a:lnSpc>
                  <a:spcPct val="90000"/>
                </a:lnSpc>
                <a:spcBef>
                  <a:spcPts val="6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1" indent="0" algn="l" defTabSz="914400" rtl="0" eaLnBrk="1" fontAlgn="auto" latinLnBrk="0" hangingPunct="1">
                <a:lnSpc>
                  <a:spcPct val="90000"/>
                </a:lnSpc>
                <a:spcBef>
                  <a:spcPts val="0"/>
                </a:spcBef>
                <a:spcAft>
                  <a:spcPts val="0"/>
                </a:spcAft>
                <a:buClr>
                  <a:srgbClr val="545859"/>
                </a:buClr>
                <a:buSzPts val="22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Of the 28 patients with undetectable HIV load, HIV remained suppressed in 26 (93%) </a:t>
              </a:r>
            </a:p>
          </p:txBody>
        </p:sp>
        <p:sp>
          <p:nvSpPr>
            <p:cNvPr id="11" name="Google Shape;4324;p33">
              <a:extLst>
                <a:ext uri="{FF2B5EF4-FFF2-40B4-BE49-F238E27FC236}">
                  <a16:creationId xmlns:a16="http://schemas.microsoft.com/office/drawing/2014/main" id="{7378ED57-00BB-4D15-A8DF-B460D357F481}"/>
                </a:ext>
              </a:extLst>
            </p:cNvPr>
            <p:cNvSpPr txBox="1">
              <a:spLocks/>
            </p:cNvSpPr>
            <p:nvPr/>
          </p:nvSpPr>
          <p:spPr>
            <a:xfrm>
              <a:off x="3755288" y="2052417"/>
              <a:ext cx="1505902" cy="1371145"/>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L="914400" marR="0" lvl="1" indent="-228600" algn="l" rtl="0">
                <a:lnSpc>
                  <a:spcPct val="90000"/>
                </a:lnSpc>
                <a:spcBef>
                  <a:spcPts val="6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1" indent="0" algn="l" defTabSz="914400" rtl="0" eaLnBrk="1" fontAlgn="auto" latinLnBrk="0" hangingPunct="1">
                <a:lnSpc>
                  <a:spcPct val="90000"/>
                </a:lnSpc>
                <a:spcBef>
                  <a:spcPts val="0"/>
                </a:spcBef>
                <a:spcAft>
                  <a:spcPts val="0"/>
                </a:spcAft>
                <a:buClr>
                  <a:srgbClr val="545859"/>
                </a:buClr>
                <a:buSzPts val="22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Of the 25 patients with paired pretreatment and posttreatment CD4-cell counts, 14 (56%) had an increase in CD-4 count and 11 (44%) had a decrease; mean (SD) change, 12.3 (28.5)/</a:t>
              </a:r>
              <a:r>
                <a:rPr kumimoji="0" lang="en-US" sz="11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μL</a:t>
              </a: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range, −290 to 296/</a:t>
              </a:r>
              <a:r>
                <a:rPr kumimoji="0" lang="en-US" sz="11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μL</a:t>
              </a: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a:t>
              </a:r>
            </a:p>
          </p:txBody>
        </p:sp>
        <p:sp>
          <p:nvSpPr>
            <p:cNvPr id="12" name="Google Shape;4324;p33">
              <a:extLst>
                <a:ext uri="{FF2B5EF4-FFF2-40B4-BE49-F238E27FC236}">
                  <a16:creationId xmlns:a16="http://schemas.microsoft.com/office/drawing/2014/main" id="{ADD20DE9-B38F-41DF-ACDE-19D82CAAB214}"/>
                </a:ext>
              </a:extLst>
            </p:cNvPr>
            <p:cNvSpPr txBox="1">
              <a:spLocks/>
            </p:cNvSpPr>
            <p:nvPr/>
          </p:nvSpPr>
          <p:spPr>
            <a:xfrm>
              <a:off x="5444280" y="2052417"/>
              <a:ext cx="1505902" cy="609398"/>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L="914400" marR="0" lvl="1" indent="-228600" algn="l" rtl="0">
                <a:lnSpc>
                  <a:spcPct val="90000"/>
                </a:lnSpc>
                <a:spcBef>
                  <a:spcPts val="6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1" indent="0" algn="l" defTabSz="914400" rtl="0" eaLnBrk="1" fontAlgn="auto" latinLnBrk="0" hangingPunct="1">
                <a:lnSpc>
                  <a:spcPct val="90000"/>
                </a:lnSpc>
                <a:spcBef>
                  <a:spcPts val="0"/>
                </a:spcBef>
                <a:spcAft>
                  <a:spcPts val="0"/>
                </a:spcAft>
                <a:buClr>
                  <a:srgbClr val="545859"/>
                </a:buClr>
                <a:buSzPts val="22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ORRs were 30% for NSCLC, 27% for melanoma and 63% for Kaposi sarcoma</a:t>
              </a:r>
            </a:p>
          </p:txBody>
        </p:sp>
        <p:sp>
          <p:nvSpPr>
            <p:cNvPr id="13" name="Google Shape;4324;p33">
              <a:extLst>
                <a:ext uri="{FF2B5EF4-FFF2-40B4-BE49-F238E27FC236}">
                  <a16:creationId xmlns:a16="http://schemas.microsoft.com/office/drawing/2014/main" id="{C9AA603C-A814-4BFE-AF17-C09A8D6BC267}"/>
                </a:ext>
              </a:extLst>
            </p:cNvPr>
            <p:cNvSpPr txBox="1">
              <a:spLocks/>
            </p:cNvSpPr>
            <p:nvPr/>
          </p:nvSpPr>
          <p:spPr>
            <a:xfrm>
              <a:off x="7133273" y="2052417"/>
              <a:ext cx="1505902" cy="761747"/>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L="914400" marR="0" lvl="1" indent="-228600" algn="l" rtl="0">
                <a:lnSpc>
                  <a:spcPct val="90000"/>
                </a:lnSpc>
                <a:spcBef>
                  <a:spcPts val="6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1" indent="0" algn="l" defTabSz="914400" rtl="0" eaLnBrk="1" fontAlgn="auto" latinLnBrk="0" hangingPunct="1">
                <a:lnSpc>
                  <a:spcPct val="90000"/>
                </a:lnSpc>
                <a:spcBef>
                  <a:spcPts val="0"/>
                </a:spcBef>
                <a:spcAft>
                  <a:spcPts val="0"/>
                </a:spcAft>
                <a:buClr>
                  <a:srgbClr val="545859"/>
                </a:buClr>
                <a:buSzPts val="2200"/>
                <a:buFont typeface="Arial"/>
                <a:buNone/>
                <a:tabLst/>
                <a:defRPr/>
              </a:pPr>
              <a:r>
                <a:rPr kumimoji="0" lang="en-US" sz="11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Phase I and II clinical trials examining the use of CPIs in patients with HIV infection are ongoing</a:t>
              </a:r>
            </a:p>
          </p:txBody>
        </p:sp>
      </p:grpSp>
      <p:sp>
        <p:nvSpPr>
          <p:cNvPr id="14" name="Rectangle 13">
            <a:extLst>
              <a:ext uri="{FF2B5EF4-FFF2-40B4-BE49-F238E27FC236}">
                <a16:creationId xmlns:a16="http://schemas.microsoft.com/office/drawing/2014/main" id="{D503A979-E66C-4553-BAB6-FC3AFBE3F044}"/>
              </a:ext>
            </a:extLst>
          </p:cNvPr>
          <p:cNvSpPr/>
          <p:nvPr/>
        </p:nvSpPr>
        <p:spPr>
          <a:xfrm>
            <a:off x="381000" y="2287937"/>
            <a:ext cx="1525331" cy="4242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5" name="Rectangle 14">
            <a:extLst>
              <a:ext uri="{FF2B5EF4-FFF2-40B4-BE49-F238E27FC236}">
                <a16:creationId xmlns:a16="http://schemas.microsoft.com/office/drawing/2014/main" id="{689C45E4-6376-4431-8444-4684151A92BB}"/>
              </a:ext>
            </a:extLst>
          </p:cNvPr>
          <p:cNvSpPr/>
          <p:nvPr/>
        </p:nvSpPr>
        <p:spPr>
          <a:xfrm>
            <a:off x="2095929" y="2287937"/>
            <a:ext cx="1525331" cy="4242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 name="Rectangle 15">
            <a:extLst>
              <a:ext uri="{FF2B5EF4-FFF2-40B4-BE49-F238E27FC236}">
                <a16:creationId xmlns:a16="http://schemas.microsoft.com/office/drawing/2014/main" id="{0E1E1779-EBA6-4A22-B26F-2F55CFD0090E}"/>
              </a:ext>
            </a:extLst>
          </p:cNvPr>
          <p:cNvSpPr/>
          <p:nvPr/>
        </p:nvSpPr>
        <p:spPr>
          <a:xfrm>
            <a:off x="3810858" y="2287937"/>
            <a:ext cx="1525331" cy="4242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 name="Rectangle 16">
            <a:extLst>
              <a:ext uri="{FF2B5EF4-FFF2-40B4-BE49-F238E27FC236}">
                <a16:creationId xmlns:a16="http://schemas.microsoft.com/office/drawing/2014/main" id="{B86A3555-C5DF-4783-BD31-EF43A298A990}"/>
              </a:ext>
            </a:extLst>
          </p:cNvPr>
          <p:cNvSpPr/>
          <p:nvPr/>
        </p:nvSpPr>
        <p:spPr>
          <a:xfrm>
            <a:off x="5525787" y="2287937"/>
            <a:ext cx="1525331" cy="4242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8" name="Rectangle 17">
            <a:extLst>
              <a:ext uri="{FF2B5EF4-FFF2-40B4-BE49-F238E27FC236}">
                <a16:creationId xmlns:a16="http://schemas.microsoft.com/office/drawing/2014/main" id="{3D378B2D-2EAA-4FBA-B8BD-4901D2FCB803}"/>
              </a:ext>
            </a:extLst>
          </p:cNvPr>
          <p:cNvSpPr/>
          <p:nvPr/>
        </p:nvSpPr>
        <p:spPr>
          <a:xfrm>
            <a:off x="7240716" y="2287937"/>
            <a:ext cx="1525331" cy="4242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9" name="TextBox 18">
            <a:extLst>
              <a:ext uri="{FF2B5EF4-FFF2-40B4-BE49-F238E27FC236}">
                <a16:creationId xmlns:a16="http://schemas.microsoft.com/office/drawing/2014/main" id="{6D194471-B1E6-474B-A03D-FE9A4522C551}"/>
              </a:ext>
            </a:extLst>
          </p:cNvPr>
          <p:cNvSpPr txBox="1"/>
          <p:nvPr/>
        </p:nvSpPr>
        <p:spPr>
          <a:xfrm>
            <a:off x="381000" y="1666355"/>
            <a:ext cx="8381352"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dirty="0">
                <a:ln>
                  <a:noFill/>
                </a:ln>
                <a:solidFill>
                  <a:srgbClr val="003087"/>
                </a:solidFill>
                <a:effectLst/>
                <a:uLnTx/>
                <a:uFillTx/>
                <a:latin typeface="Gene Sans" panose="00000500000000000000" pitchFamily="50" charset="0"/>
                <a:cs typeface="Arial"/>
                <a:sym typeface="Arial"/>
              </a:rPr>
              <a:t>Of 70 patients with HIV who received CPIs identified in case reports</a:t>
            </a:r>
            <a:r>
              <a:rPr kumimoji="0" lang="en-US" sz="1800" b="1" i="0" u="none" strike="noStrike" kern="0" cap="none" spc="0" normalizeH="0" baseline="30000" noProof="0" dirty="0">
                <a:ln>
                  <a:noFill/>
                </a:ln>
                <a:solidFill>
                  <a:srgbClr val="003087"/>
                </a:solidFill>
                <a:effectLst/>
                <a:uLnTx/>
                <a:uFillTx/>
                <a:latin typeface="Gene Sans" panose="00000500000000000000" pitchFamily="50" charset="0"/>
                <a:cs typeface="Arial"/>
                <a:sym typeface="Arial"/>
              </a:rPr>
              <a:t>1</a:t>
            </a:r>
            <a:r>
              <a:rPr kumimoji="0" lang="en-US" sz="1800" b="1" i="0" u="none" strike="noStrike" kern="0" cap="none" spc="0" normalizeH="0" baseline="0" noProof="0" dirty="0">
                <a:ln>
                  <a:noFill/>
                </a:ln>
                <a:solidFill>
                  <a:srgbClr val="003087"/>
                </a:solidFill>
                <a:effectLst/>
                <a:uLnTx/>
                <a:uFillTx/>
                <a:latin typeface="Gene Sans" panose="00000500000000000000" pitchFamily="50" charset="0"/>
                <a:cs typeface="Arial"/>
                <a:sym typeface="Arial"/>
              </a:rPr>
              <a:t>:</a:t>
            </a:r>
          </a:p>
        </p:txBody>
      </p:sp>
      <p:grpSp>
        <p:nvGrpSpPr>
          <p:cNvPr id="20" name="Group 19">
            <a:extLst>
              <a:ext uri="{FF2B5EF4-FFF2-40B4-BE49-F238E27FC236}">
                <a16:creationId xmlns:a16="http://schemas.microsoft.com/office/drawing/2014/main" id="{7F8675DA-744C-4437-8A41-C4B21F5108A7}"/>
              </a:ext>
            </a:extLst>
          </p:cNvPr>
          <p:cNvGrpSpPr/>
          <p:nvPr/>
        </p:nvGrpSpPr>
        <p:grpSpPr>
          <a:xfrm>
            <a:off x="1038687" y="2392627"/>
            <a:ext cx="209957" cy="214886"/>
            <a:chOff x="3406775" y="5060951"/>
            <a:chExt cx="338138" cy="346075"/>
          </a:xfrm>
        </p:grpSpPr>
        <p:sp>
          <p:nvSpPr>
            <p:cNvPr id="21" name="Oval 321">
              <a:extLst>
                <a:ext uri="{FF2B5EF4-FFF2-40B4-BE49-F238E27FC236}">
                  <a16:creationId xmlns:a16="http://schemas.microsoft.com/office/drawing/2014/main" id="{3E7D8F67-6F0B-4934-BE39-D8A7A29649E2}"/>
                </a:ext>
              </a:extLst>
            </p:cNvPr>
            <p:cNvSpPr>
              <a:spLocks noChangeArrowheads="1"/>
            </p:cNvSpPr>
            <p:nvPr/>
          </p:nvSpPr>
          <p:spPr bwMode="auto">
            <a:xfrm>
              <a:off x="3436938" y="5060951"/>
              <a:ext cx="104775" cy="106363"/>
            </a:xfrm>
            <a:prstGeom prst="ellipse">
              <a:avLst/>
            </a:pr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2" name="Freeform 322">
              <a:extLst>
                <a:ext uri="{FF2B5EF4-FFF2-40B4-BE49-F238E27FC236}">
                  <a16:creationId xmlns:a16="http://schemas.microsoft.com/office/drawing/2014/main" id="{5D7BB396-6B72-45E9-B6CD-92ACBE0764F4}"/>
                </a:ext>
              </a:extLst>
            </p:cNvPr>
            <p:cNvSpPr>
              <a:spLocks/>
            </p:cNvSpPr>
            <p:nvPr/>
          </p:nvSpPr>
          <p:spPr bwMode="auto">
            <a:xfrm>
              <a:off x="3406775" y="5197476"/>
              <a:ext cx="165100" cy="209550"/>
            </a:xfrm>
            <a:custGeom>
              <a:avLst/>
              <a:gdLst>
                <a:gd name="T0" fmla="*/ 44 w 44"/>
                <a:gd name="T1" fmla="*/ 0 h 56"/>
                <a:gd name="T2" fmla="*/ 0 w 44"/>
                <a:gd name="T3" fmla="*/ 0 h 56"/>
                <a:gd name="T4" fmla="*/ 14 w 44"/>
                <a:gd name="T5" fmla="*/ 30 h 56"/>
                <a:gd name="T6" fmla="*/ 14 w 44"/>
                <a:gd name="T7" fmla="*/ 56 h 56"/>
                <a:gd name="T8" fmla="*/ 30 w 44"/>
                <a:gd name="T9" fmla="*/ 56 h 56"/>
                <a:gd name="T10" fmla="*/ 30 w 44"/>
                <a:gd name="T11" fmla="*/ 30 h 56"/>
                <a:gd name="T12" fmla="*/ 44 w 44"/>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44" h="56">
                  <a:moveTo>
                    <a:pt x="44" y="0"/>
                  </a:moveTo>
                  <a:cubicBezTo>
                    <a:pt x="0" y="0"/>
                    <a:pt x="0" y="0"/>
                    <a:pt x="0" y="0"/>
                  </a:cubicBezTo>
                  <a:cubicBezTo>
                    <a:pt x="0" y="16"/>
                    <a:pt x="7" y="26"/>
                    <a:pt x="14" y="30"/>
                  </a:cubicBezTo>
                  <a:cubicBezTo>
                    <a:pt x="14" y="56"/>
                    <a:pt x="14" y="56"/>
                    <a:pt x="14" y="56"/>
                  </a:cubicBezTo>
                  <a:cubicBezTo>
                    <a:pt x="30" y="56"/>
                    <a:pt x="30" y="56"/>
                    <a:pt x="30" y="56"/>
                  </a:cubicBezTo>
                  <a:cubicBezTo>
                    <a:pt x="30" y="30"/>
                    <a:pt x="30" y="30"/>
                    <a:pt x="30" y="30"/>
                  </a:cubicBezTo>
                  <a:cubicBezTo>
                    <a:pt x="37" y="26"/>
                    <a:pt x="44" y="16"/>
                    <a:pt x="44" y="0"/>
                  </a:cubicBezTo>
                  <a:close/>
                </a:path>
              </a:pathLst>
            </a:cu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3" name="Freeform 323">
              <a:extLst>
                <a:ext uri="{FF2B5EF4-FFF2-40B4-BE49-F238E27FC236}">
                  <a16:creationId xmlns:a16="http://schemas.microsoft.com/office/drawing/2014/main" id="{F1C4F024-35F4-4D60-B8FE-BD7ECB70EFC7}"/>
                </a:ext>
              </a:extLst>
            </p:cNvPr>
            <p:cNvSpPr>
              <a:spLocks/>
            </p:cNvSpPr>
            <p:nvPr/>
          </p:nvSpPr>
          <p:spPr bwMode="auto">
            <a:xfrm>
              <a:off x="3473450" y="5197476"/>
              <a:ext cx="30163" cy="104775"/>
            </a:xfrm>
            <a:custGeom>
              <a:avLst/>
              <a:gdLst>
                <a:gd name="T0" fmla="*/ 15 w 19"/>
                <a:gd name="T1" fmla="*/ 0 h 66"/>
                <a:gd name="T2" fmla="*/ 5 w 19"/>
                <a:gd name="T3" fmla="*/ 0 h 66"/>
                <a:gd name="T4" fmla="*/ 0 w 19"/>
                <a:gd name="T5" fmla="*/ 57 h 66"/>
                <a:gd name="T6" fmla="*/ 10 w 19"/>
                <a:gd name="T7" fmla="*/ 66 h 66"/>
                <a:gd name="T8" fmla="*/ 19 w 19"/>
                <a:gd name="T9" fmla="*/ 57 h 66"/>
                <a:gd name="T10" fmla="*/ 15 w 19"/>
                <a:gd name="T11" fmla="*/ 0 h 66"/>
                <a:gd name="T12" fmla="*/ 15 w 19"/>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19" h="66">
                  <a:moveTo>
                    <a:pt x="15" y="0"/>
                  </a:moveTo>
                  <a:lnTo>
                    <a:pt x="5" y="0"/>
                  </a:lnTo>
                  <a:lnTo>
                    <a:pt x="0" y="57"/>
                  </a:lnTo>
                  <a:lnTo>
                    <a:pt x="10" y="66"/>
                  </a:lnTo>
                  <a:lnTo>
                    <a:pt x="19" y="57"/>
                  </a:lnTo>
                  <a:lnTo>
                    <a:pt x="15" y="0"/>
                  </a:lnTo>
                  <a:lnTo>
                    <a:pt x="15" y="0"/>
                  </a:lnTo>
                  <a:close/>
                </a:path>
              </a:pathLst>
            </a:cu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4" name="Freeform 324">
              <a:extLst>
                <a:ext uri="{FF2B5EF4-FFF2-40B4-BE49-F238E27FC236}">
                  <a16:creationId xmlns:a16="http://schemas.microsoft.com/office/drawing/2014/main" id="{641B092B-C0BF-4CA6-A41F-9AFB5FA19522}"/>
                </a:ext>
              </a:extLst>
            </p:cNvPr>
            <p:cNvSpPr>
              <a:spLocks/>
            </p:cNvSpPr>
            <p:nvPr/>
          </p:nvSpPr>
          <p:spPr bwMode="auto">
            <a:xfrm>
              <a:off x="3571875" y="5065713"/>
              <a:ext cx="173038" cy="277813"/>
            </a:xfrm>
            <a:custGeom>
              <a:avLst/>
              <a:gdLst>
                <a:gd name="T0" fmla="*/ 0 w 46"/>
                <a:gd name="T1" fmla="*/ 66 h 74"/>
                <a:gd name="T2" fmla="*/ 14 w 46"/>
                <a:gd name="T3" fmla="*/ 74 h 74"/>
                <a:gd name="T4" fmla="*/ 46 w 46"/>
                <a:gd name="T5" fmla="*/ 15 h 74"/>
                <a:gd name="T6" fmla="*/ 14 w 46"/>
                <a:gd name="T7" fmla="*/ 0 h 74"/>
                <a:gd name="T8" fmla="*/ 14 w 46"/>
                <a:gd name="T9" fmla="*/ 0 h 74"/>
                <a:gd name="T10" fmla="*/ 2 w 46"/>
                <a:gd name="T11" fmla="*/ 8 h 74"/>
              </a:gdLst>
              <a:ahLst/>
              <a:cxnLst>
                <a:cxn ang="0">
                  <a:pos x="T0" y="T1"/>
                </a:cxn>
                <a:cxn ang="0">
                  <a:pos x="T2" y="T3"/>
                </a:cxn>
                <a:cxn ang="0">
                  <a:pos x="T4" y="T5"/>
                </a:cxn>
                <a:cxn ang="0">
                  <a:pos x="T6" y="T7"/>
                </a:cxn>
                <a:cxn ang="0">
                  <a:pos x="T8" y="T9"/>
                </a:cxn>
                <a:cxn ang="0">
                  <a:pos x="T10" y="T11"/>
                </a:cxn>
              </a:cxnLst>
              <a:rect l="0" t="0" r="r" b="b"/>
              <a:pathLst>
                <a:path w="46" h="74">
                  <a:moveTo>
                    <a:pt x="0" y="66"/>
                  </a:moveTo>
                  <a:cubicBezTo>
                    <a:pt x="4" y="69"/>
                    <a:pt x="8" y="72"/>
                    <a:pt x="14" y="74"/>
                  </a:cubicBezTo>
                  <a:cubicBezTo>
                    <a:pt x="44" y="63"/>
                    <a:pt x="46" y="40"/>
                    <a:pt x="46" y="15"/>
                  </a:cubicBezTo>
                  <a:cubicBezTo>
                    <a:pt x="46" y="15"/>
                    <a:pt x="22" y="8"/>
                    <a:pt x="14" y="0"/>
                  </a:cubicBezTo>
                  <a:cubicBezTo>
                    <a:pt x="14" y="0"/>
                    <a:pt x="14" y="0"/>
                    <a:pt x="14" y="0"/>
                  </a:cubicBezTo>
                  <a:cubicBezTo>
                    <a:pt x="11" y="3"/>
                    <a:pt x="7" y="5"/>
                    <a:pt x="2" y="8"/>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5" name="Freeform 325">
              <a:extLst>
                <a:ext uri="{FF2B5EF4-FFF2-40B4-BE49-F238E27FC236}">
                  <a16:creationId xmlns:a16="http://schemas.microsoft.com/office/drawing/2014/main" id="{ADC50FF4-ACD0-494B-B2BE-23A4FA6ACB6C}"/>
                </a:ext>
              </a:extLst>
            </p:cNvPr>
            <p:cNvSpPr>
              <a:spLocks/>
            </p:cNvSpPr>
            <p:nvPr/>
          </p:nvSpPr>
          <p:spPr bwMode="auto">
            <a:xfrm>
              <a:off x="3609975" y="5137151"/>
              <a:ext cx="74613" cy="120650"/>
            </a:xfrm>
            <a:custGeom>
              <a:avLst/>
              <a:gdLst>
                <a:gd name="T0" fmla="*/ 0 w 47"/>
                <a:gd name="T1" fmla="*/ 28 h 76"/>
                <a:gd name="T2" fmla="*/ 0 w 47"/>
                <a:gd name="T3" fmla="*/ 0 h 76"/>
                <a:gd name="T4" fmla="*/ 19 w 47"/>
                <a:gd name="T5" fmla="*/ 0 h 76"/>
                <a:gd name="T6" fmla="*/ 19 w 47"/>
                <a:gd name="T7" fmla="*/ 28 h 76"/>
                <a:gd name="T8" fmla="*/ 47 w 47"/>
                <a:gd name="T9" fmla="*/ 28 h 76"/>
                <a:gd name="T10" fmla="*/ 47 w 47"/>
                <a:gd name="T11" fmla="*/ 47 h 76"/>
                <a:gd name="T12" fmla="*/ 19 w 47"/>
                <a:gd name="T13" fmla="*/ 47 h 76"/>
                <a:gd name="T14" fmla="*/ 19 w 47"/>
                <a:gd name="T15" fmla="*/ 76 h 76"/>
                <a:gd name="T16" fmla="*/ 0 w 47"/>
                <a:gd name="T17" fmla="*/ 76 h 76"/>
                <a:gd name="T18" fmla="*/ 0 w 47"/>
                <a:gd name="T19" fmla="*/ 5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76">
                  <a:moveTo>
                    <a:pt x="0" y="28"/>
                  </a:moveTo>
                  <a:lnTo>
                    <a:pt x="0" y="0"/>
                  </a:lnTo>
                  <a:lnTo>
                    <a:pt x="19" y="0"/>
                  </a:lnTo>
                  <a:lnTo>
                    <a:pt x="19" y="28"/>
                  </a:lnTo>
                  <a:lnTo>
                    <a:pt x="47" y="28"/>
                  </a:lnTo>
                  <a:lnTo>
                    <a:pt x="47" y="47"/>
                  </a:lnTo>
                  <a:lnTo>
                    <a:pt x="19" y="47"/>
                  </a:lnTo>
                  <a:lnTo>
                    <a:pt x="19" y="76"/>
                  </a:lnTo>
                  <a:lnTo>
                    <a:pt x="0" y="76"/>
                  </a:lnTo>
                  <a:lnTo>
                    <a:pt x="0" y="52"/>
                  </a:ln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6" name="Group 25">
            <a:extLst>
              <a:ext uri="{FF2B5EF4-FFF2-40B4-BE49-F238E27FC236}">
                <a16:creationId xmlns:a16="http://schemas.microsoft.com/office/drawing/2014/main" id="{02195EE9-FFC7-4F0D-9028-AAD2BD591FD9}"/>
              </a:ext>
            </a:extLst>
          </p:cNvPr>
          <p:cNvGrpSpPr/>
          <p:nvPr/>
        </p:nvGrpSpPr>
        <p:grpSpPr>
          <a:xfrm>
            <a:off x="2746716" y="2388192"/>
            <a:ext cx="223757" cy="223757"/>
            <a:chOff x="2670175" y="3609975"/>
            <a:chExt cx="360363" cy="360363"/>
          </a:xfrm>
          <a:solidFill>
            <a:schemeClr val="bg1"/>
          </a:solidFill>
        </p:grpSpPr>
        <p:sp>
          <p:nvSpPr>
            <p:cNvPr id="27" name="Freeform 1403">
              <a:extLst>
                <a:ext uri="{FF2B5EF4-FFF2-40B4-BE49-F238E27FC236}">
                  <a16:creationId xmlns:a16="http://schemas.microsoft.com/office/drawing/2014/main" id="{5C59D71C-6799-4A94-827A-FC5395E0DD96}"/>
                </a:ext>
              </a:extLst>
            </p:cNvPr>
            <p:cNvSpPr>
              <a:spLocks noEditPoints="1"/>
            </p:cNvSpPr>
            <p:nvPr/>
          </p:nvSpPr>
          <p:spPr bwMode="auto">
            <a:xfrm>
              <a:off x="2670175" y="3654425"/>
              <a:ext cx="315913" cy="315913"/>
            </a:xfrm>
            <a:custGeom>
              <a:avLst/>
              <a:gdLst>
                <a:gd name="T0" fmla="*/ 42 w 84"/>
                <a:gd name="T1" fmla="*/ 84 h 84"/>
                <a:gd name="T2" fmla="*/ 0 w 84"/>
                <a:gd name="T3" fmla="*/ 42 h 84"/>
                <a:gd name="T4" fmla="*/ 42 w 84"/>
                <a:gd name="T5" fmla="*/ 0 h 84"/>
                <a:gd name="T6" fmla="*/ 44 w 84"/>
                <a:gd name="T7" fmla="*/ 2 h 84"/>
                <a:gd name="T8" fmla="*/ 44 w 84"/>
                <a:gd name="T9" fmla="*/ 40 h 84"/>
                <a:gd name="T10" fmla="*/ 82 w 84"/>
                <a:gd name="T11" fmla="*/ 40 h 84"/>
                <a:gd name="T12" fmla="*/ 84 w 84"/>
                <a:gd name="T13" fmla="*/ 42 h 84"/>
                <a:gd name="T14" fmla="*/ 42 w 84"/>
                <a:gd name="T15" fmla="*/ 84 h 84"/>
                <a:gd name="T16" fmla="*/ 40 w 84"/>
                <a:gd name="T17" fmla="*/ 4 h 84"/>
                <a:gd name="T18" fmla="*/ 4 w 84"/>
                <a:gd name="T19" fmla="*/ 42 h 84"/>
                <a:gd name="T20" fmla="*/ 42 w 84"/>
                <a:gd name="T21" fmla="*/ 80 h 84"/>
                <a:gd name="T22" fmla="*/ 80 w 84"/>
                <a:gd name="T23" fmla="*/ 44 h 84"/>
                <a:gd name="T24" fmla="*/ 42 w 84"/>
                <a:gd name="T25" fmla="*/ 44 h 84"/>
                <a:gd name="T26" fmla="*/ 40 w 84"/>
                <a:gd name="T27" fmla="*/ 42 h 84"/>
                <a:gd name="T28" fmla="*/ 40 w 84"/>
                <a:gd name="T29" fmla="*/ 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84">
                  <a:moveTo>
                    <a:pt x="42" y="84"/>
                  </a:moveTo>
                  <a:cubicBezTo>
                    <a:pt x="19" y="84"/>
                    <a:pt x="0" y="65"/>
                    <a:pt x="0" y="42"/>
                  </a:cubicBezTo>
                  <a:cubicBezTo>
                    <a:pt x="0" y="19"/>
                    <a:pt x="19" y="0"/>
                    <a:pt x="42" y="0"/>
                  </a:cubicBezTo>
                  <a:cubicBezTo>
                    <a:pt x="43" y="0"/>
                    <a:pt x="44" y="1"/>
                    <a:pt x="44" y="2"/>
                  </a:cubicBezTo>
                  <a:cubicBezTo>
                    <a:pt x="44" y="40"/>
                    <a:pt x="44" y="40"/>
                    <a:pt x="44" y="40"/>
                  </a:cubicBezTo>
                  <a:cubicBezTo>
                    <a:pt x="82" y="40"/>
                    <a:pt x="82" y="40"/>
                    <a:pt x="82" y="40"/>
                  </a:cubicBezTo>
                  <a:cubicBezTo>
                    <a:pt x="83" y="40"/>
                    <a:pt x="84" y="41"/>
                    <a:pt x="84" y="42"/>
                  </a:cubicBezTo>
                  <a:cubicBezTo>
                    <a:pt x="84" y="65"/>
                    <a:pt x="65" y="84"/>
                    <a:pt x="42" y="84"/>
                  </a:cubicBezTo>
                  <a:close/>
                  <a:moveTo>
                    <a:pt x="40" y="4"/>
                  </a:moveTo>
                  <a:cubicBezTo>
                    <a:pt x="20" y="5"/>
                    <a:pt x="4" y="22"/>
                    <a:pt x="4" y="42"/>
                  </a:cubicBezTo>
                  <a:cubicBezTo>
                    <a:pt x="4" y="63"/>
                    <a:pt x="21" y="80"/>
                    <a:pt x="42" y="80"/>
                  </a:cubicBezTo>
                  <a:cubicBezTo>
                    <a:pt x="62" y="80"/>
                    <a:pt x="79" y="64"/>
                    <a:pt x="80" y="44"/>
                  </a:cubicBezTo>
                  <a:cubicBezTo>
                    <a:pt x="42" y="44"/>
                    <a:pt x="42" y="44"/>
                    <a:pt x="42" y="44"/>
                  </a:cubicBezTo>
                  <a:cubicBezTo>
                    <a:pt x="41" y="44"/>
                    <a:pt x="40" y="43"/>
                    <a:pt x="40" y="42"/>
                  </a:cubicBezTo>
                  <a:lnTo>
                    <a:pt x="40" y="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8" name="Freeform 1404">
              <a:extLst>
                <a:ext uri="{FF2B5EF4-FFF2-40B4-BE49-F238E27FC236}">
                  <a16:creationId xmlns:a16="http://schemas.microsoft.com/office/drawing/2014/main" id="{8491FAB4-A4D1-450E-994F-CE6E107586C5}"/>
                </a:ext>
              </a:extLst>
            </p:cNvPr>
            <p:cNvSpPr>
              <a:spLocks noEditPoints="1"/>
            </p:cNvSpPr>
            <p:nvPr/>
          </p:nvSpPr>
          <p:spPr bwMode="auto">
            <a:xfrm>
              <a:off x="2865438" y="3609975"/>
              <a:ext cx="165100" cy="165100"/>
            </a:xfrm>
            <a:custGeom>
              <a:avLst/>
              <a:gdLst>
                <a:gd name="T0" fmla="*/ 42 w 44"/>
                <a:gd name="T1" fmla="*/ 44 h 44"/>
                <a:gd name="T2" fmla="*/ 2 w 44"/>
                <a:gd name="T3" fmla="*/ 44 h 44"/>
                <a:gd name="T4" fmla="*/ 0 w 44"/>
                <a:gd name="T5" fmla="*/ 42 h 44"/>
                <a:gd name="T6" fmla="*/ 0 w 44"/>
                <a:gd name="T7" fmla="*/ 2 h 44"/>
                <a:gd name="T8" fmla="*/ 2 w 44"/>
                <a:gd name="T9" fmla="*/ 0 h 44"/>
                <a:gd name="T10" fmla="*/ 44 w 44"/>
                <a:gd name="T11" fmla="*/ 42 h 44"/>
                <a:gd name="T12" fmla="*/ 42 w 44"/>
                <a:gd name="T13" fmla="*/ 44 h 44"/>
                <a:gd name="T14" fmla="*/ 4 w 44"/>
                <a:gd name="T15" fmla="*/ 40 h 44"/>
                <a:gd name="T16" fmla="*/ 40 w 44"/>
                <a:gd name="T17" fmla="*/ 40 h 44"/>
                <a:gd name="T18" fmla="*/ 4 w 44"/>
                <a:gd name="T19" fmla="*/ 4 h 44"/>
                <a:gd name="T20" fmla="*/ 4 w 44"/>
                <a:gd name="T21"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42" y="44"/>
                  </a:moveTo>
                  <a:cubicBezTo>
                    <a:pt x="2" y="44"/>
                    <a:pt x="2" y="44"/>
                    <a:pt x="2" y="44"/>
                  </a:cubicBezTo>
                  <a:cubicBezTo>
                    <a:pt x="1" y="44"/>
                    <a:pt x="0" y="43"/>
                    <a:pt x="0" y="42"/>
                  </a:cubicBezTo>
                  <a:cubicBezTo>
                    <a:pt x="0" y="2"/>
                    <a:pt x="0" y="2"/>
                    <a:pt x="0" y="2"/>
                  </a:cubicBezTo>
                  <a:cubicBezTo>
                    <a:pt x="0" y="1"/>
                    <a:pt x="1" y="0"/>
                    <a:pt x="2" y="0"/>
                  </a:cubicBezTo>
                  <a:cubicBezTo>
                    <a:pt x="25" y="0"/>
                    <a:pt x="44" y="19"/>
                    <a:pt x="44" y="42"/>
                  </a:cubicBezTo>
                  <a:cubicBezTo>
                    <a:pt x="44" y="43"/>
                    <a:pt x="43" y="44"/>
                    <a:pt x="42" y="44"/>
                  </a:cubicBezTo>
                  <a:close/>
                  <a:moveTo>
                    <a:pt x="4" y="40"/>
                  </a:moveTo>
                  <a:cubicBezTo>
                    <a:pt x="40" y="40"/>
                    <a:pt x="40" y="40"/>
                    <a:pt x="40" y="40"/>
                  </a:cubicBezTo>
                  <a:cubicBezTo>
                    <a:pt x="39" y="21"/>
                    <a:pt x="23" y="5"/>
                    <a:pt x="4" y="4"/>
                  </a:cubicBezTo>
                  <a:lnTo>
                    <a:pt x="4" y="4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29" name="Group 28">
            <a:extLst>
              <a:ext uri="{FF2B5EF4-FFF2-40B4-BE49-F238E27FC236}">
                <a16:creationId xmlns:a16="http://schemas.microsoft.com/office/drawing/2014/main" id="{9095D483-790C-4235-A8FA-73B0FFD10257}"/>
              </a:ext>
            </a:extLst>
          </p:cNvPr>
          <p:cNvGrpSpPr/>
          <p:nvPr/>
        </p:nvGrpSpPr>
        <p:grpSpPr>
          <a:xfrm>
            <a:off x="4461645" y="2390656"/>
            <a:ext cx="223757" cy="218828"/>
            <a:chOff x="2670175" y="4338638"/>
            <a:chExt cx="360363" cy="352425"/>
          </a:xfrm>
          <a:solidFill>
            <a:schemeClr val="bg1"/>
          </a:solidFill>
        </p:grpSpPr>
        <p:sp>
          <p:nvSpPr>
            <p:cNvPr id="30" name="Freeform 1221">
              <a:extLst>
                <a:ext uri="{FF2B5EF4-FFF2-40B4-BE49-F238E27FC236}">
                  <a16:creationId xmlns:a16="http://schemas.microsoft.com/office/drawing/2014/main" id="{86A4F85E-E717-47B0-B21F-B5E20A1323B4}"/>
                </a:ext>
              </a:extLst>
            </p:cNvPr>
            <p:cNvSpPr>
              <a:spLocks/>
            </p:cNvSpPr>
            <p:nvPr/>
          </p:nvSpPr>
          <p:spPr bwMode="auto">
            <a:xfrm>
              <a:off x="2670175" y="4676775"/>
              <a:ext cx="360363" cy="14288"/>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1" name="Freeform 1222">
              <a:extLst>
                <a:ext uri="{FF2B5EF4-FFF2-40B4-BE49-F238E27FC236}">
                  <a16:creationId xmlns:a16="http://schemas.microsoft.com/office/drawing/2014/main" id="{2F254FA8-9317-40CE-9FD5-BEE3F922F336}"/>
                </a:ext>
              </a:extLst>
            </p:cNvPr>
            <p:cNvSpPr>
              <a:spLocks noEditPoints="1"/>
            </p:cNvSpPr>
            <p:nvPr/>
          </p:nvSpPr>
          <p:spPr bwMode="auto">
            <a:xfrm>
              <a:off x="2686050" y="4630738"/>
              <a:ext cx="58738" cy="60325"/>
            </a:xfrm>
            <a:custGeom>
              <a:avLst/>
              <a:gdLst>
                <a:gd name="T0" fmla="*/ 14 w 16"/>
                <a:gd name="T1" fmla="*/ 16 h 16"/>
                <a:gd name="T2" fmla="*/ 2 w 16"/>
                <a:gd name="T3" fmla="*/ 16 h 16"/>
                <a:gd name="T4" fmla="*/ 0 w 16"/>
                <a:gd name="T5" fmla="*/ 14 h 16"/>
                <a:gd name="T6" fmla="*/ 0 w 16"/>
                <a:gd name="T7" fmla="*/ 2 h 16"/>
                <a:gd name="T8" fmla="*/ 2 w 16"/>
                <a:gd name="T9" fmla="*/ 0 h 16"/>
                <a:gd name="T10" fmla="*/ 14 w 16"/>
                <a:gd name="T11" fmla="*/ 0 h 16"/>
                <a:gd name="T12" fmla="*/ 16 w 16"/>
                <a:gd name="T13" fmla="*/ 2 h 16"/>
                <a:gd name="T14" fmla="*/ 16 w 16"/>
                <a:gd name="T15" fmla="*/ 14 h 16"/>
                <a:gd name="T16" fmla="*/ 14 w 16"/>
                <a:gd name="T17" fmla="*/ 16 h 16"/>
                <a:gd name="T18" fmla="*/ 4 w 16"/>
                <a:gd name="T19" fmla="*/ 12 h 16"/>
                <a:gd name="T20" fmla="*/ 12 w 16"/>
                <a:gd name="T21" fmla="*/ 12 h 16"/>
                <a:gd name="T22" fmla="*/ 12 w 16"/>
                <a:gd name="T23" fmla="*/ 4 h 16"/>
                <a:gd name="T24" fmla="*/ 4 w 16"/>
                <a:gd name="T25" fmla="*/ 4 h 16"/>
                <a:gd name="T26" fmla="*/ 4 w 16"/>
                <a:gd name="T27"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6">
                  <a:moveTo>
                    <a:pt x="14" y="16"/>
                  </a:moveTo>
                  <a:cubicBezTo>
                    <a:pt x="2" y="16"/>
                    <a:pt x="2" y="16"/>
                    <a:pt x="2" y="16"/>
                  </a:cubicBezTo>
                  <a:cubicBezTo>
                    <a:pt x="1" y="16"/>
                    <a:pt x="0" y="15"/>
                    <a:pt x="0" y="14"/>
                  </a:cubicBezTo>
                  <a:cubicBezTo>
                    <a:pt x="0" y="2"/>
                    <a:pt x="0" y="2"/>
                    <a:pt x="0" y="2"/>
                  </a:cubicBezTo>
                  <a:cubicBezTo>
                    <a:pt x="0" y="1"/>
                    <a:pt x="1" y="0"/>
                    <a:pt x="2" y="0"/>
                  </a:cubicBezTo>
                  <a:cubicBezTo>
                    <a:pt x="14" y="0"/>
                    <a:pt x="14" y="0"/>
                    <a:pt x="14" y="0"/>
                  </a:cubicBezTo>
                  <a:cubicBezTo>
                    <a:pt x="15" y="0"/>
                    <a:pt x="16" y="1"/>
                    <a:pt x="16" y="2"/>
                  </a:cubicBezTo>
                  <a:cubicBezTo>
                    <a:pt x="16" y="14"/>
                    <a:pt x="16" y="14"/>
                    <a:pt x="16" y="14"/>
                  </a:cubicBezTo>
                  <a:cubicBezTo>
                    <a:pt x="16" y="15"/>
                    <a:pt x="15" y="16"/>
                    <a:pt x="14" y="16"/>
                  </a:cubicBezTo>
                  <a:close/>
                  <a:moveTo>
                    <a:pt x="4" y="12"/>
                  </a:moveTo>
                  <a:cubicBezTo>
                    <a:pt x="12" y="12"/>
                    <a:pt x="12" y="12"/>
                    <a:pt x="12" y="12"/>
                  </a:cubicBezTo>
                  <a:cubicBezTo>
                    <a:pt x="12" y="4"/>
                    <a:pt x="12" y="4"/>
                    <a:pt x="12" y="4"/>
                  </a:cubicBezTo>
                  <a:cubicBezTo>
                    <a:pt x="4" y="4"/>
                    <a:pt x="4" y="4"/>
                    <a:pt x="4" y="4"/>
                  </a:cubicBezTo>
                  <a:lnTo>
                    <a:pt x="4" y="12"/>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2" name="Freeform 1223">
              <a:extLst>
                <a:ext uri="{FF2B5EF4-FFF2-40B4-BE49-F238E27FC236}">
                  <a16:creationId xmlns:a16="http://schemas.microsoft.com/office/drawing/2014/main" id="{70E4B00B-31B1-43AB-B2CF-2A94B0D29247}"/>
                </a:ext>
              </a:extLst>
            </p:cNvPr>
            <p:cNvSpPr>
              <a:spLocks noEditPoints="1"/>
            </p:cNvSpPr>
            <p:nvPr/>
          </p:nvSpPr>
          <p:spPr bwMode="auto">
            <a:xfrm>
              <a:off x="2774950" y="4572000"/>
              <a:ext cx="60325" cy="119063"/>
            </a:xfrm>
            <a:custGeom>
              <a:avLst/>
              <a:gdLst>
                <a:gd name="T0" fmla="*/ 14 w 16"/>
                <a:gd name="T1" fmla="*/ 32 h 32"/>
                <a:gd name="T2" fmla="*/ 2 w 16"/>
                <a:gd name="T3" fmla="*/ 32 h 32"/>
                <a:gd name="T4" fmla="*/ 0 w 16"/>
                <a:gd name="T5" fmla="*/ 30 h 32"/>
                <a:gd name="T6" fmla="*/ 0 w 16"/>
                <a:gd name="T7" fmla="*/ 2 h 32"/>
                <a:gd name="T8" fmla="*/ 2 w 16"/>
                <a:gd name="T9" fmla="*/ 0 h 32"/>
                <a:gd name="T10" fmla="*/ 14 w 16"/>
                <a:gd name="T11" fmla="*/ 0 h 32"/>
                <a:gd name="T12" fmla="*/ 16 w 16"/>
                <a:gd name="T13" fmla="*/ 2 h 32"/>
                <a:gd name="T14" fmla="*/ 16 w 16"/>
                <a:gd name="T15" fmla="*/ 30 h 32"/>
                <a:gd name="T16" fmla="*/ 14 w 16"/>
                <a:gd name="T17" fmla="*/ 32 h 32"/>
                <a:gd name="T18" fmla="*/ 4 w 16"/>
                <a:gd name="T19" fmla="*/ 28 h 32"/>
                <a:gd name="T20" fmla="*/ 12 w 16"/>
                <a:gd name="T21" fmla="*/ 28 h 32"/>
                <a:gd name="T22" fmla="*/ 12 w 16"/>
                <a:gd name="T23" fmla="*/ 4 h 32"/>
                <a:gd name="T24" fmla="*/ 4 w 16"/>
                <a:gd name="T25" fmla="*/ 4 h 32"/>
                <a:gd name="T26" fmla="*/ 4 w 16"/>
                <a:gd name="T2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2">
                  <a:moveTo>
                    <a:pt x="14" y="32"/>
                  </a:moveTo>
                  <a:cubicBezTo>
                    <a:pt x="2" y="32"/>
                    <a:pt x="2" y="32"/>
                    <a:pt x="2" y="32"/>
                  </a:cubicBezTo>
                  <a:cubicBezTo>
                    <a:pt x="1" y="32"/>
                    <a:pt x="0" y="31"/>
                    <a:pt x="0" y="30"/>
                  </a:cubicBezTo>
                  <a:cubicBezTo>
                    <a:pt x="0" y="2"/>
                    <a:pt x="0" y="2"/>
                    <a:pt x="0" y="2"/>
                  </a:cubicBezTo>
                  <a:cubicBezTo>
                    <a:pt x="0" y="1"/>
                    <a:pt x="1" y="0"/>
                    <a:pt x="2" y="0"/>
                  </a:cubicBezTo>
                  <a:cubicBezTo>
                    <a:pt x="14" y="0"/>
                    <a:pt x="14" y="0"/>
                    <a:pt x="14" y="0"/>
                  </a:cubicBezTo>
                  <a:cubicBezTo>
                    <a:pt x="15" y="0"/>
                    <a:pt x="16" y="1"/>
                    <a:pt x="16" y="2"/>
                  </a:cubicBezTo>
                  <a:cubicBezTo>
                    <a:pt x="16" y="30"/>
                    <a:pt x="16" y="30"/>
                    <a:pt x="16" y="30"/>
                  </a:cubicBezTo>
                  <a:cubicBezTo>
                    <a:pt x="16" y="31"/>
                    <a:pt x="15" y="32"/>
                    <a:pt x="14" y="32"/>
                  </a:cubicBezTo>
                  <a:close/>
                  <a:moveTo>
                    <a:pt x="4" y="28"/>
                  </a:moveTo>
                  <a:cubicBezTo>
                    <a:pt x="12" y="28"/>
                    <a:pt x="12" y="28"/>
                    <a:pt x="12" y="28"/>
                  </a:cubicBezTo>
                  <a:cubicBezTo>
                    <a:pt x="12" y="4"/>
                    <a:pt x="12" y="4"/>
                    <a:pt x="12" y="4"/>
                  </a:cubicBezTo>
                  <a:cubicBezTo>
                    <a:pt x="4" y="4"/>
                    <a:pt x="4" y="4"/>
                    <a:pt x="4" y="4"/>
                  </a:cubicBezTo>
                  <a:lnTo>
                    <a:pt x="4" y="28"/>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3" name="Freeform 1224">
              <a:extLst>
                <a:ext uri="{FF2B5EF4-FFF2-40B4-BE49-F238E27FC236}">
                  <a16:creationId xmlns:a16="http://schemas.microsoft.com/office/drawing/2014/main" id="{357C409A-0757-433D-BD8C-D5233FCF5E71}"/>
                </a:ext>
              </a:extLst>
            </p:cNvPr>
            <p:cNvSpPr>
              <a:spLocks noEditPoints="1"/>
            </p:cNvSpPr>
            <p:nvPr/>
          </p:nvSpPr>
          <p:spPr bwMode="auto">
            <a:xfrm>
              <a:off x="2865438" y="4511675"/>
              <a:ext cx="60325" cy="179388"/>
            </a:xfrm>
            <a:custGeom>
              <a:avLst/>
              <a:gdLst>
                <a:gd name="T0" fmla="*/ 14 w 16"/>
                <a:gd name="T1" fmla="*/ 48 h 48"/>
                <a:gd name="T2" fmla="*/ 2 w 16"/>
                <a:gd name="T3" fmla="*/ 48 h 48"/>
                <a:gd name="T4" fmla="*/ 0 w 16"/>
                <a:gd name="T5" fmla="*/ 46 h 48"/>
                <a:gd name="T6" fmla="*/ 0 w 16"/>
                <a:gd name="T7" fmla="*/ 2 h 48"/>
                <a:gd name="T8" fmla="*/ 2 w 16"/>
                <a:gd name="T9" fmla="*/ 0 h 48"/>
                <a:gd name="T10" fmla="*/ 14 w 16"/>
                <a:gd name="T11" fmla="*/ 0 h 48"/>
                <a:gd name="T12" fmla="*/ 16 w 16"/>
                <a:gd name="T13" fmla="*/ 2 h 48"/>
                <a:gd name="T14" fmla="*/ 16 w 16"/>
                <a:gd name="T15" fmla="*/ 46 h 48"/>
                <a:gd name="T16" fmla="*/ 14 w 16"/>
                <a:gd name="T17" fmla="*/ 48 h 48"/>
                <a:gd name="T18" fmla="*/ 4 w 16"/>
                <a:gd name="T19" fmla="*/ 44 h 48"/>
                <a:gd name="T20" fmla="*/ 12 w 16"/>
                <a:gd name="T21" fmla="*/ 44 h 48"/>
                <a:gd name="T22" fmla="*/ 12 w 16"/>
                <a:gd name="T23" fmla="*/ 4 h 48"/>
                <a:gd name="T24" fmla="*/ 4 w 16"/>
                <a:gd name="T25" fmla="*/ 4 h 48"/>
                <a:gd name="T26" fmla="*/ 4 w 16"/>
                <a:gd name="T27"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8">
                  <a:moveTo>
                    <a:pt x="14" y="48"/>
                  </a:moveTo>
                  <a:cubicBezTo>
                    <a:pt x="2" y="48"/>
                    <a:pt x="2" y="48"/>
                    <a:pt x="2" y="48"/>
                  </a:cubicBezTo>
                  <a:cubicBezTo>
                    <a:pt x="1" y="48"/>
                    <a:pt x="0" y="47"/>
                    <a:pt x="0" y="46"/>
                  </a:cubicBezTo>
                  <a:cubicBezTo>
                    <a:pt x="0" y="2"/>
                    <a:pt x="0" y="2"/>
                    <a:pt x="0" y="2"/>
                  </a:cubicBezTo>
                  <a:cubicBezTo>
                    <a:pt x="0" y="1"/>
                    <a:pt x="1" y="0"/>
                    <a:pt x="2" y="0"/>
                  </a:cubicBezTo>
                  <a:cubicBezTo>
                    <a:pt x="14" y="0"/>
                    <a:pt x="14" y="0"/>
                    <a:pt x="14" y="0"/>
                  </a:cubicBezTo>
                  <a:cubicBezTo>
                    <a:pt x="15" y="0"/>
                    <a:pt x="16" y="1"/>
                    <a:pt x="16" y="2"/>
                  </a:cubicBezTo>
                  <a:cubicBezTo>
                    <a:pt x="16" y="46"/>
                    <a:pt x="16" y="46"/>
                    <a:pt x="16" y="46"/>
                  </a:cubicBezTo>
                  <a:cubicBezTo>
                    <a:pt x="16" y="47"/>
                    <a:pt x="15" y="48"/>
                    <a:pt x="14" y="48"/>
                  </a:cubicBezTo>
                  <a:close/>
                  <a:moveTo>
                    <a:pt x="4" y="44"/>
                  </a:moveTo>
                  <a:cubicBezTo>
                    <a:pt x="12" y="44"/>
                    <a:pt x="12" y="44"/>
                    <a:pt x="12" y="44"/>
                  </a:cubicBezTo>
                  <a:cubicBezTo>
                    <a:pt x="12" y="4"/>
                    <a:pt x="12" y="4"/>
                    <a:pt x="12" y="4"/>
                  </a:cubicBezTo>
                  <a:cubicBezTo>
                    <a:pt x="4" y="4"/>
                    <a:pt x="4" y="4"/>
                    <a:pt x="4" y="4"/>
                  </a:cubicBezTo>
                  <a:lnTo>
                    <a:pt x="4" y="44"/>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Freeform 1225">
              <a:extLst>
                <a:ext uri="{FF2B5EF4-FFF2-40B4-BE49-F238E27FC236}">
                  <a16:creationId xmlns:a16="http://schemas.microsoft.com/office/drawing/2014/main" id="{E3868A2C-B2B6-45D4-A976-F1E6308EAA7E}"/>
                </a:ext>
              </a:extLst>
            </p:cNvPr>
            <p:cNvSpPr>
              <a:spLocks noEditPoints="1"/>
            </p:cNvSpPr>
            <p:nvPr/>
          </p:nvSpPr>
          <p:spPr bwMode="auto">
            <a:xfrm>
              <a:off x="2955925" y="4451350"/>
              <a:ext cx="60325" cy="239713"/>
            </a:xfrm>
            <a:custGeom>
              <a:avLst/>
              <a:gdLst>
                <a:gd name="T0" fmla="*/ 14 w 16"/>
                <a:gd name="T1" fmla="*/ 64 h 64"/>
                <a:gd name="T2" fmla="*/ 2 w 16"/>
                <a:gd name="T3" fmla="*/ 64 h 64"/>
                <a:gd name="T4" fmla="*/ 0 w 16"/>
                <a:gd name="T5" fmla="*/ 62 h 64"/>
                <a:gd name="T6" fmla="*/ 0 w 16"/>
                <a:gd name="T7" fmla="*/ 2 h 64"/>
                <a:gd name="T8" fmla="*/ 2 w 16"/>
                <a:gd name="T9" fmla="*/ 0 h 64"/>
                <a:gd name="T10" fmla="*/ 14 w 16"/>
                <a:gd name="T11" fmla="*/ 0 h 64"/>
                <a:gd name="T12" fmla="*/ 16 w 16"/>
                <a:gd name="T13" fmla="*/ 2 h 64"/>
                <a:gd name="T14" fmla="*/ 16 w 16"/>
                <a:gd name="T15" fmla="*/ 62 h 64"/>
                <a:gd name="T16" fmla="*/ 14 w 16"/>
                <a:gd name="T17" fmla="*/ 64 h 64"/>
                <a:gd name="T18" fmla="*/ 4 w 16"/>
                <a:gd name="T19" fmla="*/ 60 h 64"/>
                <a:gd name="T20" fmla="*/ 12 w 16"/>
                <a:gd name="T21" fmla="*/ 60 h 64"/>
                <a:gd name="T22" fmla="*/ 12 w 16"/>
                <a:gd name="T23" fmla="*/ 4 h 64"/>
                <a:gd name="T24" fmla="*/ 4 w 16"/>
                <a:gd name="T25" fmla="*/ 4 h 64"/>
                <a:gd name="T26" fmla="*/ 4 w 16"/>
                <a:gd name="T2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64">
                  <a:moveTo>
                    <a:pt x="14" y="64"/>
                  </a:moveTo>
                  <a:cubicBezTo>
                    <a:pt x="2" y="64"/>
                    <a:pt x="2" y="64"/>
                    <a:pt x="2" y="64"/>
                  </a:cubicBezTo>
                  <a:cubicBezTo>
                    <a:pt x="1" y="64"/>
                    <a:pt x="0" y="63"/>
                    <a:pt x="0" y="62"/>
                  </a:cubicBezTo>
                  <a:cubicBezTo>
                    <a:pt x="0" y="2"/>
                    <a:pt x="0" y="2"/>
                    <a:pt x="0" y="2"/>
                  </a:cubicBezTo>
                  <a:cubicBezTo>
                    <a:pt x="0" y="1"/>
                    <a:pt x="1" y="0"/>
                    <a:pt x="2" y="0"/>
                  </a:cubicBezTo>
                  <a:cubicBezTo>
                    <a:pt x="14" y="0"/>
                    <a:pt x="14" y="0"/>
                    <a:pt x="14" y="0"/>
                  </a:cubicBezTo>
                  <a:cubicBezTo>
                    <a:pt x="15" y="0"/>
                    <a:pt x="16" y="1"/>
                    <a:pt x="16" y="2"/>
                  </a:cubicBezTo>
                  <a:cubicBezTo>
                    <a:pt x="16" y="62"/>
                    <a:pt x="16" y="62"/>
                    <a:pt x="16" y="62"/>
                  </a:cubicBezTo>
                  <a:cubicBezTo>
                    <a:pt x="16" y="63"/>
                    <a:pt x="15" y="64"/>
                    <a:pt x="14" y="64"/>
                  </a:cubicBezTo>
                  <a:close/>
                  <a:moveTo>
                    <a:pt x="4" y="60"/>
                  </a:moveTo>
                  <a:cubicBezTo>
                    <a:pt x="12" y="60"/>
                    <a:pt x="12" y="60"/>
                    <a:pt x="12" y="60"/>
                  </a:cubicBezTo>
                  <a:cubicBezTo>
                    <a:pt x="12" y="4"/>
                    <a:pt x="12" y="4"/>
                    <a:pt x="12" y="4"/>
                  </a:cubicBezTo>
                  <a:cubicBezTo>
                    <a:pt x="4" y="4"/>
                    <a:pt x="4" y="4"/>
                    <a:pt x="4" y="4"/>
                  </a:cubicBezTo>
                  <a:lnTo>
                    <a:pt x="4" y="60"/>
                  </a:ln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Freeform 1226">
              <a:extLst>
                <a:ext uri="{FF2B5EF4-FFF2-40B4-BE49-F238E27FC236}">
                  <a16:creationId xmlns:a16="http://schemas.microsoft.com/office/drawing/2014/main" id="{8EC8DF57-F9DB-483E-93C4-63507859DFED}"/>
                </a:ext>
              </a:extLst>
            </p:cNvPr>
            <p:cNvSpPr>
              <a:spLocks/>
            </p:cNvSpPr>
            <p:nvPr/>
          </p:nvSpPr>
          <p:spPr bwMode="auto">
            <a:xfrm>
              <a:off x="2708275" y="4346575"/>
              <a:ext cx="285750" cy="195263"/>
            </a:xfrm>
            <a:custGeom>
              <a:avLst/>
              <a:gdLst>
                <a:gd name="T0" fmla="*/ 2 w 76"/>
                <a:gd name="T1" fmla="*/ 52 h 52"/>
                <a:gd name="T2" fmla="*/ 0 w 76"/>
                <a:gd name="T3" fmla="*/ 51 h 52"/>
                <a:gd name="T4" fmla="*/ 1 w 76"/>
                <a:gd name="T5" fmla="*/ 48 h 52"/>
                <a:gd name="T6" fmla="*/ 73 w 76"/>
                <a:gd name="T7" fmla="*/ 0 h 52"/>
                <a:gd name="T8" fmla="*/ 76 w 76"/>
                <a:gd name="T9" fmla="*/ 1 h 52"/>
                <a:gd name="T10" fmla="*/ 75 w 76"/>
                <a:gd name="T11" fmla="*/ 4 h 52"/>
                <a:gd name="T12" fmla="*/ 3 w 76"/>
                <a:gd name="T13" fmla="*/ 52 h 52"/>
                <a:gd name="T14" fmla="*/ 2 w 76"/>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52">
                  <a:moveTo>
                    <a:pt x="2" y="52"/>
                  </a:moveTo>
                  <a:cubicBezTo>
                    <a:pt x="1" y="52"/>
                    <a:pt x="1" y="52"/>
                    <a:pt x="0" y="51"/>
                  </a:cubicBezTo>
                  <a:cubicBezTo>
                    <a:pt x="0" y="50"/>
                    <a:pt x="0" y="49"/>
                    <a:pt x="1" y="48"/>
                  </a:cubicBezTo>
                  <a:cubicBezTo>
                    <a:pt x="73" y="0"/>
                    <a:pt x="73" y="0"/>
                    <a:pt x="73" y="0"/>
                  </a:cubicBezTo>
                  <a:cubicBezTo>
                    <a:pt x="74" y="0"/>
                    <a:pt x="75" y="0"/>
                    <a:pt x="76" y="1"/>
                  </a:cubicBezTo>
                  <a:cubicBezTo>
                    <a:pt x="76" y="2"/>
                    <a:pt x="76" y="3"/>
                    <a:pt x="75" y="4"/>
                  </a:cubicBezTo>
                  <a:cubicBezTo>
                    <a:pt x="3" y="52"/>
                    <a:pt x="3" y="52"/>
                    <a:pt x="3" y="52"/>
                  </a:cubicBezTo>
                  <a:cubicBezTo>
                    <a:pt x="3" y="52"/>
                    <a:pt x="2" y="52"/>
                    <a:pt x="2" y="52"/>
                  </a:cubicBez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Freeform 1227">
              <a:extLst>
                <a:ext uri="{FF2B5EF4-FFF2-40B4-BE49-F238E27FC236}">
                  <a16:creationId xmlns:a16="http://schemas.microsoft.com/office/drawing/2014/main" id="{BCB30C73-5F1C-4D75-B402-54819C9D185B}"/>
                </a:ext>
              </a:extLst>
            </p:cNvPr>
            <p:cNvSpPr>
              <a:spLocks/>
            </p:cNvSpPr>
            <p:nvPr/>
          </p:nvSpPr>
          <p:spPr bwMode="auto">
            <a:xfrm>
              <a:off x="2917825" y="4338638"/>
              <a:ext cx="76200" cy="82550"/>
            </a:xfrm>
            <a:custGeom>
              <a:avLst/>
              <a:gdLst>
                <a:gd name="T0" fmla="*/ 16 w 20"/>
                <a:gd name="T1" fmla="*/ 22 h 22"/>
                <a:gd name="T2" fmla="*/ 16 w 20"/>
                <a:gd name="T3" fmla="*/ 22 h 22"/>
                <a:gd name="T4" fmla="*/ 14 w 20"/>
                <a:gd name="T5" fmla="*/ 20 h 22"/>
                <a:gd name="T6" fmla="*/ 16 w 20"/>
                <a:gd name="T7" fmla="*/ 6 h 22"/>
                <a:gd name="T8" fmla="*/ 2 w 20"/>
                <a:gd name="T9" fmla="*/ 4 h 22"/>
                <a:gd name="T10" fmla="*/ 0 w 20"/>
                <a:gd name="T11" fmla="*/ 2 h 22"/>
                <a:gd name="T12" fmla="*/ 2 w 20"/>
                <a:gd name="T13" fmla="*/ 0 h 22"/>
                <a:gd name="T14" fmla="*/ 18 w 20"/>
                <a:gd name="T15" fmla="*/ 2 h 22"/>
                <a:gd name="T16" fmla="*/ 20 w 20"/>
                <a:gd name="T17" fmla="*/ 3 h 22"/>
                <a:gd name="T18" fmla="*/ 20 w 20"/>
                <a:gd name="T19" fmla="*/ 4 h 22"/>
                <a:gd name="T20" fmla="*/ 18 w 20"/>
                <a:gd name="T21" fmla="*/ 20 h 22"/>
                <a:gd name="T22" fmla="*/ 16 w 20"/>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2">
                  <a:moveTo>
                    <a:pt x="16" y="22"/>
                  </a:moveTo>
                  <a:cubicBezTo>
                    <a:pt x="16" y="22"/>
                    <a:pt x="16" y="22"/>
                    <a:pt x="16" y="22"/>
                  </a:cubicBezTo>
                  <a:cubicBezTo>
                    <a:pt x="15" y="22"/>
                    <a:pt x="14" y="21"/>
                    <a:pt x="14" y="20"/>
                  </a:cubicBezTo>
                  <a:cubicBezTo>
                    <a:pt x="16" y="6"/>
                    <a:pt x="16" y="6"/>
                    <a:pt x="16" y="6"/>
                  </a:cubicBezTo>
                  <a:cubicBezTo>
                    <a:pt x="2" y="4"/>
                    <a:pt x="2" y="4"/>
                    <a:pt x="2" y="4"/>
                  </a:cubicBezTo>
                  <a:cubicBezTo>
                    <a:pt x="1" y="4"/>
                    <a:pt x="0" y="3"/>
                    <a:pt x="0" y="2"/>
                  </a:cubicBezTo>
                  <a:cubicBezTo>
                    <a:pt x="0" y="1"/>
                    <a:pt x="1" y="0"/>
                    <a:pt x="2" y="0"/>
                  </a:cubicBezTo>
                  <a:cubicBezTo>
                    <a:pt x="18" y="2"/>
                    <a:pt x="18" y="2"/>
                    <a:pt x="18" y="2"/>
                  </a:cubicBezTo>
                  <a:cubicBezTo>
                    <a:pt x="19" y="2"/>
                    <a:pt x="19" y="2"/>
                    <a:pt x="20" y="3"/>
                  </a:cubicBezTo>
                  <a:cubicBezTo>
                    <a:pt x="20" y="3"/>
                    <a:pt x="20" y="4"/>
                    <a:pt x="20" y="4"/>
                  </a:cubicBezTo>
                  <a:cubicBezTo>
                    <a:pt x="18" y="20"/>
                    <a:pt x="18" y="20"/>
                    <a:pt x="18" y="20"/>
                  </a:cubicBezTo>
                  <a:cubicBezTo>
                    <a:pt x="18" y="21"/>
                    <a:pt x="17" y="22"/>
                    <a:pt x="16" y="22"/>
                  </a:cubicBezTo>
                  <a:close/>
                </a:path>
              </a:pathLst>
            </a:custGeom>
            <a:grpFill/>
            <a:ln w="63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37" name="Group 36">
            <a:extLst>
              <a:ext uri="{FF2B5EF4-FFF2-40B4-BE49-F238E27FC236}">
                <a16:creationId xmlns:a16="http://schemas.microsoft.com/office/drawing/2014/main" id="{9DF30B9F-C6FC-4343-ACF7-E14F6F7C8D0B}"/>
              </a:ext>
            </a:extLst>
          </p:cNvPr>
          <p:cNvGrpSpPr/>
          <p:nvPr/>
        </p:nvGrpSpPr>
        <p:grpSpPr>
          <a:xfrm>
            <a:off x="7919102" y="2392627"/>
            <a:ext cx="168558" cy="214886"/>
            <a:chOff x="7761288" y="2562226"/>
            <a:chExt cx="271463" cy="346075"/>
          </a:xfrm>
        </p:grpSpPr>
        <p:sp>
          <p:nvSpPr>
            <p:cNvPr id="38" name="Freeform 24">
              <a:extLst>
                <a:ext uri="{FF2B5EF4-FFF2-40B4-BE49-F238E27FC236}">
                  <a16:creationId xmlns:a16="http://schemas.microsoft.com/office/drawing/2014/main" id="{B73F14C5-E420-4011-900B-FC6064CB9124}"/>
                </a:ext>
              </a:extLst>
            </p:cNvPr>
            <p:cNvSpPr>
              <a:spLocks/>
            </p:cNvSpPr>
            <p:nvPr/>
          </p:nvSpPr>
          <p:spPr bwMode="auto">
            <a:xfrm>
              <a:off x="7791451" y="2713038"/>
              <a:ext cx="211138" cy="104775"/>
            </a:xfrm>
            <a:custGeom>
              <a:avLst/>
              <a:gdLst>
                <a:gd name="T0" fmla="*/ 0 w 133"/>
                <a:gd name="T1" fmla="*/ 38 h 66"/>
                <a:gd name="T2" fmla="*/ 19 w 133"/>
                <a:gd name="T3" fmla="*/ 38 h 66"/>
                <a:gd name="T4" fmla="*/ 33 w 133"/>
                <a:gd name="T5" fmla="*/ 19 h 66"/>
                <a:gd name="T6" fmla="*/ 52 w 133"/>
                <a:gd name="T7" fmla="*/ 47 h 66"/>
                <a:gd name="T8" fmla="*/ 76 w 133"/>
                <a:gd name="T9" fmla="*/ 0 h 66"/>
                <a:gd name="T10" fmla="*/ 95 w 133"/>
                <a:gd name="T11" fmla="*/ 66 h 66"/>
                <a:gd name="T12" fmla="*/ 109 w 133"/>
                <a:gd name="T13" fmla="*/ 38 h 66"/>
                <a:gd name="T14" fmla="*/ 133 w 133"/>
                <a:gd name="T15" fmla="*/ 3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66">
                  <a:moveTo>
                    <a:pt x="0" y="38"/>
                  </a:moveTo>
                  <a:lnTo>
                    <a:pt x="19" y="38"/>
                  </a:lnTo>
                  <a:lnTo>
                    <a:pt x="33" y="19"/>
                  </a:lnTo>
                  <a:lnTo>
                    <a:pt x="52" y="47"/>
                  </a:lnTo>
                  <a:lnTo>
                    <a:pt x="76" y="0"/>
                  </a:lnTo>
                  <a:lnTo>
                    <a:pt x="95" y="66"/>
                  </a:lnTo>
                  <a:lnTo>
                    <a:pt x="109" y="38"/>
                  </a:lnTo>
                  <a:lnTo>
                    <a:pt x="133" y="38"/>
                  </a:ln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Freeform 25">
              <a:extLst>
                <a:ext uri="{FF2B5EF4-FFF2-40B4-BE49-F238E27FC236}">
                  <a16:creationId xmlns:a16="http://schemas.microsoft.com/office/drawing/2014/main" id="{965F8EB1-D38E-4D94-94CA-771D181179B3}"/>
                </a:ext>
              </a:extLst>
            </p:cNvPr>
            <p:cNvSpPr>
              <a:spLocks/>
            </p:cNvSpPr>
            <p:nvPr/>
          </p:nvSpPr>
          <p:spPr bwMode="auto">
            <a:xfrm>
              <a:off x="7761288" y="2606676"/>
              <a:ext cx="271463" cy="301625"/>
            </a:xfrm>
            <a:custGeom>
              <a:avLst/>
              <a:gdLst>
                <a:gd name="T0" fmla="*/ 123 w 171"/>
                <a:gd name="T1" fmla="*/ 0 h 190"/>
                <a:gd name="T2" fmla="*/ 171 w 171"/>
                <a:gd name="T3" fmla="*/ 0 h 190"/>
                <a:gd name="T4" fmla="*/ 171 w 171"/>
                <a:gd name="T5" fmla="*/ 190 h 190"/>
                <a:gd name="T6" fmla="*/ 0 w 171"/>
                <a:gd name="T7" fmla="*/ 190 h 190"/>
                <a:gd name="T8" fmla="*/ 0 w 171"/>
                <a:gd name="T9" fmla="*/ 0 h 190"/>
                <a:gd name="T10" fmla="*/ 48 w 171"/>
                <a:gd name="T11" fmla="*/ 0 h 190"/>
              </a:gdLst>
              <a:ahLst/>
              <a:cxnLst>
                <a:cxn ang="0">
                  <a:pos x="T0" y="T1"/>
                </a:cxn>
                <a:cxn ang="0">
                  <a:pos x="T2" y="T3"/>
                </a:cxn>
                <a:cxn ang="0">
                  <a:pos x="T4" y="T5"/>
                </a:cxn>
                <a:cxn ang="0">
                  <a:pos x="T6" y="T7"/>
                </a:cxn>
                <a:cxn ang="0">
                  <a:pos x="T8" y="T9"/>
                </a:cxn>
                <a:cxn ang="0">
                  <a:pos x="T10" y="T11"/>
                </a:cxn>
              </a:cxnLst>
              <a:rect l="0" t="0" r="r" b="b"/>
              <a:pathLst>
                <a:path w="171" h="190">
                  <a:moveTo>
                    <a:pt x="123" y="0"/>
                  </a:moveTo>
                  <a:lnTo>
                    <a:pt x="171" y="0"/>
                  </a:lnTo>
                  <a:lnTo>
                    <a:pt x="171" y="190"/>
                  </a:lnTo>
                  <a:lnTo>
                    <a:pt x="0" y="190"/>
                  </a:lnTo>
                  <a:lnTo>
                    <a:pt x="0" y="0"/>
                  </a:lnTo>
                  <a:lnTo>
                    <a:pt x="48" y="0"/>
                  </a:ln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0" name="Freeform 26">
              <a:extLst>
                <a:ext uri="{FF2B5EF4-FFF2-40B4-BE49-F238E27FC236}">
                  <a16:creationId xmlns:a16="http://schemas.microsoft.com/office/drawing/2014/main" id="{A05777B1-5D56-4DE5-A6C0-C8C1531BB53A}"/>
                </a:ext>
              </a:extLst>
            </p:cNvPr>
            <p:cNvSpPr>
              <a:spLocks/>
            </p:cNvSpPr>
            <p:nvPr/>
          </p:nvSpPr>
          <p:spPr bwMode="auto">
            <a:xfrm>
              <a:off x="7837488" y="2562226"/>
              <a:ext cx="119063" cy="90488"/>
            </a:xfrm>
            <a:custGeom>
              <a:avLst/>
              <a:gdLst>
                <a:gd name="T0" fmla="*/ 24 w 32"/>
                <a:gd name="T1" fmla="*/ 8 h 24"/>
                <a:gd name="T2" fmla="*/ 16 w 32"/>
                <a:gd name="T3" fmla="*/ 0 h 24"/>
                <a:gd name="T4" fmla="*/ 8 w 32"/>
                <a:gd name="T5" fmla="*/ 8 h 24"/>
                <a:gd name="T6" fmla="*/ 0 w 32"/>
                <a:gd name="T7" fmla="*/ 8 h 24"/>
                <a:gd name="T8" fmla="*/ 0 w 32"/>
                <a:gd name="T9" fmla="*/ 24 h 24"/>
                <a:gd name="T10" fmla="*/ 32 w 32"/>
                <a:gd name="T11" fmla="*/ 24 h 24"/>
                <a:gd name="T12" fmla="*/ 32 w 32"/>
                <a:gd name="T13" fmla="*/ 8 h 24"/>
                <a:gd name="T14" fmla="*/ 24 w 32"/>
                <a:gd name="T15" fmla="*/ 8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4">
                  <a:moveTo>
                    <a:pt x="24" y="8"/>
                  </a:moveTo>
                  <a:cubicBezTo>
                    <a:pt x="24" y="4"/>
                    <a:pt x="20" y="0"/>
                    <a:pt x="16" y="0"/>
                  </a:cubicBezTo>
                  <a:cubicBezTo>
                    <a:pt x="12" y="0"/>
                    <a:pt x="8" y="4"/>
                    <a:pt x="8" y="8"/>
                  </a:cubicBezTo>
                  <a:cubicBezTo>
                    <a:pt x="0" y="8"/>
                    <a:pt x="0" y="8"/>
                    <a:pt x="0" y="8"/>
                  </a:cubicBezTo>
                  <a:cubicBezTo>
                    <a:pt x="0" y="24"/>
                    <a:pt x="0" y="24"/>
                    <a:pt x="0" y="24"/>
                  </a:cubicBezTo>
                  <a:cubicBezTo>
                    <a:pt x="32" y="24"/>
                    <a:pt x="32" y="24"/>
                    <a:pt x="32" y="24"/>
                  </a:cubicBezTo>
                  <a:cubicBezTo>
                    <a:pt x="32" y="8"/>
                    <a:pt x="32" y="8"/>
                    <a:pt x="32" y="8"/>
                  </a:cubicBezTo>
                  <a:lnTo>
                    <a:pt x="24" y="8"/>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1" name="Freeform 27">
              <a:extLst>
                <a:ext uri="{FF2B5EF4-FFF2-40B4-BE49-F238E27FC236}">
                  <a16:creationId xmlns:a16="http://schemas.microsoft.com/office/drawing/2014/main" id="{D019446B-66C0-4A36-AEE5-6744A1EB6EDB}"/>
                </a:ext>
              </a:extLst>
            </p:cNvPr>
            <p:cNvSpPr>
              <a:spLocks/>
            </p:cNvSpPr>
            <p:nvPr/>
          </p:nvSpPr>
          <p:spPr bwMode="auto">
            <a:xfrm>
              <a:off x="7791451" y="2636838"/>
              <a:ext cx="211138" cy="225425"/>
            </a:xfrm>
            <a:custGeom>
              <a:avLst/>
              <a:gdLst>
                <a:gd name="T0" fmla="*/ 29 w 133"/>
                <a:gd name="T1" fmla="*/ 0 h 142"/>
                <a:gd name="T2" fmla="*/ 0 w 133"/>
                <a:gd name="T3" fmla="*/ 0 h 142"/>
                <a:gd name="T4" fmla="*/ 0 w 133"/>
                <a:gd name="T5" fmla="*/ 142 h 142"/>
                <a:gd name="T6" fmla="*/ 133 w 133"/>
                <a:gd name="T7" fmla="*/ 142 h 142"/>
                <a:gd name="T8" fmla="*/ 133 w 133"/>
                <a:gd name="T9" fmla="*/ 0 h 142"/>
                <a:gd name="T10" fmla="*/ 104 w 133"/>
                <a:gd name="T11" fmla="*/ 0 h 142"/>
              </a:gdLst>
              <a:ahLst/>
              <a:cxnLst>
                <a:cxn ang="0">
                  <a:pos x="T0" y="T1"/>
                </a:cxn>
                <a:cxn ang="0">
                  <a:pos x="T2" y="T3"/>
                </a:cxn>
                <a:cxn ang="0">
                  <a:pos x="T4" y="T5"/>
                </a:cxn>
                <a:cxn ang="0">
                  <a:pos x="T6" y="T7"/>
                </a:cxn>
                <a:cxn ang="0">
                  <a:pos x="T8" y="T9"/>
                </a:cxn>
                <a:cxn ang="0">
                  <a:pos x="T10" y="T11"/>
                </a:cxn>
              </a:cxnLst>
              <a:rect l="0" t="0" r="r" b="b"/>
              <a:pathLst>
                <a:path w="133" h="142">
                  <a:moveTo>
                    <a:pt x="29" y="0"/>
                  </a:moveTo>
                  <a:lnTo>
                    <a:pt x="0" y="0"/>
                  </a:lnTo>
                  <a:lnTo>
                    <a:pt x="0" y="142"/>
                  </a:lnTo>
                  <a:lnTo>
                    <a:pt x="133" y="142"/>
                  </a:lnTo>
                  <a:lnTo>
                    <a:pt x="133" y="0"/>
                  </a:lnTo>
                  <a:lnTo>
                    <a:pt x="104" y="0"/>
                  </a:ln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2" name="Group 41">
            <a:extLst>
              <a:ext uri="{FF2B5EF4-FFF2-40B4-BE49-F238E27FC236}">
                <a16:creationId xmlns:a16="http://schemas.microsoft.com/office/drawing/2014/main" id="{5A402EB3-37D1-4C1A-85EA-4FAB4EF30DEB}"/>
              </a:ext>
            </a:extLst>
          </p:cNvPr>
          <p:cNvGrpSpPr/>
          <p:nvPr/>
        </p:nvGrpSpPr>
        <p:grpSpPr>
          <a:xfrm>
            <a:off x="6185938" y="2392627"/>
            <a:ext cx="205029" cy="214886"/>
            <a:chOff x="3405188" y="3284538"/>
            <a:chExt cx="330201" cy="346076"/>
          </a:xfrm>
        </p:grpSpPr>
        <p:sp>
          <p:nvSpPr>
            <p:cNvPr id="43" name="Freeform 141">
              <a:extLst>
                <a:ext uri="{FF2B5EF4-FFF2-40B4-BE49-F238E27FC236}">
                  <a16:creationId xmlns:a16="http://schemas.microsoft.com/office/drawing/2014/main" id="{A84F19AA-AA8C-4410-924C-7CCED75B0B5A}"/>
                </a:ext>
              </a:extLst>
            </p:cNvPr>
            <p:cNvSpPr>
              <a:spLocks/>
            </p:cNvSpPr>
            <p:nvPr/>
          </p:nvSpPr>
          <p:spPr bwMode="auto">
            <a:xfrm>
              <a:off x="3435351" y="3435351"/>
              <a:ext cx="104775" cy="134938"/>
            </a:xfrm>
            <a:custGeom>
              <a:avLst/>
              <a:gdLst>
                <a:gd name="T0" fmla="*/ 0 w 28"/>
                <a:gd name="T1" fmla="*/ 0 h 36"/>
                <a:gd name="T2" fmla="*/ 28 w 28"/>
                <a:gd name="T3" fmla="*/ 0 h 36"/>
                <a:gd name="T4" fmla="*/ 28 w 28"/>
                <a:gd name="T5" fmla="*/ 12 h 36"/>
                <a:gd name="T6" fmla="*/ 20 w 28"/>
                <a:gd name="T7" fmla="*/ 20 h 36"/>
                <a:gd name="T8" fmla="*/ 20 w 28"/>
                <a:gd name="T9" fmla="*/ 36 h 36"/>
                <a:gd name="T10" fmla="*/ 8 w 28"/>
                <a:gd name="T11" fmla="*/ 36 h 36"/>
                <a:gd name="T12" fmla="*/ 8 w 28"/>
                <a:gd name="T13" fmla="*/ 20 h 36"/>
                <a:gd name="T14" fmla="*/ 0 w 28"/>
                <a:gd name="T15" fmla="*/ 12 h 36"/>
                <a:gd name="T16" fmla="*/ 0 w 28"/>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6">
                  <a:moveTo>
                    <a:pt x="0" y="0"/>
                  </a:moveTo>
                  <a:cubicBezTo>
                    <a:pt x="28" y="0"/>
                    <a:pt x="28" y="0"/>
                    <a:pt x="28" y="0"/>
                  </a:cubicBezTo>
                  <a:cubicBezTo>
                    <a:pt x="28" y="12"/>
                    <a:pt x="28" y="12"/>
                    <a:pt x="28" y="12"/>
                  </a:cubicBezTo>
                  <a:cubicBezTo>
                    <a:pt x="28" y="16"/>
                    <a:pt x="24" y="20"/>
                    <a:pt x="20" y="20"/>
                  </a:cubicBezTo>
                  <a:cubicBezTo>
                    <a:pt x="20" y="36"/>
                    <a:pt x="20" y="36"/>
                    <a:pt x="20" y="36"/>
                  </a:cubicBezTo>
                  <a:cubicBezTo>
                    <a:pt x="8" y="36"/>
                    <a:pt x="8" y="36"/>
                    <a:pt x="8" y="36"/>
                  </a:cubicBezTo>
                  <a:cubicBezTo>
                    <a:pt x="8" y="20"/>
                    <a:pt x="8" y="20"/>
                    <a:pt x="8" y="20"/>
                  </a:cubicBezTo>
                  <a:cubicBezTo>
                    <a:pt x="4" y="20"/>
                    <a:pt x="0" y="16"/>
                    <a:pt x="0" y="12"/>
                  </a:cubicBezTo>
                  <a:lnTo>
                    <a:pt x="0" y="0"/>
                  </a:lnTo>
                  <a:close/>
                </a:path>
              </a:pathLst>
            </a:cu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Oval 142">
              <a:extLst>
                <a:ext uri="{FF2B5EF4-FFF2-40B4-BE49-F238E27FC236}">
                  <a16:creationId xmlns:a16="http://schemas.microsoft.com/office/drawing/2014/main" id="{C8893742-8729-4D1C-AF2A-A55E5CA984D8}"/>
                </a:ext>
              </a:extLst>
            </p:cNvPr>
            <p:cNvSpPr>
              <a:spLocks noChangeArrowheads="1"/>
            </p:cNvSpPr>
            <p:nvPr/>
          </p:nvSpPr>
          <p:spPr bwMode="auto">
            <a:xfrm>
              <a:off x="3449638" y="3344863"/>
              <a:ext cx="76200" cy="74613"/>
            </a:xfrm>
            <a:prstGeom prst="ellipse">
              <a:avLst/>
            </a:pr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Freeform 143">
              <a:extLst>
                <a:ext uri="{FF2B5EF4-FFF2-40B4-BE49-F238E27FC236}">
                  <a16:creationId xmlns:a16="http://schemas.microsoft.com/office/drawing/2014/main" id="{5AD79381-2DE0-4C44-9BE1-61275FA21A76}"/>
                </a:ext>
              </a:extLst>
            </p:cNvPr>
            <p:cNvSpPr>
              <a:spLocks/>
            </p:cNvSpPr>
            <p:nvPr/>
          </p:nvSpPr>
          <p:spPr bwMode="auto">
            <a:xfrm>
              <a:off x="3405188" y="3314701"/>
              <a:ext cx="165100" cy="285750"/>
            </a:xfrm>
            <a:custGeom>
              <a:avLst/>
              <a:gdLst>
                <a:gd name="T0" fmla="*/ 0 w 44"/>
                <a:gd name="T1" fmla="*/ 72 h 76"/>
                <a:gd name="T2" fmla="*/ 4 w 44"/>
                <a:gd name="T3" fmla="*/ 76 h 76"/>
                <a:gd name="T4" fmla="*/ 40 w 44"/>
                <a:gd name="T5" fmla="*/ 76 h 76"/>
                <a:gd name="T6" fmla="*/ 44 w 44"/>
                <a:gd name="T7" fmla="*/ 72 h 76"/>
                <a:gd name="T8" fmla="*/ 44 w 44"/>
                <a:gd name="T9" fmla="*/ 4 h 76"/>
                <a:gd name="T10" fmla="*/ 40 w 44"/>
                <a:gd name="T11" fmla="*/ 0 h 76"/>
                <a:gd name="T12" fmla="*/ 4 w 44"/>
                <a:gd name="T13" fmla="*/ 0 h 76"/>
                <a:gd name="T14" fmla="*/ 0 w 44"/>
                <a:gd name="T15" fmla="*/ 4 h 76"/>
                <a:gd name="T16" fmla="*/ 0 w 44"/>
                <a:gd name="T17" fmla="*/ 7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6">
                  <a:moveTo>
                    <a:pt x="0" y="72"/>
                  </a:moveTo>
                  <a:cubicBezTo>
                    <a:pt x="0" y="74"/>
                    <a:pt x="2" y="76"/>
                    <a:pt x="4" y="76"/>
                  </a:cubicBezTo>
                  <a:cubicBezTo>
                    <a:pt x="40" y="76"/>
                    <a:pt x="40" y="76"/>
                    <a:pt x="40" y="76"/>
                  </a:cubicBezTo>
                  <a:cubicBezTo>
                    <a:pt x="42" y="76"/>
                    <a:pt x="44" y="74"/>
                    <a:pt x="44" y="72"/>
                  </a:cubicBezTo>
                  <a:cubicBezTo>
                    <a:pt x="44" y="4"/>
                    <a:pt x="44" y="4"/>
                    <a:pt x="44" y="4"/>
                  </a:cubicBezTo>
                  <a:cubicBezTo>
                    <a:pt x="44" y="2"/>
                    <a:pt x="42" y="0"/>
                    <a:pt x="40" y="0"/>
                  </a:cubicBezTo>
                  <a:cubicBezTo>
                    <a:pt x="4" y="0"/>
                    <a:pt x="4" y="0"/>
                    <a:pt x="4" y="0"/>
                  </a:cubicBezTo>
                  <a:cubicBezTo>
                    <a:pt x="2" y="0"/>
                    <a:pt x="0" y="2"/>
                    <a:pt x="0" y="4"/>
                  </a:cubicBezTo>
                  <a:lnTo>
                    <a:pt x="0" y="72"/>
                  </a:lnTo>
                  <a:close/>
                </a:path>
              </a:pathLst>
            </a:cu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Rectangle 144">
              <a:extLst>
                <a:ext uri="{FF2B5EF4-FFF2-40B4-BE49-F238E27FC236}">
                  <a16:creationId xmlns:a16="http://schemas.microsoft.com/office/drawing/2014/main" id="{137065C2-B764-4883-B113-47C3E6A35E85}"/>
                </a:ext>
              </a:extLst>
            </p:cNvPr>
            <p:cNvSpPr>
              <a:spLocks noChangeArrowheads="1"/>
            </p:cNvSpPr>
            <p:nvPr/>
          </p:nvSpPr>
          <p:spPr bwMode="auto">
            <a:xfrm>
              <a:off x="3419476" y="3600451"/>
              <a:ext cx="30163" cy="30163"/>
            </a:xfrm>
            <a:prstGeom prst="rect">
              <a:avLst/>
            </a:pr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Rectangle 145">
              <a:extLst>
                <a:ext uri="{FF2B5EF4-FFF2-40B4-BE49-F238E27FC236}">
                  <a16:creationId xmlns:a16="http://schemas.microsoft.com/office/drawing/2014/main" id="{A49A4DCB-C184-48DD-A21F-4F624179660E}"/>
                </a:ext>
              </a:extLst>
            </p:cNvPr>
            <p:cNvSpPr>
              <a:spLocks noChangeArrowheads="1"/>
            </p:cNvSpPr>
            <p:nvPr/>
          </p:nvSpPr>
          <p:spPr bwMode="auto">
            <a:xfrm>
              <a:off x="3525838" y="3600451"/>
              <a:ext cx="30163" cy="30163"/>
            </a:xfrm>
            <a:prstGeom prst="rect">
              <a:avLst/>
            </a:pr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Rectangle 146">
              <a:extLst>
                <a:ext uri="{FF2B5EF4-FFF2-40B4-BE49-F238E27FC236}">
                  <a16:creationId xmlns:a16="http://schemas.microsoft.com/office/drawing/2014/main" id="{239FB2CF-0483-4682-98D9-97652CB83409}"/>
                </a:ext>
              </a:extLst>
            </p:cNvPr>
            <p:cNvSpPr>
              <a:spLocks noChangeArrowheads="1"/>
            </p:cNvSpPr>
            <p:nvPr/>
          </p:nvSpPr>
          <p:spPr bwMode="auto">
            <a:xfrm>
              <a:off x="3419476" y="3284538"/>
              <a:ext cx="30163" cy="30163"/>
            </a:xfrm>
            <a:prstGeom prst="rect">
              <a:avLst/>
            </a:pr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9" name="Rectangle 147">
              <a:extLst>
                <a:ext uri="{FF2B5EF4-FFF2-40B4-BE49-F238E27FC236}">
                  <a16:creationId xmlns:a16="http://schemas.microsoft.com/office/drawing/2014/main" id="{35C1861F-A420-41C8-9B05-6E3504E06D13}"/>
                </a:ext>
              </a:extLst>
            </p:cNvPr>
            <p:cNvSpPr>
              <a:spLocks noChangeArrowheads="1"/>
            </p:cNvSpPr>
            <p:nvPr/>
          </p:nvSpPr>
          <p:spPr bwMode="auto">
            <a:xfrm>
              <a:off x="3525838" y="3284538"/>
              <a:ext cx="30163" cy="30163"/>
            </a:xfrm>
            <a:prstGeom prst="rect">
              <a:avLst/>
            </a:pr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0" name="Freeform 148">
              <a:extLst>
                <a:ext uri="{FF2B5EF4-FFF2-40B4-BE49-F238E27FC236}">
                  <a16:creationId xmlns:a16="http://schemas.microsoft.com/office/drawing/2014/main" id="{B248FC5B-7B1A-4891-BA22-9269C5547ACD}"/>
                </a:ext>
              </a:extLst>
            </p:cNvPr>
            <p:cNvSpPr>
              <a:spLocks/>
            </p:cNvSpPr>
            <p:nvPr/>
          </p:nvSpPr>
          <p:spPr bwMode="auto">
            <a:xfrm>
              <a:off x="3600451" y="3328988"/>
              <a:ext cx="134938" cy="136525"/>
            </a:xfrm>
            <a:custGeom>
              <a:avLst/>
              <a:gdLst>
                <a:gd name="T0" fmla="*/ 85 w 85"/>
                <a:gd name="T1" fmla="*/ 29 h 86"/>
                <a:gd name="T2" fmla="*/ 57 w 85"/>
                <a:gd name="T3" fmla="*/ 29 h 86"/>
                <a:gd name="T4" fmla="*/ 57 w 85"/>
                <a:gd name="T5" fmla="*/ 0 h 86"/>
                <a:gd name="T6" fmla="*/ 28 w 85"/>
                <a:gd name="T7" fmla="*/ 0 h 86"/>
                <a:gd name="T8" fmla="*/ 28 w 85"/>
                <a:gd name="T9" fmla="*/ 29 h 86"/>
                <a:gd name="T10" fmla="*/ 0 w 85"/>
                <a:gd name="T11" fmla="*/ 29 h 86"/>
                <a:gd name="T12" fmla="*/ 0 w 85"/>
                <a:gd name="T13" fmla="*/ 57 h 86"/>
                <a:gd name="T14" fmla="*/ 28 w 85"/>
                <a:gd name="T15" fmla="*/ 57 h 86"/>
                <a:gd name="T16" fmla="*/ 28 w 85"/>
                <a:gd name="T17" fmla="*/ 86 h 86"/>
                <a:gd name="T18" fmla="*/ 57 w 85"/>
                <a:gd name="T19" fmla="*/ 86 h 86"/>
                <a:gd name="T20" fmla="*/ 57 w 85"/>
                <a:gd name="T21" fmla="*/ 57 h 86"/>
                <a:gd name="T22" fmla="*/ 85 w 85"/>
                <a:gd name="T23" fmla="*/ 57 h 86"/>
                <a:gd name="T24" fmla="*/ 85 w 85"/>
                <a:gd name="T25" fmla="*/ 29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86">
                  <a:moveTo>
                    <a:pt x="85" y="29"/>
                  </a:moveTo>
                  <a:lnTo>
                    <a:pt x="57" y="29"/>
                  </a:lnTo>
                  <a:lnTo>
                    <a:pt x="57" y="0"/>
                  </a:lnTo>
                  <a:lnTo>
                    <a:pt x="28" y="0"/>
                  </a:lnTo>
                  <a:lnTo>
                    <a:pt x="28" y="29"/>
                  </a:lnTo>
                  <a:lnTo>
                    <a:pt x="0" y="29"/>
                  </a:lnTo>
                  <a:lnTo>
                    <a:pt x="0" y="57"/>
                  </a:lnTo>
                  <a:lnTo>
                    <a:pt x="28" y="57"/>
                  </a:lnTo>
                  <a:lnTo>
                    <a:pt x="28" y="86"/>
                  </a:lnTo>
                  <a:lnTo>
                    <a:pt x="57" y="86"/>
                  </a:lnTo>
                  <a:lnTo>
                    <a:pt x="57" y="57"/>
                  </a:lnTo>
                  <a:lnTo>
                    <a:pt x="85" y="57"/>
                  </a:lnTo>
                  <a:lnTo>
                    <a:pt x="85" y="29"/>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spTree>
    <p:extLst>
      <p:ext uri="{BB962C8B-B14F-4D97-AF65-F5344CB8AC3E}">
        <p14:creationId xmlns:p14="http://schemas.microsoft.com/office/powerpoint/2010/main" val="2296712696"/>
      </p:ext>
    </p:extLst>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2"/>
          </p:nvPr>
        </p:nvSpPr>
        <p:spPr/>
        <p:txBody>
          <a:bodyPr/>
          <a:lstStyle/>
          <a:p>
            <a:endParaRPr lang="en-US"/>
          </a:p>
        </p:txBody>
      </p:sp>
      <p:sp>
        <p:nvSpPr>
          <p:cNvPr id="3" name="Text Placeholder 2"/>
          <p:cNvSpPr>
            <a:spLocks noGrp="1"/>
          </p:cNvSpPr>
          <p:nvPr>
            <p:ph type="body" idx="3"/>
          </p:nvPr>
        </p:nvSpPr>
        <p:spPr/>
        <p:txBody>
          <a:bodyPr/>
          <a:lstStyle/>
          <a:p>
            <a:r>
              <a:rPr lang="en-US" sz="700" dirty="0">
                <a:latin typeface="Gene Sans Light" panose="00000400000000000000" pitchFamily="50" charset="0"/>
              </a:rPr>
              <a:t>1. Wang Y, et al. JAMA </a:t>
            </a:r>
            <a:r>
              <a:rPr lang="en-US" sz="700" dirty="0" err="1">
                <a:latin typeface="Gene Sans Light" panose="00000400000000000000" pitchFamily="50" charset="0"/>
              </a:rPr>
              <a:t>Oncol</a:t>
            </a:r>
            <a:r>
              <a:rPr lang="en-US" sz="700" dirty="0">
                <a:latin typeface="Gene Sans Light" panose="00000400000000000000" pitchFamily="50" charset="0"/>
              </a:rPr>
              <a:t>. 2019. </a:t>
            </a:r>
            <a:r>
              <a:rPr lang="en-US" sz="700" dirty="0" err="1">
                <a:latin typeface="Gene Sans Light" panose="00000400000000000000" pitchFamily="50" charset="0"/>
              </a:rPr>
              <a:t>doi</a:t>
            </a:r>
            <a:r>
              <a:rPr lang="en-US" sz="700" dirty="0">
                <a:latin typeface="Gene Sans Light" panose="00000400000000000000" pitchFamily="50" charset="0"/>
              </a:rPr>
              <a:t>: 10.1001/jamaoncol.2019.0393. [</a:t>
            </a:r>
            <a:r>
              <a:rPr lang="en-US" sz="700" dirty="0" err="1">
                <a:latin typeface="Gene Sans Light" panose="00000400000000000000" pitchFamily="50" charset="0"/>
              </a:rPr>
              <a:t>Epub</a:t>
            </a:r>
            <a:r>
              <a:rPr lang="en-US" sz="700" dirty="0">
                <a:latin typeface="Gene Sans Light" panose="00000400000000000000" pitchFamily="50" charset="0"/>
              </a:rPr>
              <a:t> ahead of print]. 2. Hodi FS, et al. Poster. ASCO. 2016 (abstract 9518). 3. Freeman-Keller M, et al. </a:t>
            </a:r>
            <a:r>
              <a:rPr lang="en-US" sz="700" dirty="0" err="1">
                <a:latin typeface="Gene Sans Light" panose="00000400000000000000" pitchFamily="50" charset="0"/>
              </a:rPr>
              <a:t>Clin</a:t>
            </a:r>
            <a:r>
              <a:rPr lang="en-US" sz="700" dirty="0">
                <a:latin typeface="Gene Sans Light" panose="00000400000000000000" pitchFamily="50" charset="0"/>
              </a:rPr>
              <a:t> Cancer Res. 2016;22:886-894. 4. Maher VE, et al. J </a:t>
            </a:r>
            <a:r>
              <a:rPr lang="en-US" sz="700" dirty="0" err="1">
                <a:latin typeface="Gene Sans Light" panose="00000400000000000000" pitchFamily="50" charset="0"/>
              </a:rPr>
              <a:t>Clin</a:t>
            </a:r>
            <a:r>
              <a:rPr lang="en-US" sz="700" dirty="0">
                <a:latin typeface="Gene Sans Light" panose="00000400000000000000" pitchFamily="50" charset="0"/>
              </a:rPr>
              <a:t> </a:t>
            </a:r>
            <a:r>
              <a:rPr lang="en-US" sz="700" dirty="0" err="1">
                <a:latin typeface="Gene Sans Light" panose="00000400000000000000" pitchFamily="50" charset="0"/>
              </a:rPr>
              <a:t>Oncol</a:t>
            </a:r>
            <a:r>
              <a:rPr lang="en-US" sz="700" dirty="0">
                <a:latin typeface="Gene Sans Light" panose="00000400000000000000" pitchFamily="50" charset="0"/>
              </a:rPr>
              <a:t>. 2019. </a:t>
            </a:r>
            <a:r>
              <a:rPr lang="en-US" sz="700" dirty="0" err="1">
                <a:latin typeface="Gene Sans Light" panose="00000400000000000000" pitchFamily="50" charset="0"/>
              </a:rPr>
              <a:t>doi</a:t>
            </a:r>
            <a:r>
              <a:rPr lang="en-US" sz="700" dirty="0">
                <a:latin typeface="Gene Sans Light" panose="00000400000000000000" pitchFamily="50" charset="0"/>
              </a:rPr>
              <a:t>: 10.1200/JCO.19.00318. [</a:t>
            </a:r>
            <a:r>
              <a:rPr lang="en-US" sz="700" dirty="0" err="1">
                <a:latin typeface="Gene Sans Light" panose="00000400000000000000" pitchFamily="50" charset="0"/>
              </a:rPr>
              <a:t>Epub</a:t>
            </a:r>
            <a:r>
              <a:rPr lang="en-US" sz="700" dirty="0">
                <a:latin typeface="Gene Sans Light" panose="00000400000000000000" pitchFamily="50" charset="0"/>
              </a:rPr>
              <a:t> ahead of print]. 5. Zhou X, et al. BMC Med 2020:18(1). 6. </a:t>
            </a:r>
            <a:r>
              <a:rPr lang="en-US" sz="700" dirty="0" err="1">
                <a:latin typeface="Gene Sans Light" panose="00000400000000000000" pitchFamily="50" charset="0"/>
              </a:rPr>
              <a:t>Petrelli</a:t>
            </a:r>
            <a:r>
              <a:rPr lang="en-US" sz="700" dirty="0">
                <a:latin typeface="Gene Sans Light" panose="00000400000000000000" pitchFamily="50" charset="0"/>
              </a:rPr>
              <a:t>, F et al. </a:t>
            </a:r>
            <a:r>
              <a:rPr lang="en-US" sz="700" i="1" dirty="0">
                <a:latin typeface="Gene Sans Light" panose="00000400000000000000" pitchFamily="50" charset="0"/>
              </a:rPr>
              <a:t>J </a:t>
            </a:r>
            <a:r>
              <a:rPr lang="en-US" sz="700" i="1" dirty="0" err="1">
                <a:latin typeface="Gene Sans Light" panose="00000400000000000000" pitchFamily="50" charset="0"/>
              </a:rPr>
              <a:t>Immuno</a:t>
            </a:r>
            <a:r>
              <a:rPr lang="en-US" sz="700" i="1" dirty="0">
                <a:latin typeface="Gene Sans Light" panose="00000400000000000000" pitchFamily="50" charset="0"/>
              </a:rPr>
              <a:t> </a:t>
            </a:r>
            <a:r>
              <a:rPr lang="en-US" sz="700" dirty="0">
                <a:latin typeface="Gene Sans Light" panose="00000400000000000000" pitchFamily="50" charset="0"/>
              </a:rPr>
              <a:t>2020;43(1):1-7. 7. </a:t>
            </a:r>
            <a:r>
              <a:rPr lang="en-US" sz="700" dirty="0" err="1">
                <a:latin typeface="Gene Sans Light" panose="00000400000000000000" pitchFamily="50" charset="0"/>
              </a:rPr>
              <a:t>Riudavets</a:t>
            </a:r>
            <a:r>
              <a:rPr lang="en-US" sz="700" dirty="0">
                <a:latin typeface="Gene Sans Light" panose="00000400000000000000" pitchFamily="50" charset="0"/>
              </a:rPr>
              <a:t>, M et al. Front </a:t>
            </a:r>
            <a:r>
              <a:rPr lang="en-US" sz="700" dirty="0" err="1">
                <a:latin typeface="Gene Sans Light" panose="00000400000000000000" pitchFamily="50" charset="0"/>
              </a:rPr>
              <a:t>Oncol</a:t>
            </a:r>
            <a:r>
              <a:rPr lang="en-US" sz="700" dirty="0">
                <a:latin typeface="Gene Sans Light" panose="00000400000000000000" pitchFamily="50" charset="0"/>
              </a:rPr>
              <a:t>. 2020;10:1677</a:t>
            </a:r>
            <a:r>
              <a:rPr lang="en-US" sz="700" dirty="0">
                <a:latin typeface="Gene Sans Light" panose="00000400000000000000" pitchFamily="2" charset="0"/>
              </a:rPr>
              <a:t>. </a:t>
            </a:r>
            <a:r>
              <a:rPr lang="en-US" sz="700" dirty="0">
                <a:latin typeface="Gene Sans Light" panose="00000400000000000000" pitchFamily="50" charset="0"/>
              </a:rPr>
              <a:t>8. Weber JS, et al. J </a:t>
            </a:r>
            <a:r>
              <a:rPr lang="en-US" sz="700" dirty="0" err="1">
                <a:latin typeface="Gene Sans Light" panose="00000400000000000000" pitchFamily="50" charset="0"/>
              </a:rPr>
              <a:t>Clin</a:t>
            </a:r>
            <a:r>
              <a:rPr lang="en-US" sz="700" dirty="0">
                <a:latin typeface="Gene Sans Light" panose="00000400000000000000" pitchFamily="50" charset="0"/>
              </a:rPr>
              <a:t> </a:t>
            </a:r>
            <a:r>
              <a:rPr lang="en-US" sz="700" dirty="0" err="1">
                <a:latin typeface="Gene Sans Light" panose="00000400000000000000" pitchFamily="50" charset="0"/>
              </a:rPr>
              <a:t>Oncol</a:t>
            </a:r>
            <a:r>
              <a:rPr lang="en-US" sz="700" dirty="0">
                <a:latin typeface="Gene Sans Light" panose="00000400000000000000" pitchFamily="50" charset="0"/>
              </a:rPr>
              <a:t>. 2017;35:785-792. 9. </a:t>
            </a:r>
            <a:r>
              <a:rPr lang="en-US" sz="700" dirty="0" err="1">
                <a:latin typeface="Gene Sans Light" panose="00000400000000000000" pitchFamily="50" charset="0"/>
              </a:rPr>
              <a:t>Horvat</a:t>
            </a:r>
            <a:r>
              <a:rPr lang="en-US" sz="700" dirty="0">
                <a:latin typeface="Gene Sans Light" panose="00000400000000000000" pitchFamily="50" charset="0"/>
              </a:rPr>
              <a:t> TZ, et al. J </a:t>
            </a:r>
            <a:r>
              <a:rPr lang="en-US" sz="700" dirty="0" err="1">
                <a:latin typeface="Gene Sans Light" panose="00000400000000000000" pitchFamily="50" charset="0"/>
              </a:rPr>
              <a:t>Clin</a:t>
            </a:r>
            <a:r>
              <a:rPr lang="en-US" sz="700" dirty="0">
                <a:latin typeface="Gene Sans Light" panose="00000400000000000000" pitchFamily="50" charset="0"/>
              </a:rPr>
              <a:t> </a:t>
            </a:r>
            <a:r>
              <a:rPr lang="en-US" sz="700" dirty="0" err="1">
                <a:latin typeface="Gene Sans Light" panose="00000400000000000000" pitchFamily="50" charset="0"/>
              </a:rPr>
              <a:t>Oncol</a:t>
            </a:r>
            <a:r>
              <a:rPr lang="en-US" sz="700" dirty="0">
                <a:latin typeface="Gene Sans Light" panose="00000400000000000000" pitchFamily="50" charset="0"/>
              </a:rPr>
              <a:t>. 2015;33:3193-3198 10. </a:t>
            </a:r>
            <a:r>
              <a:rPr lang="da-DK" sz="700" dirty="0">
                <a:solidFill>
                  <a:srgbClr val="545859"/>
                </a:solidFill>
                <a:latin typeface="Gene Sans Light" panose="00000400000000000000" pitchFamily="50" charset="0"/>
              </a:rPr>
              <a:t>Schneider BJ, et al. J Clin Oncol. 2021;</a:t>
            </a:r>
            <a:r>
              <a:rPr lang="en-US" sz="700" dirty="0">
                <a:solidFill>
                  <a:srgbClr val="545859"/>
                </a:solidFill>
                <a:latin typeface="Gene Sans Light" panose="00000400000000000000" pitchFamily="50" charset="0"/>
              </a:rPr>
              <a:t> JCO2101440</a:t>
            </a:r>
            <a:r>
              <a:rPr lang="en-US" sz="700" dirty="0">
                <a:latin typeface="Gene Sans Light" panose="00000400000000000000" pitchFamily="50" charset="0"/>
              </a:rPr>
              <a:t> 11. </a:t>
            </a:r>
            <a:r>
              <a:rPr lang="en-US" sz="700" dirty="0">
                <a:solidFill>
                  <a:srgbClr val="545859"/>
                </a:solidFill>
                <a:latin typeface="Arial"/>
              </a:rPr>
              <a:t>NCCN Clinical Practice Guidelines in Oncology (NCCN Guidelines®); NCCN.org. </a:t>
            </a:r>
            <a:r>
              <a:rPr lang="en-US" sz="700" dirty="0">
                <a:latin typeface="Gene Sans Light" panose="00000400000000000000" pitchFamily="50" charset="0"/>
              </a:rPr>
              <a:t>12. </a:t>
            </a:r>
            <a:r>
              <a:rPr lang="en-US" sz="700" dirty="0" err="1">
                <a:latin typeface="Gene Sans Light" panose="00000400000000000000" pitchFamily="50" charset="0"/>
              </a:rPr>
              <a:t>Haanen</a:t>
            </a:r>
            <a:r>
              <a:rPr lang="en-US" sz="700" dirty="0">
                <a:latin typeface="Gene Sans Light" panose="00000400000000000000" pitchFamily="50" charset="0"/>
              </a:rPr>
              <a:t> JBAG, et al. Ann </a:t>
            </a:r>
            <a:r>
              <a:rPr lang="en-US" sz="700" dirty="0" err="1">
                <a:latin typeface="Gene Sans Light" panose="00000400000000000000" pitchFamily="50" charset="0"/>
              </a:rPr>
              <a:t>Oncol</a:t>
            </a:r>
            <a:r>
              <a:rPr lang="en-US" sz="700" dirty="0">
                <a:latin typeface="Gene Sans Light" panose="00000400000000000000" pitchFamily="50" charset="0"/>
              </a:rPr>
              <a:t>. 2017;28:v119-iv142. 13. </a:t>
            </a:r>
            <a:r>
              <a:rPr lang="da-DK" sz="700" dirty="0">
                <a:solidFill>
                  <a:srgbClr val="545859"/>
                </a:solidFill>
                <a:latin typeface="Gene Sans Light" panose="00000400000000000000" pitchFamily="50" charset="0"/>
              </a:rPr>
              <a:t>Puzanov I, et al. J Immunother. 2021;</a:t>
            </a:r>
            <a:r>
              <a:rPr lang="en-US" sz="700" dirty="0">
                <a:solidFill>
                  <a:srgbClr val="545859"/>
                </a:solidFill>
                <a:latin typeface="Gene Sans Light" panose="00000400000000000000" pitchFamily="50" charset="0"/>
              </a:rPr>
              <a:t>9</a:t>
            </a:r>
            <a:r>
              <a:rPr lang="en-US" sz="700" b="1" dirty="0">
                <a:solidFill>
                  <a:srgbClr val="545859"/>
                </a:solidFill>
                <a:latin typeface="Gene Sans Light" panose="00000400000000000000" pitchFamily="50" charset="0"/>
              </a:rPr>
              <a:t>:</a:t>
            </a:r>
            <a:r>
              <a:rPr lang="en-US" sz="700" dirty="0">
                <a:solidFill>
                  <a:srgbClr val="545859"/>
                </a:solidFill>
                <a:latin typeface="Gene Sans Light" panose="00000400000000000000" pitchFamily="50" charset="0"/>
              </a:rPr>
              <a:t>e002435</a:t>
            </a:r>
            <a:r>
              <a:rPr lang="en-US" sz="700" dirty="0">
                <a:latin typeface="Gene Sans Light" panose="00000400000000000000" pitchFamily="50" charset="0"/>
              </a:rPr>
              <a:t>. 14. Martins F, et al. Lancet </a:t>
            </a:r>
            <a:r>
              <a:rPr lang="en-US" sz="700" dirty="0" err="1">
                <a:latin typeface="Gene Sans Light" panose="00000400000000000000" pitchFamily="50" charset="0"/>
              </a:rPr>
              <a:t>Oncol</a:t>
            </a:r>
            <a:r>
              <a:rPr lang="en-US" sz="700" dirty="0">
                <a:latin typeface="Gene Sans Light" panose="00000400000000000000" pitchFamily="50" charset="0"/>
              </a:rPr>
              <a:t>. 2019;20:e54-64. 15. Calabrese LH, et al. Nat Rev </a:t>
            </a:r>
            <a:r>
              <a:rPr lang="en-US" sz="700" dirty="0" err="1">
                <a:latin typeface="Gene Sans Light" panose="00000400000000000000" pitchFamily="50" charset="0"/>
              </a:rPr>
              <a:t>Rheumatol</a:t>
            </a:r>
            <a:r>
              <a:rPr lang="en-US" sz="700" dirty="0">
                <a:latin typeface="Gene Sans Light" panose="00000400000000000000" pitchFamily="50" charset="0"/>
              </a:rPr>
              <a:t>. 2018;14:569-579. 16. Cook MR and Kim C. JAMA </a:t>
            </a:r>
            <a:r>
              <a:rPr lang="en-US" sz="700" dirty="0" err="1">
                <a:latin typeface="Gene Sans Light" panose="00000400000000000000" pitchFamily="50" charset="0"/>
              </a:rPr>
              <a:t>Oncol</a:t>
            </a:r>
            <a:r>
              <a:rPr lang="en-US" sz="700" dirty="0">
                <a:latin typeface="Gene Sans Light" panose="00000400000000000000" pitchFamily="50" charset="0"/>
              </a:rPr>
              <a:t>. 2019. </a:t>
            </a:r>
            <a:r>
              <a:rPr lang="en-US" sz="700" dirty="0" err="1">
                <a:latin typeface="Gene Sans Light" panose="00000400000000000000" pitchFamily="50" charset="0"/>
              </a:rPr>
              <a:t>doi</a:t>
            </a:r>
            <a:r>
              <a:rPr lang="en-US" sz="700" dirty="0">
                <a:latin typeface="Gene Sans Light" panose="00000400000000000000" pitchFamily="50" charset="0"/>
              </a:rPr>
              <a:t>: 10.1001/jamaoncol.2018.6737 [</a:t>
            </a:r>
            <a:r>
              <a:rPr lang="en-US" sz="700" dirty="0" err="1">
                <a:latin typeface="Gene Sans Light" panose="00000400000000000000" pitchFamily="50" charset="0"/>
              </a:rPr>
              <a:t>Epub</a:t>
            </a:r>
            <a:r>
              <a:rPr lang="en-US" sz="700" dirty="0">
                <a:latin typeface="Gene Sans Light" panose="00000400000000000000" pitchFamily="50" charset="0"/>
              </a:rPr>
              <a:t> ahead of print].</a:t>
            </a:r>
          </a:p>
        </p:txBody>
      </p:sp>
      <p:sp>
        <p:nvSpPr>
          <p:cNvPr id="5" name="Title 4"/>
          <p:cNvSpPr>
            <a:spLocks noGrp="1"/>
          </p:cNvSpPr>
          <p:nvPr>
            <p:ph type="title"/>
          </p:nvPr>
        </p:nvSpPr>
        <p:spPr/>
        <p:txBody>
          <a:bodyPr/>
          <a:lstStyle/>
          <a:p>
            <a:r>
              <a:rPr lang="en-US" kern="0" cap="none" dirty="0">
                <a:latin typeface="Arial"/>
                <a:cs typeface="Arial"/>
              </a:rPr>
              <a:t>Summary</a:t>
            </a:r>
            <a:endParaRPr lang="en-US" dirty="0"/>
          </a:p>
        </p:txBody>
      </p:sp>
      <p:sp>
        <p:nvSpPr>
          <p:cNvPr id="6" name="Google Shape;122;p3">
            <a:extLst>
              <a:ext uri="{FF2B5EF4-FFF2-40B4-BE49-F238E27FC236}">
                <a16:creationId xmlns:a16="http://schemas.microsoft.com/office/drawing/2014/main" id="{110E0A5C-358F-44FA-BA68-E9D4C2B9260E}"/>
              </a:ext>
            </a:extLst>
          </p:cNvPr>
          <p:cNvSpPr txBox="1">
            <a:spLocks/>
          </p:cNvSpPr>
          <p:nvPr/>
        </p:nvSpPr>
        <p:spPr>
          <a:xfrm>
            <a:off x="381000" y="945457"/>
            <a:ext cx="8381352" cy="1938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720"/>
              </a:spcBef>
              <a:spcAft>
                <a:spcPts val="0"/>
              </a:spcAft>
              <a:buClr>
                <a:schemeClr val="dk1"/>
              </a:buClr>
              <a:buSzPts val="800"/>
              <a:buFont typeface="Arial"/>
              <a:buNone/>
              <a:defRPr sz="800" b="0" i="0" u="none" strike="noStrike" cap="none">
                <a:solidFill>
                  <a:schemeClr val="dk1"/>
                </a:solidFill>
                <a:latin typeface="Gene Sans" panose="00000500000000000000" pitchFamily="50" charset="0"/>
                <a:ea typeface="Gene Sans" panose="00000500000000000000" pitchFamily="50" charset="0"/>
                <a:cs typeface="Arial"/>
                <a:sym typeface="Arial"/>
              </a:defRPr>
            </a:lvl1pPr>
            <a:lvl2pPr marL="914400" marR="0" lvl="1" indent="-342900" algn="l" rtl="0">
              <a:lnSpc>
                <a:spcPct val="90000"/>
              </a:lnSpc>
              <a:spcBef>
                <a:spcPts val="600"/>
              </a:spcBef>
              <a:spcAft>
                <a:spcPts val="0"/>
              </a:spcAft>
              <a:buClr>
                <a:schemeClr val="dk1"/>
              </a:buClr>
              <a:buSzPts val="1800"/>
              <a:buFont typeface="Arial"/>
              <a:buChar char="•"/>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13294B"/>
              </a:buClr>
              <a:buSzPts val="2200"/>
              <a:buFont typeface="Arial"/>
              <a:buNone/>
              <a:tabLst/>
              <a:defRPr/>
            </a:pPr>
            <a:r>
              <a:rPr kumimoji="0" lang="en-US" sz="1400" b="0" i="0" u="none" strike="noStrike" kern="0" cap="none" spc="0" normalizeH="0" baseline="0" noProof="0" dirty="0">
                <a:ln>
                  <a:noFill/>
                </a:ln>
                <a:solidFill>
                  <a:srgbClr val="545859"/>
                </a:solidFill>
                <a:effectLst/>
                <a:uLnTx/>
                <a:uFillTx/>
                <a:latin typeface="Gene Sans" panose="00000500000000000000" pitchFamily="50" charset="0"/>
                <a:cs typeface="Arial"/>
                <a:sym typeface="Arial"/>
              </a:rPr>
              <a:t>Immune-Related Adverse Events With Checkpoint Inhibitors</a:t>
            </a:r>
          </a:p>
        </p:txBody>
      </p:sp>
      <p:sp>
        <p:nvSpPr>
          <p:cNvPr id="7" name="Rectangle 6">
            <a:extLst>
              <a:ext uri="{FF2B5EF4-FFF2-40B4-BE49-F238E27FC236}">
                <a16:creationId xmlns:a16="http://schemas.microsoft.com/office/drawing/2014/main" id="{8050C15E-7EA8-49D6-932C-3030C3B457B6}"/>
              </a:ext>
            </a:extLst>
          </p:cNvPr>
          <p:cNvSpPr/>
          <p:nvPr/>
        </p:nvSpPr>
        <p:spPr>
          <a:xfrm>
            <a:off x="381000" y="1352550"/>
            <a:ext cx="4089400" cy="8195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 name="Rectangle 7">
            <a:extLst>
              <a:ext uri="{FF2B5EF4-FFF2-40B4-BE49-F238E27FC236}">
                <a16:creationId xmlns:a16="http://schemas.microsoft.com/office/drawing/2014/main" id="{239F8281-677E-436D-8842-3C0306DB8D59}"/>
              </a:ext>
            </a:extLst>
          </p:cNvPr>
          <p:cNvSpPr/>
          <p:nvPr/>
        </p:nvSpPr>
        <p:spPr>
          <a:xfrm>
            <a:off x="381000" y="2308643"/>
            <a:ext cx="4089400" cy="8195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 name="Rectangle 8">
            <a:extLst>
              <a:ext uri="{FF2B5EF4-FFF2-40B4-BE49-F238E27FC236}">
                <a16:creationId xmlns:a16="http://schemas.microsoft.com/office/drawing/2014/main" id="{4021B945-ADCD-424F-ADDA-DCD2C7037919}"/>
              </a:ext>
            </a:extLst>
          </p:cNvPr>
          <p:cNvSpPr/>
          <p:nvPr/>
        </p:nvSpPr>
        <p:spPr>
          <a:xfrm>
            <a:off x="381000" y="3264737"/>
            <a:ext cx="4089400" cy="8195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 name="Rectangle 9">
            <a:extLst>
              <a:ext uri="{FF2B5EF4-FFF2-40B4-BE49-F238E27FC236}">
                <a16:creationId xmlns:a16="http://schemas.microsoft.com/office/drawing/2014/main" id="{355BCB35-A37C-4221-A13E-A84DFEDABE42}"/>
              </a:ext>
            </a:extLst>
          </p:cNvPr>
          <p:cNvSpPr/>
          <p:nvPr/>
        </p:nvSpPr>
        <p:spPr>
          <a:xfrm>
            <a:off x="4672952" y="1352550"/>
            <a:ext cx="4089400" cy="8195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 name="Rectangle 10">
            <a:extLst>
              <a:ext uri="{FF2B5EF4-FFF2-40B4-BE49-F238E27FC236}">
                <a16:creationId xmlns:a16="http://schemas.microsoft.com/office/drawing/2014/main" id="{92869932-1794-43E1-990B-DF533EF71785}"/>
              </a:ext>
            </a:extLst>
          </p:cNvPr>
          <p:cNvSpPr/>
          <p:nvPr/>
        </p:nvSpPr>
        <p:spPr>
          <a:xfrm>
            <a:off x="4672952" y="2308643"/>
            <a:ext cx="4089400" cy="8195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Rectangle 11">
            <a:extLst>
              <a:ext uri="{FF2B5EF4-FFF2-40B4-BE49-F238E27FC236}">
                <a16:creationId xmlns:a16="http://schemas.microsoft.com/office/drawing/2014/main" id="{EC7B79B2-A9FF-47D0-B489-03CE3A90ADA9}"/>
              </a:ext>
            </a:extLst>
          </p:cNvPr>
          <p:cNvSpPr/>
          <p:nvPr/>
        </p:nvSpPr>
        <p:spPr>
          <a:xfrm>
            <a:off x="4672952" y="3264737"/>
            <a:ext cx="4089400" cy="8195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 name="Rectangle 12">
            <a:extLst>
              <a:ext uri="{FF2B5EF4-FFF2-40B4-BE49-F238E27FC236}">
                <a16:creationId xmlns:a16="http://schemas.microsoft.com/office/drawing/2014/main" id="{5133F6ED-1E9E-4CAB-B026-4E1A1ECEE05C}"/>
              </a:ext>
            </a:extLst>
          </p:cNvPr>
          <p:cNvSpPr/>
          <p:nvPr/>
        </p:nvSpPr>
        <p:spPr>
          <a:xfrm>
            <a:off x="381000" y="1524238"/>
            <a:ext cx="478168" cy="4762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 name="Rectangle 13">
            <a:extLst>
              <a:ext uri="{FF2B5EF4-FFF2-40B4-BE49-F238E27FC236}">
                <a16:creationId xmlns:a16="http://schemas.microsoft.com/office/drawing/2014/main" id="{681A7F29-A7CA-43BC-8F43-75870B38BCD5}"/>
              </a:ext>
            </a:extLst>
          </p:cNvPr>
          <p:cNvSpPr/>
          <p:nvPr/>
        </p:nvSpPr>
        <p:spPr>
          <a:xfrm>
            <a:off x="381000" y="2480331"/>
            <a:ext cx="478168" cy="4762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5" name="Rectangle 14">
            <a:extLst>
              <a:ext uri="{FF2B5EF4-FFF2-40B4-BE49-F238E27FC236}">
                <a16:creationId xmlns:a16="http://schemas.microsoft.com/office/drawing/2014/main" id="{C9CB7BA1-B1B0-4AAD-B730-FC9EC11F5950}"/>
              </a:ext>
            </a:extLst>
          </p:cNvPr>
          <p:cNvSpPr/>
          <p:nvPr/>
        </p:nvSpPr>
        <p:spPr>
          <a:xfrm>
            <a:off x="381000" y="3436425"/>
            <a:ext cx="478168" cy="4762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 name="Rectangle 15">
            <a:extLst>
              <a:ext uri="{FF2B5EF4-FFF2-40B4-BE49-F238E27FC236}">
                <a16:creationId xmlns:a16="http://schemas.microsoft.com/office/drawing/2014/main" id="{B16FDB41-1B00-4850-9341-EED8D085F9C3}"/>
              </a:ext>
            </a:extLst>
          </p:cNvPr>
          <p:cNvSpPr/>
          <p:nvPr/>
        </p:nvSpPr>
        <p:spPr>
          <a:xfrm>
            <a:off x="4672952" y="1524238"/>
            <a:ext cx="478168" cy="4762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 name="Rectangle 16">
            <a:extLst>
              <a:ext uri="{FF2B5EF4-FFF2-40B4-BE49-F238E27FC236}">
                <a16:creationId xmlns:a16="http://schemas.microsoft.com/office/drawing/2014/main" id="{F239C0BE-0A0E-4A73-BC42-F5F240E2942E}"/>
              </a:ext>
            </a:extLst>
          </p:cNvPr>
          <p:cNvSpPr/>
          <p:nvPr/>
        </p:nvSpPr>
        <p:spPr>
          <a:xfrm>
            <a:off x="4672952" y="2480331"/>
            <a:ext cx="478168" cy="4762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8" name="Rectangle 17">
            <a:extLst>
              <a:ext uri="{FF2B5EF4-FFF2-40B4-BE49-F238E27FC236}">
                <a16:creationId xmlns:a16="http://schemas.microsoft.com/office/drawing/2014/main" id="{E4DF6A20-6AEF-44F5-B851-D6B35010DF68}"/>
              </a:ext>
            </a:extLst>
          </p:cNvPr>
          <p:cNvSpPr/>
          <p:nvPr/>
        </p:nvSpPr>
        <p:spPr>
          <a:xfrm>
            <a:off x="4672952" y="3436425"/>
            <a:ext cx="478168" cy="4762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9" name="Google Shape;4333;p34">
            <a:extLst>
              <a:ext uri="{FF2B5EF4-FFF2-40B4-BE49-F238E27FC236}">
                <a16:creationId xmlns:a16="http://schemas.microsoft.com/office/drawing/2014/main" id="{DA2F6573-6E97-4EB6-ACBA-481089994CF3}"/>
              </a:ext>
            </a:extLst>
          </p:cNvPr>
          <p:cNvSpPr txBox="1">
            <a:spLocks/>
          </p:cNvSpPr>
          <p:nvPr/>
        </p:nvSpPr>
        <p:spPr>
          <a:xfrm>
            <a:off x="1059785" y="1623842"/>
            <a:ext cx="3209998" cy="2769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L="914400" marR="0" lvl="1" indent="-228600" algn="l" rtl="0">
              <a:lnSpc>
                <a:spcPct val="90000"/>
              </a:lnSpc>
              <a:spcBef>
                <a:spcPts val="6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545859"/>
              </a:buClr>
              <a:buSzPts val="2000"/>
              <a:buFont typeface="Arial"/>
              <a:buNone/>
              <a:tabLst/>
              <a:defRPr/>
            </a:pPr>
            <a:r>
              <a:rPr kumimoji="0" lang="en-US"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Anti–PD-1 and anti–PD-L1 therapies may be associated with different incidences of AEs</a:t>
            </a:r>
            <a:r>
              <a:rPr kumimoji="0" lang="en-US" sz="10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1</a:t>
            </a:r>
            <a:r>
              <a:rPr kumimoji="0" lang="en-US"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a:t>
            </a:r>
          </a:p>
        </p:txBody>
      </p:sp>
      <p:sp>
        <p:nvSpPr>
          <p:cNvPr id="20" name="Google Shape;4333;p34">
            <a:extLst>
              <a:ext uri="{FF2B5EF4-FFF2-40B4-BE49-F238E27FC236}">
                <a16:creationId xmlns:a16="http://schemas.microsoft.com/office/drawing/2014/main" id="{C228CBBD-F70C-49A2-B6FB-85F593CC13D5}"/>
              </a:ext>
            </a:extLst>
          </p:cNvPr>
          <p:cNvSpPr txBox="1">
            <a:spLocks/>
          </p:cNvSpPr>
          <p:nvPr/>
        </p:nvSpPr>
        <p:spPr>
          <a:xfrm>
            <a:off x="5351737" y="1485342"/>
            <a:ext cx="3209998" cy="553998"/>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L="914400" marR="0" lvl="1" indent="-228600" algn="l" rtl="0">
              <a:lnSpc>
                <a:spcPct val="90000"/>
              </a:lnSpc>
              <a:spcBef>
                <a:spcPts val="6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545859"/>
              </a:buClr>
              <a:buSzPts val="2000"/>
              <a:buFont typeface="Arial"/>
              <a:buNone/>
              <a:tabLst/>
              <a:defRPr/>
            </a:pPr>
            <a:r>
              <a:rPr kumimoji="0" lang="en-US"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Detailed consensus guidelines have been developed for the diagnosis and management of </a:t>
            </a:r>
            <a:r>
              <a:rPr kumimoji="0" lang="en-US" sz="10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irAEs</a:t>
            </a:r>
            <a:r>
              <a:rPr kumimoji="0" lang="en-US" sz="10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10-13</a:t>
            </a:r>
            <a:r>
              <a:rPr kumimoji="0" lang="en-US"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algorithms for personalized treatment of refractory </a:t>
            </a:r>
            <a:r>
              <a:rPr kumimoji="0" lang="en-US" sz="10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irAEs</a:t>
            </a:r>
            <a:r>
              <a:rPr kumimoji="0" lang="en-US"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have also been published</a:t>
            </a:r>
            <a:r>
              <a:rPr kumimoji="0" lang="en-US" sz="10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14</a:t>
            </a:r>
            <a:endParaRPr kumimoji="0" lang="en-US"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1" name="Google Shape;4333;p34">
            <a:extLst>
              <a:ext uri="{FF2B5EF4-FFF2-40B4-BE49-F238E27FC236}">
                <a16:creationId xmlns:a16="http://schemas.microsoft.com/office/drawing/2014/main" id="{A32D8C29-1BFC-45CC-9133-AE40C90F772A}"/>
              </a:ext>
            </a:extLst>
          </p:cNvPr>
          <p:cNvSpPr txBox="1">
            <a:spLocks/>
          </p:cNvSpPr>
          <p:nvPr/>
        </p:nvSpPr>
        <p:spPr>
          <a:xfrm>
            <a:off x="1059785" y="2579935"/>
            <a:ext cx="3209998" cy="2769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L="914400" marR="0" lvl="1" indent="-228600" algn="l" rtl="0">
              <a:lnSpc>
                <a:spcPct val="90000"/>
              </a:lnSpc>
              <a:spcBef>
                <a:spcPts val="6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545859"/>
              </a:buClr>
              <a:buSzPts val="2000"/>
              <a:buFont typeface="Arial"/>
              <a:buNone/>
              <a:tabLst/>
              <a:defRPr/>
            </a:pPr>
            <a:r>
              <a:rPr kumimoji="0" lang="en-US"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The relationship between development of </a:t>
            </a:r>
            <a:r>
              <a:rPr kumimoji="0" lang="en-US" sz="10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irAEs</a:t>
            </a:r>
            <a:r>
              <a:rPr kumimoji="0" lang="en-US"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and treatment outcome is evolving</a:t>
            </a:r>
            <a:r>
              <a:rPr kumimoji="0" lang="en-US" sz="10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2-7</a:t>
            </a:r>
            <a:endParaRPr kumimoji="0" lang="en-US"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2" name="Google Shape;4333;p34">
            <a:extLst>
              <a:ext uri="{FF2B5EF4-FFF2-40B4-BE49-F238E27FC236}">
                <a16:creationId xmlns:a16="http://schemas.microsoft.com/office/drawing/2014/main" id="{5B60E307-7552-4525-9FC2-50F6589ECD89}"/>
              </a:ext>
            </a:extLst>
          </p:cNvPr>
          <p:cNvSpPr txBox="1">
            <a:spLocks/>
          </p:cNvSpPr>
          <p:nvPr/>
        </p:nvSpPr>
        <p:spPr>
          <a:xfrm>
            <a:off x="5351737" y="2441436"/>
            <a:ext cx="3209998" cy="553998"/>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L="914400" marR="0" lvl="1" indent="-228600" algn="l" rtl="0">
              <a:lnSpc>
                <a:spcPct val="90000"/>
              </a:lnSpc>
              <a:spcBef>
                <a:spcPts val="6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545859"/>
              </a:buClr>
              <a:buSzPts val="2000"/>
              <a:buFont typeface="Arial"/>
              <a:buNone/>
              <a:tabLst/>
              <a:defRPr/>
            </a:pPr>
            <a:r>
              <a:rPr kumimoji="0" lang="en-US"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For patients with pre-existing rheumatic disease, pre-emptive referral to a rheumatologist prior to immunotherapy and early referral in the event of rheumatic </a:t>
            </a:r>
            <a:r>
              <a:rPr kumimoji="0" lang="en-US" sz="10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irAEs</a:t>
            </a:r>
            <a:r>
              <a:rPr kumimoji="0" lang="en-US"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 should be considered</a:t>
            </a:r>
            <a:r>
              <a:rPr kumimoji="0" lang="en-US" sz="10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15</a:t>
            </a:r>
            <a:endParaRPr kumimoji="0" lang="en-US"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3" name="Google Shape;4333;p34">
            <a:extLst>
              <a:ext uri="{FF2B5EF4-FFF2-40B4-BE49-F238E27FC236}">
                <a16:creationId xmlns:a16="http://schemas.microsoft.com/office/drawing/2014/main" id="{116EA703-5F92-411B-A76A-ACB1225879B8}"/>
              </a:ext>
            </a:extLst>
          </p:cNvPr>
          <p:cNvSpPr txBox="1">
            <a:spLocks/>
          </p:cNvSpPr>
          <p:nvPr/>
        </p:nvSpPr>
        <p:spPr>
          <a:xfrm>
            <a:off x="1059785" y="3536029"/>
            <a:ext cx="3209998" cy="276999"/>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L="914400" marR="0" lvl="1" indent="-228600" algn="l" rtl="0">
              <a:lnSpc>
                <a:spcPct val="90000"/>
              </a:lnSpc>
              <a:spcBef>
                <a:spcPts val="6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545859"/>
              </a:buClr>
              <a:buSzPts val="2000"/>
              <a:buFont typeface="Arial"/>
              <a:buNone/>
              <a:tabLst/>
              <a:defRPr/>
            </a:pPr>
            <a:r>
              <a:rPr kumimoji="0" lang="en-US"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Corticosteroids do not seem to impair outcomes when used to treat </a:t>
            </a:r>
            <a:r>
              <a:rPr kumimoji="0" lang="en-US" sz="1000" b="0" i="0" u="none" strike="noStrike" kern="0" cap="none" spc="0" normalizeH="0" baseline="0" noProof="0" dirty="0" err="1">
                <a:ln>
                  <a:noFill/>
                </a:ln>
                <a:solidFill>
                  <a:srgbClr val="545859"/>
                </a:solidFill>
                <a:effectLst/>
                <a:uLnTx/>
                <a:uFillTx/>
                <a:latin typeface="Gene Sans Light" panose="00000400000000000000" pitchFamily="50" charset="0"/>
                <a:cs typeface="Arial"/>
                <a:sym typeface="Arial"/>
              </a:rPr>
              <a:t>irAEs</a:t>
            </a:r>
            <a:r>
              <a:rPr kumimoji="0" lang="en-US" sz="10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7-9</a:t>
            </a:r>
            <a:endParaRPr kumimoji="0" lang="en-US"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sp>
        <p:nvSpPr>
          <p:cNvPr id="24" name="Google Shape;4333;p34">
            <a:extLst>
              <a:ext uri="{FF2B5EF4-FFF2-40B4-BE49-F238E27FC236}">
                <a16:creationId xmlns:a16="http://schemas.microsoft.com/office/drawing/2014/main" id="{9E79DB11-8483-4D57-A20A-3435F8894C94}"/>
              </a:ext>
            </a:extLst>
          </p:cNvPr>
          <p:cNvSpPr txBox="1">
            <a:spLocks/>
          </p:cNvSpPr>
          <p:nvPr/>
        </p:nvSpPr>
        <p:spPr>
          <a:xfrm>
            <a:off x="5351737" y="3466780"/>
            <a:ext cx="3209998" cy="415498"/>
          </a:xfrm>
          <a:prstGeom prst="rect">
            <a:avLst/>
          </a:prstGeom>
          <a:noFill/>
          <a:ln>
            <a:noFill/>
          </a:ln>
        </p:spPr>
        <p:txBody>
          <a:bodyPr spcFirstLastPara="1" wrap="square" lIns="0" tIns="0" rIns="0" bIns="0" anchor="ctr" anchorCtr="0">
            <a:spAutoFit/>
          </a:bodyPr>
          <a:lstStyle>
            <a:defPPr marR="0" lvl="0" algn="l" rtl="0">
              <a:lnSpc>
                <a:spcPct val="100000"/>
              </a:lnSpc>
              <a:spcBef>
                <a:spcPts val="0"/>
              </a:spcBef>
              <a:spcAft>
                <a:spcPts val="0"/>
              </a:spcAft>
            </a:defPPr>
            <a:lvl1pPr marL="457200" marR="0" lvl="0" indent="-228600" algn="l" rtl="0">
              <a:lnSpc>
                <a:spcPct val="90000"/>
              </a:lnSpc>
              <a:spcBef>
                <a:spcPts val="0"/>
              </a:spcBef>
              <a:spcAft>
                <a:spcPts val="0"/>
              </a:spcAft>
              <a:buClr>
                <a:schemeClr val="dk1"/>
              </a:buClr>
              <a:buSzPts val="900"/>
              <a:buFont typeface="Arial"/>
              <a:buNone/>
              <a:defRPr sz="900" b="0" i="0" u="none" strike="noStrike" cap="none">
                <a:solidFill>
                  <a:schemeClr val="dk1"/>
                </a:solidFill>
                <a:latin typeface="Arial"/>
                <a:ea typeface="Arial"/>
                <a:cs typeface="Arial"/>
                <a:sym typeface="Arial"/>
              </a:defRPr>
            </a:lvl1pPr>
            <a:lvl2pPr marL="914400" marR="0" lvl="1" indent="-228600" algn="l" rtl="0">
              <a:lnSpc>
                <a:spcPct val="90000"/>
              </a:lnSpc>
              <a:spcBef>
                <a:spcPts val="600"/>
              </a:spcBef>
              <a:spcAft>
                <a:spcPts val="0"/>
              </a:spcAft>
              <a:buClr>
                <a:schemeClr val="dk1"/>
              </a:buClr>
              <a:buSzPts val="1400"/>
              <a:buFont typeface="Arial"/>
              <a:buNone/>
              <a:defRPr sz="1400" b="0" i="0" u="none" strike="noStrike" cap="none">
                <a:solidFill>
                  <a:schemeClr val="dk1"/>
                </a:solidFill>
                <a:latin typeface="Arial"/>
                <a:ea typeface="Arial"/>
                <a:cs typeface="Arial"/>
                <a:sym typeface="Arial"/>
              </a:defRPr>
            </a:lvl2pPr>
            <a:lvl3pPr marL="1371600" marR="0" lvl="2" indent="-342900" algn="l" rtl="0">
              <a:lnSpc>
                <a:spcPct val="90000"/>
              </a:lnSpc>
              <a:spcBef>
                <a:spcPts val="600"/>
              </a:spcBef>
              <a:spcAft>
                <a:spcPts val="0"/>
              </a:spcAft>
              <a:buClr>
                <a:schemeClr val="dk1"/>
              </a:buClr>
              <a:buSzPts val="1800"/>
              <a:buFont typeface="Noto Sans Symbols"/>
              <a:buChar char="•"/>
              <a:defRPr sz="1100" b="0" i="0" u="none" strike="noStrike" cap="none">
                <a:solidFill>
                  <a:schemeClr val="dk1"/>
                </a:solidFill>
                <a:latin typeface="Arial"/>
                <a:ea typeface="Arial"/>
                <a:cs typeface="Arial"/>
                <a:sym typeface="Arial"/>
              </a:defRPr>
            </a:lvl3pPr>
            <a:lvl4pPr marL="1828800" marR="0" lvl="3"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4pPr>
            <a:lvl5pPr marL="2286000" marR="0" lvl="4" indent="-342900" algn="l" rtl="0">
              <a:lnSpc>
                <a:spcPct val="90000"/>
              </a:lnSpc>
              <a:spcBef>
                <a:spcPts val="600"/>
              </a:spcBef>
              <a:spcAft>
                <a:spcPts val="0"/>
              </a:spcAft>
              <a:buClr>
                <a:schemeClr val="dk1"/>
              </a:buClr>
              <a:buSzPts val="1800"/>
              <a:buFont typeface="Arial"/>
              <a:buChar char="•"/>
              <a:defRPr sz="1050" b="0" i="0" u="none" strike="noStrike" cap="none">
                <a:solidFill>
                  <a:schemeClr val="dk1"/>
                </a:solidFill>
                <a:latin typeface="Arial"/>
                <a:ea typeface="Arial"/>
                <a:cs typeface="Arial"/>
                <a:sym typeface="Arial"/>
              </a:defRPr>
            </a:lvl5pPr>
            <a:lvl6pPr marL="2743200" marR="0" lvl="5"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6pPr>
            <a:lvl7pPr marL="3200400" marR="0" lvl="6"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7pPr>
            <a:lvl8pPr marL="3657600" marR="0" lvl="7"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8pPr>
            <a:lvl9pPr marL="4114800" marR="0" lvl="8" indent="-342900" algn="l" rtl="0">
              <a:lnSpc>
                <a:spcPct val="90000"/>
              </a:lnSpc>
              <a:spcBef>
                <a:spcPts val="375"/>
              </a:spcBef>
              <a:spcAft>
                <a:spcPts val="0"/>
              </a:spcAft>
              <a:buClr>
                <a:schemeClr val="dk1"/>
              </a:buClr>
              <a:buSzPts val="1800"/>
              <a:buFont typeface="Arial"/>
              <a:buChar char="•"/>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545859"/>
              </a:buClr>
              <a:buSzPts val="2000"/>
              <a:buFont typeface="Arial"/>
              <a:buNone/>
              <a:tabLst/>
              <a:defRPr/>
            </a:pPr>
            <a:r>
              <a:rPr kumimoji="0" lang="en-US"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rPr>
              <a:t>CPIs are generally well tolerated in patients with HIV, and Phase I and II clinical studies of patients with HIV treated with CPIs are ongoing</a:t>
            </a:r>
            <a:r>
              <a:rPr kumimoji="0" lang="en-US" sz="1000" b="0" i="0" u="none" strike="noStrike" kern="0" cap="none" spc="0" normalizeH="0" baseline="30000" noProof="0" dirty="0">
                <a:ln>
                  <a:noFill/>
                </a:ln>
                <a:solidFill>
                  <a:srgbClr val="545859"/>
                </a:solidFill>
                <a:effectLst/>
                <a:uLnTx/>
                <a:uFillTx/>
                <a:latin typeface="Gene Sans Light" panose="00000400000000000000" pitchFamily="50" charset="0"/>
                <a:cs typeface="Arial"/>
                <a:sym typeface="Arial"/>
              </a:rPr>
              <a:t>16</a:t>
            </a:r>
            <a:endParaRPr kumimoji="0" lang="en-US" sz="1000" b="0" i="0" u="none" strike="noStrike" kern="0" cap="none" spc="0" normalizeH="0" baseline="0" noProof="0" dirty="0">
              <a:ln>
                <a:noFill/>
              </a:ln>
              <a:solidFill>
                <a:srgbClr val="545859"/>
              </a:solidFill>
              <a:effectLst/>
              <a:uLnTx/>
              <a:uFillTx/>
              <a:latin typeface="Gene Sans Light" panose="00000400000000000000" pitchFamily="50" charset="0"/>
              <a:cs typeface="Arial"/>
              <a:sym typeface="Arial"/>
            </a:endParaRPr>
          </a:p>
        </p:txBody>
      </p:sp>
      <p:grpSp>
        <p:nvGrpSpPr>
          <p:cNvPr id="25" name="Group 24">
            <a:extLst>
              <a:ext uri="{FF2B5EF4-FFF2-40B4-BE49-F238E27FC236}">
                <a16:creationId xmlns:a16="http://schemas.microsoft.com/office/drawing/2014/main" id="{89B1E65D-980E-4760-A9C9-F269C8EA0AD6}"/>
              </a:ext>
            </a:extLst>
          </p:cNvPr>
          <p:cNvGrpSpPr/>
          <p:nvPr/>
        </p:nvGrpSpPr>
        <p:grpSpPr>
          <a:xfrm>
            <a:off x="524667" y="1632335"/>
            <a:ext cx="190834" cy="260012"/>
            <a:chOff x="4171951" y="2562226"/>
            <a:chExt cx="254000" cy="346075"/>
          </a:xfrm>
        </p:grpSpPr>
        <p:sp>
          <p:nvSpPr>
            <p:cNvPr id="26" name="Freeform 189">
              <a:extLst>
                <a:ext uri="{FF2B5EF4-FFF2-40B4-BE49-F238E27FC236}">
                  <a16:creationId xmlns:a16="http://schemas.microsoft.com/office/drawing/2014/main" id="{DF44CA18-134E-43AE-837B-CF8F29DA67D3}"/>
                </a:ext>
              </a:extLst>
            </p:cNvPr>
            <p:cNvSpPr>
              <a:spLocks/>
            </p:cNvSpPr>
            <p:nvPr/>
          </p:nvSpPr>
          <p:spPr bwMode="auto">
            <a:xfrm>
              <a:off x="4171951" y="2562226"/>
              <a:ext cx="254000" cy="346075"/>
            </a:xfrm>
            <a:custGeom>
              <a:avLst/>
              <a:gdLst>
                <a:gd name="T0" fmla="*/ 160 w 160"/>
                <a:gd name="T1" fmla="*/ 218 h 218"/>
                <a:gd name="T2" fmla="*/ 0 w 160"/>
                <a:gd name="T3" fmla="*/ 218 h 218"/>
                <a:gd name="T4" fmla="*/ 0 w 160"/>
                <a:gd name="T5" fmla="*/ 0 h 218"/>
                <a:gd name="T6" fmla="*/ 104 w 160"/>
                <a:gd name="T7" fmla="*/ 0 h 218"/>
                <a:gd name="T8" fmla="*/ 160 w 160"/>
                <a:gd name="T9" fmla="*/ 57 h 218"/>
                <a:gd name="T10" fmla="*/ 160 w 160"/>
                <a:gd name="T11" fmla="*/ 218 h 218"/>
              </a:gdLst>
              <a:ahLst/>
              <a:cxnLst>
                <a:cxn ang="0">
                  <a:pos x="T0" y="T1"/>
                </a:cxn>
                <a:cxn ang="0">
                  <a:pos x="T2" y="T3"/>
                </a:cxn>
                <a:cxn ang="0">
                  <a:pos x="T4" y="T5"/>
                </a:cxn>
                <a:cxn ang="0">
                  <a:pos x="T6" y="T7"/>
                </a:cxn>
                <a:cxn ang="0">
                  <a:pos x="T8" y="T9"/>
                </a:cxn>
                <a:cxn ang="0">
                  <a:pos x="T10" y="T11"/>
                </a:cxn>
              </a:cxnLst>
              <a:rect l="0" t="0" r="r" b="b"/>
              <a:pathLst>
                <a:path w="160" h="218">
                  <a:moveTo>
                    <a:pt x="160" y="218"/>
                  </a:moveTo>
                  <a:lnTo>
                    <a:pt x="0" y="218"/>
                  </a:lnTo>
                  <a:lnTo>
                    <a:pt x="0" y="0"/>
                  </a:lnTo>
                  <a:lnTo>
                    <a:pt x="104" y="0"/>
                  </a:lnTo>
                  <a:lnTo>
                    <a:pt x="160" y="57"/>
                  </a:lnTo>
                  <a:lnTo>
                    <a:pt x="160" y="218"/>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7" name="Freeform 190">
              <a:extLst>
                <a:ext uri="{FF2B5EF4-FFF2-40B4-BE49-F238E27FC236}">
                  <a16:creationId xmlns:a16="http://schemas.microsoft.com/office/drawing/2014/main" id="{FA3C7F55-C986-4716-BACD-35F528048BCF}"/>
                </a:ext>
              </a:extLst>
            </p:cNvPr>
            <p:cNvSpPr>
              <a:spLocks/>
            </p:cNvSpPr>
            <p:nvPr/>
          </p:nvSpPr>
          <p:spPr bwMode="auto">
            <a:xfrm>
              <a:off x="4337051" y="2562226"/>
              <a:ext cx="88900" cy="90488"/>
            </a:xfrm>
            <a:custGeom>
              <a:avLst/>
              <a:gdLst>
                <a:gd name="T0" fmla="*/ 0 w 56"/>
                <a:gd name="T1" fmla="*/ 0 h 57"/>
                <a:gd name="T2" fmla="*/ 0 w 56"/>
                <a:gd name="T3" fmla="*/ 57 h 57"/>
                <a:gd name="T4" fmla="*/ 56 w 56"/>
                <a:gd name="T5" fmla="*/ 57 h 57"/>
              </a:gdLst>
              <a:ahLst/>
              <a:cxnLst>
                <a:cxn ang="0">
                  <a:pos x="T0" y="T1"/>
                </a:cxn>
                <a:cxn ang="0">
                  <a:pos x="T2" y="T3"/>
                </a:cxn>
                <a:cxn ang="0">
                  <a:pos x="T4" y="T5"/>
                </a:cxn>
              </a:cxnLst>
              <a:rect l="0" t="0" r="r" b="b"/>
              <a:pathLst>
                <a:path w="56" h="57">
                  <a:moveTo>
                    <a:pt x="0" y="0"/>
                  </a:moveTo>
                  <a:lnTo>
                    <a:pt x="0" y="57"/>
                  </a:lnTo>
                  <a:lnTo>
                    <a:pt x="56" y="57"/>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8" name="Line 191">
              <a:extLst>
                <a:ext uri="{FF2B5EF4-FFF2-40B4-BE49-F238E27FC236}">
                  <a16:creationId xmlns:a16="http://schemas.microsoft.com/office/drawing/2014/main" id="{0BB5F01F-3694-4E0E-A820-19C768472340}"/>
                </a:ext>
              </a:extLst>
            </p:cNvPr>
            <p:cNvSpPr>
              <a:spLocks noChangeShapeType="1"/>
            </p:cNvSpPr>
            <p:nvPr/>
          </p:nvSpPr>
          <p:spPr bwMode="auto">
            <a:xfrm>
              <a:off x="4216401" y="2832101"/>
              <a:ext cx="16510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29" name="Line 192">
              <a:extLst>
                <a:ext uri="{FF2B5EF4-FFF2-40B4-BE49-F238E27FC236}">
                  <a16:creationId xmlns:a16="http://schemas.microsoft.com/office/drawing/2014/main" id="{531B12A9-F3DD-4196-8C76-B9675636879C}"/>
                </a:ext>
              </a:extLst>
            </p:cNvPr>
            <p:cNvSpPr>
              <a:spLocks noChangeShapeType="1"/>
            </p:cNvSpPr>
            <p:nvPr/>
          </p:nvSpPr>
          <p:spPr bwMode="auto">
            <a:xfrm>
              <a:off x="4216401" y="2862263"/>
              <a:ext cx="165100"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0" name="Freeform 193">
              <a:extLst>
                <a:ext uri="{FF2B5EF4-FFF2-40B4-BE49-F238E27FC236}">
                  <a16:creationId xmlns:a16="http://schemas.microsoft.com/office/drawing/2014/main" id="{BD8A3649-7C34-4742-96AF-36FC8D6F289D}"/>
                </a:ext>
              </a:extLst>
            </p:cNvPr>
            <p:cNvSpPr>
              <a:spLocks/>
            </p:cNvSpPr>
            <p:nvPr/>
          </p:nvSpPr>
          <p:spPr bwMode="auto">
            <a:xfrm>
              <a:off x="4246563" y="2682876"/>
              <a:ext cx="104775" cy="104775"/>
            </a:xfrm>
            <a:custGeom>
              <a:avLst/>
              <a:gdLst>
                <a:gd name="T0" fmla="*/ 66 w 66"/>
                <a:gd name="T1" fmla="*/ 19 h 66"/>
                <a:gd name="T2" fmla="*/ 47 w 66"/>
                <a:gd name="T3" fmla="*/ 19 h 66"/>
                <a:gd name="T4" fmla="*/ 47 w 66"/>
                <a:gd name="T5" fmla="*/ 0 h 66"/>
                <a:gd name="T6" fmla="*/ 19 w 66"/>
                <a:gd name="T7" fmla="*/ 0 h 66"/>
                <a:gd name="T8" fmla="*/ 19 w 66"/>
                <a:gd name="T9" fmla="*/ 19 h 66"/>
                <a:gd name="T10" fmla="*/ 0 w 66"/>
                <a:gd name="T11" fmla="*/ 19 h 66"/>
                <a:gd name="T12" fmla="*/ 0 w 66"/>
                <a:gd name="T13" fmla="*/ 47 h 66"/>
                <a:gd name="T14" fmla="*/ 19 w 66"/>
                <a:gd name="T15" fmla="*/ 47 h 66"/>
                <a:gd name="T16" fmla="*/ 19 w 66"/>
                <a:gd name="T17" fmla="*/ 66 h 66"/>
                <a:gd name="T18" fmla="*/ 47 w 66"/>
                <a:gd name="T19" fmla="*/ 66 h 66"/>
                <a:gd name="T20" fmla="*/ 47 w 66"/>
                <a:gd name="T21" fmla="*/ 47 h 66"/>
                <a:gd name="T22" fmla="*/ 66 w 66"/>
                <a:gd name="T23" fmla="*/ 47 h 66"/>
                <a:gd name="T24" fmla="*/ 66 w 66"/>
                <a:gd name="T25" fmla="*/ 1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66">
                  <a:moveTo>
                    <a:pt x="66" y="19"/>
                  </a:moveTo>
                  <a:lnTo>
                    <a:pt x="47" y="19"/>
                  </a:lnTo>
                  <a:lnTo>
                    <a:pt x="47" y="0"/>
                  </a:lnTo>
                  <a:lnTo>
                    <a:pt x="19" y="0"/>
                  </a:lnTo>
                  <a:lnTo>
                    <a:pt x="19" y="19"/>
                  </a:lnTo>
                  <a:lnTo>
                    <a:pt x="0" y="19"/>
                  </a:lnTo>
                  <a:lnTo>
                    <a:pt x="0" y="47"/>
                  </a:lnTo>
                  <a:lnTo>
                    <a:pt x="19" y="47"/>
                  </a:lnTo>
                  <a:lnTo>
                    <a:pt x="19" y="66"/>
                  </a:lnTo>
                  <a:lnTo>
                    <a:pt x="47" y="66"/>
                  </a:lnTo>
                  <a:lnTo>
                    <a:pt x="47" y="47"/>
                  </a:lnTo>
                  <a:lnTo>
                    <a:pt x="66" y="47"/>
                  </a:lnTo>
                  <a:lnTo>
                    <a:pt x="66" y="19"/>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31" name="Graphic 197">
            <a:extLst>
              <a:ext uri="{FF2B5EF4-FFF2-40B4-BE49-F238E27FC236}">
                <a16:creationId xmlns:a16="http://schemas.microsoft.com/office/drawing/2014/main" id="{F299145C-D780-46FC-B4CE-7B8C015C05FF}"/>
              </a:ext>
            </a:extLst>
          </p:cNvPr>
          <p:cNvSpPr/>
          <p:nvPr/>
        </p:nvSpPr>
        <p:spPr>
          <a:xfrm>
            <a:off x="480343" y="2626338"/>
            <a:ext cx="279483" cy="184192"/>
          </a:xfrm>
          <a:custGeom>
            <a:avLst/>
            <a:gdLst>
              <a:gd name="connsiteX0" fmla="*/ 450109 w 450109"/>
              <a:gd name="connsiteY0" fmla="*/ 76571 h 296642"/>
              <a:gd name="connsiteX1" fmla="*/ 443648 w 450109"/>
              <a:gd name="connsiteY1" fmla="*/ 57099 h 296642"/>
              <a:gd name="connsiteX2" fmla="*/ 407982 w 450109"/>
              <a:gd name="connsiteY2" fmla="*/ 11464 h 296642"/>
              <a:gd name="connsiteX3" fmla="*/ 383832 w 450109"/>
              <a:gd name="connsiteY3" fmla="*/ 0 h 296642"/>
              <a:gd name="connsiteX4" fmla="*/ 368061 w 450109"/>
              <a:gd name="connsiteY4" fmla="*/ 4422 h 296642"/>
              <a:gd name="connsiteX5" fmla="*/ 333283 w 450109"/>
              <a:gd name="connsiteY5" fmla="*/ 26057 h 296642"/>
              <a:gd name="connsiteX6" fmla="*/ 317301 w 450109"/>
              <a:gd name="connsiteY6" fmla="*/ 29952 h 296642"/>
              <a:gd name="connsiteX7" fmla="*/ 305046 w 450109"/>
              <a:gd name="connsiteY7" fmla="*/ 27543 h 296642"/>
              <a:gd name="connsiteX8" fmla="*/ 270989 w 450109"/>
              <a:gd name="connsiteY8" fmla="*/ 11051 h 296642"/>
              <a:gd name="connsiteX9" fmla="*/ 253213 w 450109"/>
              <a:gd name="connsiteY9" fmla="*/ 7314 h 296642"/>
              <a:gd name="connsiteX10" fmla="*/ 228219 w 450109"/>
              <a:gd name="connsiteY10" fmla="*/ 14514 h 296642"/>
              <a:gd name="connsiteX11" fmla="*/ 224246 w 450109"/>
              <a:gd name="connsiteY11" fmla="*/ 17301 h 296642"/>
              <a:gd name="connsiteX12" fmla="*/ 210716 w 450109"/>
              <a:gd name="connsiteY12" fmla="*/ 10567 h 296642"/>
              <a:gd name="connsiteX13" fmla="*/ 188536 w 450109"/>
              <a:gd name="connsiteY13" fmla="*/ 6004 h 296642"/>
              <a:gd name="connsiteX14" fmla="*/ 168176 w 450109"/>
              <a:gd name="connsiteY14" fmla="*/ 9741 h 296642"/>
              <a:gd name="connsiteX15" fmla="*/ 144984 w 450109"/>
              <a:gd name="connsiteY15" fmla="*/ 19640 h 296642"/>
              <a:gd name="connsiteX16" fmla="*/ 129239 w 450109"/>
              <a:gd name="connsiteY16" fmla="*/ 22321 h 296642"/>
              <a:gd name="connsiteX17" fmla="*/ 113503 w 450109"/>
              <a:gd name="connsiteY17" fmla="*/ 19640 h 296642"/>
              <a:gd name="connsiteX18" fmla="*/ 90286 w 450109"/>
              <a:gd name="connsiteY18" fmla="*/ 9741 h 296642"/>
              <a:gd name="connsiteX19" fmla="*/ 77037 w 450109"/>
              <a:gd name="connsiteY19" fmla="*/ 7156 h 296642"/>
              <a:gd name="connsiteX20" fmla="*/ 61960 w 450109"/>
              <a:gd name="connsiteY20" fmla="*/ 10110 h 296642"/>
              <a:gd name="connsiteX21" fmla="*/ 49248 w 450109"/>
              <a:gd name="connsiteY21" fmla="*/ 18857 h 296642"/>
              <a:gd name="connsiteX22" fmla="*/ 7007 w 450109"/>
              <a:gd name="connsiteY22" fmla="*/ 66189 h 296642"/>
              <a:gd name="connsiteX23" fmla="*/ 0 w 450109"/>
              <a:gd name="connsiteY23" fmla="*/ 84492 h 296642"/>
              <a:gd name="connsiteX24" fmla="*/ 9679 w 450109"/>
              <a:gd name="connsiteY24" fmla="*/ 105424 h 296642"/>
              <a:gd name="connsiteX25" fmla="*/ 49108 w 450109"/>
              <a:gd name="connsiteY25" fmla="*/ 139059 h 296642"/>
              <a:gd name="connsiteX26" fmla="*/ 30400 w 450109"/>
              <a:gd name="connsiteY26" fmla="*/ 158576 h 296642"/>
              <a:gd name="connsiteX27" fmla="*/ 22681 w 450109"/>
              <a:gd name="connsiteY27" fmla="*/ 177829 h 296642"/>
              <a:gd name="connsiteX28" fmla="*/ 31358 w 450109"/>
              <a:gd name="connsiteY28" fmla="*/ 198040 h 296642"/>
              <a:gd name="connsiteX29" fmla="*/ 35156 w 450109"/>
              <a:gd name="connsiteY29" fmla="*/ 201644 h 296642"/>
              <a:gd name="connsiteX30" fmla="*/ 47525 w 450109"/>
              <a:gd name="connsiteY30" fmla="*/ 208343 h 296642"/>
              <a:gd name="connsiteX31" fmla="*/ 44044 w 450109"/>
              <a:gd name="connsiteY31" fmla="*/ 221591 h 296642"/>
              <a:gd name="connsiteX32" fmla="*/ 52712 w 450109"/>
              <a:gd name="connsiteY32" fmla="*/ 241802 h 296642"/>
              <a:gd name="connsiteX33" fmla="*/ 52703 w 450109"/>
              <a:gd name="connsiteY33" fmla="*/ 241794 h 296642"/>
              <a:gd name="connsiteX34" fmla="*/ 56510 w 450109"/>
              <a:gd name="connsiteY34" fmla="*/ 245416 h 296642"/>
              <a:gd name="connsiteX35" fmla="*/ 75868 w 450109"/>
              <a:gd name="connsiteY35" fmla="*/ 253099 h 296642"/>
              <a:gd name="connsiteX36" fmla="*/ 86804 w 450109"/>
              <a:gd name="connsiteY36" fmla="*/ 250893 h 296642"/>
              <a:gd name="connsiteX37" fmla="*/ 94558 w 450109"/>
              <a:gd name="connsiteY37" fmla="*/ 264396 h 296642"/>
              <a:gd name="connsiteX38" fmla="*/ 98365 w 450109"/>
              <a:gd name="connsiteY38" fmla="*/ 268018 h 296642"/>
              <a:gd name="connsiteX39" fmla="*/ 117723 w 450109"/>
              <a:gd name="connsiteY39" fmla="*/ 275701 h 296642"/>
              <a:gd name="connsiteX40" fmla="*/ 133266 w 450109"/>
              <a:gd name="connsiteY40" fmla="*/ 271016 h 296642"/>
              <a:gd name="connsiteX41" fmla="*/ 140562 w 450109"/>
              <a:gd name="connsiteY41" fmla="*/ 282998 h 296642"/>
              <a:gd name="connsiteX42" fmla="*/ 144369 w 450109"/>
              <a:gd name="connsiteY42" fmla="*/ 286620 h 296642"/>
              <a:gd name="connsiteX43" fmla="*/ 163718 w 450109"/>
              <a:gd name="connsiteY43" fmla="*/ 294304 h 296642"/>
              <a:gd name="connsiteX44" fmla="*/ 184026 w 450109"/>
              <a:gd name="connsiteY44" fmla="*/ 285671 h 296642"/>
              <a:gd name="connsiteX45" fmla="*/ 200553 w 450109"/>
              <a:gd name="connsiteY45" fmla="*/ 268405 h 296642"/>
              <a:gd name="connsiteX46" fmla="*/ 223015 w 450109"/>
              <a:gd name="connsiteY46" fmla="*/ 289187 h 296642"/>
              <a:gd name="connsiteX47" fmla="*/ 242101 w 450109"/>
              <a:gd name="connsiteY47" fmla="*/ 296642 h 296642"/>
              <a:gd name="connsiteX48" fmla="*/ 262637 w 450109"/>
              <a:gd name="connsiteY48" fmla="*/ 287763 h 296642"/>
              <a:gd name="connsiteX49" fmla="*/ 266224 w 450109"/>
              <a:gd name="connsiteY49" fmla="*/ 283921 h 296642"/>
              <a:gd name="connsiteX50" fmla="*/ 272509 w 450109"/>
              <a:gd name="connsiteY50" fmla="*/ 272554 h 296642"/>
              <a:gd name="connsiteX51" fmla="*/ 281213 w 450109"/>
              <a:gd name="connsiteY51" fmla="*/ 280580 h 296642"/>
              <a:gd name="connsiteX52" fmla="*/ 300290 w 450109"/>
              <a:gd name="connsiteY52" fmla="*/ 288009 h 296642"/>
              <a:gd name="connsiteX53" fmla="*/ 320870 w 450109"/>
              <a:gd name="connsiteY53" fmla="*/ 279112 h 296642"/>
              <a:gd name="connsiteX54" fmla="*/ 324430 w 450109"/>
              <a:gd name="connsiteY54" fmla="*/ 275279 h 296642"/>
              <a:gd name="connsiteX55" fmla="*/ 331577 w 450109"/>
              <a:gd name="connsiteY55" fmla="*/ 259868 h 296642"/>
              <a:gd name="connsiteX56" fmla="*/ 338549 w 450109"/>
              <a:gd name="connsiteY56" fmla="*/ 260853 h 296642"/>
              <a:gd name="connsiteX57" fmla="*/ 359111 w 450109"/>
              <a:gd name="connsiteY57" fmla="*/ 251965 h 296642"/>
              <a:gd name="connsiteX58" fmla="*/ 362689 w 450109"/>
              <a:gd name="connsiteY58" fmla="*/ 248132 h 296642"/>
              <a:gd name="connsiteX59" fmla="*/ 370162 w 450109"/>
              <a:gd name="connsiteY59" fmla="*/ 229134 h 296642"/>
              <a:gd name="connsiteX60" fmla="*/ 369397 w 450109"/>
              <a:gd name="connsiteY60" fmla="*/ 222875 h 296642"/>
              <a:gd name="connsiteX61" fmla="*/ 386223 w 450109"/>
              <a:gd name="connsiteY61" fmla="*/ 214356 h 296642"/>
              <a:gd name="connsiteX62" fmla="*/ 389810 w 450109"/>
              <a:gd name="connsiteY62" fmla="*/ 210514 h 296642"/>
              <a:gd name="connsiteX63" fmla="*/ 397283 w 450109"/>
              <a:gd name="connsiteY63" fmla="*/ 191517 h 296642"/>
              <a:gd name="connsiteX64" fmla="*/ 388351 w 450109"/>
              <a:gd name="connsiteY64" fmla="*/ 171051 h 296642"/>
              <a:gd name="connsiteX65" fmla="*/ 381643 w 450109"/>
              <a:gd name="connsiteY65" fmla="*/ 164853 h 296642"/>
              <a:gd name="connsiteX66" fmla="*/ 442162 w 450109"/>
              <a:gd name="connsiteY66" fmla="*/ 97943 h 296642"/>
              <a:gd name="connsiteX67" fmla="*/ 450109 w 450109"/>
              <a:gd name="connsiteY67" fmla="*/ 76571 h 296642"/>
              <a:gd name="connsiteX68" fmla="*/ 54514 w 450109"/>
              <a:gd name="connsiteY68" fmla="*/ 194110 h 296642"/>
              <a:gd name="connsiteX69" fmla="*/ 45723 w 450109"/>
              <a:gd name="connsiteY69" fmla="*/ 190629 h 296642"/>
              <a:gd name="connsiteX70" fmla="*/ 41925 w 450109"/>
              <a:gd name="connsiteY70" fmla="*/ 187024 h 296642"/>
              <a:gd name="connsiteX71" fmla="*/ 37987 w 450109"/>
              <a:gd name="connsiteY71" fmla="*/ 177838 h 296642"/>
              <a:gd name="connsiteX72" fmla="*/ 41486 w 450109"/>
              <a:gd name="connsiteY72" fmla="*/ 169090 h 296642"/>
              <a:gd name="connsiteX73" fmla="*/ 79798 w 450109"/>
              <a:gd name="connsiteY73" fmla="*/ 129117 h 296642"/>
              <a:gd name="connsiteX74" fmla="*/ 89037 w 450109"/>
              <a:gd name="connsiteY74" fmla="*/ 125205 h 296642"/>
              <a:gd name="connsiteX75" fmla="*/ 97828 w 450109"/>
              <a:gd name="connsiteY75" fmla="*/ 128686 h 296642"/>
              <a:gd name="connsiteX76" fmla="*/ 101617 w 450109"/>
              <a:gd name="connsiteY76" fmla="*/ 132299 h 296642"/>
              <a:gd name="connsiteX77" fmla="*/ 105547 w 450109"/>
              <a:gd name="connsiteY77" fmla="*/ 141495 h 296642"/>
              <a:gd name="connsiteX78" fmla="*/ 103279 w 450109"/>
              <a:gd name="connsiteY78" fmla="*/ 148668 h 296642"/>
              <a:gd name="connsiteX79" fmla="*/ 61934 w 450109"/>
              <a:gd name="connsiteY79" fmla="*/ 191754 h 296642"/>
              <a:gd name="connsiteX80" fmla="*/ 54514 w 450109"/>
              <a:gd name="connsiteY80" fmla="*/ 194110 h 296642"/>
              <a:gd name="connsiteX81" fmla="*/ 85116 w 450109"/>
              <a:gd name="connsiteY81" fmla="*/ 233978 h 296642"/>
              <a:gd name="connsiteX82" fmla="*/ 75886 w 450109"/>
              <a:gd name="connsiteY82" fmla="*/ 237882 h 296642"/>
              <a:gd name="connsiteX83" fmla="*/ 67094 w 450109"/>
              <a:gd name="connsiteY83" fmla="*/ 234400 h 296642"/>
              <a:gd name="connsiteX84" fmla="*/ 63288 w 450109"/>
              <a:gd name="connsiteY84" fmla="*/ 230787 h 296642"/>
              <a:gd name="connsiteX85" fmla="*/ 63279 w 450109"/>
              <a:gd name="connsiteY85" fmla="*/ 230778 h 296642"/>
              <a:gd name="connsiteX86" fmla="*/ 59358 w 450109"/>
              <a:gd name="connsiteY86" fmla="*/ 221591 h 296642"/>
              <a:gd name="connsiteX87" fmla="*/ 62848 w 450109"/>
              <a:gd name="connsiteY87" fmla="*/ 212844 h 296642"/>
              <a:gd name="connsiteX88" fmla="*/ 114347 w 450109"/>
              <a:gd name="connsiteY88" fmla="*/ 159174 h 296642"/>
              <a:gd name="connsiteX89" fmla="*/ 123182 w 450109"/>
              <a:gd name="connsiteY89" fmla="*/ 155613 h 296642"/>
              <a:gd name="connsiteX90" fmla="*/ 131973 w 450109"/>
              <a:gd name="connsiteY90" fmla="*/ 159095 h 296642"/>
              <a:gd name="connsiteX91" fmla="*/ 135780 w 450109"/>
              <a:gd name="connsiteY91" fmla="*/ 162717 h 296642"/>
              <a:gd name="connsiteX92" fmla="*/ 139710 w 450109"/>
              <a:gd name="connsiteY92" fmla="*/ 171903 h 296642"/>
              <a:gd name="connsiteX93" fmla="*/ 136211 w 450109"/>
              <a:gd name="connsiteY93" fmla="*/ 180651 h 296642"/>
              <a:gd name="connsiteX94" fmla="*/ 85116 w 450109"/>
              <a:gd name="connsiteY94" fmla="*/ 233978 h 296642"/>
              <a:gd name="connsiteX95" fmla="*/ 126962 w 450109"/>
              <a:gd name="connsiteY95" fmla="*/ 256580 h 296642"/>
              <a:gd name="connsiteX96" fmla="*/ 117740 w 450109"/>
              <a:gd name="connsiteY96" fmla="*/ 260493 h 296642"/>
              <a:gd name="connsiteX97" fmla="*/ 108949 w 450109"/>
              <a:gd name="connsiteY97" fmla="*/ 257011 h 296642"/>
              <a:gd name="connsiteX98" fmla="*/ 105134 w 450109"/>
              <a:gd name="connsiteY98" fmla="*/ 253398 h 296642"/>
              <a:gd name="connsiteX99" fmla="*/ 101204 w 450109"/>
              <a:gd name="connsiteY99" fmla="*/ 244211 h 296642"/>
              <a:gd name="connsiteX100" fmla="*/ 104026 w 450109"/>
              <a:gd name="connsiteY100" fmla="*/ 236317 h 296642"/>
              <a:gd name="connsiteX101" fmla="*/ 139587 w 450109"/>
              <a:gd name="connsiteY101" fmla="*/ 199200 h 296642"/>
              <a:gd name="connsiteX102" fmla="*/ 148105 w 450109"/>
              <a:gd name="connsiteY102" fmla="*/ 195895 h 296642"/>
              <a:gd name="connsiteX103" fmla="*/ 156896 w 450109"/>
              <a:gd name="connsiteY103" fmla="*/ 199376 h 296642"/>
              <a:gd name="connsiteX104" fmla="*/ 160712 w 450109"/>
              <a:gd name="connsiteY104" fmla="*/ 202998 h 296642"/>
              <a:gd name="connsiteX105" fmla="*/ 164641 w 450109"/>
              <a:gd name="connsiteY105" fmla="*/ 212185 h 296642"/>
              <a:gd name="connsiteX106" fmla="*/ 161143 w 450109"/>
              <a:gd name="connsiteY106" fmla="*/ 220932 h 296642"/>
              <a:gd name="connsiteX107" fmla="*/ 126962 w 450109"/>
              <a:gd name="connsiteY107" fmla="*/ 256580 h 296642"/>
              <a:gd name="connsiteX108" fmla="*/ 194540 w 450109"/>
              <a:gd name="connsiteY108" fmla="*/ 252660 h 296642"/>
              <a:gd name="connsiteX109" fmla="*/ 172958 w 450109"/>
              <a:gd name="connsiteY109" fmla="*/ 275183 h 296642"/>
              <a:gd name="connsiteX110" fmla="*/ 163727 w 450109"/>
              <a:gd name="connsiteY110" fmla="*/ 279095 h 296642"/>
              <a:gd name="connsiteX111" fmla="*/ 154936 w 450109"/>
              <a:gd name="connsiteY111" fmla="*/ 275613 h 296642"/>
              <a:gd name="connsiteX112" fmla="*/ 151129 w 450109"/>
              <a:gd name="connsiteY112" fmla="*/ 272000 h 296642"/>
              <a:gd name="connsiteX113" fmla="*/ 147200 w 450109"/>
              <a:gd name="connsiteY113" fmla="*/ 262813 h 296642"/>
              <a:gd name="connsiteX114" fmla="*/ 150699 w 450109"/>
              <a:gd name="connsiteY114" fmla="*/ 254066 h 296642"/>
              <a:gd name="connsiteX115" fmla="*/ 172272 w 450109"/>
              <a:gd name="connsiteY115" fmla="*/ 231543 h 296642"/>
              <a:gd name="connsiteX116" fmla="*/ 181512 w 450109"/>
              <a:gd name="connsiteY116" fmla="*/ 227631 h 296642"/>
              <a:gd name="connsiteX117" fmla="*/ 190303 w 450109"/>
              <a:gd name="connsiteY117" fmla="*/ 231112 h 296642"/>
              <a:gd name="connsiteX118" fmla="*/ 194118 w 450109"/>
              <a:gd name="connsiteY118" fmla="*/ 234725 h 296642"/>
              <a:gd name="connsiteX119" fmla="*/ 198039 w 450109"/>
              <a:gd name="connsiteY119" fmla="*/ 243912 h 296642"/>
              <a:gd name="connsiteX120" fmla="*/ 194540 w 450109"/>
              <a:gd name="connsiteY120" fmla="*/ 252660 h 296642"/>
              <a:gd name="connsiteX121" fmla="*/ 381995 w 450109"/>
              <a:gd name="connsiteY121" fmla="*/ 191569 h 296642"/>
              <a:gd name="connsiteX122" fmla="*/ 378601 w 450109"/>
              <a:gd name="connsiteY122" fmla="*/ 200194 h 296642"/>
              <a:gd name="connsiteX123" fmla="*/ 375023 w 450109"/>
              <a:gd name="connsiteY123" fmla="*/ 204027 h 296642"/>
              <a:gd name="connsiteX124" fmla="*/ 365670 w 450109"/>
              <a:gd name="connsiteY124" fmla="*/ 208053 h 296642"/>
              <a:gd name="connsiteX125" fmla="*/ 357002 w 450109"/>
              <a:gd name="connsiteY125" fmla="*/ 204686 h 296642"/>
              <a:gd name="connsiteX126" fmla="*/ 296747 w 450109"/>
              <a:gd name="connsiteY126" fmla="*/ 148967 h 296642"/>
              <a:gd name="connsiteX127" fmla="*/ 286329 w 450109"/>
              <a:gd name="connsiteY127" fmla="*/ 160123 h 296642"/>
              <a:gd name="connsiteX128" fmla="*/ 350821 w 450109"/>
              <a:gd name="connsiteY128" fmla="*/ 219868 h 296642"/>
              <a:gd name="connsiteX129" fmla="*/ 354874 w 450109"/>
              <a:gd name="connsiteY129" fmla="*/ 229178 h 296642"/>
              <a:gd name="connsiteX130" fmla="*/ 351481 w 450109"/>
              <a:gd name="connsiteY130" fmla="*/ 237811 h 296642"/>
              <a:gd name="connsiteX131" fmla="*/ 347920 w 450109"/>
              <a:gd name="connsiteY131" fmla="*/ 241644 h 296642"/>
              <a:gd name="connsiteX132" fmla="*/ 338566 w 450109"/>
              <a:gd name="connsiteY132" fmla="*/ 245671 h 296642"/>
              <a:gd name="connsiteX133" fmla="*/ 329907 w 450109"/>
              <a:gd name="connsiteY133" fmla="*/ 242304 h 296642"/>
              <a:gd name="connsiteX134" fmla="*/ 269643 w 450109"/>
              <a:gd name="connsiteY134" fmla="*/ 186585 h 296642"/>
              <a:gd name="connsiteX135" fmla="*/ 259235 w 450109"/>
              <a:gd name="connsiteY135" fmla="*/ 197741 h 296642"/>
              <a:gd name="connsiteX136" fmla="*/ 312720 w 450109"/>
              <a:gd name="connsiteY136" fmla="*/ 247200 h 296642"/>
              <a:gd name="connsiteX137" fmla="*/ 316615 w 450109"/>
              <a:gd name="connsiteY137" fmla="*/ 256334 h 296642"/>
              <a:gd name="connsiteX138" fmla="*/ 313239 w 450109"/>
              <a:gd name="connsiteY138" fmla="*/ 264959 h 296642"/>
              <a:gd name="connsiteX139" fmla="*/ 309661 w 450109"/>
              <a:gd name="connsiteY139" fmla="*/ 268791 h 296642"/>
              <a:gd name="connsiteX140" fmla="*/ 300298 w 450109"/>
              <a:gd name="connsiteY140" fmla="*/ 272818 h 296642"/>
              <a:gd name="connsiteX141" fmla="*/ 291630 w 450109"/>
              <a:gd name="connsiteY141" fmla="*/ 269451 h 296642"/>
              <a:gd name="connsiteX142" fmla="*/ 238250 w 450109"/>
              <a:gd name="connsiteY142" fmla="*/ 220167 h 296642"/>
              <a:gd name="connsiteX143" fmla="*/ 238241 w 450109"/>
              <a:gd name="connsiteY143" fmla="*/ 220167 h 296642"/>
              <a:gd name="connsiteX144" fmla="*/ 238233 w 450109"/>
              <a:gd name="connsiteY144" fmla="*/ 220158 h 296642"/>
              <a:gd name="connsiteX145" fmla="*/ 227841 w 450109"/>
              <a:gd name="connsiteY145" fmla="*/ 231332 h 296642"/>
              <a:gd name="connsiteX146" fmla="*/ 227850 w 450109"/>
              <a:gd name="connsiteY146" fmla="*/ 231341 h 296642"/>
              <a:gd name="connsiteX147" fmla="*/ 228052 w 450109"/>
              <a:gd name="connsiteY147" fmla="*/ 231525 h 296642"/>
              <a:gd name="connsiteX148" fmla="*/ 254786 w 450109"/>
              <a:gd name="connsiteY148" fmla="*/ 256202 h 296642"/>
              <a:gd name="connsiteX149" fmla="*/ 258391 w 450109"/>
              <a:gd name="connsiteY149" fmla="*/ 264985 h 296642"/>
              <a:gd name="connsiteX150" fmla="*/ 255015 w 450109"/>
              <a:gd name="connsiteY150" fmla="*/ 273574 h 296642"/>
              <a:gd name="connsiteX151" fmla="*/ 251437 w 450109"/>
              <a:gd name="connsiteY151" fmla="*/ 277416 h 296642"/>
              <a:gd name="connsiteX152" fmla="*/ 242109 w 450109"/>
              <a:gd name="connsiteY152" fmla="*/ 281433 h 296642"/>
              <a:gd name="connsiteX153" fmla="*/ 233450 w 450109"/>
              <a:gd name="connsiteY153" fmla="*/ 278066 h 296642"/>
              <a:gd name="connsiteX154" fmla="*/ 210171 w 450109"/>
              <a:gd name="connsiteY154" fmla="*/ 256510 h 296642"/>
              <a:gd name="connsiteX155" fmla="*/ 213327 w 450109"/>
              <a:gd name="connsiteY155" fmla="*/ 243895 h 296642"/>
              <a:gd name="connsiteX156" fmla="*/ 204659 w 450109"/>
              <a:gd name="connsiteY156" fmla="*/ 223684 h 296642"/>
              <a:gd name="connsiteX157" fmla="*/ 200844 w 450109"/>
              <a:gd name="connsiteY157" fmla="*/ 220062 h 296642"/>
              <a:gd name="connsiteX158" fmla="*/ 181503 w 450109"/>
              <a:gd name="connsiteY158" fmla="*/ 212378 h 296642"/>
              <a:gd name="connsiteX159" fmla="*/ 179894 w 450109"/>
              <a:gd name="connsiteY159" fmla="*/ 212528 h 296642"/>
              <a:gd name="connsiteX160" fmla="*/ 179921 w 450109"/>
              <a:gd name="connsiteY160" fmla="*/ 212141 h 296642"/>
              <a:gd name="connsiteX161" fmla="*/ 171252 w 450109"/>
              <a:gd name="connsiteY161" fmla="*/ 191921 h 296642"/>
              <a:gd name="connsiteX162" fmla="*/ 167446 w 450109"/>
              <a:gd name="connsiteY162" fmla="*/ 188308 h 296642"/>
              <a:gd name="connsiteX163" fmla="*/ 153327 w 450109"/>
              <a:gd name="connsiteY163" fmla="*/ 181117 h 296642"/>
              <a:gd name="connsiteX164" fmla="*/ 154980 w 450109"/>
              <a:gd name="connsiteY164" fmla="*/ 171877 h 296642"/>
              <a:gd name="connsiteX165" fmla="*/ 146312 w 450109"/>
              <a:gd name="connsiteY165" fmla="*/ 151666 h 296642"/>
              <a:gd name="connsiteX166" fmla="*/ 142505 w 450109"/>
              <a:gd name="connsiteY166" fmla="*/ 148044 h 296642"/>
              <a:gd name="connsiteX167" fmla="*/ 123156 w 450109"/>
              <a:gd name="connsiteY167" fmla="*/ 140352 h 296642"/>
              <a:gd name="connsiteX168" fmla="*/ 120747 w 450109"/>
              <a:gd name="connsiteY168" fmla="*/ 140589 h 296642"/>
              <a:gd name="connsiteX169" fmla="*/ 112167 w 450109"/>
              <a:gd name="connsiteY169" fmla="*/ 121248 h 296642"/>
              <a:gd name="connsiteX170" fmla="*/ 112167 w 450109"/>
              <a:gd name="connsiteY170" fmla="*/ 121240 h 296642"/>
              <a:gd name="connsiteX171" fmla="*/ 108369 w 450109"/>
              <a:gd name="connsiteY171" fmla="*/ 117635 h 296642"/>
              <a:gd name="connsiteX172" fmla="*/ 89020 w 450109"/>
              <a:gd name="connsiteY172" fmla="*/ 109934 h 296642"/>
              <a:gd name="connsiteX173" fmla="*/ 68712 w 450109"/>
              <a:gd name="connsiteY173" fmla="*/ 118558 h 296642"/>
              <a:gd name="connsiteX174" fmla="*/ 59666 w 450109"/>
              <a:gd name="connsiteY174" fmla="*/ 127991 h 296642"/>
              <a:gd name="connsiteX175" fmla="*/ 19604 w 450109"/>
              <a:gd name="connsiteY175" fmla="*/ 93829 h 296642"/>
              <a:gd name="connsiteX176" fmla="*/ 15279 w 450109"/>
              <a:gd name="connsiteY176" fmla="*/ 84457 h 296642"/>
              <a:gd name="connsiteX177" fmla="*/ 18418 w 450109"/>
              <a:gd name="connsiteY177" fmla="*/ 76273 h 296642"/>
              <a:gd name="connsiteX178" fmla="*/ 60686 w 450109"/>
              <a:gd name="connsiteY178" fmla="*/ 28932 h 296642"/>
              <a:gd name="connsiteX179" fmla="*/ 67745 w 450109"/>
              <a:gd name="connsiteY179" fmla="*/ 24167 h 296642"/>
              <a:gd name="connsiteX180" fmla="*/ 77037 w 450109"/>
              <a:gd name="connsiteY180" fmla="*/ 22338 h 296642"/>
              <a:gd name="connsiteX181" fmla="*/ 84255 w 450109"/>
              <a:gd name="connsiteY181" fmla="*/ 23692 h 296642"/>
              <a:gd name="connsiteX182" fmla="*/ 107464 w 450109"/>
              <a:gd name="connsiteY182" fmla="*/ 33591 h 296642"/>
              <a:gd name="connsiteX183" fmla="*/ 129231 w 450109"/>
              <a:gd name="connsiteY183" fmla="*/ 37503 h 296642"/>
              <a:gd name="connsiteX184" fmla="*/ 150998 w 450109"/>
              <a:gd name="connsiteY184" fmla="*/ 33591 h 296642"/>
              <a:gd name="connsiteX185" fmla="*/ 174189 w 450109"/>
              <a:gd name="connsiteY185" fmla="*/ 23692 h 296642"/>
              <a:gd name="connsiteX186" fmla="*/ 188527 w 450109"/>
              <a:gd name="connsiteY186" fmla="*/ 21187 h 296642"/>
              <a:gd name="connsiteX187" fmla="*/ 203850 w 450109"/>
              <a:gd name="connsiteY187" fmla="*/ 24141 h 296642"/>
              <a:gd name="connsiteX188" fmla="*/ 210039 w 450109"/>
              <a:gd name="connsiteY188" fmla="*/ 27226 h 296642"/>
              <a:gd name="connsiteX189" fmla="*/ 186382 w 450109"/>
              <a:gd name="connsiteY189" fmla="*/ 43859 h 296642"/>
              <a:gd name="connsiteX190" fmla="*/ 174699 w 450109"/>
              <a:gd name="connsiteY190" fmla="*/ 66286 h 296642"/>
              <a:gd name="connsiteX191" fmla="*/ 180149 w 450109"/>
              <a:gd name="connsiteY191" fmla="*/ 82646 h 296642"/>
              <a:gd name="connsiteX192" fmla="*/ 180140 w 450109"/>
              <a:gd name="connsiteY192" fmla="*/ 82637 h 296642"/>
              <a:gd name="connsiteX193" fmla="*/ 183261 w 450109"/>
              <a:gd name="connsiteY193" fmla="*/ 86840 h 296642"/>
              <a:gd name="connsiteX194" fmla="*/ 207692 w 450109"/>
              <a:gd name="connsiteY194" fmla="*/ 98804 h 296642"/>
              <a:gd name="connsiteX195" fmla="*/ 222971 w 450109"/>
              <a:gd name="connsiteY195" fmla="*/ 94637 h 296642"/>
              <a:gd name="connsiteX196" fmla="*/ 237116 w 450109"/>
              <a:gd name="connsiteY196" fmla="*/ 86145 h 296642"/>
              <a:gd name="connsiteX197" fmla="*/ 248861 w 450109"/>
              <a:gd name="connsiteY197" fmla="*/ 83288 h 296642"/>
              <a:gd name="connsiteX198" fmla="*/ 262698 w 450109"/>
              <a:gd name="connsiteY198" fmla="*/ 87182 h 296642"/>
              <a:gd name="connsiteX199" fmla="*/ 301837 w 450109"/>
              <a:gd name="connsiteY199" fmla="*/ 115244 h 296642"/>
              <a:gd name="connsiteX200" fmla="*/ 332597 w 450109"/>
              <a:gd name="connsiteY200" fmla="*/ 140343 h 296642"/>
              <a:gd name="connsiteX201" fmla="*/ 377898 w 450109"/>
              <a:gd name="connsiteY201" fmla="*/ 182224 h 296642"/>
              <a:gd name="connsiteX202" fmla="*/ 381995 w 450109"/>
              <a:gd name="connsiteY202" fmla="*/ 191569 h 296642"/>
              <a:gd name="connsiteX203" fmla="*/ 430804 w 450109"/>
              <a:gd name="connsiteY203" fmla="*/ 87807 h 296642"/>
              <a:gd name="connsiteX204" fmla="*/ 370452 w 450109"/>
              <a:gd name="connsiteY204" fmla="*/ 154541 h 296642"/>
              <a:gd name="connsiteX205" fmla="*/ 343050 w 450109"/>
              <a:gd name="connsiteY205" fmla="*/ 129213 h 296642"/>
              <a:gd name="connsiteX206" fmla="*/ 310821 w 450109"/>
              <a:gd name="connsiteY206" fmla="*/ 102919 h 296642"/>
              <a:gd name="connsiteX207" fmla="*/ 271692 w 450109"/>
              <a:gd name="connsiteY207" fmla="*/ 74857 h 296642"/>
              <a:gd name="connsiteX208" fmla="*/ 248905 w 450109"/>
              <a:gd name="connsiteY208" fmla="*/ 68097 h 296642"/>
              <a:gd name="connsiteX209" fmla="*/ 229248 w 450109"/>
              <a:gd name="connsiteY209" fmla="*/ 73143 h 296642"/>
              <a:gd name="connsiteX210" fmla="*/ 215112 w 450109"/>
              <a:gd name="connsiteY210" fmla="*/ 81635 h 296642"/>
              <a:gd name="connsiteX211" fmla="*/ 207727 w 450109"/>
              <a:gd name="connsiteY211" fmla="*/ 83613 h 296642"/>
              <a:gd name="connsiteX212" fmla="*/ 195578 w 450109"/>
              <a:gd name="connsiteY212" fmla="*/ 77811 h 296642"/>
              <a:gd name="connsiteX213" fmla="*/ 192466 w 450109"/>
              <a:gd name="connsiteY213" fmla="*/ 73618 h 296642"/>
              <a:gd name="connsiteX214" fmla="*/ 192457 w 450109"/>
              <a:gd name="connsiteY214" fmla="*/ 73609 h 296642"/>
              <a:gd name="connsiteX215" fmla="*/ 190013 w 450109"/>
              <a:gd name="connsiteY215" fmla="*/ 66330 h 296642"/>
              <a:gd name="connsiteX216" fmla="*/ 195226 w 450109"/>
              <a:gd name="connsiteY216" fmla="*/ 56352 h 296642"/>
              <a:gd name="connsiteX217" fmla="*/ 237055 w 450109"/>
              <a:gd name="connsiteY217" fmla="*/ 26963 h 296642"/>
              <a:gd name="connsiteX218" fmla="*/ 253222 w 450109"/>
              <a:gd name="connsiteY218" fmla="*/ 22558 h 296642"/>
              <a:gd name="connsiteX219" fmla="*/ 264298 w 450109"/>
              <a:gd name="connsiteY219" fmla="*/ 24765 h 296642"/>
              <a:gd name="connsiteX220" fmla="*/ 298355 w 450109"/>
              <a:gd name="connsiteY220" fmla="*/ 41257 h 296642"/>
              <a:gd name="connsiteX221" fmla="*/ 317301 w 450109"/>
              <a:gd name="connsiteY221" fmla="*/ 45204 h 296642"/>
              <a:gd name="connsiteX222" fmla="*/ 341388 w 450109"/>
              <a:gd name="connsiteY222" fmla="*/ 38989 h 296642"/>
              <a:gd name="connsiteX223" fmla="*/ 376175 w 450109"/>
              <a:gd name="connsiteY223" fmla="*/ 17354 h 296642"/>
              <a:gd name="connsiteX224" fmla="*/ 383841 w 450109"/>
              <a:gd name="connsiteY224" fmla="*/ 15253 h 296642"/>
              <a:gd name="connsiteX225" fmla="*/ 395903 w 450109"/>
              <a:gd name="connsiteY225" fmla="*/ 20844 h 296642"/>
              <a:gd name="connsiteX226" fmla="*/ 431568 w 450109"/>
              <a:gd name="connsiteY226" fmla="*/ 66479 h 296642"/>
              <a:gd name="connsiteX227" fmla="*/ 434812 w 450109"/>
              <a:gd name="connsiteY227" fmla="*/ 76598 h 296642"/>
              <a:gd name="connsiteX228" fmla="*/ 430804 w 450109"/>
              <a:gd name="connsiteY228" fmla="*/ 87807 h 296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Lst>
            <a:rect l="l" t="t" r="r" b="b"/>
            <a:pathLst>
              <a:path w="450109" h="296642">
                <a:moveTo>
                  <a:pt x="450109" y="76571"/>
                </a:moveTo>
                <a:cubicBezTo>
                  <a:pt x="450100" y="69741"/>
                  <a:pt x="448087" y="62804"/>
                  <a:pt x="443648" y="57099"/>
                </a:cubicBezTo>
                <a:lnTo>
                  <a:pt x="407982" y="11464"/>
                </a:lnTo>
                <a:cubicBezTo>
                  <a:pt x="402004" y="3877"/>
                  <a:pt x="392922" y="18"/>
                  <a:pt x="383832" y="0"/>
                </a:cubicBezTo>
                <a:cubicBezTo>
                  <a:pt x="378426" y="0"/>
                  <a:pt x="372922" y="1389"/>
                  <a:pt x="368061" y="4422"/>
                </a:cubicBezTo>
                <a:lnTo>
                  <a:pt x="333283" y="26057"/>
                </a:lnTo>
                <a:cubicBezTo>
                  <a:pt x="329626" y="28387"/>
                  <a:pt x="323358" y="29987"/>
                  <a:pt x="317301" y="29952"/>
                </a:cubicBezTo>
                <a:cubicBezTo>
                  <a:pt x="312597" y="29969"/>
                  <a:pt x="308052" y="29029"/>
                  <a:pt x="305046" y="27543"/>
                </a:cubicBezTo>
                <a:lnTo>
                  <a:pt x="270989" y="11051"/>
                </a:lnTo>
                <a:cubicBezTo>
                  <a:pt x="265494" y="8404"/>
                  <a:pt x="259375" y="7323"/>
                  <a:pt x="253213" y="7314"/>
                </a:cubicBezTo>
                <a:cubicBezTo>
                  <a:pt x="244369" y="7358"/>
                  <a:pt x="235411" y="9530"/>
                  <a:pt x="228219" y="14514"/>
                </a:cubicBezTo>
                <a:lnTo>
                  <a:pt x="224246" y="17301"/>
                </a:lnTo>
                <a:cubicBezTo>
                  <a:pt x="221072" y="15719"/>
                  <a:pt x="216219" y="13301"/>
                  <a:pt x="210716" y="10567"/>
                </a:cubicBezTo>
                <a:cubicBezTo>
                  <a:pt x="204123" y="7332"/>
                  <a:pt x="196369" y="6031"/>
                  <a:pt x="188536" y="6004"/>
                </a:cubicBezTo>
                <a:cubicBezTo>
                  <a:pt x="181459" y="6022"/>
                  <a:pt x="174391" y="7112"/>
                  <a:pt x="168176" y="9741"/>
                </a:cubicBezTo>
                <a:lnTo>
                  <a:pt x="144984" y="19640"/>
                </a:lnTo>
                <a:cubicBezTo>
                  <a:pt x="141213" y="21275"/>
                  <a:pt x="135209" y="22347"/>
                  <a:pt x="129239" y="22321"/>
                </a:cubicBezTo>
                <a:cubicBezTo>
                  <a:pt x="123279" y="22347"/>
                  <a:pt x="117283" y="21275"/>
                  <a:pt x="113503" y="19640"/>
                </a:cubicBezTo>
                <a:lnTo>
                  <a:pt x="90286" y="9741"/>
                </a:lnTo>
                <a:cubicBezTo>
                  <a:pt x="86048" y="7938"/>
                  <a:pt x="81521" y="7165"/>
                  <a:pt x="77037" y="7156"/>
                </a:cubicBezTo>
                <a:cubicBezTo>
                  <a:pt x="71868" y="7165"/>
                  <a:pt x="66734" y="8176"/>
                  <a:pt x="61960" y="10110"/>
                </a:cubicBezTo>
                <a:cubicBezTo>
                  <a:pt x="57196" y="12053"/>
                  <a:pt x="52774" y="14919"/>
                  <a:pt x="49248" y="18857"/>
                </a:cubicBezTo>
                <a:lnTo>
                  <a:pt x="7007" y="66189"/>
                </a:lnTo>
                <a:cubicBezTo>
                  <a:pt x="2321" y="71420"/>
                  <a:pt x="-9" y="78013"/>
                  <a:pt x="0" y="84492"/>
                </a:cubicBezTo>
                <a:cubicBezTo>
                  <a:pt x="-9" y="92229"/>
                  <a:pt x="3297" y="99983"/>
                  <a:pt x="9679" y="105424"/>
                </a:cubicBezTo>
                <a:lnTo>
                  <a:pt x="49108" y="139059"/>
                </a:lnTo>
                <a:lnTo>
                  <a:pt x="30400" y="158576"/>
                </a:lnTo>
                <a:cubicBezTo>
                  <a:pt x="25248" y="163956"/>
                  <a:pt x="22681" y="170936"/>
                  <a:pt x="22681" y="177829"/>
                </a:cubicBezTo>
                <a:cubicBezTo>
                  <a:pt x="22673" y="185169"/>
                  <a:pt x="25591" y="192580"/>
                  <a:pt x="31358" y="198040"/>
                </a:cubicBezTo>
                <a:lnTo>
                  <a:pt x="35156" y="201644"/>
                </a:lnTo>
                <a:cubicBezTo>
                  <a:pt x="38734" y="205038"/>
                  <a:pt x="43024" y="207191"/>
                  <a:pt x="47525" y="208343"/>
                </a:cubicBezTo>
                <a:cubicBezTo>
                  <a:pt x="45275" y="212493"/>
                  <a:pt x="44035" y="217038"/>
                  <a:pt x="44044" y="221591"/>
                </a:cubicBezTo>
                <a:cubicBezTo>
                  <a:pt x="44035" y="228941"/>
                  <a:pt x="46954" y="236343"/>
                  <a:pt x="52712" y="241802"/>
                </a:cubicBezTo>
                <a:lnTo>
                  <a:pt x="52703" y="241794"/>
                </a:lnTo>
                <a:lnTo>
                  <a:pt x="56510" y="245416"/>
                </a:lnTo>
                <a:cubicBezTo>
                  <a:pt x="61925" y="250550"/>
                  <a:pt x="68949" y="253108"/>
                  <a:pt x="75868" y="253099"/>
                </a:cubicBezTo>
                <a:cubicBezTo>
                  <a:pt x="79587" y="253108"/>
                  <a:pt x="83305" y="252361"/>
                  <a:pt x="86804" y="250893"/>
                </a:cubicBezTo>
                <a:cubicBezTo>
                  <a:pt x="88035" y="255877"/>
                  <a:pt x="90567" y="260607"/>
                  <a:pt x="94558" y="264396"/>
                </a:cubicBezTo>
                <a:lnTo>
                  <a:pt x="98365" y="268018"/>
                </a:lnTo>
                <a:cubicBezTo>
                  <a:pt x="103780" y="273152"/>
                  <a:pt x="110795" y="275710"/>
                  <a:pt x="117723" y="275701"/>
                </a:cubicBezTo>
                <a:cubicBezTo>
                  <a:pt x="123138" y="275710"/>
                  <a:pt x="128580" y="274110"/>
                  <a:pt x="133266" y="271016"/>
                </a:cubicBezTo>
                <a:cubicBezTo>
                  <a:pt x="134637" y="275429"/>
                  <a:pt x="136984" y="279605"/>
                  <a:pt x="140562" y="282998"/>
                </a:cubicBezTo>
                <a:lnTo>
                  <a:pt x="144369" y="286620"/>
                </a:lnTo>
                <a:cubicBezTo>
                  <a:pt x="149776" y="291754"/>
                  <a:pt x="156800" y="294312"/>
                  <a:pt x="163718" y="294304"/>
                </a:cubicBezTo>
                <a:cubicBezTo>
                  <a:pt x="171085" y="294312"/>
                  <a:pt x="178532" y="291411"/>
                  <a:pt x="184026" y="285671"/>
                </a:cubicBezTo>
                <a:lnTo>
                  <a:pt x="200553" y="268405"/>
                </a:lnTo>
                <a:lnTo>
                  <a:pt x="223015" y="289187"/>
                </a:lnTo>
                <a:cubicBezTo>
                  <a:pt x="228395" y="294172"/>
                  <a:pt x="235287" y="296651"/>
                  <a:pt x="242101" y="296642"/>
                </a:cubicBezTo>
                <a:cubicBezTo>
                  <a:pt x="249582" y="296660"/>
                  <a:pt x="257134" y="293662"/>
                  <a:pt x="262637" y="287763"/>
                </a:cubicBezTo>
                <a:lnTo>
                  <a:pt x="266224" y="283921"/>
                </a:lnTo>
                <a:cubicBezTo>
                  <a:pt x="269318" y="280598"/>
                  <a:pt x="271340" y="276660"/>
                  <a:pt x="272509" y="272554"/>
                </a:cubicBezTo>
                <a:lnTo>
                  <a:pt x="281213" y="280580"/>
                </a:lnTo>
                <a:cubicBezTo>
                  <a:pt x="286602" y="285548"/>
                  <a:pt x="293485" y="288018"/>
                  <a:pt x="300290" y="288009"/>
                </a:cubicBezTo>
                <a:cubicBezTo>
                  <a:pt x="307780" y="288018"/>
                  <a:pt x="315349" y="285020"/>
                  <a:pt x="320870" y="279112"/>
                </a:cubicBezTo>
                <a:lnTo>
                  <a:pt x="324430" y="275279"/>
                </a:lnTo>
                <a:cubicBezTo>
                  <a:pt x="328544" y="270884"/>
                  <a:pt x="330865" y="265433"/>
                  <a:pt x="331577" y="259868"/>
                </a:cubicBezTo>
                <a:cubicBezTo>
                  <a:pt x="333872" y="260457"/>
                  <a:pt x="336202" y="260853"/>
                  <a:pt x="338549" y="260853"/>
                </a:cubicBezTo>
                <a:cubicBezTo>
                  <a:pt x="346039" y="260853"/>
                  <a:pt x="353591" y="257864"/>
                  <a:pt x="359111" y="251965"/>
                </a:cubicBezTo>
                <a:lnTo>
                  <a:pt x="362689" y="248132"/>
                </a:lnTo>
                <a:cubicBezTo>
                  <a:pt x="367683" y="242778"/>
                  <a:pt x="370171" y="235912"/>
                  <a:pt x="370162" y="229134"/>
                </a:cubicBezTo>
                <a:cubicBezTo>
                  <a:pt x="370162" y="227033"/>
                  <a:pt x="369863" y="224941"/>
                  <a:pt x="369397" y="222875"/>
                </a:cubicBezTo>
                <a:cubicBezTo>
                  <a:pt x="375612" y="222049"/>
                  <a:pt x="381634" y="219279"/>
                  <a:pt x="386223" y="214356"/>
                </a:cubicBezTo>
                <a:lnTo>
                  <a:pt x="389810" y="210514"/>
                </a:lnTo>
                <a:cubicBezTo>
                  <a:pt x="394804" y="205161"/>
                  <a:pt x="397283" y="198295"/>
                  <a:pt x="397283" y="191517"/>
                </a:cubicBezTo>
                <a:cubicBezTo>
                  <a:pt x="397292" y="184062"/>
                  <a:pt x="394285" y="176536"/>
                  <a:pt x="388351" y="171051"/>
                </a:cubicBezTo>
                <a:lnTo>
                  <a:pt x="381643" y="164853"/>
                </a:lnTo>
                <a:lnTo>
                  <a:pt x="442162" y="97943"/>
                </a:lnTo>
                <a:cubicBezTo>
                  <a:pt x="447595" y="91965"/>
                  <a:pt x="450100" y="84211"/>
                  <a:pt x="450109" y="76571"/>
                </a:cubicBezTo>
                <a:close/>
                <a:moveTo>
                  <a:pt x="54514" y="194110"/>
                </a:moveTo>
                <a:cubicBezTo>
                  <a:pt x="51305" y="194101"/>
                  <a:pt x="48176" y="192950"/>
                  <a:pt x="45723" y="190629"/>
                </a:cubicBezTo>
                <a:lnTo>
                  <a:pt x="41925" y="187024"/>
                </a:lnTo>
                <a:cubicBezTo>
                  <a:pt x="39297" y="184536"/>
                  <a:pt x="37996" y="181231"/>
                  <a:pt x="37987" y="177838"/>
                </a:cubicBezTo>
                <a:cubicBezTo>
                  <a:pt x="37996" y="174655"/>
                  <a:pt x="39138" y="171543"/>
                  <a:pt x="41486" y="169090"/>
                </a:cubicBezTo>
                <a:lnTo>
                  <a:pt x="79798" y="129117"/>
                </a:lnTo>
                <a:cubicBezTo>
                  <a:pt x="82294" y="126514"/>
                  <a:pt x="85626" y="125205"/>
                  <a:pt x="89037" y="125205"/>
                </a:cubicBezTo>
                <a:cubicBezTo>
                  <a:pt x="92237" y="125213"/>
                  <a:pt x="95358" y="126365"/>
                  <a:pt x="97828" y="128686"/>
                </a:cubicBezTo>
                <a:lnTo>
                  <a:pt x="101617" y="132299"/>
                </a:lnTo>
                <a:cubicBezTo>
                  <a:pt x="101617" y="132299"/>
                  <a:pt x="105538" y="138092"/>
                  <a:pt x="105547" y="141495"/>
                </a:cubicBezTo>
                <a:cubicBezTo>
                  <a:pt x="105538" y="144044"/>
                  <a:pt x="104773" y="146523"/>
                  <a:pt x="103279" y="148668"/>
                </a:cubicBezTo>
                <a:cubicBezTo>
                  <a:pt x="103156" y="148791"/>
                  <a:pt x="61934" y="191754"/>
                  <a:pt x="61934" y="191754"/>
                </a:cubicBezTo>
                <a:cubicBezTo>
                  <a:pt x="59736" y="193301"/>
                  <a:pt x="57152" y="194092"/>
                  <a:pt x="54514" y="194110"/>
                </a:cubicBezTo>
                <a:close/>
                <a:moveTo>
                  <a:pt x="85116" y="233978"/>
                </a:moveTo>
                <a:cubicBezTo>
                  <a:pt x="82628" y="236572"/>
                  <a:pt x="79305" y="237873"/>
                  <a:pt x="75886" y="237882"/>
                </a:cubicBezTo>
                <a:cubicBezTo>
                  <a:pt x="72677" y="237873"/>
                  <a:pt x="69556" y="236721"/>
                  <a:pt x="67094" y="234400"/>
                </a:cubicBezTo>
                <a:lnTo>
                  <a:pt x="63288" y="230787"/>
                </a:lnTo>
                <a:lnTo>
                  <a:pt x="63279" y="230778"/>
                </a:lnTo>
                <a:cubicBezTo>
                  <a:pt x="60668" y="228299"/>
                  <a:pt x="59358" y="224985"/>
                  <a:pt x="59358" y="221591"/>
                </a:cubicBezTo>
                <a:cubicBezTo>
                  <a:pt x="59358" y="218409"/>
                  <a:pt x="60510" y="215297"/>
                  <a:pt x="62848" y="212844"/>
                </a:cubicBezTo>
                <a:cubicBezTo>
                  <a:pt x="62848" y="212844"/>
                  <a:pt x="113916" y="159692"/>
                  <a:pt x="114347" y="159174"/>
                </a:cubicBezTo>
                <a:cubicBezTo>
                  <a:pt x="116791" y="156827"/>
                  <a:pt x="119929" y="155613"/>
                  <a:pt x="123182" y="155613"/>
                </a:cubicBezTo>
                <a:cubicBezTo>
                  <a:pt x="126391" y="155622"/>
                  <a:pt x="129512" y="156765"/>
                  <a:pt x="131973" y="159095"/>
                </a:cubicBezTo>
                <a:lnTo>
                  <a:pt x="135780" y="162717"/>
                </a:lnTo>
                <a:cubicBezTo>
                  <a:pt x="138400" y="165196"/>
                  <a:pt x="139701" y="168510"/>
                  <a:pt x="139710" y="171903"/>
                </a:cubicBezTo>
                <a:cubicBezTo>
                  <a:pt x="139701" y="175086"/>
                  <a:pt x="138549" y="178207"/>
                  <a:pt x="136211" y="180651"/>
                </a:cubicBezTo>
                <a:lnTo>
                  <a:pt x="85116" y="233978"/>
                </a:lnTo>
                <a:close/>
                <a:moveTo>
                  <a:pt x="126962" y="256580"/>
                </a:moveTo>
                <a:cubicBezTo>
                  <a:pt x="124475" y="259183"/>
                  <a:pt x="121151" y="260484"/>
                  <a:pt x="117740" y="260493"/>
                </a:cubicBezTo>
                <a:cubicBezTo>
                  <a:pt x="114532" y="260484"/>
                  <a:pt x="111411" y="259332"/>
                  <a:pt x="108949" y="257011"/>
                </a:cubicBezTo>
                <a:lnTo>
                  <a:pt x="105134" y="253398"/>
                </a:lnTo>
                <a:cubicBezTo>
                  <a:pt x="102514" y="250919"/>
                  <a:pt x="101204" y="247605"/>
                  <a:pt x="101204" y="244211"/>
                </a:cubicBezTo>
                <a:cubicBezTo>
                  <a:pt x="101204" y="241372"/>
                  <a:pt x="102171" y="238611"/>
                  <a:pt x="104026" y="236317"/>
                </a:cubicBezTo>
                <a:lnTo>
                  <a:pt x="139587" y="199200"/>
                </a:lnTo>
                <a:cubicBezTo>
                  <a:pt x="141987" y="197038"/>
                  <a:pt x="144993" y="195895"/>
                  <a:pt x="148105" y="195895"/>
                </a:cubicBezTo>
                <a:cubicBezTo>
                  <a:pt x="151314" y="195903"/>
                  <a:pt x="154435" y="197046"/>
                  <a:pt x="156896" y="199376"/>
                </a:cubicBezTo>
                <a:lnTo>
                  <a:pt x="160712" y="202998"/>
                </a:lnTo>
                <a:cubicBezTo>
                  <a:pt x="163323" y="205477"/>
                  <a:pt x="164633" y="208791"/>
                  <a:pt x="164641" y="212185"/>
                </a:cubicBezTo>
                <a:cubicBezTo>
                  <a:pt x="164633" y="215376"/>
                  <a:pt x="163472" y="218488"/>
                  <a:pt x="161143" y="220932"/>
                </a:cubicBezTo>
                <a:lnTo>
                  <a:pt x="126962" y="256580"/>
                </a:lnTo>
                <a:close/>
                <a:moveTo>
                  <a:pt x="194540" y="252660"/>
                </a:moveTo>
                <a:lnTo>
                  <a:pt x="172958" y="275183"/>
                </a:lnTo>
                <a:cubicBezTo>
                  <a:pt x="170470" y="277776"/>
                  <a:pt x="167138" y="279077"/>
                  <a:pt x="163727" y="279095"/>
                </a:cubicBezTo>
                <a:cubicBezTo>
                  <a:pt x="160518" y="279086"/>
                  <a:pt x="157398" y="277934"/>
                  <a:pt x="154936" y="275613"/>
                </a:cubicBezTo>
                <a:lnTo>
                  <a:pt x="151129" y="272000"/>
                </a:lnTo>
                <a:cubicBezTo>
                  <a:pt x="148518" y="269521"/>
                  <a:pt x="147209" y="266207"/>
                  <a:pt x="147200" y="262813"/>
                </a:cubicBezTo>
                <a:cubicBezTo>
                  <a:pt x="147209" y="259622"/>
                  <a:pt x="148360" y="256510"/>
                  <a:pt x="150699" y="254066"/>
                </a:cubicBezTo>
                <a:lnTo>
                  <a:pt x="172272" y="231543"/>
                </a:lnTo>
                <a:cubicBezTo>
                  <a:pt x="174769" y="228950"/>
                  <a:pt x="178101" y="227640"/>
                  <a:pt x="181512" y="227631"/>
                </a:cubicBezTo>
                <a:cubicBezTo>
                  <a:pt x="184712" y="227640"/>
                  <a:pt x="187841" y="228783"/>
                  <a:pt x="190303" y="231112"/>
                </a:cubicBezTo>
                <a:lnTo>
                  <a:pt x="194118" y="234725"/>
                </a:lnTo>
                <a:cubicBezTo>
                  <a:pt x="196729" y="237205"/>
                  <a:pt x="198030" y="240519"/>
                  <a:pt x="198039" y="243912"/>
                </a:cubicBezTo>
                <a:cubicBezTo>
                  <a:pt x="198022" y="247104"/>
                  <a:pt x="196870" y="250216"/>
                  <a:pt x="194540" y="252660"/>
                </a:cubicBezTo>
                <a:close/>
                <a:moveTo>
                  <a:pt x="381995" y="191569"/>
                </a:moveTo>
                <a:cubicBezTo>
                  <a:pt x="381986" y="194699"/>
                  <a:pt x="380870" y="197758"/>
                  <a:pt x="378601" y="200194"/>
                </a:cubicBezTo>
                <a:lnTo>
                  <a:pt x="375023" y="204027"/>
                </a:lnTo>
                <a:cubicBezTo>
                  <a:pt x="372527" y="206699"/>
                  <a:pt x="369142" y="208044"/>
                  <a:pt x="365670" y="208053"/>
                </a:cubicBezTo>
                <a:cubicBezTo>
                  <a:pt x="362522" y="208044"/>
                  <a:pt x="359445" y="206945"/>
                  <a:pt x="357002" y="204686"/>
                </a:cubicBezTo>
                <a:lnTo>
                  <a:pt x="296747" y="148967"/>
                </a:lnTo>
                <a:lnTo>
                  <a:pt x="286329" y="160123"/>
                </a:lnTo>
                <a:lnTo>
                  <a:pt x="350821" y="219868"/>
                </a:lnTo>
                <a:cubicBezTo>
                  <a:pt x="353503" y="222356"/>
                  <a:pt x="354856" y="225732"/>
                  <a:pt x="354874" y="229178"/>
                </a:cubicBezTo>
                <a:cubicBezTo>
                  <a:pt x="354856" y="232317"/>
                  <a:pt x="353740" y="235376"/>
                  <a:pt x="351481" y="237811"/>
                </a:cubicBezTo>
                <a:lnTo>
                  <a:pt x="347920" y="241644"/>
                </a:lnTo>
                <a:cubicBezTo>
                  <a:pt x="345424" y="244317"/>
                  <a:pt x="342039" y="245662"/>
                  <a:pt x="338566" y="245671"/>
                </a:cubicBezTo>
                <a:cubicBezTo>
                  <a:pt x="335419" y="245662"/>
                  <a:pt x="332333" y="244554"/>
                  <a:pt x="329907" y="242304"/>
                </a:cubicBezTo>
                <a:lnTo>
                  <a:pt x="269643" y="186585"/>
                </a:lnTo>
                <a:lnTo>
                  <a:pt x="259235" y="197741"/>
                </a:lnTo>
                <a:lnTo>
                  <a:pt x="312720" y="247200"/>
                </a:lnTo>
                <a:cubicBezTo>
                  <a:pt x="315296" y="249671"/>
                  <a:pt x="316615" y="252958"/>
                  <a:pt x="316615" y="256334"/>
                </a:cubicBezTo>
                <a:cubicBezTo>
                  <a:pt x="316615" y="259464"/>
                  <a:pt x="315507" y="262532"/>
                  <a:pt x="313239" y="264959"/>
                </a:cubicBezTo>
                <a:lnTo>
                  <a:pt x="309661" y="268791"/>
                </a:lnTo>
                <a:cubicBezTo>
                  <a:pt x="307173" y="271464"/>
                  <a:pt x="303780" y="272809"/>
                  <a:pt x="300298" y="272818"/>
                </a:cubicBezTo>
                <a:cubicBezTo>
                  <a:pt x="297142" y="272809"/>
                  <a:pt x="294065" y="271701"/>
                  <a:pt x="291630" y="269451"/>
                </a:cubicBezTo>
                <a:lnTo>
                  <a:pt x="238250" y="220167"/>
                </a:lnTo>
                <a:lnTo>
                  <a:pt x="238241" y="220167"/>
                </a:lnTo>
                <a:lnTo>
                  <a:pt x="238233" y="220158"/>
                </a:lnTo>
                <a:lnTo>
                  <a:pt x="227841" y="231332"/>
                </a:lnTo>
                <a:lnTo>
                  <a:pt x="227850" y="231341"/>
                </a:lnTo>
                <a:lnTo>
                  <a:pt x="228052" y="231525"/>
                </a:lnTo>
                <a:lnTo>
                  <a:pt x="254786" y="256202"/>
                </a:lnTo>
                <a:cubicBezTo>
                  <a:pt x="257151" y="258638"/>
                  <a:pt x="258382" y="261758"/>
                  <a:pt x="258391" y="264985"/>
                </a:cubicBezTo>
                <a:cubicBezTo>
                  <a:pt x="258382" y="268097"/>
                  <a:pt x="257283" y="271148"/>
                  <a:pt x="255015" y="273574"/>
                </a:cubicBezTo>
                <a:lnTo>
                  <a:pt x="251437" y="277416"/>
                </a:lnTo>
                <a:cubicBezTo>
                  <a:pt x="248940" y="280088"/>
                  <a:pt x="245564" y="281424"/>
                  <a:pt x="242109" y="281433"/>
                </a:cubicBezTo>
                <a:cubicBezTo>
                  <a:pt x="238962" y="281424"/>
                  <a:pt x="235885" y="280317"/>
                  <a:pt x="233450" y="278066"/>
                </a:cubicBezTo>
                <a:lnTo>
                  <a:pt x="210171" y="256510"/>
                </a:lnTo>
                <a:cubicBezTo>
                  <a:pt x="212193" y="252537"/>
                  <a:pt x="213327" y="248229"/>
                  <a:pt x="213327" y="243895"/>
                </a:cubicBezTo>
                <a:cubicBezTo>
                  <a:pt x="213336" y="236554"/>
                  <a:pt x="210426" y="229152"/>
                  <a:pt x="204659" y="223684"/>
                </a:cubicBezTo>
                <a:lnTo>
                  <a:pt x="200844" y="220062"/>
                </a:lnTo>
                <a:cubicBezTo>
                  <a:pt x="195437" y="214928"/>
                  <a:pt x="188422" y="212369"/>
                  <a:pt x="181503" y="212378"/>
                </a:cubicBezTo>
                <a:cubicBezTo>
                  <a:pt x="180967" y="212378"/>
                  <a:pt x="180422" y="212501"/>
                  <a:pt x="179894" y="212528"/>
                </a:cubicBezTo>
                <a:cubicBezTo>
                  <a:pt x="179894" y="212405"/>
                  <a:pt x="179921" y="212264"/>
                  <a:pt x="179921" y="212141"/>
                </a:cubicBezTo>
                <a:cubicBezTo>
                  <a:pt x="179929" y="204800"/>
                  <a:pt x="171252" y="191921"/>
                  <a:pt x="171252" y="191921"/>
                </a:cubicBezTo>
                <a:lnTo>
                  <a:pt x="167446" y="188308"/>
                </a:lnTo>
                <a:cubicBezTo>
                  <a:pt x="163402" y="184475"/>
                  <a:pt x="158461" y="182075"/>
                  <a:pt x="153327" y="181117"/>
                </a:cubicBezTo>
                <a:cubicBezTo>
                  <a:pt x="154382" y="178119"/>
                  <a:pt x="154980" y="174998"/>
                  <a:pt x="154980" y="171877"/>
                </a:cubicBezTo>
                <a:cubicBezTo>
                  <a:pt x="154980" y="164536"/>
                  <a:pt x="152079" y="157134"/>
                  <a:pt x="146312" y="151666"/>
                </a:cubicBezTo>
                <a:lnTo>
                  <a:pt x="142505" y="148044"/>
                </a:lnTo>
                <a:cubicBezTo>
                  <a:pt x="137090" y="142910"/>
                  <a:pt x="130075" y="140343"/>
                  <a:pt x="123156" y="140352"/>
                </a:cubicBezTo>
                <a:cubicBezTo>
                  <a:pt x="122347" y="140352"/>
                  <a:pt x="121547" y="140519"/>
                  <a:pt x="120747" y="140589"/>
                </a:cubicBezTo>
                <a:cubicBezTo>
                  <a:pt x="120527" y="133539"/>
                  <a:pt x="117688" y="126497"/>
                  <a:pt x="112167" y="121248"/>
                </a:cubicBezTo>
                <a:lnTo>
                  <a:pt x="112167" y="121240"/>
                </a:lnTo>
                <a:lnTo>
                  <a:pt x="108369" y="117635"/>
                </a:lnTo>
                <a:cubicBezTo>
                  <a:pt x="102954" y="112492"/>
                  <a:pt x="95938" y="109934"/>
                  <a:pt x="89020" y="109934"/>
                </a:cubicBezTo>
                <a:cubicBezTo>
                  <a:pt x="81635" y="109925"/>
                  <a:pt x="74206" y="112826"/>
                  <a:pt x="68712" y="118558"/>
                </a:cubicBezTo>
                <a:lnTo>
                  <a:pt x="59666" y="127991"/>
                </a:lnTo>
                <a:lnTo>
                  <a:pt x="19604" y="93829"/>
                </a:lnTo>
                <a:cubicBezTo>
                  <a:pt x="16730" y="91367"/>
                  <a:pt x="15288" y="87956"/>
                  <a:pt x="15279" y="84457"/>
                </a:cubicBezTo>
                <a:cubicBezTo>
                  <a:pt x="15288" y="81530"/>
                  <a:pt x="16290" y="78655"/>
                  <a:pt x="18418" y="76273"/>
                </a:cubicBezTo>
                <a:lnTo>
                  <a:pt x="60686" y="28932"/>
                </a:lnTo>
                <a:cubicBezTo>
                  <a:pt x="62365" y="27051"/>
                  <a:pt x="64844" y="25345"/>
                  <a:pt x="67745" y="24167"/>
                </a:cubicBezTo>
                <a:cubicBezTo>
                  <a:pt x="70655" y="22989"/>
                  <a:pt x="73952" y="22338"/>
                  <a:pt x="77037" y="22338"/>
                </a:cubicBezTo>
                <a:cubicBezTo>
                  <a:pt x="79727" y="22338"/>
                  <a:pt x="82242" y="22822"/>
                  <a:pt x="84255" y="23692"/>
                </a:cubicBezTo>
                <a:lnTo>
                  <a:pt x="107464" y="33591"/>
                </a:lnTo>
                <a:cubicBezTo>
                  <a:pt x="114004" y="36352"/>
                  <a:pt x="121600" y="37477"/>
                  <a:pt x="129231" y="37503"/>
                </a:cubicBezTo>
                <a:cubicBezTo>
                  <a:pt x="136870" y="37477"/>
                  <a:pt x="144457" y="36343"/>
                  <a:pt x="150998" y="33591"/>
                </a:cubicBezTo>
                <a:lnTo>
                  <a:pt x="174189" y="23692"/>
                </a:lnTo>
                <a:cubicBezTo>
                  <a:pt x="177767" y="22136"/>
                  <a:pt x="183156" y="21169"/>
                  <a:pt x="188527" y="21187"/>
                </a:cubicBezTo>
                <a:cubicBezTo>
                  <a:pt x="194461" y="21152"/>
                  <a:pt x="200404" y="22382"/>
                  <a:pt x="203850" y="24141"/>
                </a:cubicBezTo>
                <a:cubicBezTo>
                  <a:pt x="206039" y="25231"/>
                  <a:pt x="208114" y="26268"/>
                  <a:pt x="210039" y="27226"/>
                </a:cubicBezTo>
                <a:lnTo>
                  <a:pt x="186382" y="43859"/>
                </a:lnTo>
                <a:cubicBezTo>
                  <a:pt x="178778" y="49204"/>
                  <a:pt x="174681" y="57706"/>
                  <a:pt x="174699" y="66286"/>
                </a:cubicBezTo>
                <a:cubicBezTo>
                  <a:pt x="174690" y="71965"/>
                  <a:pt x="176492" y="77741"/>
                  <a:pt x="180149" y="82646"/>
                </a:cubicBezTo>
                <a:lnTo>
                  <a:pt x="180140" y="82637"/>
                </a:lnTo>
                <a:lnTo>
                  <a:pt x="183261" y="86840"/>
                </a:lnTo>
                <a:cubicBezTo>
                  <a:pt x="189195" y="94725"/>
                  <a:pt x="198444" y="98787"/>
                  <a:pt x="207692" y="98804"/>
                </a:cubicBezTo>
                <a:cubicBezTo>
                  <a:pt x="212914" y="98804"/>
                  <a:pt x="218233" y="97486"/>
                  <a:pt x="222971" y="94637"/>
                </a:cubicBezTo>
                <a:lnTo>
                  <a:pt x="237116" y="86145"/>
                </a:lnTo>
                <a:cubicBezTo>
                  <a:pt x="240000" y="84378"/>
                  <a:pt x="244360" y="83270"/>
                  <a:pt x="248861" y="83288"/>
                </a:cubicBezTo>
                <a:cubicBezTo>
                  <a:pt x="254153" y="83253"/>
                  <a:pt x="259490" y="84826"/>
                  <a:pt x="262698" y="87182"/>
                </a:cubicBezTo>
                <a:lnTo>
                  <a:pt x="301837" y="115244"/>
                </a:lnTo>
                <a:cubicBezTo>
                  <a:pt x="310549" y="121486"/>
                  <a:pt x="324738" y="133055"/>
                  <a:pt x="332597" y="140343"/>
                </a:cubicBezTo>
                <a:lnTo>
                  <a:pt x="377898" y="182224"/>
                </a:lnTo>
                <a:cubicBezTo>
                  <a:pt x="380641" y="184756"/>
                  <a:pt x="381986" y="188123"/>
                  <a:pt x="381995" y="191569"/>
                </a:cubicBezTo>
                <a:close/>
                <a:moveTo>
                  <a:pt x="430804" y="87807"/>
                </a:moveTo>
                <a:lnTo>
                  <a:pt x="370452" y="154541"/>
                </a:lnTo>
                <a:lnTo>
                  <a:pt x="343050" y="129213"/>
                </a:lnTo>
                <a:cubicBezTo>
                  <a:pt x="334470" y="121292"/>
                  <a:pt x="320316" y="109741"/>
                  <a:pt x="310821" y="102919"/>
                </a:cubicBezTo>
                <a:lnTo>
                  <a:pt x="271692" y="74857"/>
                </a:lnTo>
                <a:cubicBezTo>
                  <a:pt x="265054" y="70154"/>
                  <a:pt x="256931" y="68123"/>
                  <a:pt x="248905" y="68097"/>
                </a:cubicBezTo>
                <a:cubicBezTo>
                  <a:pt x="242074" y="68114"/>
                  <a:pt x="235191" y="69609"/>
                  <a:pt x="229248" y="73143"/>
                </a:cubicBezTo>
                <a:lnTo>
                  <a:pt x="215112" y="81635"/>
                </a:lnTo>
                <a:cubicBezTo>
                  <a:pt x="212940" y="82936"/>
                  <a:pt x="210382" y="83604"/>
                  <a:pt x="207727" y="83613"/>
                </a:cubicBezTo>
                <a:cubicBezTo>
                  <a:pt x="202980" y="83631"/>
                  <a:pt x="198233" y="81415"/>
                  <a:pt x="195578" y="77811"/>
                </a:cubicBezTo>
                <a:lnTo>
                  <a:pt x="192466" y="73618"/>
                </a:lnTo>
                <a:lnTo>
                  <a:pt x="192457" y="73609"/>
                </a:lnTo>
                <a:cubicBezTo>
                  <a:pt x="190804" y="71376"/>
                  <a:pt x="190030" y="68870"/>
                  <a:pt x="190013" y="66330"/>
                </a:cubicBezTo>
                <a:cubicBezTo>
                  <a:pt x="190030" y="62497"/>
                  <a:pt x="191806" y="58769"/>
                  <a:pt x="195226" y="56352"/>
                </a:cubicBezTo>
                <a:lnTo>
                  <a:pt x="237055" y="26963"/>
                </a:lnTo>
                <a:cubicBezTo>
                  <a:pt x="240668" y="24343"/>
                  <a:pt x="247103" y="22506"/>
                  <a:pt x="253222" y="22558"/>
                </a:cubicBezTo>
                <a:cubicBezTo>
                  <a:pt x="257468" y="22541"/>
                  <a:pt x="261520" y="23393"/>
                  <a:pt x="264298" y="24765"/>
                </a:cubicBezTo>
                <a:lnTo>
                  <a:pt x="298355" y="41257"/>
                </a:lnTo>
                <a:cubicBezTo>
                  <a:pt x="304158" y="44044"/>
                  <a:pt x="310716" y="45187"/>
                  <a:pt x="317301" y="45204"/>
                </a:cubicBezTo>
                <a:cubicBezTo>
                  <a:pt x="325766" y="45160"/>
                  <a:pt x="334329" y="43323"/>
                  <a:pt x="341388" y="38989"/>
                </a:cubicBezTo>
                <a:lnTo>
                  <a:pt x="376175" y="17354"/>
                </a:lnTo>
                <a:cubicBezTo>
                  <a:pt x="378391" y="15965"/>
                  <a:pt x="381063" y="15253"/>
                  <a:pt x="383841" y="15253"/>
                </a:cubicBezTo>
                <a:cubicBezTo>
                  <a:pt x="388536" y="15244"/>
                  <a:pt x="393239" y="17371"/>
                  <a:pt x="395903" y="20844"/>
                </a:cubicBezTo>
                <a:lnTo>
                  <a:pt x="431568" y="66479"/>
                </a:lnTo>
                <a:cubicBezTo>
                  <a:pt x="433626" y="69090"/>
                  <a:pt x="434812" y="72782"/>
                  <a:pt x="434812" y="76598"/>
                </a:cubicBezTo>
                <a:cubicBezTo>
                  <a:pt x="434830" y="80853"/>
                  <a:pt x="433318" y="85055"/>
                  <a:pt x="430804" y="87807"/>
                </a:cubicBezTo>
                <a:close/>
              </a:path>
            </a:pathLst>
          </a:custGeom>
          <a:solidFill>
            <a:schemeClr val="bg1"/>
          </a:solidFill>
          <a:ln w="87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grpSp>
        <p:nvGrpSpPr>
          <p:cNvPr id="32" name="Group 31">
            <a:extLst>
              <a:ext uri="{FF2B5EF4-FFF2-40B4-BE49-F238E27FC236}">
                <a16:creationId xmlns:a16="http://schemas.microsoft.com/office/drawing/2014/main" id="{BD21B206-5A4A-432C-833F-E5B84CE3C53B}"/>
              </a:ext>
            </a:extLst>
          </p:cNvPr>
          <p:cNvGrpSpPr/>
          <p:nvPr/>
        </p:nvGrpSpPr>
        <p:grpSpPr>
          <a:xfrm>
            <a:off x="506777" y="3543926"/>
            <a:ext cx="226615" cy="261205"/>
            <a:chOff x="6315076" y="3619501"/>
            <a:chExt cx="301625" cy="347663"/>
          </a:xfrm>
        </p:grpSpPr>
        <p:sp>
          <p:nvSpPr>
            <p:cNvPr id="33" name="Freeform 190">
              <a:extLst>
                <a:ext uri="{FF2B5EF4-FFF2-40B4-BE49-F238E27FC236}">
                  <a16:creationId xmlns:a16="http://schemas.microsoft.com/office/drawing/2014/main" id="{AF0220A0-80AE-4940-BBCE-C1EE1C710317}"/>
                </a:ext>
              </a:extLst>
            </p:cNvPr>
            <p:cNvSpPr>
              <a:spLocks/>
            </p:cNvSpPr>
            <p:nvPr/>
          </p:nvSpPr>
          <p:spPr bwMode="auto">
            <a:xfrm>
              <a:off x="6315076" y="3619501"/>
              <a:ext cx="301625" cy="347663"/>
            </a:xfrm>
            <a:custGeom>
              <a:avLst/>
              <a:gdLst>
                <a:gd name="T0" fmla="*/ 40 w 80"/>
                <a:gd name="T1" fmla="*/ 0 h 92"/>
                <a:gd name="T2" fmla="*/ 40 w 80"/>
                <a:gd name="T3" fmla="*/ 0 h 92"/>
                <a:gd name="T4" fmla="*/ 0 w 80"/>
                <a:gd name="T5" fmla="*/ 18 h 92"/>
                <a:gd name="T6" fmla="*/ 40 w 80"/>
                <a:gd name="T7" fmla="*/ 92 h 92"/>
                <a:gd name="T8" fmla="*/ 80 w 80"/>
                <a:gd name="T9" fmla="*/ 18 h 92"/>
                <a:gd name="T10" fmla="*/ 40 w 80"/>
                <a:gd name="T11" fmla="*/ 0 h 92"/>
              </a:gdLst>
              <a:ahLst/>
              <a:cxnLst>
                <a:cxn ang="0">
                  <a:pos x="T0" y="T1"/>
                </a:cxn>
                <a:cxn ang="0">
                  <a:pos x="T2" y="T3"/>
                </a:cxn>
                <a:cxn ang="0">
                  <a:pos x="T4" y="T5"/>
                </a:cxn>
                <a:cxn ang="0">
                  <a:pos x="T6" y="T7"/>
                </a:cxn>
                <a:cxn ang="0">
                  <a:pos x="T8" y="T9"/>
                </a:cxn>
                <a:cxn ang="0">
                  <a:pos x="T10" y="T11"/>
                </a:cxn>
              </a:cxnLst>
              <a:rect l="0" t="0" r="r" b="b"/>
              <a:pathLst>
                <a:path w="80" h="92">
                  <a:moveTo>
                    <a:pt x="40" y="0"/>
                  </a:moveTo>
                  <a:cubicBezTo>
                    <a:pt x="40" y="0"/>
                    <a:pt x="40" y="0"/>
                    <a:pt x="40" y="0"/>
                  </a:cubicBezTo>
                  <a:cubicBezTo>
                    <a:pt x="30" y="10"/>
                    <a:pt x="0" y="18"/>
                    <a:pt x="0" y="18"/>
                  </a:cubicBezTo>
                  <a:cubicBezTo>
                    <a:pt x="0" y="50"/>
                    <a:pt x="2" y="78"/>
                    <a:pt x="40" y="92"/>
                  </a:cubicBezTo>
                  <a:cubicBezTo>
                    <a:pt x="78" y="78"/>
                    <a:pt x="80" y="50"/>
                    <a:pt x="80" y="18"/>
                  </a:cubicBezTo>
                  <a:cubicBezTo>
                    <a:pt x="80" y="18"/>
                    <a:pt x="50" y="10"/>
                    <a:pt x="40" y="0"/>
                  </a:cubicBez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4" name="Freeform 191">
              <a:extLst>
                <a:ext uri="{FF2B5EF4-FFF2-40B4-BE49-F238E27FC236}">
                  <a16:creationId xmlns:a16="http://schemas.microsoft.com/office/drawing/2014/main" id="{3395B5F1-04B8-4E11-8662-ABBD397276FA}"/>
                </a:ext>
              </a:extLst>
            </p:cNvPr>
            <p:cNvSpPr>
              <a:spLocks/>
            </p:cNvSpPr>
            <p:nvPr/>
          </p:nvSpPr>
          <p:spPr bwMode="auto">
            <a:xfrm>
              <a:off x="6391276" y="3724276"/>
              <a:ext cx="149225" cy="152400"/>
            </a:xfrm>
            <a:custGeom>
              <a:avLst/>
              <a:gdLst>
                <a:gd name="T0" fmla="*/ 36 w 40"/>
                <a:gd name="T1" fmla="*/ 40 h 40"/>
                <a:gd name="T2" fmla="*/ 4 w 40"/>
                <a:gd name="T3" fmla="*/ 40 h 40"/>
                <a:gd name="T4" fmla="*/ 4 w 40"/>
                <a:gd name="T5" fmla="*/ 32 h 40"/>
                <a:gd name="T6" fmla="*/ 0 w 40"/>
                <a:gd name="T7" fmla="*/ 32 h 40"/>
                <a:gd name="T8" fmla="*/ 0 w 40"/>
                <a:gd name="T9" fmla="*/ 8 h 40"/>
                <a:gd name="T10" fmla="*/ 8 w 40"/>
                <a:gd name="T11" fmla="*/ 0 h 40"/>
                <a:gd name="T12" fmla="*/ 32 w 40"/>
                <a:gd name="T13" fmla="*/ 0 h 40"/>
                <a:gd name="T14" fmla="*/ 40 w 40"/>
                <a:gd name="T15" fmla="*/ 8 h 40"/>
                <a:gd name="T16" fmla="*/ 40 w 40"/>
                <a:gd name="T17" fmla="*/ 32 h 40"/>
                <a:gd name="T18" fmla="*/ 36 w 40"/>
                <a:gd name="T19" fmla="*/ 32 h 40"/>
                <a:gd name="T20" fmla="*/ 36 w 40"/>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40">
                  <a:moveTo>
                    <a:pt x="36" y="40"/>
                  </a:moveTo>
                  <a:cubicBezTo>
                    <a:pt x="4" y="40"/>
                    <a:pt x="4" y="40"/>
                    <a:pt x="4" y="40"/>
                  </a:cubicBezTo>
                  <a:cubicBezTo>
                    <a:pt x="4" y="32"/>
                    <a:pt x="4" y="32"/>
                    <a:pt x="4" y="32"/>
                  </a:cubicBezTo>
                  <a:cubicBezTo>
                    <a:pt x="0" y="32"/>
                    <a:pt x="0" y="32"/>
                    <a:pt x="0" y="32"/>
                  </a:cubicBezTo>
                  <a:cubicBezTo>
                    <a:pt x="0" y="8"/>
                    <a:pt x="0" y="8"/>
                    <a:pt x="0" y="8"/>
                  </a:cubicBezTo>
                  <a:cubicBezTo>
                    <a:pt x="0" y="4"/>
                    <a:pt x="4" y="0"/>
                    <a:pt x="8" y="0"/>
                  </a:cubicBezTo>
                  <a:cubicBezTo>
                    <a:pt x="32" y="0"/>
                    <a:pt x="32" y="0"/>
                    <a:pt x="32" y="0"/>
                  </a:cubicBezTo>
                  <a:cubicBezTo>
                    <a:pt x="36" y="0"/>
                    <a:pt x="40" y="4"/>
                    <a:pt x="40" y="8"/>
                  </a:cubicBezTo>
                  <a:cubicBezTo>
                    <a:pt x="40" y="32"/>
                    <a:pt x="40" y="32"/>
                    <a:pt x="40" y="32"/>
                  </a:cubicBezTo>
                  <a:cubicBezTo>
                    <a:pt x="36" y="32"/>
                    <a:pt x="36" y="32"/>
                    <a:pt x="36" y="32"/>
                  </a:cubicBezTo>
                  <a:lnTo>
                    <a:pt x="36" y="40"/>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5" name="Line 192">
              <a:extLst>
                <a:ext uri="{FF2B5EF4-FFF2-40B4-BE49-F238E27FC236}">
                  <a16:creationId xmlns:a16="http://schemas.microsoft.com/office/drawing/2014/main" id="{0AD8C937-4D7C-431E-8C8A-0A873D6195BD}"/>
                </a:ext>
              </a:extLst>
            </p:cNvPr>
            <p:cNvSpPr>
              <a:spLocks noChangeShapeType="1"/>
            </p:cNvSpPr>
            <p:nvPr/>
          </p:nvSpPr>
          <p:spPr bwMode="auto">
            <a:xfrm flipV="1">
              <a:off x="6435726" y="3830638"/>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6" name="Line 193">
              <a:extLst>
                <a:ext uri="{FF2B5EF4-FFF2-40B4-BE49-F238E27FC236}">
                  <a16:creationId xmlns:a16="http://schemas.microsoft.com/office/drawing/2014/main" id="{CA323F53-4B0A-4174-BC00-14C5EFEB0EBB}"/>
                </a:ext>
              </a:extLst>
            </p:cNvPr>
            <p:cNvSpPr>
              <a:spLocks noChangeShapeType="1"/>
            </p:cNvSpPr>
            <p:nvPr/>
          </p:nvSpPr>
          <p:spPr bwMode="auto">
            <a:xfrm flipV="1">
              <a:off x="6496051" y="3830638"/>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7" name="Line 194">
              <a:extLst>
                <a:ext uri="{FF2B5EF4-FFF2-40B4-BE49-F238E27FC236}">
                  <a16:creationId xmlns:a16="http://schemas.microsoft.com/office/drawing/2014/main" id="{6444733F-EC43-4568-8976-A3D9318B38E3}"/>
                </a:ext>
              </a:extLst>
            </p:cNvPr>
            <p:cNvSpPr>
              <a:spLocks noChangeShapeType="1"/>
            </p:cNvSpPr>
            <p:nvPr/>
          </p:nvSpPr>
          <p:spPr bwMode="auto">
            <a:xfrm flipV="1">
              <a:off x="6465889" y="3830638"/>
              <a:ext cx="0" cy="46038"/>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8" name="Oval 195">
              <a:extLst>
                <a:ext uri="{FF2B5EF4-FFF2-40B4-BE49-F238E27FC236}">
                  <a16:creationId xmlns:a16="http://schemas.microsoft.com/office/drawing/2014/main" id="{42A018C8-9154-49A9-AD6A-6ADA6068E2E0}"/>
                </a:ext>
              </a:extLst>
            </p:cNvPr>
            <p:cNvSpPr>
              <a:spLocks noChangeArrowheads="1"/>
            </p:cNvSpPr>
            <p:nvPr/>
          </p:nvSpPr>
          <p:spPr bwMode="auto">
            <a:xfrm>
              <a:off x="6421439" y="3762376"/>
              <a:ext cx="30163" cy="30163"/>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39" name="Oval 196">
              <a:extLst>
                <a:ext uri="{FF2B5EF4-FFF2-40B4-BE49-F238E27FC236}">
                  <a16:creationId xmlns:a16="http://schemas.microsoft.com/office/drawing/2014/main" id="{9DA716E0-DBC9-430C-A4B7-59E86D88062B}"/>
                </a:ext>
              </a:extLst>
            </p:cNvPr>
            <p:cNvSpPr>
              <a:spLocks noChangeArrowheads="1"/>
            </p:cNvSpPr>
            <p:nvPr/>
          </p:nvSpPr>
          <p:spPr bwMode="auto">
            <a:xfrm>
              <a:off x="6481764" y="3762376"/>
              <a:ext cx="30163" cy="30163"/>
            </a:xfrm>
            <a:prstGeom prst="ellipse">
              <a:avLst/>
            </a:pr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0" name="Group 39">
            <a:extLst>
              <a:ext uri="{FF2B5EF4-FFF2-40B4-BE49-F238E27FC236}">
                <a16:creationId xmlns:a16="http://schemas.microsoft.com/office/drawing/2014/main" id="{EAF7CF89-46A5-4938-B269-E29A0C59DCF6}"/>
              </a:ext>
            </a:extLst>
          </p:cNvPr>
          <p:cNvGrpSpPr/>
          <p:nvPr/>
        </p:nvGrpSpPr>
        <p:grpSpPr>
          <a:xfrm>
            <a:off x="4824751" y="1644154"/>
            <a:ext cx="174570" cy="236375"/>
            <a:chOff x="2722563" y="2171701"/>
            <a:chExt cx="255588" cy="346075"/>
          </a:xfrm>
        </p:grpSpPr>
        <p:sp>
          <p:nvSpPr>
            <p:cNvPr id="41" name="Freeform 5">
              <a:extLst>
                <a:ext uri="{FF2B5EF4-FFF2-40B4-BE49-F238E27FC236}">
                  <a16:creationId xmlns:a16="http://schemas.microsoft.com/office/drawing/2014/main" id="{389C0E61-D5CE-4D30-B368-C6BB03A1F893}"/>
                </a:ext>
              </a:extLst>
            </p:cNvPr>
            <p:cNvSpPr>
              <a:spLocks/>
            </p:cNvSpPr>
            <p:nvPr/>
          </p:nvSpPr>
          <p:spPr bwMode="auto">
            <a:xfrm>
              <a:off x="2722563" y="2171701"/>
              <a:ext cx="255588" cy="346075"/>
            </a:xfrm>
            <a:custGeom>
              <a:avLst/>
              <a:gdLst>
                <a:gd name="T0" fmla="*/ 161 w 161"/>
                <a:gd name="T1" fmla="*/ 218 h 218"/>
                <a:gd name="T2" fmla="*/ 0 w 161"/>
                <a:gd name="T3" fmla="*/ 218 h 218"/>
                <a:gd name="T4" fmla="*/ 0 w 161"/>
                <a:gd name="T5" fmla="*/ 0 h 218"/>
                <a:gd name="T6" fmla="*/ 104 w 161"/>
                <a:gd name="T7" fmla="*/ 0 h 218"/>
                <a:gd name="T8" fmla="*/ 161 w 161"/>
                <a:gd name="T9" fmla="*/ 57 h 218"/>
                <a:gd name="T10" fmla="*/ 161 w 161"/>
                <a:gd name="T11" fmla="*/ 218 h 218"/>
              </a:gdLst>
              <a:ahLst/>
              <a:cxnLst>
                <a:cxn ang="0">
                  <a:pos x="T0" y="T1"/>
                </a:cxn>
                <a:cxn ang="0">
                  <a:pos x="T2" y="T3"/>
                </a:cxn>
                <a:cxn ang="0">
                  <a:pos x="T4" y="T5"/>
                </a:cxn>
                <a:cxn ang="0">
                  <a:pos x="T6" y="T7"/>
                </a:cxn>
                <a:cxn ang="0">
                  <a:pos x="T8" y="T9"/>
                </a:cxn>
                <a:cxn ang="0">
                  <a:pos x="T10" y="T11"/>
                </a:cxn>
              </a:cxnLst>
              <a:rect l="0" t="0" r="r" b="b"/>
              <a:pathLst>
                <a:path w="161" h="218">
                  <a:moveTo>
                    <a:pt x="161" y="218"/>
                  </a:moveTo>
                  <a:lnTo>
                    <a:pt x="0" y="218"/>
                  </a:lnTo>
                  <a:lnTo>
                    <a:pt x="0" y="0"/>
                  </a:lnTo>
                  <a:lnTo>
                    <a:pt x="104" y="0"/>
                  </a:lnTo>
                  <a:lnTo>
                    <a:pt x="161" y="57"/>
                  </a:lnTo>
                  <a:lnTo>
                    <a:pt x="161" y="218"/>
                  </a:lnTo>
                  <a:close/>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2" name="Freeform 6">
              <a:extLst>
                <a:ext uri="{FF2B5EF4-FFF2-40B4-BE49-F238E27FC236}">
                  <a16:creationId xmlns:a16="http://schemas.microsoft.com/office/drawing/2014/main" id="{4879263A-F875-4C6D-83F0-322B8AE76FE4}"/>
                </a:ext>
              </a:extLst>
            </p:cNvPr>
            <p:cNvSpPr>
              <a:spLocks/>
            </p:cNvSpPr>
            <p:nvPr/>
          </p:nvSpPr>
          <p:spPr bwMode="auto">
            <a:xfrm>
              <a:off x="2887663" y="2171701"/>
              <a:ext cx="90488" cy="90488"/>
            </a:xfrm>
            <a:custGeom>
              <a:avLst/>
              <a:gdLst>
                <a:gd name="T0" fmla="*/ 0 w 57"/>
                <a:gd name="T1" fmla="*/ 0 h 57"/>
                <a:gd name="T2" fmla="*/ 0 w 57"/>
                <a:gd name="T3" fmla="*/ 57 h 57"/>
                <a:gd name="T4" fmla="*/ 57 w 57"/>
                <a:gd name="T5" fmla="*/ 57 h 57"/>
              </a:gdLst>
              <a:ahLst/>
              <a:cxnLst>
                <a:cxn ang="0">
                  <a:pos x="T0" y="T1"/>
                </a:cxn>
                <a:cxn ang="0">
                  <a:pos x="T2" y="T3"/>
                </a:cxn>
                <a:cxn ang="0">
                  <a:pos x="T4" y="T5"/>
                </a:cxn>
              </a:cxnLst>
              <a:rect l="0" t="0" r="r" b="b"/>
              <a:pathLst>
                <a:path w="57" h="57">
                  <a:moveTo>
                    <a:pt x="0" y="0"/>
                  </a:moveTo>
                  <a:lnTo>
                    <a:pt x="0" y="57"/>
                  </a:lnTo>
                  <a:lnTo>
                    <a:pt x="57" y="57"/>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3" name="Line 7">
              <a:extLst>
                <a:ext uri="{FF2B5EF4-FFF2-40B4-BE49-F238E27FC236}">
                  <a16:creationId xmlns:a16="http://schemas.microsoft.com/office/drawing/2014/main" id="{E3532C1F-7E73-4228-881B-AF23927F89DB}"/>
                </a:ext>
              </a:extLst>
            </p:cNvPr>
            <p:cNvSpPr>
              <a:spLocks noChangeShapeType="1"/>
            </p:cNvSpPr>
            <p:nvPr/>
          </p:nvSpPr>
          <p:spPr bwMode="auto">
            <a:xfrm>
              <a:off x="2857501" y="2322514"/>
              <a:ext cx="6032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4" name="Line 8">
              <a:extLst>
                <a:ext uri="{FF2B5EF4-FFF2-40B4-BE49-F238E27FC236}">
                  <a16:creationId xmlns:a16="http://schemas.microsoft.com/office/drawing/2014/main" id="{59C32475-2683-4787-8670-7CE4523F61A3}"/>
                </a:ext>
              </a:extLst>
            </p:cNvPr>
            <p:cNvSpPr>
              <a:spLocks noChangeShapeType="1"/>
            </p:cNvSpPr>
            <p:nvPr/>
          </p:nvSpPr>
          <p:spPr bwMode="auto">
            <a:xfrm>
              <a:off x="2857501" y="2382839"/>
              <a:ext cx="6032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5" name="Line 9">
              <a:extLst>
                <a:ext uri="{FF2B5EF4-FFF2-40B4-BE49-F238E27FC236}">
                  <a16:creationId xmlns:a16="http://schemas.microsoft.com/office/drawing/2014/main" id="{3347BE9F-9CE9-42EE-9869-A95B6AD4EE46}"/>
                </a:ext>
              </a:extLst>
            </p:cNvPr>
            <p:cNvSpPr>
              <a:spLocks noChangeShapeType="1"/>
            </p:cNvSpPr>
            <p:nvPr/>
          </p:nvSpPr>
          <p:spPr bwMode="auto">
            <a:xfrm>
              <a:off x="2857501" y="2443164"/>
              <a:ext cx="6032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6" name="Freeform 10">
              <a:extLst>
                <a:ext uri="{FF2B5EF4-FFF2-40B4-BE49-F238E27FC236}">
                  <a16:creationId xmlns:a16="http://schemas.microsoft.com/office/drawing/2014/main" id="{72101CD3-C1D5-410F-9D54-8D84E9CD694D}"/>
                </a:ext>
              </a:extLst>
            </p:cNvPr>
            <p:cNvSpPr>
              <a:spLocks/>
            </p:cNvSpPr>
            <p:nvPr/>
          </p:nvSpPr>
          <p:spPr bwMode="auto">
            <a:xfrm>
              <a:off x="2768601" y="2292351"/>
              <a:ext cx="58738" cy="36513"/>
            </a:xfrm>
            <a:custGeom>
              <a:avLst/>
              <a:gdLst>
                <a:gd name="T0" fmla="*/ 37 w 37"/>
                <a:gd name="T1" fmla="*/ 0 h 23"/>
                <a:gd name="T2" fmla="*/ 14 w 37"/>
                <a:gd name="T3" fmla="*/ 23 h 23"/>
                <a:gd name="T4" fmla="*/ 0 w 37"/>
                <a:gd name="T5" fmla="*/ 9 h 23"/>
              </a:gdLst>
              <a:ahLst/>
              <a:cxnLst>
                <a:cxn ang="0">
                  <a:pos x="T0" y="T1"/>
                </a:cxn>
                <a:cxn ang="0">
                  <a:pos x="T2" y="T3"/>
                </a:cxn>
                <a:cxn ang="0">
                  <a:pos x="T4" y="T5"/>
                </a:cxn>
              </a:cxnLst>
              <a:rect l="0" t="0" r="r" b="b"/>
              <a:pathLst>
                <a:path w="37" h="23">
                  <a:moveTo>
                    <a:pt x="37" y="0"/>
                  </a:moveTo>
                  <a:lnTo>
                    <a:pt x="14" y="23"/>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7" name="Freeform 11">
              <a:extLst>
                <a:ext uri="{FF2B5EF4-FFF2-40B4-BE49-F238E27FC236}">
                  <a16:creationId xmlns:a16="http://schemas.microsoft.com/office/drawing/2014/main" id="{E8A7DF59-94D9-497B-83B1-FDA52ED5ED85}"/>
                </a:ext>
              </a:extLst>
            </p:cNvPr>
            <p:cNvSpPr>
              <a:spLocks/>
            </p:cNvSpPr>
            <p:nvPr/>
          </p:nvSpPr>
          <p:spPr bwMode="auto">
            <a:xfrm>
              <a:off x="2768601" y="2352676"/>
              <a:ext cx="58738" cy="36513"/>
            </a:xfrm>
            <a:custGeom>
              <a:avLst/>
              <a:gdLst>
                <a:gd name="T0" fmla="*/ 37 w 37"/>
                <a:gd name="T1" fmla="*/ 0 h 23"/>
                <a:gd name="T2" fmla="*/ 14 w 37"/>
                <a:gd name="T3" fmla="*/ 23 h 23"/>
                <a:gd name="T4" fmla="*/ 0 w 37"/>
                <a:gd name="T5" fmla="*/ 9 h 23"/>
              </a:gdLst>
              <a:ahLst/>
              <a:cxnLst>
                <a:cxn ang="0">
                  <a:pos x="T0" y="T1"/>
                </a:cxn>
                <a:cxn ang="0">
                  <a:pos x="T2" y="T3"/>
                </a:cxn>
                <a:cxn ang="0">
                  <a:pos x="T4" y="T5"/>
                </a:cxn>
              </a:cxnLst>
              <a:rect l="0" t="0" r="r" b="b"/>
              <a:pathLst>
                <a:path w="37" h="23">
                  <a:moveTo>
                    <a:pt x="37" y="0"/>
                  </a:moveTo>
                  <a:lnTo>
                    <a:pt x="14" y="23"/>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48" name="Freeform 12">
              <a:extLst>
                <a:ext uri="{FF2B5EF4-FFF2-40B4-BE49-F238E27FC236}">
                  <a16:creationId xmlns:a16="http://schemas.microsoft.com/office/drawing/2014/main" id="{6C52A50C-912B-4397-B181-491037B3D477}"/>
                </a:ext>
              </a:extLst>
            </p:cNvPr>
            <p:cNvSpPr>
              <a:spLocks/>
            </p:cNvSpPr>
            <p:nvPr/>
          </p:nvSpPr>
          <p:spPr bwMode="auto">
            <a:xfrm>
              <a:off x="2768601" y="2413001"/>
              <a:ext cx="58738" cy="36513"/>
            </a:xfrm>
            <a:custGeom>
              <a:avLst/>
              <a:gdLst>
                <a:gd name="T0" fmla="*/ 37 w 37"/>
                <a:gd name="T1" fmla="*/ 0 h 23"/>
                <a:gd name="T2" fmla="*/ 14 w 37"/>
                <a:gd name="T3" fmla="*/ 23 h 23"/>
                <a:gd name="T4" fmla="*/ 0 w 37"/>
                <a:gd name="T5" fmla="*/ 9 h 23"/>
              </a:gdLst>
              <a:ahLst/>
              <a:cxnLst>
                <a:cxn ang="0">
                  <a:pos x="T0" y="T1"/>
                </a:cxn>
                <a:cxn ang="0">
                  <a:pos x="T2" y="T3"/>
                </a:cxn>
                <a:cxn ang="0">
                  <a:pos x="T4" y="T5"/>
                </a:cxn>
              </a:cxnLst>
              <a:rect l="0" t="0" r="r" b="b"/>
              <a:pathLst>
                <a:path w="37" h="23">
                  <a:moveTo>
                    <a:pt x="37" y="0"/>
                  </a:moveTo>
                  <a:lnTo>
                    <a:pt x="14" y="23"/>
                  </a:lnTo>
                  <a:lnTo>
                    <a:pt x="0" y="9"/>
                  </a:ln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grpSp>
        <p:nvGrpSpPr>
          <p:cNvPr id="49" name="Group 48">
            <a:extLst>
              <a:ext uri="{FF2B5EF4-FFF2-40B4-BE49-F238E27FC236}">
                <a16:creationId xmlns:a16="http://schemas.microsoft.com/office/drawing/2014/main" id="{20555C21-641A-4552-B72D-91F64EF2B50B}"/>
              </a:ext>
            </a:extLst>
          </p:cNvPr>
          <p:cNvGrpSpPr/>
          <p:nvPr/>
        </p:nvGrpSpPr>
        <p:grpSpPr>
          <a:xfrm>
            <a:off x="4799861" y="2578708"/>
            <a:ext cx="224350" cy="279452"/>
            <a:chOff x="8482013" y="2570163"/>
            <a:chExt cx="271463" cy="338137"/>
          </a:xfrm>
        </p:grpSpPr>
        <p:sp>
          <p:nvSpPr>
            <p:cNvPr id="50" name="Rectangle 208">
              <a:extLst>
                <a:ext uri="{FF2B5EF4-FFF2-40B4-BE49-F238E27FC236}">
                  <a16:creationId xmlns:a16="http://schemas.microsoft.com/office/drawing/2014/main" id="{76E6EF6B-F170-461A-BF51-5A56B9CC1BF3}"/>
                </a:ext>
              </a:extLst>
            </p:cNvPr>
            <p:cNvSpPr>
              <a:spLocks noChangeArrowheads="1"/>
            </p:cNvSpPr>
            <p:nvPr/>
          </p:nvSpPr>
          <p:spPr bwMode="auto">
            <a:xfrm>
              <a:off x="8482013" y="2682875"/>
              <a:ext cx="271463" cy="149225"/>
            </a:xfrm>
            <a:prstGeom prst="rect">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1" name="Oval 209">
              <a:extLst>
                <a:ext uri="{FF2B5EF4-FFF2-40B4-BE49-F238E27FC236}">
                  <a16:creationId xmlns:a16="http://schemas.microsoft.com/office/drawing/2014/main" id="{D7464C54-2EDD-4DEE-9E78-5B2029D46997}"/>
                </a:ext>
              </a:extLst>
            </p:cNvPr>
            <p:cNvSpPr>
              <a:spLocks noChangeArrowheads="1"/>
            </p:cNvSpPr>
            <p:nvPr/>
          </p:nvSpPr>
          <p:spPr bwMode="auto">
            <a:xfrm>
              <a:off x="8580438" y="2570163"/>
              <a:ext cx="74613" cy="74613"/>
            </a:xfrm>
            <a:prstGeom prst="ellipse">
              <a:avLst/>
            </a:pr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2" name="Freeform 210">
              <a:extLst>
                <a:ext uri="{FF2B5EF4-FFF2-40B4-BE49-F238E27FC236}">
                  <a16:creationId xmlns:a16="http://schemas.microsoft.com/office/drawing/2014/main" id="{80B65D58-3AD4-4E9B-9D47-31D1F12D5D9A}"/>
                </a:ext>
              </a:extLst>
            </p:cNvPr>
            <p:cNvSpPr>
              <a:spLocks/>
            </p:cNvSpPr>
            <p:nvPr/>
          </p:nvSpPr>
          <p:spPr bwMode="auto">
            <a:xfrm>
              <a:off x="8564563" y="2832100"/>
              <a:ext cx="106363" cy="76200"/>
            </a:xfrm>
            <a:custGeom>
              <a:avLst/>
              <a:gdLst>
                <a:gd name="T0" fmla="*/ 0 w 67"/>
                <a:gd name="T1" fmla="*/ 0 h 48"/>
                <a:gd name="T2" fmla="*/ 10 w 67"/>
                <a:gd name="T3" fmla="*/ 48 h 48"/>
                <a:gd name="T4" fmla="*/ 34 w 67"/>
                <a:gd name="T5" fmla="*/ 48 h 48"/>
                <a:gd name="T6" fmla="*/ 57 w 67"/>
                <a:gd name="T7" fmla="*/ 48 h 48"/>
                <a:gd name="T8" fmla="*/ 67 w 67"/>
                <a:gd name="T9" fmla="*/ 0 h 48"/>
              </a:gdLst>
              <a:ahLst/>
              <a:cxnLst>
                <a:cxn ang="0">
                  <a:pos x="T0" y="T1"/>
                </a:cxn>
                <a:cxn ang="0">
                  <a:pos x="T2" y="T3"/>
                </a:cxn>
                <a:cxn ang="0">
                  <a:pos x="T4" y="T5"/>
                </a:cxn>
                <a:cxn ang="0">
                  <a:pos x="T6" y="T7"/>
                </a:cxn>
                <a:cxn ang="0">
                  <a:pos x="T8" y="T9"/>
                </a:cxn>
              </a:cxnLst>
              <a:rect l="0" t="0" r="r" b="b"/>
              <a:pathLst>
                <a:path w="67" h="48">
                  <a:moveTo>
                    <a:pt x="0" y="0"/>
                  </a:moveTo>
                  <a:lnTo>
                    <a:pt x="10" y="48"/>
                  </a:lnTo>
                  <a:lnTo>
                    <a:pt x="34" y="48"/>
                  </a:lnTo>
                  <a:lnTo>
                    <a:pt x="57" y="48"/>
                  </a:lnTo>
                  <a:lnTo>
                    <a:pt x="67" y="0"/>
                  </a:lnTo>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3" name="Freeform 211">
              <a:extLst>
                <a:ext uri="{FF2B5EF4-FFF2-40B4-BE49-F238E27FC236}">
                  <a16:creationId xmlns:a16="http://schemas.microsoft.com/office/drawing/2014/main" id="{AD3C3638-1EF4-47C5-AE03-34438C465741}"/>
                </a:ext>
              </a:extLst>
            </p:cNvPr>
            <p:cNvSpPr>
              <a:spLocks/>
            </p:cNvSpPr>
            <p:nvPr/>
          </p:nvSpPr>
          <p:spPr bwMode="auto">
            <a:xfrm>
              <a:off x="8520113" y="2652713"/>
              <a:ext cx="195263" cy="30163"/>
            </a:xfrm>
            <a:custGeom>
              <a:avLst/>
              <a:gdLst>
                <a:gd name="T0" fmla="*/ 123 w 123"/>
                <a:gd name="T1" fmla="*/ 19 h 19"/>
                <a:gd name="T2" fmla="*/ 114 w 123"/>
                <a:gd name="T3" fmla="*/ 0 h 19"/>
                <a:gd name="T4" fmla="*/ 81 w 123"/>
                <a:gd name="T5" fmla="*/ 0 h 19"/>
                <a:gd name="T6" fmla="*/ 43 w 123"/>
                <a:gd name="T7" fmla="*/ 0 h 19"/>
                <a:gd name="T8" fmla="*/ 10 w 123"/>
                <a:gd name="T9" fmla="*/ 0 h 19"/>
                <a:gd name="T10" fmla="*/ 0 w 123"/>
                <a:gd name="T11" fmla="*/ 19 h 19"/>
              </a:gdLst>
              <a:ahLst/>
              <a:cxnLst>
                <a:cxn ang="0">
                  <a:pos x="T0" y="T1"/>
                </a:cxn>
                <a:cxn ang="0">
                  <a:pos x="T2" y="T3"/>
                </a:cxn>
                <a:cxn ang="0">
                  <a:pos x="T4" y="T5"/>
                </a:cxn>
                <a:cxn ang="0">
                  <a:pos x="T6" y="T7"/>
                </a:cxn>
                <a:cxn ang="0">
                  <a:pos x="T8" y="T9"/>
                </a:cxn>
                <a:cxn ang="0">
                  <a:pos x="T10" y="T11"/>
                </a:cxn>
              </a:cxnLst>
              <a:rect l="0" t="0" r="r" b="b"/>
              <a:pathLst>
                <a:path w="123" h="19">
                  <a:moveTo>
                    <a:pt x="123" y="19"/>
                  </a:moveTo>
                  <a:lnTo>
                    <a:pt x="114" y="0"/>
                  </a:lnTo>
                  <a:lnTo>
                    <a:pt x="81" y="0"/>
                  </a:lnTo>
                  <a:lnTo>
                    <a:pt x="43" y="0"/>
                  </a:lnTo>
                  <a:lnTo>
                    <a:pt x="10" y="0"/>
                  </a:lnTo>
                  <a:lnTo>
                    <a:pt x="0" y="19"/>
                  </a:lnTo>
                </a:path>
              </a:pathLst>
            </a:custGeom>
            <a:noFill/>
            <a:ln w="9525"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4" name="Line 212">
              <a:extLst>
                <a:ext uri="{FF2B5EF4-FFF2-40B4-BE49-F238E27FC236}">
                  <a16:creationId xmlns:a16="http://schemas.microsoft.com/office/drawing/2014/main" id="{6B1F401C-4B99-4F8E-8333-DDE73207035C}"/>
                </a:ext>
              </a:extLst>
            </p:cNvPr>
            <p:cNvSpPr>
              <a:spLocks noChangeShapeType="1"/>
            </p:cNvSpPr>
            <p:nvPr/>
          </p:nvSpPr>
          <p:spPr bwMode="auto">
            <a:xfrm>
              <a:off x="8618538" y="2713038"/>
              <a:ext cx="0" cy="8890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5" name="Freeform 213">
              <a:extLst>
                <a:ext uri="{FF2B5EF4-FFF2-40B4-BE49-F238E27FC236}">
                  <a16:creationId xmlns:a16="http://schemas.microsoft.com/office/drawing/2014/main" id="{DE444668-03D7-4992-8896-11E33793A63E}"/>
                </a:ext>
              </a:extLst>
            </p:cNvPr>
            <p:cNvSpPr>
              <a:spLocks/>
            </p:cNvSpPr>
            <p:nvPr/>
          </p:nvSpPr>
          <p:spPr bwMode="auto">
            <a:xfrm>
              <a:off x="8542338" y="2713038"/>
              <a:ext cx="76200" cy="14288"/>
            </a:xfrm>
            <a:custGeom>
              <a:avLst/>
              <a:gdLst>
                <a:gd name="T0" fmla="*/ 20 w 20"/>
                <a:gd name="T1" fmla="*/ 0 h 4"/>
                <a:gd name="T2" fmla="*/ 13 w 20"/>
                <a:gd name="T3" fmla="*/ 0 h 4"/>
                <a:gd name="T4" fmla="*/ 7 w 20"/>
                <a:gd name="T5" fmla="*/ 1 h 4"/>
                <a:gd name="T6" fmla="*/ 0 w 20"/>
                <a:gd name="T7" fmla="*/ 4 h 4"/>
              </a:gdLst>
              <a:ahLst/>
              <a:cxnLst>
                <a:cxn ang="0">
                  <a:pos x="T0" y="T1"/>
                </a:cxn>
                <a:cxn ang="0">
                  <a:pos x="T2" y="T3"/>
                </a:cxn>
                <a:cxn ang="0">
                  <a:pos x="T4" y="T5"/>
                </a:cxn>
                <a:cxn ang="0">
                  <a:pos x="T6" y="T7"/>
                </a:cxn>
              </a:cxnLst>
              <a:rect l="0" t="0" r="r" b="b"/>
              <a:pathLst>
                <a:path w="20" h="4">
                  <a:moveTo>
                    <a:pt x="20" y="0"/>
                  </a:moveTo>
                  <a:cubicBezTo>
                    <a:pt x="13" y="0"/>
                    <a:pt x="13" y="0"/>
                    <a:pt x="13" y="0"/>
                  </a:cubicBezTo>
                  <a:cubicBezTo>
                    <a:pt x="11" y="0"/>
                    <a:pt x="9" y="0"/>
                    <a:pt x="7" y="1"/>
                  </a:cubicBezTo>
                  <a:cubicBezTo>
                    <a:pt x="0" y="4"/>
                    <a:pt x="0" y="4"/>
                    <a:pt x="0" y="4"/>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6" name="Freeform 214">
              <a:extLst>
                <a:ext uri="{FF2B5EF4-FFF2-40B4-BE49-F238E27FC236}">
                  <a16:creationId xmlns:a16="http://schemas.microsoft.com/office/drawing/2014/main" id="{131C299C-95A4-4A6A-9A72-43AB47F043F6}"/>
                </a:ext>
              </a:extLst>
            </p:cNvPr>
            <p:cNvSpPr>
              <a:spLocks/>
            </p:cNvSpPr>
            <p:nvPr/>
          </p:nvSpPr>
          <p:spPr bwMode="auto">
            <a:xfrm>
              <a:off x="8553450" y="2757488"/>
              <a:ext cx="65088" cy="15875"/>
            </a:xfrm>
            <a:custGeom>
              <a:avLst/>
              <a:gdLst>
                <a:gd name="T0" fmla="*/ 17 w 17"/>
                <a:gd name="T1" fmla="*/ 0 h 4"/>
                <a:gd name="T2" fmla="*/ 14 w 17"/>
                <a:gd name="T3" fmla="*/ 0 h 4"/>
                <a:gd name="T4" fmla="*/ 8 w 17"/>
                <a:gd name="T5" fmla="*/ 1 h 4"/>
                <a:gd name="T6" fmla="*/ 0 w 17"/>
                <a:gd name="T7" fmla="*/ 4 h 4"/>
              </a:gdLst>
              <a:ahLst/>
              <a:cxnLst>
                <a:cxn ang="0">
                  <a:pos x="T0" y="T1"/>
                </a:cxn>
                <a:cxn ang="0">
                  <a:pos x="T2" y="T3"/>
                </a:cxn>
                <a:cxn ang="0">
                  <a:pos x="T4" y="T5"/>
                </a:cxn>
                <a:cxn ang="0">
                  <a:pos x="T6" y="T7"/>
                </a:cxn>
              </a:cxnLst>
              <a:rect l="0" t="0" r="r" b="b"/>
              <a:pathLst>
                <a:path w="17" h="4">
                  <a:moveTo>
                    <a:pt x="17" y="0"/>
                  </a:moveTo>
                  <a:cubicBezTo>
                    <a:pt x="14" y="0"/>
                    <a:pt x="14" y="0"/>
                    <a:pt x="14" y="0"/>
                  </a:cubicBezTo>
                  <a:cubicBezTo>
                    <a:pt x="12" y="0"/>
                    <a:pt x="10" y="0"/>
                    <a:pt x="8" y="1"/>
                  </a:cubicBezTo>
                  <a:cubicBezTo>
                    <a:pt x="0" y="4"/>
                    <a:pt x="0" y="4"/>
                    <a:pt x="0" y="4"/>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7" name="Freeform 215">
              <a:extLst>
                <a:ext uri="{FF2B5EF4-FFF2-40B4-BE49-F238E27FC236}">
                  <a16:creationId xmlns:a16="http://schemas.microsoft.com/office/drawing/2014/main" id="{88764151-9218-45AB-92F6-2A42AE05CF71}"/>
                </a:ext>
              </a:extLst>
            </p:cNvPr>
            <p:cNvSpPr>
              <a:spLocks/>
            </p:cNvSpPr>
            <p:nvPr/>
          </p:nvSpPr>
          <p:spPr bwMode="auto">
            <a:xfrm>
              <a:off x="8618538" y="2713038"/>
              <a:ext cx="74613" cy="14288"/>
            </a:xfrm>
            <a:custGeom>
              <a:avLst/>
              <a:gdLst>
                <a:gd name="T0" fmla="*/ 0 w 20"/>
                <a:gd name="T1" fmla="*/ 0 h 4"/>
                <a:gd name="T2" fmla="*/ 7 w 20"/>
                <a:gd name="T3" fmla="*/ 0 h 4"/>
                <a:gd name="T4" fmla="*/ 13 w 20"/>
                <a:gd name="T5" fmla="*/ 1 h 4"/>
                <a:gd name="T6" fmla="*/ 20 w 20"/>
                <a:gd name="T7" fmla="*/ 4 h 4"/>
              </a:gdLst>
              <a:ahLst/>
              <a:cxnLst>
                <a:cxn ang="0">
                  <a:pos x="T0" y="T1"/>
                </a:cxn>
                <a:cxn ang="0">
                  <a:pos x="T2" y="T3"/>
                </a:cxn>
                <a:cxn ang="0">
                  <a:pos x="T4" y="T5"/>
                </a:cxn>
                <a:cxn ang="0">
                  <a:pos x="T6" y="T7"/>
                </a:cxn>
              </a:cxnLst>
              <a:rect l="0" t="0" r="r" b="b"/>
              <a:pathLst>
                <a:path w="20" h="4">
                  <a:moveTo>
                    <a:pt x="0" y="0"/>
                  </a:moveTo>
                  <a:cubicBezTo>
                    <a:pt x="7" y="0"/>
                    <a:pt x="7" y="0"/>
                    <a:pt x="7" y="0"/>
                  </a:cubicBezTo>
                  <a:cubicBezTo>
                    <a:pt x="9" y="0"/>
                    <a:pt x="11" y="0"/>
                    <a:pt x="13" y="1"/>
                  </a:cubicBezTo>
                  <a:cubicBezTo>
                    <a:pt x="20" y="4"/>
                    <a:pt x="20" y="4"/>
                    <a:pt x="20" y="4"/>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8" name="Freeform 216">
              <a:extLst>
                <a:ext uri="{FF2B5EF4-FFF2-40B4-BE49-F238E27FC236}">
                  <a16:creationId xmlns:a16="http://schemas.microsoft.com/office/drawing/2014/main" id="{6A08B114-0677-4ACD-B8F2-7AB6D2234F77}"/>
                </a:ext>
              </a:extLst>
            </p:cNvPr>
            <p:cNvSpPr>
              <a:spLocks/>
            </p:cNvSpPr>
            <p:nvPr/>
          </p:nvSpPr>
          <p:spPr bwMode="auto">
            <a:xfrm>
              <a:off x="8618538" y="2757488"/>
              <a:ext cx="63500" cy="15875"/>
            </a:xfrm>
            <a:custGeom>
              <a:avLst/>
              <a:gdLst>
                <a:gd name="T0" fmla="*/ 0 w 17"/>
                <a:gd name="T1" fmla="*/ 0 h 4"/>
                <a:gd name="T2" fmla="*/ 3 w 17"/>
                <a:gd name="T3" fmla="*/ 0 h 4"/>
                <a:gd name="T4" fmla="*/ 9 w 17"/>
                <a:gd name="T5" fmla="*/ 1 h 4"/>
                <a:gd name="T6" fmla="*/ 17 w 17"/>
                <a:gd name="T7" fmla="*/ 4 h 4"/>
              </a:gdLst>
              <a:ahLst/>
              <a:cxnLst>
                <a:cxn ang="0">
                  <a:pos x="T0" y="T1"/>
                </a:cxn>
                <a:cxn ang="0">
                  <a:pos x="T2" y="T3"/>
                </a:cxn>
                <a:cxn ang="0">
                  <a:pos x="T4" y="T5"/>
                </a:cxn>
                <a:cxn ang="0">
                  <a:pos x="T6" y="T7"/>
                </a:cxn>
              </a:cxnLst>
              <a:rect l="0" t="0" r="r" b="b"/>
              <a:pathLst>
                <a:path w="17" h="4">
                  <a:moveTo>
                    <a:pt x="0" y="0"/>
                  </a:moveTo>
                  <a:cubicBezTo>
                    <a:pt x="3" y="0"/>
                    <a:pt x="3" y="0"/>
                    <a:pt x="3" y="0"/>
                  </a:cubicBezTo>
                  <a:cubicBezTo>
                    <a:pt x="5" y="0"/>
                    <a:pt x="7" y="0"/>
                    <a:pt x="9" y="1"/>
                  </a:cubicBezTo>
                  <a:cubicBezTo>
                    <a:pt x="17" y="4"/>
                    <a:pt x="17" y="4"/>
                    <a:pt x="17" y="4"/>
                  </a:cubicBezTo>
                </a:path>
              </a:pathLst>
            </a:custGeom>
            <a:noFill/>
            <a:ln w="952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sp>
          <p:nvSpPr>
            <p:cNvPr id="59" name="Line 217">
              <a:extLst>
                <a:ext uri="{FF2B5EF4-FFF2-40B4-BE49-F238E27FC236}">
                  <a16:creationId xmlns:a16="http://schemas.microsoft.com/office/drawing/2014/main" id="{45467E7F-620D-4F1B-82A7-0DBC2A55F765}"/>
                </a:ext>
              </a:extLst>
            </p:cNvPr>
            <p:cNvSpPr>
              <a:spLocks noChangeShapeType="1"/>
            </p:cNvSpPr>
            <p:nvPr/>
          </p:nvSpPr>
          <p:spPr bwMode="auto">
            <a:xfrm>
              <a:off x="8588375" y="2801938"/>
              <a:ext cx="60325" cy="0"/>
            </a:xfrm>
            <a:prstGeom prst="line">
              <a:avLst/>
            </a:prstGeom>
            <a:noFill/>
            <a:ln w="952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id-ID" sz="1400" b="0" i="0" u="none" strike="noStrike" kern="0" cap="none" spc="0" normalizeH="0" baseline="0" noProof="0">
                <a:ln>
                  <a:noFill/>
                </a:ln>
                <a:solidFill>
                  <a:srgbClr val="000000"/>
                </a:solidFill>
                <a:effectLst/>
                <a:uLnTx/>
                <a:uFillTx/>
                <a:latin typeface="Arial"/>
                <a:cs typeface="Arial"/>
                <a:sym typeface="Arial"/>
              </a:endParaRPr>
            </a:p>
          </p:txBody>
        </p:sp>
      </p:grpSp>
      <p:sp>
        <p:nvSpPr>
          <p:cNvPr id="60" name="Freeform 357">
            <a:extLst>
              <a:ext uri="{FF2B5EF4-FFF2-40B4-BE49-F238E27FC236}">
                <a16:creationId xmlns:a16="http://schemas.microsoft.com/office/drawing/2014/main" id="{9ACCB7A1-C976-428A-A3D2-7202CAC296BC}"/>
              </a:ext>
            </a:extLst>
          </p:cNvPr>
          <p:cNvSpPr>
            <a:spLocks noEditPoints="1"/>
          </p:cNvSpPr>
          <p:nvPr/>
        </p:nvSpPr>
        <p:spPr bwMode="auto">
          <a:xfrm>
            <a:off x="4782150" y="3544642"/>
            <a:ext cx="259773" cy="259773"/>
          </a:xfrm>
          <a:custGeom>
            <a:avLst/>
            <a:gdLst>
              <a:gd name="T0" fmla="*/ 275 w 900"/>
              <a:gd name="T1" fmla="*/ 777 h 900"/>
              <a:gd name="T2" fmla="*/ 616 w 900"/>
              <a:gd name="T3" fmla="*/ 778 h 900"/>
              <a:gd name="T4" fmla="*/ 685 w 900"/>
              <a:gd name="T5" fmla="*/ 741 h 900"/>
              <a:gd name="T6" fmla="*/ 718 w 900"/>
              <a:gd name="T7" fmla="*/ 664 h 900"/>
              <a:gd name="T8" fmla="*/ 715 w 900"/>
              <a:gd name="T9" fmla="*/ 500 h 900"/>
              <a:gd name="T10" fmla="*/ 677 w 900"/>
              <a:gd name="T11" fmla="*/ 423 h 900"/>
              <a:gd name="T12" fmla="*/ 601 w 900"/>
              <a:gd name="T13" fmla="*/ 391 h 900"/>
              <a:gd name="T14" fmla="*/ 719 w 900"/>
              <a:gd name="T15" fmla="*/ 271 h 900"/>
              <a:gd name="T16" fmla="*/ 791 w 900"/>
              <a:gd name="T17" fmla="*/ 301 h 900"/>
              <a:gd name="T18" fmla="*/ 834 w 900"/>
              <a:gd name="T19" fmla="*/ 365 h 900"/>
              <a:gd name="T20" fmla="*/ 837 w 900"/>
              <a:gd name="T21" fmla="*/ 763 h 900"/>
              <a:gd name="T22" fmla="*/ 801 w 900"/>
              <a:gd name="T23" fmla="*/ 830 h 900"/>
              <a:gd name="T24" fmla="*/ 732 w 900"/>
              <a:gd name="T25" fmla="*/ 868 h 900"/>
              <a:gd name="T26" fmla="*/ 274 w 900"/>
              <a:gd name="T27" fmla="*/ 101 h 900"/>
              <a:gd name="T28" fmla="*/ 386 w 900"/>
              <a:gd name="T29" fmla="*/ 139 h 900"/>
              <a:gd name="T30" fmla="*/ 339 w 900"/>
              <a:gd name="T31" fmla="*/ 90 h 900"/>
              <a:gd name="T32" fmla="*/ 212 w 900"/>
              <a:gd name="T33" fmla="*/ 526 h 900"/>
              <a:gd name="T34" fmla="*/ 829 w 900"/>
              <a:gd name="T35" fmla="*/ 844 h 900"/>
              <a:gd name="T36" fmla="*/ 860 w 900"/>
              <a:gd name="T37" fmla="*/ 795 h 900"/>
              <a:gd name="T38" fmla="*/ 870 w 900"/>
              <a:gd name="T39" fmla="*/ 735 h 900"/>
              <a:gd name="T40" fmla="*/ 850 w 900"/>
              <a:gd name="T41" fmla="*/ 326 h 900"/>
              <a:gd name="T42" fmla="*/ 784 w 900"/>
              <a:gd name="T43" fmla="*/ 260 h 900"/>
              <a:gd name="T44" fmla="*/ 425 w 900"/>
              <a:gd name="T45" fmla="*/ 240 h 900"/>
              <a:gd name="T46" fmla="*/ 454 w 900"/>
              <a:gd name="T47" fmla="*/ 132 h 900"/>
              <a:gd name="T48" fmla="*/ 451 w 900"/>
              <a:gd name="T49" fmla="*/ 81 h 900"/>
              <a:gd name="T50" fmla="*/ 466 w 900"/>
              <a:gd name="T51" fmla="*/ 64 h 900"/>
              <a:gd name="T52" fmla="*/ 456 w 900"/>
              <a:gd name="T53" fmla="*/ 53 h 900"/>
              <a:gd name="T54" fmla="*/ 311 w 900"/>
              <a:gd name="T55" fmla="*/ 1 h 900"/>
              <a:gd name="T56" fmla="*/ 296 w 900"/>
              <a:gd name="T57" fmla="*/ 8 h 900"/>
              <a:gd name="T58" fmla="*/ 297 w 900"/>
              <a:gd name="T59" fmla="*/ 25 h 900"/>
              <a:gd name="T60" fmla="*/ 270 w 900"/>
              <a:gd name="T61" fmla="*/ 66 h 900"/>
              <a:gd name="T62" fmla="*/ 255 w 900"/>
              <a:gd name="T63" fmla="*/ 70 h 900"/>
              <a:gd name="T64" fmla="*/ 137 w 900"/>
              <a:gd name="T65" fmla="*/ 406 h 900"/>
              <a:gd name="T66" fmla="*/ 135 w 900"/>
              <a:gd name="T67" fmla="*/ 519 h 900"/>
              <a:gd name="T68" fmla="*/ 143 w 900"/>
              <a:gd name="T69" fmla="*/ 534 h 900"/>
              <a:gd name="T70" fmla="*/ 228 w 900"/>
              <a:gd name="T71" fmla="*/ 560 h 900"/>
              <a:gd name="T72" fmla="*/ 331 w 900"/>
              <a:gd name="T73" fmla="*/ 480 h 900"/>
              <a:gd name="T74" fmla="*/ 500 w 900"/>
              <a:gd name="T75" fmla="*/ 415 h 900"/>
              <a:gd name="T76" fmla="*/ 599 w 900"/>
              <a:gd name="T77" fmla="*/ 421 h 900"/>
              <a:gd name="T78" fmla="*/ 657 w 900"/>
              <a:gd name="T79" fmla="*/ 446 h 900"/>
              <a:gd name="T80" fmla="*/ 686 w 900"/>
              <a:gd name="T81" fmla="*/ 509 h 900"/>
              <a:gd name="T82" fmla="*/ 688 w 900"/>
              <a:gd name="T83" fmla="*/ 658 h 900"/>
              <a:gd name="T84" fmla="*/ 665 w 900"/>
              <a:gd name="T85" fmla="*/ 720 h 900"/>
              <a:gd name="T86" fmla="*/ 610 w 900"/>
              <a:gd name="T87" fmla="*/ 748 h 900"/>
              <a:gd name="T88" fmla="*/ 348 w 900"/>
              <a:gd name="T89" fmla="*/ 660 h 900"/>
              <a:gd name="T90" fmla="*/ 360 w 900"/>
              <a:gd name="T91" fmla="*/ 648 h 900"/>
              <a:gd name="T92" fmla="*/ 354 w 900"/>
              <a:gd name="T93" fmla="*/ 632 h 900"/>
              <a:gd name="T94" fmla="*/ 9 w 900"/>
              <a:gd name="T95" fmla="*/ 631 h 900"/>
              <a:gd name="T96" fmla="*/ 0 w 900"/>
              <a:gd name="T97" fmla="*/ 645 h 900"/>
              <a:gd name="T98" fmla="*/ 9 w 900"/>
              <a:gd name="T99" fmla="*/ 659 h 900"/>
              <a:gd name="T100" fmla="*/ 12 w 900"/>
              <a:gd name="T101" fmla="*/ 871 h 900"/>
              <a:gd name="T102" fmla="*/ 0 w 900"/>
              <a:gd name="T103" fmla="*/ 883 h 900"/>
              <a:gd name="T104" fmla="*/ 7 w 900"/>
              <a:gd name="T105" fmla="*/ 898 h 900"/>
              <a:gd name="T106" fmla="*/ 885 w 900"/>
              <a:gd name="T107" fmla="*/ 900 h 900"/>
              <a:gd name="T108" fmla="*/ 899 w 900"/>
              <a:gd name="T109" fmla="*/ 891 h 900"/>
              <a:gd name="T110" fmla="*/ 896 w 900"/>
              <a:gd name="T111" fmla="*/ 875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0" h="900">
                <a:moveTo>
                  <a:pt x="676" y="870"/>
                </a:moveTo>
                <a:lnTo>
                  <a:pt x="120" y="870"/>
                </a:lnTo>
                <a:lnTo>
                  <a:pt x="120" y="660"/>
                </a:lnTo>
                <a:lnTo>
                  <a:pt x="202" y="660"/>
                </a:lnTo>
                <a:lnTo>
                  <a:pt x="272" y="774"/>
                </a:lnTo>
                <a:lnTo>
                  <a:pt x="275" y="777"/>
                </a:lnTo>
                <a:lnTo>
                  <a:pt x="278" y="779"/>
                </a:lnTo>
                <a:lnTo>
                  <a:pt x="282" y="780"/>
                </a:lnTo>
                <a:lnTo>
                  <a:pt x="285" y="780"/>
                </a:lnTo>
                <a:lnTo>
                  <a:pt x="586" y="780"/>
                </a:lnTo>
                <a:lnTo>
                  <a:pt x="601" y="779"/>
                </a:lnTo>
                <a:lnTo>
                  <a:pt x="616" y="778"/>
                </a:lnTo>
                <a:lnTo>
                  <a:pt x="631" y="775"/>
                </a:lnTo>
                <a:lnTo>
                  <a:pt x="643" y="770"/>
                </a:lnTo>
                <a:lnTo>
                  <a:pt x="655" y="765"/>
                </a:lnTo>
                <a:lnTo>
                  <a:pt x="666" y="759"/>
                </a:lnTo>
                <a:lnTo>
                  <a:pt x="677" y="750"/>
                </a:lnTo>
                <a:lnTo>
                  <a:pt x="685" y="741"/>
                </a:lnTo>
                <a:lnTo>
                  <a:pt x="694" y="732"/>
                </a:lnTo>
                <a:lnTo>
                  <a:pt x="700" y="720"/>
                </a:lnTo>
                <a:lnTo>
                  <a:pt x="707" y="708"/>
                </a:lnTo>
                <a:lnTo>
                  <a:pt x="712" y="694"/>
                </a:lnTo>
                <a:lnTo>
                  <a:pt x="715" y="680"/>
                </a:lnTo>
                <a:lnTo>
                  <a:pt x="718" y="664"/>
                </a:lnTo>
                <a:lnTo>
                  <a:pt x="719" y="647"/>
                </a:lnTo>
                <a:lnTo>
                  <a:pt x="721" y="630"/>
                </a:lnTo>
                <a:lnTo>
                  <a:pt x="721" y="555"/>
                </a:lnTo>
                <a:lnTo>
                  <a:pt x="719" y="536"/>
                </a:lnTo>
                <a:lnTo>
                  <a:pt x="718" y="517"/>
                </a:lnTo>
                <a:lnTo>
                  <a:pt x="715" y="500"/>
                </a:lnTo>
                <a:lnTo>
                  <a:pt x="712" y="485"/>
                </a:lnTo>
                <a:lnTo>
                  <a:pt x="707" y="470"/>
                </a:lnTo>
                <a:lnTo>
                  <a:pt x="700" y="456"/>
                </a:lnTo>
                <a:lnTo>
                  <a:pt x="694" y="444"/>
                </a:lnTo>
                <a:lnTo>
                  <a:pt x="685" y="432"/>
                </a:lnTo>
                <a:lnTo>
                  <a:pt x="677" y="423"/>
                </a:lnTo>
                <a:lnTo>
                  <a:pt x="666" y="414"/>
                </a:lnTo>
                <a:lnTo>
                  <a:pt x="655" y="407"/>
                </a:lnTo>
                <a:lnTo>
                  <a:pt x="643" y="401"/>
                </a:lnTo>
                <a:lnTo>
                  <a:pt x="631" y="396"/>
                </a:lnTo>
                <a:lnTo>
                  <a:pt x="616" y="393"/>
                </a:lnTo>
                <a:lnTo>
                  <a:pt x="601" y="391"/>
                </a:lnTo>
                <a:lnTo>
                  <a:pt x="586" y="390"/>
                </a:lnTo>
                <a:lnTo>
                  <a:pt x="516" y="390"/>
                </a:lnTo>
                <a:lnTo>
                  <a:pt x="410" y="285"/>
                </a:lnTo>
                <a:lnTo>
                  <a:pt x="416" y="270"/>
                </a:lnTo>
                <a:lnTo>
                  <a:pt x="706" y="270"/>
                </a:lnTo>
                <a:lnTo>
                  <a:pt x="719" y="271"/>
                </a:lnTo>
                <a:lnTo>
                  <a:pt x="732" y="273"/>
                </a:lnTo>
                <a:lnTo>
                  <a:pt x="745" y="276"/>
                </a:lnTo>
                <a:lnTo>
                  <a:pt x="758" y="280"/>
                </a:lnTo>
                <a:lnTo>
                  <a:pt x="770" y="287"/>
                </a:lnTo>
                <a:lnTo>
                  <a:pt x="780" y="293"/>
                </a:lnTo>
                <a:lnTo>
                  <a:pt x="791" y="301"/>
                </a:lnTo>
                <a:lnTo>
                  <a:pt x="801" y="310"/>
                </a:lnTo>
                <a:lnTo>
                  <a:pt x="809" y="320"/>
                </a:lnTo>
                <a:lnTo>
                  <a:pt x="817" y="330"/>
                </a:lnTo>
                <a:lnTo>
                  <a:pt x="824" y="341"/>
                </a:lnTo>
                <a:lnTo>
                  <a:pt x="830" y="353"/>
                </a:lnTo>
                <a:lnTo>
                  <a:pt x="834" y="365"/>
                </a:lnTo>
                <a:lnTo>
                  <a:pt x="837" y="378"/>
                </a:lnTo>
                <a:lnTo>
                  <a:pt x="839" y="392"/>
                </a:lnTo>
                <a:lnTo>
                  <a:pt x="840" y="404"/>
                </a:lnTo>
                <a:lnTo>
                  <a:pt x="840" y="735"/>
                </a:lnTo>
                <a:lnTo>
                  <a:pt x="839" y="749"/>
                </a:lnTo>
                <a:lnTo>
                  <a:pt x="837" y="763"/>
                </a:lnTo>
                <a:lnTo>
                  <a:pt x="834" y="776"/>
                </a:lnTo>
                <a:lnTo>
                  <a:pt x="830" y="787"/>
                </a:lnTo>
                <a:lnTo>
                  <a:pt x="824" y="799"/>
                </a:lnTo>
                <a:lnTo>
                  <a:pt x="817" y="811"/>
                </a:lnTo>
                <a:lnTo>
                  <a:pt x="809" y="821"/>
                </a:lnTo>
                <a:lnTo>
                  <a:pt x="801" y="830"/>
                </a:lnTo>
                <a:lnTo>
                  <a:pt x="791" y="840"/>
                </a:lnTo>
                <a:lnTo>
                  <a:pt x="780" y="847"/>
                </a:lnTo>
                <a:lnTo>
                  <a:pt x="770" y="854"/>
                </a:lnTo>
                <a:lnTo>
                  <a:pt x="758" y="859"/>
                </a:lnTo>
                <a:lnTo>
                  <a:pt x="745" y="864"/>
                </a:lnTo>
                <a:lnTo>
                  <a:pt x="732" y="868"/>
                </a:lnTo>
                <a:lnTo>
                  <a:pt x="719" y="870"/>
                </a:lnTo>
                <a:lnTo>
                  <a:pt x="706" y="870"/>
                </a:lnTo>
                <a:lnTo>
                  <a:pt x="676" y="870"/>
                </a:lnTo>
                <a:close/>
                <a:moveTo>
                  <a:pt x="321" y="445"/>
                </a:moveTo>
                <a:lnTo>
                  <a:pt x="172" y="393"/>
                </a:lnTo>
                <a:lnTo>
                  <a:pt x="274" y="101"/>
                </a:lnTo>
                <a:lnTo>
                  <a:pt x="314" y="114"/>
                </a:lnTo>
                <a:lnTo>
                  <a:pt x="314" y="114"/>
                </a:lnTo>
                <a:lnTo>
                  <a:pt x="314" y="114"/>
                </a:lnTo>
                <a:lnTo>
                  <a:pt x="386" y="139"/>
                </a:lnTo>
                <a:lnTo>
                  <a:pt x="386" y="139"/>
                </a:lnTo>
                <a:lnTo>
                  <a:pt x="386" y="139"/>
                </a:lnTo>
                <a:lnTo>
                  <a:pt x="425" y="153"/>
                </a:lnTo>
                <a:lnTo>
                  <a:pt x="321" y="445"/>
                </a:lnTo>
                <a:close/>
                <a:moveTo>
                  <a:pt x="354" y="48"/>
                </a:moveTo>
                <a:lnTo>
                  <a:pt x="396" y="63"/>
                </a:lnTo>
                <a:lnTo>
                  <a:pt x="381" y="105"/>
                </a:lnTo>
                <a:lnTo>
                  <a:pt x="339" y="90"/>
                </a:lnTo>
                <a:lnTo>
                  <a:pt x="354" y="48"/>
                </a:lnTo>
                <a:close/>
                <a:moveTo>
                  <a:pt x="212" y="526"/>
                </a:moveTo>
                <a:lnTo>
                  <a:pt x="169" y="511"/>
                </a:lnTo>
                <a:lnTo>
                  <a:pt x="197" y="433"/>
                </a:lnTo>
                <a:lnTo>
                  <a:pt x="240" y="448"/>
                </a:lnTo>
                <a:lnTo>
                  <a:pt x="212" y="526"/>
                </a:lnTo>
                <a:close/>
                <a:moveTo>
                  <a:pt x="885" y="870"/>
                </a:moveTo>
                <a:lnTo>
                  <a:pt x="800" y="870"/>
                </a:lnTo>
                <a:lnTo>
                  <a:pt x="807" y="864"/>
                </a:lnTo>
                <a:lnTo>
                  <a:pt x="815" y="858"/>
                </a:lnTo>
                <a:lnTo>
                  <a:pt x="822" y="852"/>
                </a:lnTo>
                <a:lnTo>
                  <a:pt x="829" y="844"/>
                </a:lnTo>
                <a:lnTo>
                  <a:pt x="835" y="837"/>
                </a:lnTo>
                <a:lnTo>
                  <a:pt x="841" y="829"/>
                </a:lnTo>
                <a:lnTo>
                  <a:pt x="847" y="821"/>
                </a:lnTo>
                <a:lnTo>
                  <a:pt x="851" y="813"/>
                </a:lnTo>
                <a:lnTo>
                  <a:pt x="855" y="803"/>
                </a:lnTo>
                <a:lnTo>
                  <a:pt x="860" y="795"/>
                </a:lnTo>
                <a:lnTo>
                  <a:pt x="863" y="785"/>
                </a:lnTo>
                <a:lnTo>
                  <a:pt x="865" y="776"/>
                </a:lnTo>
                <a:lnTo>
                  <a:pt x="867" y="766"/>
                </a:lnTo>
                <a:lnTo>
                  <a:pt x="869" y="756"/>
                </a:lnTo>
                <a:lnTo>
                  <a:pt x="870" y="746"/>
                </a:lnTo>
                <a:lnTo>
                  <a:pt x="870" y="735"/>
                </a:lnTo>
                <a:lnTo>
                  <a:pt x="870" y="404"/>
                </a:lnTo>
                <a:lnTo>
                  <a:pt x="869" y="388"/>
                </a:lnTo>
                <a:lnTo>
                  <a:pt x="867" y="372"/>
                </a:lnTo>
                <a:lnTo>
                  <a:pt x="863" y="356"/>
                </a:lnTo>
                <a:lnTo>
                  <a:pt x="857" y="341"/>
                </a:lnTo>
                <a:lnTo>
                  <a:pt x="850" y="326"/>
                </a:lnTo>
                <a:lnTo>
                  <a:pt x="843" y="314"/>
                </a:lnTo>
                <a:lnTo>
                  <a:pt x="833" y="301"/>
                </a:lnTo>
                <a:lnTo>
                  <a:pt x="822" y="289"/>
                </a:lnTo>
                <a:lnTo>
                  <a:pt x="810" y="278"/>
                </a:lnTo>
                <a:lnTo>
                  <a:pt x="798" y="269"/>
                </a:lnTo>
                <a:lnTo>
                  <a:pt x="784" y="260"/>
                </a:lnTo>
                <a:lnTo>
                  <a:pt x="770" y="253"/>
                </a:lnTo>
                <a:lnTo>
                  <a:pt x="755" y="247"/>
                </a:lnTo>
                <a:lnTo>
                  <a:pt x="739" y="243"/>
                </a:lnTo>
                <a:lnTo>
                  <a:pt x="723" y="241"/>
                </a:lnTo>
                <a:lnTo>
                  <a:pt x="706" y="240"/>
                </a:lnTo>
                <a:lnTo>
                  <a:pt x="425" y="240"/>
                </a:lnTo>
                <a:lnTo>
                  <a:pt x="458" y="149"/>
                </a:lnTo>
                <a:lnTo>
                  <a:pt x="458" y="146"/>
                </a:lnTo>
                <a:lnTo>
                  <a:pt x="459" y="143"/>
                </a:lnTo>
                <a:lnTo>
                  <a:pt x="458" y="140"/>
                </a:lnTo>
                <a:lnTo>
                  <a:pt x="457" y="136"/>
                </a:lnTo>
                <a:lnTo>
                  <a:pt x="454" y="132"/>
                </a:lnTo>
                <a:lnTo>
                  <a:pt x="449" y="129"/>
                </a:lnTo>
                <a:lnTo>
                  <a:pt x="409" y="116"/>
                </a:lnTo>
                <a:lnTo>
                  <a:pt x="425" y="72"/>
                </a:lnTo>
                <a:lnTo>
                  <a:pt x="447" y="79"/>
                </a:lnTo>
                <a:lnTo>
                  <a:pt x="449" y="80"/>
                </a:lnTo>
                <a:lnTo>
                  <a:pt x="451" y="81"/>
                </a:lnTo>
                <a:lnTo>
                  <a:pt x="456" y="80"/>
                </a:lnTo>
                <a:lnTo>
                  <a:pt x="459" y="78"/>
                </a:lnTo>
                <a:lnTo>
                  <a:pt x="464" y="75"/>
                </a:lnTo>
                <a:lnTo>
                  <a:pt x="466" y="71"/>
                </a:lnTo>
                <a:lnTo>
                  <a:pt x="466" y="68"/>
                </a:lnTo>
                <a:lnTo>
                  <a:pt x="466" y="64"/>
                </a:lnTo>
                <a:lnTo>
                  <a:pt x="466" y="62"/>
                </a:lnTo>
                <a:lnTo>
                  <a:pt x="465" y="59"/>
                </a:lnTo>
                <a:lnTo>
                  <a:pt x="464" y="57"/>
                </a:lnTo>
                <a:lnTo>
                  <a:pt x="462" y="55"/>
                </a:lnTo>
                <a:lnTo>
                  <a:pt x="459" y="54"/>
                </a:lnTo>
                <a:lnTo>
                  <a:pt x="456" y="53"/>
                </a:lnTo>
                <a:lnTo>
                  <a:pt x="396" y="30"/>
                </a:lnTo>
                <a:lnTo>
                  <a:pt x="349" y="13"/>
                </a:lnTo>
                <a:lnTo>
                  <a:pt x="349" y="13"/>
                </a:lnTo>
                <a:lnTo>
                  <a:pt x="349" y="13"/>
                </a:lnTo>
                <a:lnTo>
                  <a:pt x="314" y="1"/>
                </a:lnTo>
                <a:lnTo>
                  <a:pt x="311" y="1"/>
                </a:lnTo>
                <a:lnTo>
                  <a:pt x="308" y="0"/>
                </a:lnTo>
                <a:lnTo>
                  <a:pt x="305" y="1"/>
                </a:lnTo>
                <a:lnTo>
                  <a:pt x="302" y="2"/>
                </a:lnTo>
                <a:lnTo>
                  <a:pt x="300" y="3"/>
                </a:lnTo>
                <a:lnTo>
                  <a:pt x="298" y="6"/>
                </a:lnTo>
                <a:lnTo>
                  <a:pt x="296" y="8"/>
                </a:lnTo>
                <a:lnTo>
                  <a:pt x="295" y="11"/>
                </a:lnTo>
                <a:lnTo>
                  <a:pt x="294" y="13"/>
                </a:lnTo>
                <a:lnTo>
                  <a:pt x="294" y="16"/>
                </a:lnTo>
                <a:lnTo>
                  <a:pt x="295" y="19"/>
                </a:lnTo>
                <a:lnTo>
                  <a:pt x="295" y="22"/>
                </a:lnTo>
                <a:lnTo>
                  <a:pt x="297" y="25"/>
                </a:lnTo>
                <a:lnTo>
                  <a:pt x="299" y="27"/>
                </a:lnTo>
                <a:lnTo>
                  <a:pt x="301" y="29"/>
                </a:lnTo>
                <a:lnTo>
                  <a:pt x="303" y="30"/>
                </a:lnTo>
                <a:lnTo>
                  <a:pt x="326" y="38"/>
                </a:lnTo>
                <a:lnTo>
                  <a:pt x="310" y="81"/>
                </a:lnTo>
                <a:lnTo>
                  <a:pt x="270" y="66"/>
                </a:lnTo>
                <a:lnTo>
                  <a:pt x="268" y="65"/>
                </a:lnTo>
                <a:lnTo>
                  <a:pt x="265" y="65"/>
                </a:lnTo>
                <a:lnTo>
                  <a:pt x="261" y="65"/>
                </a:lnTo>
                <a:lnTo>
                  <a:pt x="259" y="66"/>
                </a:lnTo>
                <a:lnTo>
                  <a:pt x="256" y="68"/>
                </a:lnTo>
                <a:lnTo>
                  <a:pt x="255" y="70"/>
                </a:lnTo>
                <a:lnTo>
                  <a:pt x="253" y="72"/>
                </a:lnTo>
                <a:lnTo>
                  <a:pt x="252" y="75"/>
                </a:lnTo>
                <a:lnTo>
                  <a:pt x="138" y="396"/>
                </a:lnTo>
                <a:lnTo>
                  <a:pt x="137" y="399"/>
                </a:lnTo>
                <a:lnTo>
                  <a:pt x="137" y="402"/>
                </a:lnTo>
                <a:lnTo>
                  <a:pt x="137" y="406"/>
                </a:lnTo>
                <a:lnTo>
                  <a:pt x="138" y="408"/>
                </a:lnTo>
                <a:lnTo>
                  <a:pt x="142" y="412"/>
                </a:lnTo>
                <a:lnTo>
                  <a:pt x="147" y="415"/>
                </a:lnTo>
                <a:lnTo>
                  <a:pt x="168" y="423"/>
                </a:lnTo>
                <a:lnTo>
                  <a:pt x="136" y="516"/>
                </a:lnTo>
                <a:lnTo>
                  <a:pt x="135" y="519"/>
                </a:lnTo>
                <a:lnTo>
                  <a:pt x="135" y="522"/>
                </a:lnTo>
                <a:lnTo>
                  <a:pt x="135" y="524"/>
                </a:lnTo>
                <a:lnTo>
                  <a:pt x="136" y="528"/>
                </a:lnTo>
                <a:lnTo>
                  <a:pt x="138" y="530"/>
                </a:lnTo>
                <a:lnTo>
                  <a:pt x="140" y="532"/>
                </a:lnTo>
                <a:lnTo>
                  <a:pt x="143" y="534"/>
                </a:lnTo>
                <a:lnTo>
                  <a:pt x="145" y="535"/>
                </a:lnTo>
                <a:lnTo>
                  <a:pt x="217" y="561"/>
                </a:lnTo>
                <a:lnTo>
                  <a:pt x="219" y="561"/>
                </a:lnTo>
                <a:lnTo>
                  <a:pt x="221" y="561"/>
                </a:lnTo>
                <a:lnTo>
                  <a:pt x="224" y="561"/>
                </a:lnTo>
                <a:lnTo>
                  <a:pt x="228" y="560"/>
                </a:lnTo>
                <a:lnTo>
                  <a:pt x="233" y="556"/>
                </a:lnTo>
                <a:lnTo>
                  <a:pt x="236" y="552"/>
                </a:lnTo>
                <a:lnTo>
                  <a:pt x="268" y="459"/>
                </a:lnTo>
                <a:lnTo>
                  <a:pt x="326" y="478"/>
                </a:lnTo>
                <a:lnTo>
                  <a:pt x="328" y="479"/>
                </a:lnTo>
                <a:lnTo>
                  <a:pt x="331" y="480"/>
                </a:lnTo>
                <a:lnTo>
                  <a:pt x="335" y="479"/>
                </a:lnTo>
                <a:lnTo>
                  <a:pt x="340" y="477"/>
                </a:lnTo>
                <a:lnTo>
                  <a:pt x="343" y="474"/>
                </a:lnTo>
                <a:lnTo>
                  <a:pt x="345" y="470"/>
                </a:lnTo>
                <a:lnTo>
                  <a:pt x="400" y="315"/>
                </a:lnTo>
                <a:lnTo>
                  <a:pt x="500" y="415"/>
                </a:lnTo>
                <a:lnTo>
                  <a:pt x="502" y="417"/>
                </a:lnTo>
                <a:lnTo>
                  <a:pt x="504" y="418"/>
                </a:lnTo>
                <a:lnTo>
                  <a:pt x="508" y="419"/>
                </a:lnTo>
                <a:lnTo>
                  <a:pt x="511" y="421"/>
                </a:lnTo>
                <a:lnTo>
                  <a:pt x="586" y="419"/>
                </a:lnTo>
                <a:lnTo>
                  <a:pt x="599" y="421"/>
                </a:lnTo>
                <a:lnTo>
                  <a:pt x="610" y="422"/>
                </a:lnTo>
                <a:lnTo>
                  <a:pt x="621" y="425"/>
                </a:lnTo>
                <a:lnTo>
                  <a:pt x="632" y="428"/>
                </a:lnTo>
                <a:lnTo>
                  <a:pt x="641" y="433"/>
                </a:lnTo>
                <a:lnTo>
                  <a:pt x="650" y="439"/>
                </a:lnTo>
                <a:lnTo>
                  <a:pt x="657" y="446"/>
                </a:lnTo>
                <a:lnTo>
                  <a:pt x="665" y="454"/>
                </a:lnTo>
                <a:lnTo>
                  <a:pt x="670" y="462"/>
                </a:lnTo>
                <a:lnTo>
                  <a:pt x="676" y="473"/>
                </a:lnTo>
                <a:lnTo>
                  <a:pt x="680" y="484"/>
                </a:lnTo>
                <a:lnTo>
                  <a:pt x="684" y="495"/>
                </a:lnTo>
                <a:lnTo>
                  <a:pt x="686" y="509"/>
                </a:lnTo>
                <a:lnTo>
                  <a:pt x="688" y="523"/>
                </a:lnTo>
                <a:lnTo>
                  <a:pt x="689" y="538"/>
                </a:lnTo>
                <a:lnTo>
                  <a:pt x="691" y="555"/>
                </a:lnTo>
                <a:lnTo>
                  <a:pt x="691" y="630"/>
                </a:lnTo>
                <a:lnTo>
                  <a:pt x="689" y="645"/>
                </a:lnTo>
                <a:lnTo>
                  <a:pt x="688" y="658"/>
                </a:lnTo>
                <a:lnTo>
                  <a:pt x="686" y="671"/>
                </a:lnTo>
                <a:lnTo>
                  <a:pt x="684" y="683"/>
                </a:lnTo>
                <a:lnTo>
                  <a:pt x="680" y="693"/>
                </a:lnTo>
                <a:lnTo>
                  <a:pt x="676" y="704"/>
                </a:lnTo>
                <a:lnTo>
                  <a:pt x="670" y="713"/>
                </a:lnTo>
                <a:lnTo>
                  <a:pt x="665" y="720"/>
                </a:lnTo>
                <a:lnTo>
                  <a:pt x="657" y="728"/>
                </a:lnTo>
                <a:lnTo>
                  <a:pt x="650" y="733"/>
                </a:lnTo>
                <a:lnTo>
                  <a:pt x="641" y="738"/>
                </a:lnTo>
                <a:lnTo>
                  <a:pt x="632" y="743"/>
                </a:lnTo>
                <a:lnTo>
                  <a:pt x="621" y="746"/>
                </a:lnTo>
                <a:lnTo>
                  <a:pt x="610" y="748"/>
                </a:lnTo>
                <a:lnTo>
                  <a:pt x="599" y="750"/>
                </a:lnTo>
                <a:lnTo>
                  <a:pt x="586" y="750"/>
                </a:lnTo>
                <a:lnTo>
                  <a:pt x="294" y="750"/>
                </a:lnTo>
                <a:lnTo>
                  <a:pt x="237" y="660"/>
                </a:lnTo>
                <a:lnTo>
                  <a:pt x="345" y="660"/>
                </a:lnTo>
                <a:lnTo>
                  <a:pt x="348" y="660"/>
                </a:lnTo>
                <a:lnTo>
                  <a:pt x="351" y="659"/>
                </a:lnTo>
                <a:lnTo>
                  <a:pt x="354" y="658"/>
                </a:lnTo>
                <a:lnTo>
                  <a:pt x="356" y="656"/>
                </a:lnTo>
                <a:lnTo>
                  <a:pt x="358" y="654"/>
                </a:lnTo>
                <a:lnTo>
                  <a:pt x="359" y="652"/>
                </a:lnTo>
                <a:lnTo>
                  <a:pt x="360" y="648"/>
                </a:lnTo>
                <a:lnTo>
                  <a:pt x="360" y="645"/>
                </a:lnTo>
                <a:lnTo>
                  <a:pt x="360" y="642"/>
                </a:lnTo>
                <a:lnTo>
                  <a:pt x="359" y="640"/>
                </a:lnTo>
                <a:lnTo>
                  <a:pt x="358" y="637"/>
                </a:lnTo>
                <a:lnTo>
                  <a:pt x="356" y="634"/>
                </a:lnTo>
                <a:lnTo>
                  <a:pt x="354" y="632"/>
                </a:lnTo>
                <a:lnTo>
                  <a:pt x="351" y="631"/>
                </a:lnTo>
                <a:lnTo>
                  <a:pt x="348" y="630"/>
                </a:lnTo>
                <a:lnTo>
                  <a:pt x="345" y="630"/>
                </a:lnTo>
                <a:lnTo>
                  <a:pt x="15" y="630"/>
                </a:lnTo>
                <a:lnTo>
                  <a:pt x="12" y="630"/>
                </a:lnTo>
                <a:lnTo>
                  <a:pt x="9" y="631"/>
                </a:lnTo>
                <a:lnTo>
                  <a:pt x="7" y="632"/>
                </a:lnTo>
                <a:lnTo>
                  <a:pt x="5" y="634"/>
                </a:lnTo>
                <a:lnTo>
                  <a:pt x="3" y="637"/>
                </a:lnTo>
                <a:lnTo>
                  <a:pt x="1" y="640"/>
                </a:lnTo>
                <a:lnTo>
                  <a:pt x="0" y="642"/>
                </a:lnTo>
                <a:lnTo>
                  <a:pt x="0" y="645"/>
                </a:lnTo>
                <a:lnTo>
                  <a:pt x="0" y="648"/>
                </a:lnTo>
                <a:lnTo>
                  <a:pt x="1" y="652"/>
                </a:lnTo>
                <a:lnTo>
                  <a:pt x="3" y="654"/>
                </a:lnTo>
                <a:lnTo>
                  <a:pt x="5" y="656"/>
                </a:lnTo>
                <a:lnTo>
                  <a:pt x="7" y="658"/>
                </a:lnTo>
                <a:lnTo>
                  <a:pt x="9" y="659"/>
                </a:lnTo>
                <a:lnTo>
                  <a:pt x="12" y="660"/>
                </a:lnTo>
                <a:lnTo>
                  <a:pt x="15" y="660"/>
                </a:lnTo>
                <a:lnTo>
                  <a:pt x="90" y="660"/>
                </a:lnTo>
                <a:lnTo>
                  <a:pt x="90" y="870"/>
                </a:lnTo>
                <a:lnTo>
                  <a:pt x="15" y="870"/>
                </a:lnTo>
                <a:lnTo>
                  <a:pt x="12" y="871"/>
                </a:lnTo>
                <a:lnTo>
                  <a:pt x="9" y="871"/>
                </a:lnTo>
                <a:lnTo>
                  <a:pt x="7" y="873"/>
                </a:lnTo>
                <a:lnTo>
                  <a:pt x="5" y="875"/>
                </a:lnTo>
                <a:lnTo>
                  <a:pt x="3" y="877"/>
                </a:lnTo>
                <a:lnTo>
                  <a:pt x="1" y="879"/>
                </a:lnTo>
                <a:lnTo>
                  <a:pt x="0" y="883"/>
                </a:lnTo>
                <a:lnTo>
                  <a:pt x="0" y="885"/>
                </a:lnTo>
                <a:lnTo>
                  <a:pt x="0" y="888"/>
                </a:lnTo>
                <a:lnTo>
                  <a:pt x="1" y="891"/>
                </a:lnTo>
                <a:lnTo>
                  <a:pt x="3" y="893"/>
                </a:lnTo>
                <a:lnTo>
                  <a:pt x="5" y="895"/>
                </a:lnTo>
                <a:lnTo>
                  <a:pt x="7" y="898"/>
                </a:lnTo>
                <a:lnTo>
                  <a:pt x="9" y="899"/>
                </a:lnTo>
                <a:lnTo>
                  <a:pt x="12" y="900"/>
                </a:lnTo>
                <a:lnTo>
                  <a:pt x="15" y="900"/>
                </a:lnTo>
                <a:lnTo>
                  <a:pt x="676" y="900"/>
                </a:lnTo>
                <a:lnTo>
                  <a:pt x="706" y="900"/>
                </a:lnTo>
                <a:lnTo>
                  <a:pt x="885" y="900"/>
                </a:lnTo>
                <a:lnTo>
                  <a:pt x="889" y="900"/>
                </a:lnTo>
                <a:lnTo>
                  <a:pt x="892" y="899"/>
                </a:lnTo>
                <a:lnTo>
                  <a:pt x="894" y="898"/>
                </a:lnTo>
                <a:lnTo>
                  <a:pt x="896" y="895"/>
                </a:lnTo>
                <a:lnTo>
                  <a:pt x="898" y="893"/>
                </a:lnTo>
                <a:lnTo>
                  <a:pt x="899" y="891"/>
                </a:lnTo>
                <a:lnTo>
                  <a:pt x="900" y="888"/>
                </a:lnTo>
                <a:lnTo>
                  <a:pt x="900" y="885"/>
                </a:lnTo>
                <a:lnTo>
                  <a:pt x="900" y="883"/>
                </a:lnTo>
                <a:lnTo>
                  <a:pt x="899" y="879"/>
                </a:lnTo>
                <a:lnTo>
                  <a:pt x="898" y="877"/>
                </a:lnTo>
                <a:lnTo>
                  <a:pt x="896" y="875"/>
                </a:lnTo>
                <a:lnTo>
                  <a:pt x="894" y="873"/>
                </a:lnTo>
                <a:lnTo>
                  <a:pt x="892" y="871"/>
                </a:lnTo>
                <a:lnTo>
                  <a:pt x="889" y="871"/>
                </a:lnTo>
                <a:lnTo>
                  <a:pt x="885" y="87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76569048"/>
      </p:ext>
    </p:extLst>
  </p:cSld>
  <p:clrMapOvr>
    <a:masterClrMapping/>
  </p:clrMapOvr>
  <p:transition spd="med">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165"/>
        <p:cNvGrpSpPr/>
        <p:nvPr/>
      </p:nvGrpSpPr>
      <p:grpSpPr>
        <a:xfrm>
          <a:off x="0" y="0"/>
          <a:ext cx="0" cy="0"/>
          <a:chOff x="0" y="0"/>
          <a:chExt cx="0" cy="0"/>
        </a:xfrm>
      </p:grpSpPr>
      <p:grpSp>
        <p:nvGrpSpPr>
          <p:cNvPr id="5" name="Google Shape;342;p4">
            <a:extLst>
              <a:ext uri="{FF2B5EF4-FFF2-40B4-BE49-F238E27FC236}">
                <a16:creationId xmlns:a16="http://schemas.microsoft.com/office/drawing/2014/main" id="{8C446FA7-4EBA-4841-A45E-45AD65ED898B}"/>
              </a:ext>
            </a:extLst>
          </p:cNvPr>
          <p:cNvGrpSpPr/>
          <p:nvPr/>
        </p:nvGrpSpPr>
        <p:grpSpPr>
          <a:xfrm>
            <a:off x="8849668" y="55416"/>
            <a:ext cx="238916" cy="228628"/>
            <a:chOff x="11619274" y="118751"/>
            <a:chExt cx="432689" cy="414056"/>
          </a:xfrm>
        </p:grpSpPr>
        <p:sp>
          <p:nvSpPr>
            <p:cNvPr id="6" name="Google Shape;343;p4">
              <a:hlinkClick r:id="" action="ppaction://noaction"/>
              <a:extLst>
                <a:ext uri="{FF2B5EF4-FFF2-40B4-BE49-F238E27FC236}">
                  <a16:creationId xmlns:a16="http://schemas.microsoft.com/office/drawing/2014/main" id="{54E2995C-384A-4A6D-AAB6-00851B3521BB}"/>
                </a:ext>
              </a:extLst>
            </p:cNvPr>
            <p:cNvSpPr/>
            <p:nvPr/>
          </p:nvSpPr>
          <p:spPr>
            <a:xfrm>
              <a:off x="11619274" y="118751"/>
              <a:ext cx="432689" cy="414056"/>
            </a:xfrm>
            <a:prstGeom prst="roundRect">
              <a:avLst>
                <a:gd name="adj" fmla="val 16667"/>
              </a:avLst>
            </a:prstGeom>
            <a:solidFill>
              <a:schemeClr val="accent2"/>
            </a:solidFill>
            <a:ln>
              <a:noFill/>
            </a:ln>
          </p:spPr>
          <p:txBody>
            <a:bodyPr spcFirstLastPara="1" wrap="square" lIns="68550" tIns="34275" rIns="68550" bIns="3427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25" b="0" i="0" u="none" strike="noStrike" kern="0" cap="none" spc="0" normalizeH="0" baseline="0" noProof="0">
                <a:ln>
                  <a:noFill/>
                </a:ln>
                <a:solidFill>
                  <a:srgbClr val="FFFFFF"/>
                </a:solidFill>
                <a:effectLst/>
                <a:uLnTx/>
                <a:uFillTx/>
                <a:latin typeface="Arial"/>
                <a:ea typeface="Arial"/>
                <a:cs typeface="Arial"/>
                <a:sym typeface="Arial"/>
              </a:endParaRPr>
            </a:p>
          </p:txBody>
        </p:sp>
        <p:pic>
          <p:nvPicPr>
            <p:cNvPr id="7" name="Google Shape;344;p4">
              <a:hlinkClick r:id="" action="ppaction://noaction"/>
              <a:extLst>
                <a:ext uri="{FF2B5EF4-FFF2-40B4-BE49-F238E27FC236}">
                  <a16:creationId xmlns:a16="http://schemas.microsoft.com/office/drawing/2014/main" id="{1CC6AFDC-384F-4D21-8E7C-6A4BE9E0DBB7}"/>
                </a:ext>
              </a:extLst>
            </p:cNvPr>
            <p:cNvPicPr preferRelativeResize="0"/>
            <p:nvPr/>
          </p:nvPicPr>
          <p:blipFill rotWithShape="1">
            <a:blip r:embed="rId3">
              <a:alphaModFix/>
            </a:blip>
            <a:srcRect/>
            <a:stretch/>
          </p:blipFill>
          <p:spPr>
            <a:xfrm>
              <a:off x="11681971" y="162551"/>
              <a:ext cx="307293" cy="307293"/>
            </a:xfrm>
            <a:prstGeom prst="rect">
              <a:avLst/>
            </a:prstGeom>
            <a:noFill/>
            <a:ln>
              <a:noFill/>
            </a:ln>
          </p:spPr>
        </p:pic>
      </p:grpSp>
    </p:spTree>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984114D6-ACFB-4A4F-AC98-4DA67DAF3249}"/>
              </a:ext>
            </a:extLst>
          </p:cNvPr>
          <p:cNvSpPr>
            <a:spLocks noGrp="1"/>
          </p:cNvSpPr>
          <p:nvPr>
            <p:ph type="body" idx="2"/>
          </p:nvPr>
        </p:nvSpPr>
        <p:spPr/>
        <p:txBody>
          <a:bodyPr/>
          <a:lstStyle/>
          <a:p>
            <a:r>
              <a:rPr lang="en-US" dirty="0"/>
              <a:t>Targeting the Immune System in Cancer</a:t>
            </a:r>
          </a:p>
        </p:txBody>
      </p:sp>
      <p:sp>
        <p:nvSpPr>
          <p:cNvPr id="27" name="Text Placeholder 26">
            <a:extLst>
              <a:ext uri="{FF2B5EF4-FFF2-40B4-BE49-F238E27FC236}">
                <a16:creationId xmlns:a16="http://schemas.microsoft.com/office/drawing/2014/main" id="{87E576AB-AAC9-4FB2-BDC7-F541AF0E713D}"/>
              </a:ext>
            </a:extLst>
          </p:cNvPr>
          <p:cNvSpPr>
            <a:spLocks noGrp="1"/>
          </p:cNvSpPr>
          <p:nvPr>
            <p:ph type="body" idx="3"/>
          </p:nvPr>
        </p:nvSpPr>
        <p:spPr/>
        <p:txBody>
          <a:bodyPr/>
          <a:lstStyle/>
          <a:p>
            <a:r>
              <a:rPr lang="en-US" altLang="zh-CN" dirty="0"/>
              <a:t>CAR, chimeric antigen receptor; CTLA4, cytotoxic T lymphocyte–associated protein 4; DC, dendritic cell; NK, natural killer; TCR, T-cell receptor. </a:t>
            </a:r>
            <a:r>
              <a:rPr lang="en-US" altLang="en-US" dirty="0"/>
              <a:t>1. </a:t>
            </a:r>
            <a:r>
              <a:rPr lang="en-US" altLang="en-US" dirty="0" err="1"/>
              <a:t>Baeuerle</a:t>
            </a:r>
            <a:r>
              <a:rPr lang="en-US" altLang="en-US" dirty="0"/>
              <a:t> PA, Reinhardt C. </a:t>
            </a:r>
            <a:r>
              <a:rPr lang="en-US" altLang="en-US" i="1" dirty="0"/>
              <a:t>Cancer Res. </a:t>
            </a:r>
            <a:r>
              <a:rPr lang="en-US" altLang="en-US" dirty="0"/>
              <a:t>2009;69:4941-4944. 2. Chen DS, </a:t>
            </a:r>
            <a:r>
              <a:rPr lang="en-US" altLang="en-US" dirty="0" err="1"/>
              <a:t>Mellman</a:t>
            </a:r>
            <a:r>
              <a:rPr lang="en-US" altLang="en-US" dirty="0"/>
              <a:t> I. </a:t>
            </a:r>
            <a:r>
              <a:rPr lang="en-US" altLang="en-US" i="1" dirty="0"/>
              <a:t>Immunity.</a:t>
            </a:r>
            <a:r>
              <a:rPr lang="en-US" altLang="en-US" dirty="0"/>
              <a:t> 2013;39:1-10. 3. </a:t>
            </a:r>
            <a:r>
              <a:rPr lang="en-US" altLang="en-US" dirty="0" err="1"/>
              <a:t>Merelli</a:t>
            </a:r>
            <a:r>
              <a:rPr lang="en-US" altLang="en-US" dirty="0"/>
              <a:t> B, et al. </a:t>
            </a:r>
            <a:r>
              <a:rPr lang="en-US" altLang="en-US" i="1" dirty="0" err="1"/>
              <a:t>Crit</a:t>
            </a:r>
            <a:r>
              <a:rPr lang="en-US" altLang="en-US" i="1" dirty="0"/>
              <a:t> Rev </a:t>
            </a:r>
            <a:r>
              <a:rPr lang="en-US" altLang="en-US" i="1" dirty="0" err="1"/>
              <a:t>Oncol</a:t>
            </a:r>
            <a:r>
              <a:rPr lang="en-US" altLang="en-US" i="1" dirty="0"/>
              <a:t> </a:t>
            </a:r>
            <a:r>
              <a:rPr lang="en-US" altLang="en-US" i="1" dirty="0" err="1"/>
              <a:t>Hematol</a:t>
            </a:r>
            <a:r>
              <a:rPr lang="en-US" altLang="en-US" i="1" dirty="0"/>
              <a:t>.</a:t>
            </a:r>
            <a:r>
              <a:rPr lang="en-US" altLang="en-US" dirty="0"/>
              <a:t> 2014;89:140-165. 4. </a:t>
            </a:r>
            <a:r>
              <a:rPr lang="en-US" altLang="en-US" dirty="0" err="1"/>
              <a:t>Mellman</a:t>
            </a:r>
            <a:r>
              <a:rPr lang="en-US" altLang="en-US" dirty="0"/>
              <a:t> I, et al. </a:t>
            </a:r>
            <a:r>
              <a:rPr lang="en-US" altLang="en-US" i="1" dirty="0"/>
              <a:t>Nature</a:t>
            </a:r>
            <a:r>
              <a:rPr lang="en-US" altLang="en-US" dirty="0"/>
              <a:t>. 2011;480:480-489.</a:t>
            </a:r>
          </a:p>
        </p:txBody>
      </p:sp>
      <p:sp>
        <p:nvSpPr>
          <p:cNvPr id="2" name="Title 1"/>
          <p:cNvSpPr>
            <a:spLocks noGrp="1"/>
          </p:cNvSpPr>
          <p:nvPr>
            <p:ph type="title"/>
          </p:nvPr>
        </p:nvSpPr>
        <p:spPr>
          <a:xfrm>
            <a:off x="381648" y="585796"/>
            <a:ext cx="8384400" cy="652455"/>
          </a:xfrm>
        </p:spPr>
        <p:txBody>
          <a:bodyPr>
            <a:noAutofit/>
          </a:bodyPr>
          <a:lstStyle/>
          <a:p>
            <a:r>
              <a:rPr lang="en-US" dirty="0"/>
              <a:t>Immunotherapy Targets the Antitumor Immune Response Through Active and Passive Strategies</a:t>
            </a:r>
            <a:r>
              <a:rPr lang="en-US" baseline="30000" dirty="0"/>
              <a:t>1-4</a:t>
            </a:r>
          </a:p>
        </p:txBody>
      </p:sp>
      <p:sp>
        <p:nvSpPr>
          <p:cNvPr id="407" name="TextBox 406"/>
          <p:cNvSpPr txBox="1">
            <a:spLocks/>
          </p:cNvSpPr>
          <p:nvPr/>
        </p:nvSpPr>
        <p:spPr>
          <a:xfrm>
            <a:off x="5062666" y="1879661"/>
            <a:ext cx="3703383" cy="689548"/>
          </a:xfrm>
          <a:prstGeom prst="rect">
            <a:avLst/>
          </a:prstGeom>
          <a:noFill/>
          <a:ln>
            <a:solidFill>
              <a:schemeClr val="tx1"/>
            </a:solidFill>
          </a:ln>
        </p:spPr>
        <p:txBody>
          <a:bodyPr wrap="square" lIns="68579" tIns="34289" rIns="68579" bIns="34289" anchor="ctr">
            <a:noAutofit/>
          </a:bodyPr>
          <a:lstStyle>
            <a:defPPr>
              <a:defRPr lang="en-US"/>
            </a:defPPr>
            <a:lvl1pPr algn="ctr" defTabSz="914400">
              <a:spcBef>
                <a:spcPct val="0"/>
              </a:spcBef>
              <a:defRPr b="1">
                <a:solidFill>
                  <a:schemeClr val="bg1"/>
                </a:solidFill>
                <a:latin typeface="Arial" charset="0"/>
                <a:ea typeface="ＭＳ Ｐゴシック" pitchFamily="34" charset="-128"/>
                <a:cs typeface="Arial" charset="0"/>
              </a:defRPr>
            </a:lvl1pPr>
          </a:lstStyle>
          <a:p>
            <a:pPr defTabSz="685766">
              <a:buClr>
                <a:srgbClr val="000000"/>
              </a:buClr>
              <a:defRPr/>
            </a:pPr>
            <a:r>
              <a:rPr lang="en-US" sz="1200" b="0" kern="0" dirty="0">
                <a:solidFill>
                  <a:srgbClr val="545859"/>
                </a:solidFill>
                <a:latin typeface="Gene Sans Light"/>
                <a:sym typeface="Arial"/>
              </a:rPr>
              <a:t>Active immunotherapy attempts to stimulate the host's intrinsic immune response</a:t>
            </a:r>
            <a:r>
              <a:rPr lang="en-US" sz="1200" b="0" kern="0" baseline="30000" dirty="0">
                <a:solidFill>
                  <a:srgbClr val="545859"/>
                </a:solidFill>
                <a:latin typeface="Gene Sans Light"/>
                <a:sym typeface="Arial"/>
              </a:rPr>
              <a:t>4</a:t>
            </a:r>
          </a:p>
        </p:txBody>
      </p:sp>
      <p:sp>
        <p:nvSpPr>
          <p:cNvPr id="408" name="TextBox 407"/>
          <p:cNvSpPr txBox="1">
            <a:spLocks/>
          </p:cNvSpPr>
          <p:nvPr/>
        </p:nvSpPr>
        <p:spPr>
          <a:xfrm>
            <a:off x="5062666" y="2790926"/>
            <a:ext cx="3703383" cy="893859"/>
          </a:xfrm>
          <a:prstGeom prst="rect">
            <a:avLst/>
          </a:prstGeom>
          <a:noFill/>
          <a:ln>
            <a:solidFill>
              <a:schemeClr val="tx1"/>
            </a:solidFill>
          </a:ln>
        </p:spPr>
        <p:txBody>
          <a:bodyPr wrap="square" lIns="68579" tIns="34289" rIns="68579" bIns="34289" anchor="ctr">
            <a:noAutofit/>
          </a:bodyPr>
          <a:lstStyle>
            <a:defPPr>
              <a:defRPr lang="en-US"/>
            </a:defPPr>
            <a:lvl1pPr algn="ctr" defTabSz="914400">
              <a:spcBef>
                <a:spcPct val="0"/>
              </a:spcBef>
              <a:defRPr sz="1600" b="1">
                <a:solidFill>
                  <a:schemeClr val="bg1"/>
                </a:solidFill>
                <a:latin typeface="Arial" charset="0"/>
                <a:ea typeface="ＭＳ Ｐゴシック" pitchFamily="34" charset="-128"/>
                <a:cs typeface="Arial" charset="0"/>
              </a:defRPr>
            </a:lvl1pPr>
          </a:lstStyle>
          <a:p>
            <a:pPr defTabSz="685766">
              <a:buClr>
                <a:srgbClr val="000000"/>
              </a:buClr>
              <a:defRPr/>
            </a:pPr>
            <a:r>
              <a:rPr lang="en-US" sz="1200" b="0" kern="0" dirty="0">
                <a:solidFill>
                  <a:srgbClr val="545859"/>
                </a:solidFill>
                <a:latin typeface="Gene Sans Light"/>
                <a:sym typeface="Arial"/>
              </a:rPr>
              <a:t>Passive immunotherapy is the transfer of active immunity in the form of ready-made factors into individuals</a:t>
            </a:r>
            <a:r>
              <a:rPr lang="en-US" sz="1200" b="0" kern="0" baseline="30000" dirty="0">
                <a:solidFill>
                  <a:srgbClr val="545859"/>
                </a:solidFill>
                <a:latin typeface="Gene Sans Light"/>
                <a:sym typeface="Arial"/>
              </a:rPr>
              <a:t>4</a:t>
            </a:r>
          </a:p>
        </p:txBody>
      </p:sp>
      <p:pic>
        <p:nvPicPr>
          <p:cNvPr id="278"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83229" y="2227526"/>
            <a:ext cx="1074950" cy="956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9" name="Shape0_20210830_095435"/>
          <p:cNvSpPr/>
          <p:nvPr/>
        </p:nvSpPr>
        <p:spPr>
          <a:xfrm rot="1676545">
            <a:off x="1792427" y="2188287"/>
            <a:ext cx="443745" cy="185116"/>
          </a:xfrm>
          <a:prstGeom prst="rightArrow">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78">
              <a:buClr>
                <a:srgbClr val="000000"/>
              </a:buClr>
              <a:defRPr/>
            </a:pPr>
            <a:endParaRPr lang="en-US" sz="1500" kern="0" dirty="0">
              <a:solidFill>
                <a:srgbClr val="545859"/>
              </a:solidFill>
              <a:latin typeface="Gene Sans Light"/>
              <a:sym typeface="Arial"/>
            </a:endParaRPr>
          </a:p>
        </p:txBody>
      </p:sp>
      <p:sp>
        <p:nvSpPr>
          <p:cNvPr id="400" name="Shape1_20210830_095435"/>
          <p:cNvSpPr/>
          <p:nvPr/>
        </p:nvSpPr>
        <p:spPr>
          <a:xfrm rot="4167266">
            <a:off x="2156327" y="1894376"/>
            <a:ext cx="443745" cy="185116"/>
          </a:xfrm>
          <a:prstGeom prst="rightArrow">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78">
              <a:buClr>
                <a:srgbClr val="000000"/>
              </a:buClr>
              <a:defRPr/>
            </a:pPr>
            <a:endParaRPr lang="en-US" sz="1500" kern="0" dirty="0">
              <a:solidFill>
                <a:srgbClr val="545859"/>
              </a:solidFill>
              <a:latin typeface="Gene Sans Light"/>
              <a:sym typeface="Arial"/>
            </a:endParaRPr>
          </a:p>
        </p:txBody>
      </p:sp>
      <p:sp>
        <p:nvSpPr>
          <p:cNvPr id="401" name="Shape2_20210830_095435"/>
          <p:cNvSpPr/>
          <p:nvPr/>
        </p:nvSpPr>
        <p:spPr>
          <a:xfrm rot="7213699">
            <a:off x="2836079" y="1933799"/>
            <a:ext cx="443745" cy="185116"/>
          </a:xfrm>
          <a:prstGeom prst="rightArrow">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78">
              <a:buClr>
                <a:srgbClr val="000000"/>
              </a:buClr>
              <a:defRPr/>
            </a:pPr>
            <a:endParaRPr lang="en-US" sz="1500" kern="0" dirty="0">
              <a:solidFill>
                <a:srgbClr val="545859"/>
              </a:solidFill>
              <a:latin typeface="Gene Sans Light"/>
              <a:sym typeface="Arial"/>
            </a:endParaRPr>
          </a:p>
        </p:txBody>
      </p:sp>
      <p:sp>
        <p:nvSpPr>
          <p:cNvPr id="402" name="Shape3_20210830_095435"/>
          <p:cNvSpPr/>
          <p:nvPr/>
        </p:nvSpPr>
        <p:spPr>
          <a:xfrm rot="9370415">
            <a:off x="3263804" y="2277068"/>
            <a:ext cx="443745" cy="185116"/>
          </a:xfrm>
          <a:prstGeom prst="rightArrow">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78">
              <a:buClr>
                <a:srgbClr val="000000"/>
              </a:buClr>
              <a:defRPr/>
            </a:pPr>
            <a:endParaRPr lang="en-US" sz="1500" kern="0" dirty="0">
              <a:solidFill>
                <a:srgbClr val="545859"/>
              </a:solidFill>
              <a:latin typeface="Gene Sans Light"/>
              <a:sym typeface="Arial"/>
            </a:endParaRPr>
          </a:p>
        </p:txBody>
      </p:sp>
      <p:cxnSp>
        <p:nvCxnSpPr>
          <p:cNvPr id="410" name="Straight Connector 409"/>
          <p:cNvCxnSpPr>
            <a:cxnSpLocks/>
          </p:cNvCxnSpPr>
          <p:nvPr/>
        </p:nvCxnSpPr>
        <p:spPr>
          <a:xfrm>
            <a:off x="381648" y="2668726"/>
            <a:ext cx="8384400" cy="0"/>
          </a:xfrm>
          <a:prstGeom prst="line">
            <a:avLst/>
          </a:prstGeom>
          <a:ln w="12700" cap="rnd">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286" name="Picture 28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43530" y="1412793"/>
            <a:ext cx="329213" cy="329213"/>
          </a:xfrm>
          <a:prstGeom prst="rect">
            <a:avLst/>
          </a:prstGeom>
          <a:effectLst/>
        </p:spPr>
      </p:pic>
      <p:cxnSp>
        <p:nvCxnSpPr>
          <p:cNvPr id="414" name="Shape0_20210830_095422"/>
          <p:cNvCxnSpPr/>
          <p:nvPr/>
        </p:nvCxnSpPr>
        <p:spPr>
          <a:xfrm>
            <a:off x="1813683" y="1578810"/>
            <a:ext cx="185114"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15" name="TextBox 414"/>
          <p:cNvSpPr txBox="1"/>
          <p:nvPr/>
        </p:nvSpPr>
        <p:spPr>
          <a:xfrm>
            <a:off x="949874" y="1342344"/>
            <a:ext cx="1091966" cy="507831"/>
          </a:xfrm>
          <a:prstGeom prst="rect">
            <a:avLst/>
          </a:prstGeom>
          <a:noFill/>
        </p:spPr>
        <p:txBody>
          <a:bodyPr wrap="none" rtlCol="0">
            <a:spAutoFit/>
          </a:bodyPr>
          <a:lstStyle/>
          <a:p>
            <a:pPr defTabSz="914378">
              <a:buClr>
                <a:srgbClr val="000000"/>
              </a:buClr>
              <a:defRPr/>
            </a:pPr>
            <a:r>
              <a:rPr lang="en-US" sz="900" kern="0" dirty="0">
                <a:solidFill>
                  <a:srgbClr val="545859"/>
                </a:solidFill>
                <a:latin typeface="Gene Sans Light"/>
                <a:cs typeface="Arial"/>
                <a:sym typeface="Arial"/>
              </a:rPr>
              <a:t>Peptide vaccine</a:t>
            </a:r>
            <a:r>
              <a:rPr lang="en-US" sz="900" kern="0" baseline="30000" dirty="0">
                <a:solidFill>
                  <a:srgbClr val="545859"/>
                </a:solidFill>
                <a:latin typeface="Gene Sans Light"/>
                <a:cs typeface="Arial"/>
                <a:sym typeface="Arial"/>
              </a:rPr>
              <a:t>2,4</a:t>
            </a:r>
          </a:p>
          <a:p>
            <a:pPr defTabSz="914378">
              <a:buClr>
                <a:srgbClr val="000000"/>
              </a:buClr>
              <a:defRPr/>
            </a:pPr>
            <a:r>
              <a:rPr lang="en-US" sz="900" kern="0" dirty="0">
                <a:solidFill>
                  <a:srgbClr val="545859"/>
                </a:solidFill>
                <a:latin typeface="Gene Sans Light"/>
                <a:cs typeface="Arial"/>
                <a:sym typeface="Arial"/>
              </a:rPr>
              <a:t>DC vaccine</a:t>
            </a:r>
            <a:r>
              <a:rPr lang="en-US" sz="900" kern="0" baseline="30000" dirty="0">
                <a:solidFill>
                  <a:srgbClr val="545859"/>
                </a:solidFill>
                <a:latin typeface="Gene Sans Light"/>
                <a:cs typeface="Arial"/>
                <a:sym typeface="Arial"/>
              </a:rPr>
              <a:t>2,4</a:t>
            </a:r>
          </a:p>
          <a:p>
            <a:pPr defTabSz="914378">
              <a:buClr>
                <a:srgbClr val="000000"/>
              </a:buClr>
              <a:defRPr/>
            </a:pPr>
            <a:r>
              <a:rPr lang="en-US" sz="900" kern="0" dirty="0">
                <a:solidFill>
                  <a:srgbClr val="545859"/>
                </a:solidFill>
                <a:latin typeface="Gene Sans Light"/>
                <a:cs typeface="Arial"/>
                <a:sym typeface="Arial"/>
              </a:rPr>
              <a:t>Genetic vaccine</a:t>
            </a:r>
            <a:r>
              <a:rPr lang="en-US" sz="900" kern="0" baseline="30000" dirty="0">
                <a:solidFill>
                  <a:srgbClr val="545859"/>
                </a:solidFill>
                <a:latin typeface="Gene Sans Light"/>
                <a:cs typeface="Arial"/>
                <a:sym typeface="Arial"/>
              </a:rPr>
              <a:t>2,4</a:t>
            </a:r>
            <a:endParaRPr lang="en-US" sz="900" kern="0" dirty="0">
              <a:solidFill>
                <a:srgbClr val="545859"/>
              </a:solidFill>
              <a:latin typeface="Gene Sans Light"/>
              <a:cs typeface="Arial"/>
              <a:sym typeface="Arial"/>
            </a:endParaRPr>
          </a:p>
        </p:txBody>
      </p:sp>
      <p:pic>
        <p:nvPicPr>
          <p:cNvPr id="289" name="Picture 28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49019" y="2992502"/>
            <a:ext cx="329213" cy="329213"/>
          </a:xfrm>
          <a:prstGeom prst="rect">
            <a:avLst/>
          </a:prstGeom>
          <a:effectLst/>
        </p:spPr>
      </p:pic>
      <p:pic>
        <p:nvPicPr>
          <p:cNvPr id="290" name="Picture 28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81641" y="2876191"/>
            <a:ext cx="329213" cy="329213"/>
          </a:xfrm>
          <a:prstGeom prst="rect">
            <a:avLst/>
          </a:prstGeom>
          <a:effectLst/>
        </p:spPr>
      </p:pic>
      <p:pic>
        <p:nvPicPr>
          <p:cNvPr id="291" name="Picture 29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50991" y="2912920"/>
            <a:ext cx="329213" cy="329213"/>
          </a:xfrm>
          <a:prstGeom prst="rect">
            <a:avLst/>
          </a:prstGeom>
          <a:effectLst/>
        </p:spPr>
      </p:pic>
      <p:pic>
        <p:nvPicPr>
          <p:cNvPr id="293" name="Picture 29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14302" y="3365921"/>
            <a:ext cx="329213" cy="329213"/>
          </a:xfrm>
          <a:prstGeom prst="rect">
            <a:avLst/>
          </a:prstGeom>
          <a:effectLst/>
        </p:spPr>
      </p:pic>
      <p:pic>
        <p:nvPicPr>
          <p:cNvPr id="294" name="Picture 29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59207" y="3151663"/>
            <a:ext cx="329213" cy="329213"/>
          </a:xfrm>
          <a:prstGeom prst="rect">
            <a:avLst/>
          </a:prstGeom>
          <a:effectLst/>
        </p:spPr>
      </p:pic>
      <p:pic>
        <p:nvPicPr>
          <p:cNvPr id="299" name="Picture 2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34680" y="3108813"/>
            <a:ext cx="329213" cy="329213"/>
          </a:xfrm>
          <a:prstGeom prst="rect">
            <a:avLst/>
          </a:prstGeom>
          <a:effectLst/>
        </p:spPr>
      </p:pic>
      <p:pic>
        <p:nvPicPr>
          <p:cNvPr id="300" name="Picture 29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46924" y="3359799"/>
            <a:ext cx="329213" cy="329213"/>
          </a:xfrm>
          <a:prstGeom prst="rect">
            <a:avLst/>
          </a:prstGeom>
          <a:effectLst/>
        </p:spPr>
      </p:pic>
      <p:pic>
        <p:nvPicPr>
          <p:cNvPr id="301" name="Picture 30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73424" y="3170028"/>
            <a:ext cx="329213" cy="329213"/>
          </a:xfrm>
          <a:prstGeom prst="rect">
            <a:avLst/>
          </a:prstGeom>
          <a:effectLst/>
        </p:spPr>
      </p:pic>
      <p:sp>
        <p:nvSpPr>
          <p:cNvPr id="422" name="TextBox 421"/>
          <p:cNvSpPr txBox="1"/>
          <p:nvPr/>
        </p:nvSpPr>
        <p:spPr>
          <a:xfrm>
            <a:off x="3591573" y="3695134"/>
            <a:ext cx="1210588" cy="369332"/>
          </a:xfrm>
          <a:prstGeom prst="rect">
            <a:avLst/>
          </a:prstGeom>
          <a:noFill/>
        </p:spPr>
        <p:txBody>
          <a:bodyPr wrap="none" rtlCol="0">
            <a:spAutoFit/>
          </a:bodyPr>
          <a:lstStyle/>
          <a:p>
            <a:pPr algn="ctr" defTabSz="914378">
              <a:buClr>
                <a:srgbClr val="000000"/>
              </a:buClr>
              <a:defRPr/>
            </a:pPr>
            <a:r>
              <a:rPr lang="en-US" sz="900" kern="0" dirty="0">
                <a:solidFill>
                  <a:srgbClr val="545859"/>
                </a:solidFill>
                <a:latin typeface="Gene Sans Light"/>
                <a:cs typeface="Arial"/>
                <a:sym typeface="Arial"/>
              </a:rPr>
              <a:t>TCR or CAR</a:t>
            </a:r>
          </a:p>
          <a:p>
            <a:pPr algn="ctr" defTabSz="914378">
              <a:buClr>
                <a:srgbClr val="000000"/>
              </a:buClr>
              <a:defRPr/>
            </a:pPr>
            <a:r>
              <a:rPr lang="en-US" sz="900" kern="0" dirty="0">
                <a:solidFill>
                  <a:srgbClr val="545859"/>
                </a:solidFill>
                <a:latin typeface="Gene Sans Light"/>
                <a:cs typeface="Arial"/>
                <a:sym typeface="Arial"/>
              </a:rPr>
              <a:t>genetic engineering</a:t>
            </a:r>
            <a:r>
              <a:rPr lang="en-US" sz="900" kern="0" baseline="30000" dirty="0">
                <a:solidFill>
                  <a:srgbClr val="545859"/>
                </a:solidFill>
                <a:latin typeface="Gene Sans Light"/>
                <a:cs typeface="Arial"/>
                <a:sym typeface="Arial"/>
              </a:rPr>
              <a:t>4</a:t>
            </a:r>
          </a:p>
        </p:txBody>
      </p:sp>
      <p:pic>
        <p:nvPicPr>
          <p:cNvPr id="303" name="Picture 30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47074" y="2822227"/>
            <a:ext cx="329213" cy="329213"/>
          </a:xfrm>
          <a:prstGeom prst="rect">
            <a:avLst/>
          </a:prstGeom>
          <a:effectLst/>
        </p:spPr>
      </p:pic>
      <p:pic>
        <p:nvPicPr>
          <p:cNvPr id="304" name="Picture 30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492" y="3109944"/>
            <a:ext cx="329213" cy="329213"/>
          </a:xfrm>
          <a:prstGeom prst="rect">
            <a:avLst/>
          </a:prstGeom>
          <a:effectLst>
            <a:outerShdw blurRad="50800" dist="38100" dir="2700000" algn="tl" rotWithShape="0">
              <a:prstClr val="black">
                <a:alpha val="40000"/>
              </a:prstClr>
            </a:outerShdw>
          </a:effectLst>
        </p:spPr>
      </p:pic>
      <p:pic>
        <p:nvPicPr>
          <p:cNvPr id="305" name="Picture 30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06235" y="3030363"/>
            <a:ext cx="329213" cy="329213"/>
          </a:xfrm>
          <a:prstGeom prst="rect">
            <a:avLst/>
          </a:prstGeom>
          <a:effectLst/>
        </p:spPr>
      </p:pic>
      <p:pic>
        <p:nvPicPr>
          <p:cNvPr id="306" name="Picture 30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69506" y="3281349"/>
            <a:ext cx="329213" cy="329213"/>
          </a:xfrm>
          <a:prstGeom prst="rect">
            <a:avLst/>
          </a:prstGeom>
          <a:effectLst/>
        </p:spPr>
      </p:pic>
      <p:pic>
        <p:nvPicPr>
          <p:cNvPr id="307" name="Picture 30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8519" y="3287470"/>
            <a:ext cx="329213" cy="329213"/>
          </a:xfrm>
          <a:prstGeom prst="rect">
            <a:avLst/>
          </a:prstGeom>
          <a:effectLst/>
        </p:spPr>
      </p:pic>
      <p:pic>
        <p:nvPicPr>
          <p:cNvPr id="308" name="Picture 30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2628" y="3018119"/>
            <a:ext cx="329213" cy="329213"/>
          </a:xfrm>
          <a:prstGeom prst="rect">
            <a:avLst/>
          </a:prstGeom>
          <a:effectLst/>
        </p:spPr>
      </p:pic>
      <p:sp>
        <p:nvSpPr>
          <p:cNvPr id="425" name="TextBox 424"/>
          <p:cNvSpPr txBox="1"/>
          <p:nvPr/>
        </p:nvSpPr>
        <p:spPr>
          <a:xfrm>
            <a:off x="913180" y="3640255"/>
            <a:ext cx="896399" cy="230832"/>
          </a:xfrm>
          <a:prstGeom prst="rect">
            <a:avLst/>
          </a:prstGeom>
          <a:noFill/>
        </p:spPr>
        <p:txBody>
          <a:bodyPr wrap="none" rtlCol="0">
            <a:spAutoFit/>
          </a:bodyPr>
          <a:lstStyle/>
          <a:p>
            <a:pPr algn="ctr" defTabSz="914378">
              <a:buClr>
                <a:srgbClr val="000000"/>
              </a:buClr>
              <a:defRPr/>
            </a:pPr>
            <a:r>
              <a:rPr lang="en-US" sz="900" kern="0" dirty="0">
                <a:solidFill>
                  <a:srgbClr val="545859"/>
                </a:solidFill>
                <a:latin typeface="Gene Sans Light"/>
                <a:cs typeface="Arial"/>
                <a:sym typeface="Arial"/>
              </a:rPr>
              <a:t>T-cell cloning</a:t>
            </a:r>
            <a:r>
              <a:rPr lang="en-US" sz="900" kern="0" baseline="30000" dirty="0">
                <a:solidFill>
                  <a:srgbClr val="545859"/>
                </a:solidFill>
                <a:latin typeface="Gene Sans Light"/>
                <a:cs typeface="Arial"/>
                <a:sym typeface="Arial"/>
              </a:rPr>
              <a:t>4</a:t>
            </a:r>
            <a:endParaRPr lang="en-US" sz="900" kern="0" dirty="0">
              <a:solidFill>
                <a:srgbClr val="545859"/>
              </a:solidFill>
              <a:latin typeface="Gene Sans Light"/>
              <a:cs typeface="Arial"/>
              <a:sym typeface="Arial"/>
            </a:endParaRPr>
          </a:p>
        </p:txBody>
      </p:sp>
      <p:pic>
        <p:nvPicPr>
          <p:cNvPr id="302" name="Picture 30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03201" y="3778274"/>
            <a:ext cx="329213" cy="329213"/>
          </a:xfrm>
          <a:prstGeom prst="rect">
            <a:avLst/>
          </a:prstGeom>
          <a:effectLst/>
        </p:spPr>
      </p:pic>
      <p:sp>
        <p:nvSpPr>
          <p:cNvPr id="423" name="TextBox 422"/>
          <p:cNvSpPr txBox="1"/>
          <p:nvPr/>
        </p:nvSpPr>
        <p:spPr>
          <a:xfrm>
            <a:off x="3156964" y="4100415"/>
            <a:ext cx="1239442" cy="369332"/>
          </a:xfrm>
          <a:prstGeom prst="rect">
            <a:avLst/>
          </a:prstGeom>
          <a:noFill/>
        </p:spPr>
        <p:txBody>
          <a:bodyPr wrap="none" rtlCol="0">
            <a:spAutoFit/>
          </a:bodyPr>
          <a:lstStyle/>
          <a:p>
            <a:pPr algn="ctr" defTabSz="914378">
              <a:buClr>
                <a:srgbClr val="000000"/>
              </a:buClr>
              <a:defRPr/>
            </a:pPr>
            <a:r>
              <a:rPr lang="en-US" sz="900" kern="0" dirty="0">
                <a:solidFill>
                  <a:srgbClr val="545859"/>
                </a:solidFill>
                <a:latin typeface="Gene Sans Light"/>
                <a:cs typeface="Arial"/>
                <a:sym typeface="Arial"/>
              </a:rPr>
              <a:t>T-cell recruitment</a:t>
            </a:r>
            <a:br>
              <a:rPr lang="en-US" sz="900" kern="0" dirty="0">
                <a:solidFill>
                  <a:srgbClr val="545859"/>
                </a:solidFill>
                <a:latin typeface="Gene Sans Light"/>
                <a:cs typeface="Arial"/>
                <a:sym typeface="Arial"/>
              </a:rPr>
            </a:br>
            <a:r>
              <a:rPr lang="en-US" sz="900" kern="0" dirty="0">
                <a:solidFill>
                  <a:srgbClr val="545859"/>
                </a:solidFill>
                <a:latin typeface="Gene Sans Light"/>
                <a:cs typeface="Arial"/>
                <a:sym typeface="Arial"/>
              </a:rPr>
              <a:t>via T-cell bispecifics</a:t>
            </a:r>
            <a:r>
              <a:rPr lang="en-US" sz="900" kern="0" baseline="30000" dirty="0">
                <a:solidFill>
                  <a:srgbClr val="545859"/>
                </a:solidFill>
                <a:latin typeface="Gene Sans Light"/>
                <a:cs typeface="Arial"/>
                <a:sym typeface="Arial"/>
              </a:rPr>
              <a:t>1</a:t>
            </a:r>
            <a:endParaRPr lang="en-US" sz="900" kern="0" dirty="0">
              <a:solidFill>
                <a:srgbClr val="545859"/>
              </a:solidFill>
              <a:latin typeface="Gene Sans Light"/>
              <a:cs typeface="Arial"/>
              <a:sym typeface="Arial"/>
            </a:endParaRPr>
          </a:p>
        </p:txBody>
      </p:sp>
      <p:grpSp>
        <p:nvGrpSpPr>
          <p:cNvPr id="9" name="Group 175"/>
          <p:cNvGrpSpPr>
            <a:grpSpLocks noChangeAspect="1"/>
          </p:cNvGrpSpPr>
          <p:nvPr/>
        </p:nvGrpSpPr>
        <p:grpSpPr>
          <a:xfrm rot="14029305">
            <a:off x="3303931" y="3549601"/>
            <a:ext cx="239989" cy="218441"/>
            <a:chOff x="8621993" y="2278453"/>
            <a:chExt cx="303474" cy="276225"/>
          </a:xfrm>
        </p:grpSpPr>
        <p:sp>
          <p:nvSpPr>
            <p:cNvPr id="390" name="Freeform 5"/>
            <p:cNvSpPr>
              <a:spLocks/>
            </p:cNvSpPr>
            <p:nvPr/>
          </p:nvSpPr>
          <p:spPr bwMode="auto">
            <a:xfrm rot="6918353">
              <a:off x="8618495" y="2317132"/>
              <a:ext cx="215900" cy="198438"/>
            </a:xfrm>
            <a:custGeom>
              <a:avLst/>
              <a:gdLst/>
              <a:ahLst/>
              <a:cxnLst>
                <a:cxn ang="0">
                  <a:pos x="0" y="125"/>
                </a:cxn>
                <a:cxn ang="0">
                  <a:pos x="43" y="44"/>
                </a:cxn>
                <a:cxn ang="0">
                  <a:pos x="136" y="0"/>
                </a:cxn>
              </a:cxnLst>
              <a:rect l="0" t="0" r="r" b="b"/>
              <a:pathLst>
                <a:path w="136" h="125">
                  <a:moveTo>
                    <a:pt x="0" y="125"/>
                  </a:moveTo>
                  <a:lnTo>
                    <a:pt x="43" y="44"/>
                  </a:lnTo>
                  <a:lnTo>
                    <a:pt x="136" y="0"/>
                  </a:lnTo>
                </a:path>
              </a:pathLst>
            </a:cu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391" name="Line 6"/>
            <p:cNvSpPr>
              <a:spLocks noChangeShapeType="1"/>
            </p:cNvSpPr>
            <p:nvPr/>
          </p:nvSpPr>
          <p:spPr bwMode="auto">
            <a:xfrm rot="6918353" flipV="1">
              <a:off x="8648980" y="2300989"/>
              <a:ext cx="60325" cy="114300"/>
            </a:xfrm>
            <a:prstGeom prst="line">
              <a:avLst/>
            </a:pr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392" name="Freeform 7"/>
            <p:cNvSpPr>
              <a:spLocks/>
            </p:cNvSpPr>
            <p:nvPr/>
          </p:nvSpPr>
          <p:spPr bwMode="auto">
            <a:xfrm rot="6918353">
              <a:off x="8709190" y="2381641"/>
              <a:ext cx="276225" cy="69850"/>
            </a:xfrm>
            <a:custGeom>
              <a:avLst/>
              <a:gdLst/>
              <a:ahLst/>
              <a:cxnLst>
                <a:cxn ang="0">
                  <a:pos x="0" y="21"/>
                </a:cxn>
                <a:cxn ang="0">
                  <a:pos x="81" y="44"/>
                </a:cxn>
                <a:cxn ang="0">
                  <a:pos x="174" y="0"/>
                </a:cxn>
              </a:cxnLst>
              <a:rect l="0" t="0" r="r" b="b"/>
              <a:pathLst>
                <a:path w="174" h="44">
                  <a:moveTo>
                    <a:pt x="0" y="21"/>
                  </a:moveTo>
                  <a:lnTo>
                    <a:pt x="81" y="44"/>
                  </a:lnTo>
                  <a:lnTo>
                    <a:pt x="174" y="0"/>
                  </a:lnTo>
                </a:path>
              </a:pathLst>
            </a:cu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393" name="Line 8"/>
            <p:cNvSpPr>
              <a:spLocks noChangeShapeType="1"/>
            </p:cNvSpPr>
            <p:nvPr/>
          </p:nvSpPr>
          <p:spPr bwMode="auto">
            <a:xfrm rot="6918353">
              <a:off x="8851648" y="2347393"/>
              <a:ext cx="112713" cy="34925"/>
            </a:xfrm>
            <a:prstGeom prst="line">
              <a:avLst/>
            </a:pr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grpSp>
      <p:sp>
        <p:nvSpPr>
          <p:cNvPr id="424" name="TextBox 423"/>
          <p:cNvSpPr txBox="1"/>
          <p:nvPr/>
        </p:nvSpPr>
        <p:spPr>
          <a:xfrm>
            <a:off x="1763751" y="4042438"/>
            <a:ext cx="1165704" cy="369332"/>
          </a:xfrm>
          <a:prstGeom prst="rect">
            <a:avLst/>
          </a:prstGeom>
          <a:noFill/>
        </p:spPr>
        <p:txBody>
          <a:bodyPr wrap="none" rtlCol="0">
            <a:spAutoFit/>
          </a:bodyPr>
          <a:lstStyle/>
          <a:p>
            <a:pPr algn="ctr" defTabSz="914378">
              <a:buClr>
                <a:srgbClr val="000000"/>
              </a:buClr>
              <a:defRPr/>
            </a:pPr>
            <a:r>
              <a:rPr lang="en-US" sz="900" kern="0" dirty="0">
                <a:solidFill>
                  <a:srgbClr val="545859"/>
                </a:solidFill>
                <a:latin typeface="Gene Sans Light"/>
                <a:cs typeface="Arial"/>
                <a:sym typeface="Arial"/>
              </a:rPr>
              <a:t>NK-cell recruitment</a:t>
            </a:r>
            <a:br>
              <a:rPr lang="en-US" sz="900" kern="0" dirty="0">
                <a:solidFill>
                  <a:srgbClr val="545859"/>
                </a:solidFill>
                <a:latin typeface="Gene Sans Light"/>
                <a:cs typeface="Arial"/>
                <a:sym typeface="Arial"/>
              </a:rPr>
            </a:br>
            <a:r>
              <a:rPr lang="en-US" sz="900" kern="0">
                <a:solidFill>
                  <a:srgbClr val="545859"/>
                </a:solidFill>
                <a:latin typeface="Gene Sans Light"/>
                <a:cs typeface="Arial"/>
                <a:sym typeface="Arial"/>
              </a:rPr>
              <a:t>by antibodies</a:t>
            </a:r>
            <a:r>
              <a:rPr lang="en-US" sz="900" kern="0" baseline="30000">
                <a:solidFill>
                  <a:srgbClr val="545859"/>
                </a:solidFill>
                <a:latin typeface="Gene Sans Light"/>
                <a:cs typeface="Arial"/>
                <a:sym typeface="Arial"/>
              </a:rPr>
              <a:t>3,4</a:t>
            </a:r>
            <a:endParaRPr lang="en-US" sz="900" kern="0" dirty="0">
              <a:solidFill>
                <a:srgbClr val="545859"/>
              </a:solidFill>
              <a:latin typeface="Gene Sans Light"/>
              <a:cs typeface="Arial"/>
              <a:sym typeface="Arial"/>
            </a:endParaRPr>
          </a:p>
        </p:txBody>
      </p:sp>
      <p:sp>
        <p:nvSpPr>
          <p:cNvPr id="417" name="TextBox 416"/>
          <p:cNvSpPr txBox="1"/>
          <p:nvPr/>
        </p:nvSpPr>
        <p:spPr>
          <a:xfrm>
            <a:off x="3406303" y="1583045"/>
            <a:ext cx="474810" cy="230832"/>
          </a:xfrm>
          <a:prstGeom prst="rect">
            <a:avLst/>
          </a:prstGeom>
          <a:noFill/>
        </p:spPr>
        <p:txBody>
          <a:bodyPr wrap="none" rtlCol="0">
            <a:spAutoFit/>
          </a:bodyPr>
          <a:lstStyle/>
          <a:p>
            <a:pPr defTabSz="914378">
              <a:buClr>
                <a:srgbClr val="000000"/>
              </a:buClr>
              <a:defRPr/>
            </a:pPr>
            <a:r>
              <a:rPr lang="en-US" sz="900" kern="0" dirty="0">
                <a:solidFill>
                  <a:srgbClr val="545859"/>
                </a:solidFill>
                <a:latin typeface="Gene Sans Light"/>
                <a:cs typeface="Arial"/>
                <a:sym typeface="Arial"/>
              </a:rPr>
              <a:t>PD-1</a:t>
            </a:r>
            <a:r>
              <a:rPr lang="en-US" sz="900" kern="0" baseline="30000" dirty="0">
                <a:solidFill>
                  <a:srgbClr val="545859"/>
                </a:solidFill>
                <a:latin typeface="Gene Sans Light"/>
                <a:cs typeface="Arial"/>
                <a:sym typeface="Arial"/>
              </a:rPr>
              <a:t>3</a:t>
            </a:r>
            <a:endParaRPr lang="en-US" sz="900" kern="0" dirty="0">
              <a:solidFill>
                <a:srgbClr val="545859"/>
              </a:solidFill>
              <a:latin typeface="Gene Sans Light"/>
              <a:cs typeface="Arial"/>
              <a:sym typeface="Arial"/>
            </a:endParaRPr>
          </a:p>
        </p:txBody>
      </p:sp>
      <p:sp>
        <p:nvSpPr>
          <p:cNvPr id="418" name="TextBox 417"/>
          <p:cNvSpPr txBox="1"/>
          <p:nvPr/>
        </p:nvSpPr>
        <p:spPr>
          <a:xfrm>
            <a:off x="2550430" y="1642145"/>
            <a:ext cx="553357" cy="230832"/>
          </a:xfrm>
          <a:prstGeom prst="rect">
            <a:avLst/>
          </a:prstGeom>
          <a:noFill/>
        </p:spPr>
        <p:txBody>
          <a:bodyPr wrap="none" rtlCol="0">
            <a:spAutoFit/>
          </a:bodyPr>
          <a:lstStyle/>
          <a:p>
            <a:pPr defTabSz="914378">
              <a:buClr>
                <a:srgbClr val="000000"/>
              </a:buClr>
              <a:defRPr/>
            </a:pPr>
            <a:r>
              <a:rPr lang="en-US" sz="900" kern="0" dirty="0">
                <a:solidFill>
                  <a:srgbClr val="545859"/>
                </a:solidFill>
                <a:latin typeface="Gene Sans Light"/>
                <a:cs typeface="Arial"/>
                <a:sym typeface="Arial"/>
              </a:rPr>
              <a:t>CTLA4</a:t>
            </a:r>
            <a:r>
              <a:rPr lang="en-US" sz="900" kern="0" baseline="30000" dirty="0">
                <a:solidFill>
                  <a:srgbClr val="545859"/>
                </a:solidFill>
                <a:latin typeface="Gene Sans Light"/>
                <a:cs typeface="Arial"/>
                <a:sym typeface="Arial"/>
              </a:rPr>
              <a:t>3</a:t>
            </a:r>
            <a:endParaRPr lang="en-US" sz="900" kern="0" dirty="0">
              <a:solidFill>
                <a:srgbClr val="545859"/>
              </a:solidFill>
              <a:latin typeface="Gene Sans Light"/>
              <a:cs typeface="Arial"/>
              <a:sym typeface="Arial"/>
            </a:endParaRPr>
          </a:p>
        </p:txBody>
      </p:sp>
      <p:grpSp>
        <p:nvGrpSpPr>
          <p:cNvPr id="14" name="Group 175"/>
          <p:cNvGrpSpPr>
            <a:grpSpLocks noChangeAspect="1"/>
          </p:cNvGrpSpPr>
          <p:nvPr/>
        </p:nvGrpSpPr>
        <p:grpSpPr>
          <a:xfrm rot="12813751">
            <a:off x="3618661" y="1354258"/>
            <a:ext cx="239989" cy="218441"/>
            <a:chOff x="8621993" y="2278453"/>
            <a:chExt cx="303474" cy="276225"/>
          </a:xfrm>
        </p:grpSpPr>
        <p:sp>
          <p:nvSpPr>
            <p:cNvPr id="310" name="Freeform 5"/>
            <p:cNvSpPr>
              <a:spLocks/>
            </p:cNvSpPr>
            <p:nvPr/>
          </p:nvSpPr>
          <p:spPr bwMode="auto">
            <a:xfrm rot="6918353">
              <a:off x="8618495" y="2317132"/>
              <a:ext cx="215900" cy="198438"/>
            </a:xfrm>
            <a:custGeom>
              <a:avLst/>
              <a:gdLst/>
              <a:ahLst/>
              <a:cxnLst>
                <a:cxn ang="0">
                  <a:pos x="0" y="125"/>
                </a:cxn>
                <a:cxn ang="0">
                  <a:pos x="43" y="44"/>
                </a:cxn>
                <a:cxn ang="0">
                  <a:pos x="136" y="0"/>
                </a:cxn>
              </a:cxnLst>
              <a:rect l="0" t="0" r="r" b="b"/>
              <a:pathLst>
                <a:path w="136" h="125">
                  <a:moveTo>
                    <a:pt x="0" y="125"/>
                  </a:moveTo>
                  <a:lnTo>
                    <a:pt x="43" y="44"/>
                  </a:lnTo>
                  <a:lnTo>
                    <a:pt x="136" y="0"/>
                  </a:lnTo>
                </a:path>
              </a:pathLst>
            </a:cu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311" name="Line 6"/>
            <p:cNvSpPr>
              <a:spLocks noChangeShapeType="1"/>
            </p:cNvSpPr>
            <p:nvPr/>
          </p:nvSpPr>
          <p:spPr bwMode="auto">
            <a:xfrm rot="6918353" flipV="1">
              <a:off x="8648980" y="2300989"/>
              <a:ext cx="60325" cy="114300"/>
            </a:xfrm>
            <a:prstGeom prst="line">
              <a:avLst/>
            </a:pr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312" name="Freeform 7"/>
            <p:cNvSpPr>
              <a:spLocks/>
            </p:cNvSpPr>
            <p:nvPr/>
          </p:nvSpPr>
          <p:spPr bwMode="auto">
            <a:xfrm rot="6918353">
              <a:off x="8709190" y="2381641"/>
              <a:ext cx="276225" cy="69850"/>
            </a:xfrm>
            <a:custGeom>
              <a:avLst/>
              <a:gdLst/>
              <a:ahLst/>
              <a:cxnLst>
                <a:cxn ang="0">
                  <a:pos x="0" y="21"/>
                </a:cxn>
                <a:cxn ang="0">
                  <a:pos x="81" y="44"/>
                </a:cxn>
                <a:cxn ang="0">
                  <a:pos x="174" y="0"/>
                </a:cxn>
              </a:cxnLst>
              <a:rect l="0" t="0" r="r" b="b"/>
              <a:pathLst>
                <a:path w="174" h="44">
                  <a:moveTo>
                    <a:pt x="0" y="21"/>
                  </a:moveTo>
                  <a:lnTo>
                    <a:pt x="81" y="44"/>
                  </a:lnTo>
                  <a:lnTo>
                    <a:pt x="174" y="0"/>
                  </a:lnTo>
                </a:path>
              </a:pathLst>
            </a:cu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313" name="Line 8"/>
            <p:cNvSpPr>
              <a:spLocks noChangeShapeType="1"/>
            </p:cNvSpPr>
            <p:nvPr/>
          </p:nvSpPr>
          <p:spPr bwMode="auto">
            <a:xfrm rot="6918353">
              <a:off x="8851648" y="2347393"/>
              <a:ext cx="112713" cy="34925"/>
            </a:xfrm>
            <a:prstGeom prst="line">
              <a:avLst/>
            </a:pr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grpSp>
      <p:grpSp>
        <p:nvGrpSpPr>
          <p:cNvPr id="15" name="Group 175"/>
          <p:cNvGrpSpPr>
            <a:grpSpLocks noChangeAspect="1"/>
          </p:cNvGrpSpPr>
          <p:nvPr/>
        </p:nvGrpSpPr>
        <p:grpSpPr>
          <a:xfrm rot="8557072">
            <a:off x="2674698" y="1387648"/>
            <a:ext cx="239989" cy="218441"/>
            <a:chOff x="8621993" y="2278453"/>
            <a:chExt cx="303474" cy="276225"/>
          </a:xfrm>
        </p:grpSpPr>
        <p:sp>
          <p:nvSpPr>
            <p:cNvPr id="370" name="Freeform 5"/>
            <p:cNvSpPr>
              <a:spLocks/>
            </p:cNvSpPr>
            <p:nvPr/>
          </p:nvSpPr>
          <p:spPr bwMode="auto">
            <a:xfrm rot="6918353">
              <a:off x="8618495" y="2317132"/>
              <a:ext cx="215900" cy="198438"/>
            </a:xfrm>
            <a:custGeom>
              <a:avLst/>
              <a:gdLst/>
              <a:ahLst/>
              <a:cxnLst>
                <a:cxn ang="0">
                  <a:pos x="0" y="125"/>
                </a:cxn>
                <a:cxn ang="0">
                  <a:pos x="43" y="44"/>
                </a:cxn>
                <a:cxn ang="0">
                  <a:pos x="136" y="0"/>
                </a:cxn>
              </a:cxnLst>
              <a:rect l="0" t="0" r="r" b="b"/>
              <a:pathLst>
                <a:path w="136" h="125">
                  <a:moveTo>
                    <a:pt x="0" y="125"/>
                  </a:moveTo>
                  <a:lnTo>
                    <a:pt x="43" y="44"/>
                  </a:lnTo>
                  <a:lnTo>
                    <a:pt x="136" y="0"/>
                  </a:lnTo>
                </a:path>
              </a:pathLst>
            </a:cu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371" name="Line 6"/>
            <p:cNvSpPr>
              <a:spLocks noChangeShapeType="1"/>
            </p:cNvSpPr>
            <p:nvPr/>
          </p:nvSpPr>
          <p:spPr bwMode="auto">
            <a:xfrm rot="6918353" flipV="1">
              <a:off x="8648980" y="2300989"/>
              <a:ext cx="60325" cy="114300"/>
            </a:xfrm>
            <a:prstGeom prst="line">
              <a:avLst/>
            </a:pr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372" name="Freeform 7"/>
            <p:cNvSpPr>
              <a:spLocks/>
            </p:cNvSpPr>
            <p:nvPr/>
          </p:nvSpPr>
          <p:spPr bwMode="auto">
            <a:xfrm rot="6918353">
              <a:off x="8709190" y="2381641"/>
              <a:ext cx="276225" cy="69850"/>
            </a:xfrm>
            <a:custGeom>
              <a:avLst/>
              <a:gdLst/>
              <a:ahLst/>
              <a:cxnLst>
                <a:cxn ang="0">
                  <a:pos x="0" y="21"/>
                </a:cxn>
                <a:cxn ang="0">
                  <a:pos x="81" y="44"/>
                </a:cxn>
                <a:cxn ang="0">
                  <a:pos x="174" y="0"/>
                </a:cxn>
              </a:cxnLst>
              <a:rect l="0" t="0" r="r" b="b"/>
              <a:pathLst>
                <a:path w="174" h="44">
                  <a:moveTo>
                    <a:pt x="0" y="21"/>
                  </a:moveTo>
                  <a:lnTo>
                    <a:pt x="81" y="44"/>
                  </a:lnTo>
                  <a:lnTo>
                    <a:pt x="174" y="0"/>
                  </a:lnTo>
                </a:path>
              </a:pathLst>
            </a:cu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373" name="Line 8"/>
            <p:cNvSpPr>
              <a:spLocks noChangeShapeType="1"/>
            </p:cNvSpPr>
            <p:nvPr/>
          </p:nvSpPr>
          <p:spPr bwMode="auto">
            <a:xfrm rot="6918353">
              <a:off x="8851648" y="2347393"/>
              <a:ext cx="112713" cy="34925"/>
            </a:xfrm>
            <a:prstGeom prst="line">
              <a:avLst/>
            </a:pr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grpSp>
      <p:sp>
        <p:nvSpPr>
          <p:cNvPr id="419" name="TextBox 418"/>
          <p:cNvSpPr txBox="1"/>
          <p:nvPr/>
        </p:nvSpPr>
        <p:spPr>
          <a:xfrm>
            <a:off x="3401786" y="1982882"/>
            <a:ext cx="516488" cy="230832"/>
          </a:xfrm>
          <a:prstGeom prst="rect">
            <a:avLst/>
          </a:prstGeom>
          <a:noFill/>
        </p:spPr>
        <p:txBody>
          <a:bodyPr wrap="none" rtlCol="0">
            <a:spAutoFit/>
          </a:bodyPr>
          <a:lstStyle/>
          <a:p>
            <a:pPr defTabSz="914378">
              <a:buClr>
                <a:srgbClr val="000000"/>
              </a:buClr>
              <a:defRPr/>
            </a:pPr>
            <a:r>
              <a:rPr lang="en-US" sz="900" kern="0" dirty="0">
                <a:solidFill>
                  <a:srgbClr val="545859"/>
                </a:solidFill>
                <a:latin typeface="Gene Sans Light"/>
                <a:cs typeface="Arial"/>
                <a:sym typeface="Arial"/>
              </a:rPr>
              <a:t>CD40</a:t>
            </a:r>
            <a:r>
              <a:rPr lang="en-US" sz="900" kern="0" baseline="30000" dirty="0">
                <a:solidFill>
                  <a:srgbClr val="545859"/>
                </a:solidFill>
                <a:latin typeface="Gene Sans Light"/>
                <a:cs typeface="Arial"/>
                <a:sym typeface="Arial"/>
              </a:rPr>
              <a:t>4</a:t>
            </a:r>
            <a:endParaRPr lang="en-US" sz="900" kern="0" dirty="0">
              <a:solidFill>
                <a:srgbClr val="545859"/>
              </a:solidFill>
              <a:latin typeface="Gene Sans Light"/>
              <a:cs typeface="Arial"/>
              <a:sym typeface="Arial"/>
            </a:endParaRPr>
          </a:p>
        </p:txBody>
      </p:sp>
      <p:sp>
        <p:nvSpPr>
          <p:cNvPr id="420" name="TextBox 419"/>
          <p:cNvSpPr txBox="1"/>
          <p:nvPr/>
        </p:nvSpPr>
        <p:spPr>
          <a:xfrm>
            <a:off x="4267184" y="2084345"/>
            <a:ext cx="567784" cy="230832"/>
          </a:xfrm>
          <a:prstGeom prst="rect">
            <a:avLst/>
          </a:prstGeom>
          <a:noFill/>
        </p:spPr>
        <p:txBody>
          <a:bodyPr wrap="none" rtlCol="0">
            <a:spAutoFit/>
          </a:bodyPr>
          <a:lstStyle/>
          <a:p>
            <a:pPr defTabSz="914378">
              <a:buClr>
                <a:srgbClr val="000000"/>
              </a:buClr>
              <a:defRPr/>
            </a:pPr>
            <a:r>
              <a:rPr lang="en-US" sz="900" kern="0" dirty="0">
                <a:solidFill>
                  <a:srgbClr val="545859"/>
                </a:solidFill>
                <a:latin typeface="Gene Sans Light"/>
                <a:cs typeface="Arial"/>
                <a:sym typeface="Arial"/>
              </a:rPr>
              <a:t>CD137</a:t>
            </a:r>
            <a:r>
              <a:rPr lang="en-US" sz="900" kern="0" baseline="30000" dirty="0">
                <a:solidFill>
                  <a:srgbClr val="545859"/>
                </a:solidFill>
                <a:latin typeface="Gene Sans Light"/>
                <a:cs typeface="Arial"/>
                <a:sym typeface="Arial"/>
              </a:rPr>
              <a:t>3</a:t>
            </a:r>
            <a:endParaRPr lang="en-US" sz="900" kern="0" dirty="0">
              <a:solidFill>
                <a:srgbClr val="545859"/>
              </a:solidFill>
              <a:latin typeface="Gene Sans Light"/>
              <a:cs typeface="Arial"/>
              <a:sym typeface="Arial"/>
            </a:endParaRPr>
          </a:p>
        </p:txBody>
      </p:sp>
      <p:sp>
        <p:nvSpPr>
          <p:cNvPr id="421" name="TextBox 420"/>
          <p:cNvSpPr txBox="1"/>
          <p:nvPr/>
        </p:nvSpPr>
        <p:spPr>
          <a:xfrm>
            <a:off x="3766246" y="2419856"/>
            <a:ext cx="518091" cy="230832"/>
          </a:xfrm>
          <a:prstGeom prst="rect">
            <a:avLst/>
          </a:prstGeom>
          <a:noFill/>
        </p:spPr>
        <p:txBody>
          <a:bodyPr wrap="none" rtlCol="0">
            <a:spAutoFit/>
          </a:bodyPr>
          <a:lstStyle/>
          <a:p>
            <a:pPr defTabSz="914378">
              <a:buClr>
                <a:srgbClr val="000000"/>
              </a:buClr>
              <a:defRPr/>
            </a:pPr>
            <a:r>
              <a:rPr lang="en-US" sz="900" kern="0" dirty="0">
                <a:solidFill>
                  <a:srgbClr val="545859"/>
                </a:solidFill>
                <a:latin typeface="Gene Sans Light"/>
                <a:cs typeface="Arial"/>
                <a:sym typeface="Arial"/>
              </a:rPr>
              <a:t>OX40</a:t>
            </a:r>
            <a:r>
              <a:rPr lang="en-US" sz="900" kern="0" baseline="30000" dirty="0">
                <a:solidFill>
                  <a:srgbClr val="545859"/>
                </a:solidFill>
                <a:latin typeface="Gene Sans Light"/>
                <a:cs typeface="Arial"/>
                <a:sym typeface="Arial"/>
              </a:rPr>
              <a:t>3</a:t>
            </a:r>
            <a:endParaRPr lang="en-US" sz="900" kern="0" dirty="0">
              <a:solidFill>
                <a:srgbClr val="545859"/>
              </a:solidFill>
              <a:latin typeface="Gene Sans Light"/>
              <a:cs typeface="Arial"/>
              <a:sym typeface="Arial"/>
            </a:endParaRPr>
          </a:p>
        </p:txBody>
      </p:sp>
      <p:grpSp>
        <p:nvGrpSpPr>
          <p:cNvPr id="18" name="Group 175"/>
          <p:cNvGrpSpPr>
            <a:grpSpLocks noChangeAspect="1"/>
          </p:cNvGrpSpPr>
          <p:nvPr/>
        </p:nvGrpSpPr>
        <p:grpSpPr>
          <a:xfrm rot="14292913">
            <a:off x="4339500" y="2352473"/>
            <a:ext cx="239990" cy="218441"/>
            <a:chOff x="8621993" y="2278453"/>
            <a:chExt cx="303474" cy="276225"/>
          </a:xfrm>
        </p:grpSpPr>
        <p:sp>
          <p:nvSpPr>
            <p:cNvPr id="385" name="Freeform 5"/>
            <p:cNvSpPr>
              <a:spLocks/>
            </p:cNvSpPr>
            <p:nvPr/>
          </p:nvSpPr>
          <p:spPr bwMode="auto">
            <a:xfrm rot="6918353">
              <a:off x="8618495" y="2317132"/>
              <a:ext cx="215900" cy="198438"/>
            </a:xfrm>
            <a:custGeom>
              <a:avLst/>
              <a:gdLst/>
              <a:ahLst/>
              <a:cxnLst>
                <a:cxn ang="0">
                  <a:pos x="0" y="125"/>
                </a:cxn>
                <a:cxn ang="0">
                  <a:pos x="43" y="44"/>
                </a:cxn>
                <a:cxn ang="0">
                  <a:pos x="136" y="0"/>
                </a:cxn>
              </a:cxnLst>
              <a:rect l="0" t="0" r="r" b="b"/>
              <a:pathLst>
                <a:path w="136" h="125">
                  <a:moveTo>
                    <a:pt x="0" y="125"/>
                  </a:moveTo>
                  <a:lnTo>
                    <a:pt x="43" y="44"/>
                  </a:lnTo>
                  <a:lnTo>
                    <a:pt x="136" y="0"/>
                  </a:lnTo>
                </a:path>
              </a:pathLst>
            </a:cu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386" name="Line 6"/>
            <p:cNvSpPr>
              <a:spLocks noChangeShapeType="1"/>
            </p:cNvSpPr>
            <p:nvPr/>
          </p:nvSpPr>
          <p:spPr bwMode="auto">
            <a:xfrm rot="6918353" flipV="1">
              <a:off x="8648980" y="2300989"/>
              <a:ext cx="60325" cy="114300"/>
            </a:xfrm>
            <a:prstGeom prst="line">
              <a:avLst/>
            </a:pr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387" name="Freeform 7"/>
            <p:cNvSpPr>
              <a:spLocks/>
            </p:cNvSpPr>
            <p:nvPr/>
          </p:nvSpPr>
          <p:spPr bwMode="auto">
            <a:xfrm rot="6918353">
              <a:off x="8709190" y="2381641"/>
              <a:ext cx="276225" cy="69850"/>
            </a:xfrm>
            <a:custGeom>
              <a:avLst/>
              <a:gdLst/>
              <a:ahLst/>
              <a:cxnLst>
                <a:cxn ang="0">
                  <a:pos x="0" y="21"/>
                </a:cxn>
                <a:cxn ang="0">
                  <a:pos x="81" y="44"/>
                </a:cxn>
                <a:cxn ang="0">
                  <a:pos x="174" y="0"/>
                </a:cxn>
              </a:cxnLst>
              <a:rect l="0" t="0" r="r" b="b"/>
              <a:pathLst>
                <a:path w="174" h="44">
                  <a:moveTo>
                    <a:pt x="0" y="21"/>
                  </a:moveTo>
                  <a:lnTo>
                    <a:pt x="81" y="44"/>
                  </a:lnTo>
                  <a:lnTo>
                    <a:pt x="174" y="0"/>
                  </a:lnTo>
                </a:path>
              </a:pathLst>
            </a:cu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388" name="Line 8"/>
            <p:cNvSpPr>
              <a:spLocks noChangeShapeType="1"/>
            </p:cNvSpPr>
            <p:nvPr/>
          </p:nvSpPr>
          <p:spPr bwMode="auto">
            <a:xfrm rot="6918353">
              <a:off x="8851648" y="2347393"/>
              <a:ext cx="112713" cy="34925"/>
            </a:xfrm>
            <a:prstGeom prst="line">
              <a:avLst/>
            </a:pr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grpSp>
      <p:grpSp>
        <p:nvGrpSpPr>
          <p:cNvPr id="19" name="Group 175"/>
          <p:cNvGrpSpPr>
            <a:grpSpLocks noChangeAspect="1"/>
          </p:cNvGrpSpPr>
          <p:nvPr/>
        </p:nvGrpSpPr>
        <p:grpSpPr>
          <a:xfrm rot="13020450">
            <a:off x="3795982" y="1717462"/>
            <a:ext cx="239989" cy="218441"/>
            <a:chOff x="8621993" y="2278453"/>
            <a:chExt cx="303474" cy="276225"/>
          </a:xfrm>
        </p:grpSpPr>
        <p:sp>
          <p:nvSpPr>
            <p:cNvPr id="375" name="Freeform 5"/>
            <p:cNvSpPr>
              <a:spLocks/>
            </p:cNvSpPr>
            <p:nvPr/>
          </p:nvSpPr>
          <p:spPr bwMode="auto">
            <a:xfrm rot="6918353">
              <a:off x="8618495" y="2317132"/>
              <a:ext cx="215900" cy="198438"/>
            </a:xfrm>
            <a:custGeom>
              <a:avLst/>
              <a:gdLst/>
              <a:ahLst/>
              <a:cxnLst>
                <a:cxn ang="0">
                  <a:pos x="0" y="125"/>
                </a:cxn>
                <a:cxn ang="0">
                  <a:pos x="43" y="44"/>
                </a:cxn>
                <a:cxn ang="0">
                  <a:pos x="136" y="0"/>
                </a:cxn>
              </a:cxnLst>
              <a:rect l="0" t="0" r="r" b="b"/>
              <a:pathLst>
                <a:path w="136" h="125">
                  <a:moveTo>
                    <a:pt x="0" y="125"/>
                  </a:moveTo>
                  <a:lnTo>
                    <a:pt x="43" y="44"/>
                  </a:lnTo>
                  <a:lnTo>
                    <a:pt x="136" y="0"/>
                  </a:lnTo>
                </a:path>
              </a:pathLst>
            </a:cu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376" name="Line 6"/>
            <p:cNvSpPr>
              <a:spLocks noChangeShapeType="1"/>
            </p:cNvSpPr>
            <p:nvPr/>
          </p:nvSpPr>
          <p:spPr bwMode="auto">
            <a:xfrm rot="6918353" flipV="1">
              <a:off x="8648980" y="2300989"/>
              <a:ext cx="60325" cy="114300"/>
            </a:xfrm>
            <a:prstGeom prst="line">
              <a:avLst/>
            </a:pr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377" name="Freeform 7"/>
            <p:cNvSpPr>
              <a:spLocks/>
            </p:cNvSpPr>
            <p:nvPr/>
          </p:nvSpPr>
          <p:spPr bwMode="auto">
            <a:xfrm rot="6918353">
              <a:off x="8709190" y="2381641"/>
              <a:ext cx="276225" cy="69850"/>
            </a:xfrm>
            <a:custGeom>
              <a:avLst/>
              <a:gdLst/>
              <a:ahLst/>
              <a:cxnLst>
                <a:cxn ang="0">
                  <a:pos x="0" y="21"/>
                </a:cxn>
                <a:cxn ang="0">
                  <a:pos x="81" y="44"/>
                </a:cxn>
                <a:cxn ang="0">
                  <a:pos x="174" y="0"/>
                </a:cxn>
              </a:cxnLst>
              <a:rect l="0" t="0" r="r" b="b"/>
              <a:pathLst>
                <a:path w="174" h="44">
                  <a:moveTo>
                    <a:pt x="0" y="21"/>
                  </a:moveTo>
                  <a:lnTo>
                    <a:pt x="81" y="44"/>
                  </a:lnTo>
                  <a:lnTo>
                    <a:pt x="174" y="0"/>
                  </a:lnTo>
                </a:path>
              </a:pathLst>
            </a:cu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378" name="Line 8"/>
            <p:cNvSpPr>
              <a:spLocks noChangeShapeType="1"/>
            </p:cNvSpPr>
            <p:nvPr/>
          </p:nvSpPr>
          <p:spPr bwMode="auto">
            <a:xfrm rot="6918353">
              <a:off x="8851648" y="2347393"/>
              <a:ext cx="112713" cy="34925"/>
            </a:xfrm>
            <a:prstGeom prst="line">
              <a:avLst/>
            </a:pr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grpSp>
      <p:grpSp>
        <p:nvGrpSpPr>
          <p:cNvPr id="20" name="Group 175"/>
          <p:cNvGrpSpPr>
            <a:grpSpLocks noChangeAspect="1"/>
          </p:cNvGrpSpPr>
          <p:nvPr/>
        </p:nvGrpSpPr>
        <p:grpSpPr>
          <a:xfrm rot="10800000">
            <a:off x="4280348" y="1826578"/>
            <a:ext cx="239989" cy="218441"/>
            <a:chOff x="8621993" y="2278453"/>
            <a:chExt cx="303474" cy="276225"/>
          </a:xfrm>
        </p:grpSpPr>
        <p:sp>
          <p:nvSpPr>
            <p:cNvPr id="380" name="Freeform 5"/>
            <p:cNvSpPr>
              <a:spLocks/>
            </p:cNvSpPr>
            <p:nvPr/>
          </p:nvSpPr>
          <p:spPr bwMode="auto">
            <a:xfrm rot="6918353">
              <a:off x="8618495" y="2317132"/>
              <a:ext cx="215900" cy="198438"/>
            </a:xfrm>
            <a:custGeom>
              <a:avLst/>
              <a:gdLst/>
              <a:ahLst/>
              <a:cxnLst>
                <a:cxn ang="0">
                  <a:pos x="0" y="125"/>
                </a:cxn>
                <a:cxn ang="0">
                  <a:pos x="43" y="44"/>
                </a:cxn>
                <a:cxn ang="0">
                  <a:pos x="136" y="0"/>
                </a:cxn>
              </a:cxnLst>
              <a:rect l="0" t="0" r="r" b="b"/>
              <a:pathLst>
                <a:path w="136" h="125">
                  <a:moveTo>
                    <a:pt x="0" y="125"/>
                  </a:moveTo>
                  <a:lnTo>
                    <a:pt x="43" y="44"/>
                  </a:lnTo>
                  <a:lnTo>
                    <a:pt x="136" y="0"/>
                  </a:lnTo>
                </a:path>
              </a:pathLst>
            </a:cu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381" name="Line 6"/>
            <p:cNvSpPr>
              <a:spLocks noChangeShapeType="1"/>
            </p:cNvSpPr>
            <p:nvPr/>
          </p:nvSpPr>
          <p:spPr bwMode="auto">
            <a:xfrm rot="6918353" flipV="1">
              <a:off x="8648980" y="2300989"/>
              <a:ext cx="60325" cy="114300"/>
            </a:xfrm>
            <a:prstGeom prst="line">
              <a:avLst/>
            </a:pr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382" name="Freeform 7"/>
            <p:cNvSpPr>
              <a:spLocks/>
            </p:cNvSpPr>
            <p:nvPr/>
          </p:nvSpPr>
          <p:spPr bwMode="auto">
            <a:xfrm rot="6918353">
              <a:off x="8709190" y="2381641"/>
              <a:ext cx="276225" cy="69850"/>
            </a:xfrm>
            <a:custGeom>
              <a:avLst/>
              <a:gdLst/>
              <a:ahLst/>
              <a:cxnLst>
                <a:cxn ang="0">
                  <a:pos x="0" y="21"/>
                </a:cxn>
                <a:cxn ang="0">
                  <a:pos x="81" y="44"/>
                </a:cxn>
                <a:cxn ang="0">
                  <a:pos x="174" y="0"/>
                </a:cxn>
              </a:cxnLst>
              <a:rect l="0" t="0" r="r" b="b"/>
              <a:pathLst>
                <a:path w="174" h="44">
                  <a:moveTo>
                    <a:pt x="0" y="21"/>
                  </a:moveTo>
                  <a:lnTo>
                    <a:pt x="81" y="44"/>
                  </a:lnTo>
                  <a:lnTo>
                    <a:pt x="174" y="0"/>
                  </a:lnTo>
                </a:path>
              </a:pathLst>
            </a:cu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383" name="Line 8"/>
            <p:cNvSpPr>
              <a:spLocks noChangeShapeType="1"/>
            </p:cNvSpPr>
            <p:nvPr/>
          </p:nvSpPr>
          <p:spPr bwMode="auto">
            <a:xfrm rot="6918353">
              <a:off x="8851648" y="2347393"/>
              <a:ext cx="112713" cy="34925"/>
            </a:xfrm>
            <a:prstGeom prst="line">
              <a:avLst/>
            </a:pr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grpSp>
      <p:pic>
        <p:nvPicPr>
          <p:cNvPr id="285" name="Picture 2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54317" y="1905583"/>
            <a:ext cx="329213" cy="329213"/>
          </a:xfrm>
          <a:prstGeom prst="rect">
            <a:avLst/>
          </a:prstGeom>
          <a:effectLst/>
        </p:spPr>
      </p:pic>
      <p:cxnSp>
        <p:nvCxnSpPr>
          <p:cNvPr id="413" name="Shape5_20210830_095423"/>
          <p:cNvCxnSpPr/>
          <p:nvPr/>
        </p:nvCxnSpPr>
        <p:spPr>
          <a:xfrm>
            <a:off x="1234668" y="2068209"/>
            <a:ext cx="185116"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2" name="Group 435"/>
          <p:cNvGrpSpPr/>
          <p:nvPr/>
        </p:nvGrpSpPr>
        <p:grpSpPr>
          <a:xfrm>
            <a:off x="1014334" y="1906980"/>
            <a:ext cx="269797" cy="304096"/>
            <a:chOff x="1634853" y="2252602"/>
            <a:chExt cx="419794" cy="473160"/>
          </a:xfrm>
          <a:effectLst/>
        </p:grpSpPr>
        <p:pic>
          <p:nvPicPr>
            <p:cNvPr id="430" name="Picture 1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13694" y="2488346"/>
              <a:ext cx="91912" cy="9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1" name="Picture 1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71502" y="2348880"/>
              <a:ext cx="83145" cy="831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2" name="Picture 1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37519" y="2628840"/>
              <a:ext cx="91912" cy="9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3" name="Picture 1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94644" y="2252602"/>
              <a:ext cx="91912" cy="91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4" name="Picture 1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34853" y="2371155"/>
              <a:ext cx="83145" cy="831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5" name="Picture 1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75335" y="2642617"/>
              <a:ext cx="83145" cy="831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443" name="Shape4_20210830_095435"/>
          <p:cNvSpPr/>
          <p:nvPr/>
        </p:nvSpPr>
        <p:spPr>
          <a:xfrm rot="19851730" flipV="1">
            <a:off x="1747573" y="2849405"/>
            <a:ext cx="443745" cy="185116"/>
          </a:xfrm>
          <a:prstGeom prst="rightArrow">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78">
              <a:buClr>
                <a:srgbClr val="000000"/>
              </a:buClr>
              <a:defRPr/>
            </a:pPr>
            <a:endParaRPr lang="en-US" sz="1500" kern="0" dirty="0">
              <a:solidFill>
                <a:srgbClr val="545859"/>
              </a:solidFill>
              <a:latin typeface="Gene Sans Light"/>
              <a:sym typeface="Arial"/>
            </a:endParaRPr>
          </a:p>
        </p:txBody>
      </p:sp>
      <p:sp>
        <p:nvSpPr>
          <p:cNvPr id="446" name="Shape5_20210830_095435"/>
          <p:cNvSpPr/>
          <p:nvPr/>
        </p:nvSpPr>
        <p:spPr>
          <a:xfrm rot="12229585" flipV="1">
            <a:off x="3276430" y="2893937"/>
            <a:ext cx="443745" cy="185116"/>
          </a:xfrm>
          <a:prstGeom prst="rightArrow">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78">
              <a:buClr>
                <a:srgbClr val="000000"/>
              </a:buClr>
              <a:defRPr/>
            </a:pPr>
            <a:endParaRPr lang="en-US" sz="1500" kern="0" dirty="0">
              <a:solidFill>
                <a:srgbClr val="545859"/>
              </a:solidFill>
              <a:latin typeface="Gene Sans Light"/>
              <a:sym typeface="Arial"/>
            </a:endParaRPr>
          </a:p>
        </p:txBody>
      </p:sp>
      <p:sp>
        <p:nvSpPr>
          <p:cNvPr id="444" name="Shape6_20210830_095435"/>
          <p:cNvSpPr/>
          <p:nvPr/>
        </p:nvSpPr>
        <p:spPr>
          <a:xfrm rot="17259862" flipV="1">
            <a:off x="2266465" y="3305126"/>
            <a:ext cx="443745" cy="185116"/>
          </a:xfrm>
          <a:prstGeom prst="rightArrow">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78">
              <a:buClr>
                <a:srgbClr val="000000"/>
              </a:buClr>
              <a:defRPr/>
            </a:pPr>
            <a:endParaRPr lang="en-US" sz="1500" kern="0" dirty="0">
              <a:solidFill>
                <a:srgbClr val="545859"/>
              </a:solidFill>
              <a:latin typeface="Gene Sans Light"/>
              <a:sym typeface="Arial"/>
            </a:endParaRPr>
          </a:p>
        </p:txBody>
      </p:sp>
      <p:sp>
        <p:nvSpPr>
          <p:cNvPr id="445" name="Shape7_20210830_095435"/>
          <p:cNvSpPr/>
          <p:nvPr/>
        </p:nvSpPr>
        <p:spPr>
          <a:xfrm rot="14386301" flipV="1">
            <a:off x="3044168" y="3234155"/>
            <a:ext cx="443745" cy="185116"/>
          </a:xfrm>
          <a:prstGeom prst="rightArrow">
            <a:avLst/>
          </a:prstGeom>
          <a:solidFill>
            <a:schemeClr val="accent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78">
              <a:buClr>
                <a:srgbClr val="000000"/>
              </a:buClr>
              <a:defRPr/>
            </a:pPr>
            <a:endParaRPr lang="en-US" sz="1500" kern="0" dirty="0">
              <a:solidFill>
                <a:srgbClr val="545859"/>
              </a:solidFill>
              <a:latin typeface="Gene Sans Light"/>
              <a:sym typeface="Arial"/>
            </a:endParaRPr>
          </a:p>
        </p:txBody>
      </p:sp>
      <p:sp>
        <p:nvSpPr>
          <p:cNvPr id="449" name="TextBox 448"/>
          <p:cNvSpPr txBox="1"/>
          <p:nvPr/>
        </p:nvSpPr>
        <p:spPr>
          <a:xfrm>
            <a:off x="2378199" y="2345609"/>
            <a:ext cx="702436" cy="230832"/>
          </a:xfrm>
          <a:prstGeom prst="rect">
            <a:avLst/>
          </a:prstGeom>
          <a:noFill/>
        </p:spPr>
        <p:txBody>
          <a:bodyPr wrap="none" rtlCol="0">
            <a:spAutoFit/>
          </a:bodyPr>
          <a:lstStyle/>
          <a:p>
            <a:pPr defTabSz="914378">
              <a:buClr>
                <a:srgbClr val="000000"/>
              </a:buClr>
              <a:defRPr/>
            </a:pPr>
            <a:r>
              <a:rPr lang="en-US" sz="900" kern="0" dirty="0">
                <a:solidFill>
                  <a:srgbClr val="545859"/>
                </a:solidFill>
                <a:latin typeface="Gene Sans Light"/>
                <a:cs typeface="Arial" pitchFamily="34" charset="0"/>
                <a:sym typeface="Arial"/>
              </a:rPr>
              <a:t>Tumor cell</a:t>
            </a:r>
          </a:p>
        </p:txBody>
      </p:sp>
      <p:grpSp>
        <p:nvGrpSpPr>
          <p:cNvPr id="106" name="Group 105"/>
          <p:cNvGrpSpPr/>
          <p:nvPr/>
        </p:nvGrpSpPr>
        <p:grpSpPr>
          <a:xfrm rot="5400000">
            <a:off x="3063564" y="1337857"/>
            <a:ext cx="384103" cy="586334"/>
            <a:chOff x="1862487" y="3933449"/>
            <a:chExt cx="563950" cy="860872"/>
          </a:xfrm>
          <a:effectLst/>
        </p:grpSpPr>
        <p:sp>
          <p:nvSpPr>
            <p:cNvPr id="107" name="Freeform 18"/>
            <p:cNvSpPr>
              <a:spLocks/>
            </p:cNvSpPr>
            <p:nvPr/>
          </p:nvSpPr>
          <p:spPr bwMode="auto">
            <a:xfrm rot="3017802">
              <a:off x="1772556" y="4023380"/>
              <a:ext cx="373147" cy="193285"/>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FF0000"/>
            </a:solidFill>
            <a:ln>
              <a:noFill/>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109" name="Freeform 18"/>
            <p:cNvSpPr>
              <a:spLocks/>
            </p:cNvSpPr>
            <p:nvPr/>
          </p:nvSpPr>
          <p:spPr bwMode="auto">
            <a:xfrm rot="18000000">
              <a:off x="1826066" y="4511105"/>
              <a:ext cx="373147" cy="193285"/>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FF0000"/>
            </a:solidFill>
            <a:ln>
              <a:noFill/>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pic>
          <p:nvPicPr>
            <p:cNvPr id="110" name="Picture 10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21821">
              <a:off x="1943077" y="4112922"/>
              <a:ext cx="483359" cy="483360"/>
            </a:xfrm>
            <a:prstGeom prst="rect">
              <a:avLst/>
            </a:prstGeom>
            <a:effectLst/>
          </p:spPr>
        </p:pic>
      </p:grpSp>
      <p:sp>
        <p:nvSpPr>
          <p:cNvPr id="112" name="Freeform 18"/>
          <p:cNvSpPr>
            <a:spLocks/>
          </p:cNvSpPr>
          <p:nvPr/>
        </p:nvSpPr>
        <p:spPr bwMode="auto">
          <a:xfrm rot="12288241">
            <a:off x="4030897" y="2331878"/>
            <a:ext cx="254147" cy="131645"/>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113" name="Freeform 18"/>
          <p:cNvSpPr>
            <a:spLocks/>
          </p:cNvSpPr>
          <p:nvPr/>
        </p:nvSpPr>
        <p:spPr bwMode="auto">
          <a:xfrm rot="3965384">
            <a:off x="3800198" y="2045924"/>
            <a:ext cx="254148" cy="131645"/>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114" name="Freeform 18"/>
          <p:cNvSpPr>
            <a:spLocks/>
          </p:cNvSpPr>
          <p:nvPr/>
        </p:nvSpPr>
        <p:spPr bwMode="auto">
          <a:xfrm rot="8838191">
            <a:off x="4061925" y="2092546"/>
            <a:ext cx="254147" cy="131645"/>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pic>
        <p:nvPicPr>
          <p:cNvPr id="115" name="Picture 1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5590035">
            <a:off x="3859997" y="2108521"/>
            <a:ext cx="329213" cy="329213"/>
          </a:xfrm>
          <a:prstGeom prst="rect">
            <a:avLst/>
          </a:prstGeom>
          <a:effectLst/>
        </p:spPr>
      </p:pic>
      <p:sp>
        <p:nvSpPr>
          <p:cNvPr id="119" name="Rounded Rectangle 118"/>
          <p:cNvSpPr/>
          <p:nvPr/>
        </p:nvSpPr>
        <p:spPr bwMode="auto">
          <a:xfrm>
            <a:off x="381648" y="3876035"/>
            <a:ext cx="1094189" cy="703053"/>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r" defTabSz="914378">
              <a:buClr>
                <a:srgbClr val="000000"/>
              </a:buClr>
              <a:defRPr/>
            </a:pPr>
            <a:endParaRPr lang="en-US" sz="1500" kern="0" dirty="0">
              <a:solidFill>
                <a:srgbClr val="545859"/>
              </a:solidFill>
              <a:latin typeface="Gene Sans Light"/>
              <a:cs typeface="Arial" panose="020B0604020202020204" pitchFamily="34" charset="0"/>
              <a:sym typeface="Arial"/>
            </a:endParaRPr>
          </a:p>
        </p:txBody>
      </p:sp>
      <p:pic>
        <p:nvPicPr>
          <p:cNvPr id="121" name="Picture 1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4770" y="3924782"/>
            <a:ext cx="227936" cy="227937"/>
          </a:xfrm>
          <a:prstGeom prst="rect">
            <a:avLst/>
          </a:prstGeom>
          <a:effectLst/>
        </p:spPr>
      </p:pic>
      <p:sp>
        <p:nvSpPr>
          <p:cNvPr id="122" name="TextBox 121"/>
          <p:cNvSpPr txBox="1">
            <a:spLocks/>
          </p:cNvSpPr>
          <p:nvPr/>
        </p:nvSpPr>
        <p:spPr>
          <a:xfrm>
            <a:off x="733866" y="3944045"/>
            <a:ext cx="685919" cy="189412"/>
          </a:xfrm>
          <a:prstGeom prst="rect">
            <a:avLst/>
          </a:prstGeom>
          <a:noFill/>
        </p:spPr>
        <p:txBody>
          <a:bodyPr wrap="none" lIns="0" tIns="0" rIns="0" bIns="0" rtlCol="0" anchor="ctr">
            <a:noAutofit/>
          </a:bodyPr>
          <a:lstStyle/>
          <a:p>
            <a:pPr defTabSz="914378">
              <a:buClr>
                <a:srgbClr val="000000"/>
              </a:buClr>
              <a:defRPr/>
            </a:pPr>
            <a:r>
              <a:rPr lang="en-US" sz="800" kern="0" dirty="0">
                <a:solidFill>
                  <a:srgbClr val="545859"/>
                </a:solidFill>
                <a:latin typeface="Gene Sans Light"/>
                <a:cs typeface="Arial"/>
                <a:sym typeface="Arial"/>
              </a:rPr>
              <a:t>= CTL</a:t>
            </a:r>
            <a:endParaRPr lang="en-US" sz="800" kern="0" baseline="30000" dirty="0">
              <a:solidFill>
                <a:srgbClr val="545859"/>
              </a:solidFill>
              <a:latin typeface="Gene Sans Light"/>
              <a:cs typeface="Arial"/>
              <a:sym typeface="Arial"/>
            </a:endParaRPr>
          </a:p>
        </p:txBody>
      </p:sp>
      <p:sp>
        <p:nvSpPr>
          <p:cNvPr id="120" name="Freeform 18"/>
          <p:cNvSpPr>
            <a:spLocks/>
          </p:cNvSpPr>
          <p:nvPr/>
        </p:nvSpPr>
        <p:spPr bwMode="auto">
          <a:xfrm>
            <a:off x="450074" y="4192317"/>
            <a:ext cx="254147" cy="131645"/>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00B050"/>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123" name="TextBox 122"/>
          <p:cNvSpPr txBox="1">
            <a:spLocks/>
          </p:cNvSpPr>
          <p:nvPr/>
        </p:nvSpPr>
        <p:spPr>
          <a:xfrm>
            <a:off x="733866" y="4163433"/>
            <a:ext cx="685919" cy="189412"/>
          </a:xfrm>
          <a:prstGeom prst="rect">
            <a:avLst/>
          </a:prstGeom>
          <a:noFill/>
        </p:spPr>
        <p:txBody>
          <a:bodyPr wrap="none" lIns="0" tIns="0" rIns="0" bIns="0" rtlCol="0" anchor="ctr">
            <a:noAutofit/>
          </a:bodyPr>
          <a:lstStyle/>
          <a:p>
            <a:pPr defTabSz="914378">
              <a:buClr>
                <a:srgbClr val="000000"/>
              </a:buClr>
              <a:defRPr/>
            </a:pPr>
            <a:r>
              <a:rPr lang="en-US" sz="800" kern="0" dirty="0">
                <a:solidFill>
                  <a:srgbClr val="545859"/>
                </a:solidFill>
                <a:latin typeface="Gene Sans Light"/>
                <a:cs typeface="Arial"/>
                <a:sym typeface="Arial"/>
              </a:rPr>
              <a:t>= Stimulator</a:t>
            </a:r>
            <a:endParaRPr lang="en-US" sz="800" kern="0" baseline="30000" dirty="0">
              <a:solidFill>
                <a:srgbClr val="545859"/>
              </a:solidFill>
              <a:latin typeface="Gene Sans Light"/>
              <a:cs typeface="Arial"/>
              <a:sym typeface="Arial"/>
            </a:endParaRPr>
          </a:p>
        </p:txBody>
      </p:sp>
      <p:sp>
        <p:nvSpPr>
          <p:cNvPr id="124" name="TextBox 123"/>
          <p:cNvSpPr txBox="1">
            <a:spLocks/>
          </p:cNvSpPr>
          <p:nvPr/>
        </p:nvSpPr>
        <p:spPr>
          <a:xfrm>
            <a:off x="733866" y="4363559"/>
            <a:ext cx="685919" cy="189412"/>
          </a:xfrm>
          <a:prstGeom prst="rect">
            <a:avLst/>
          </a:prstGeom>
          <a:noFill/>
        </p:spPr>
        <p:txBody>
          <a:bodyPr wrap="none" lIns="0" tIns="0" rIns="0" bIns="0" rtlCol="0" anchor="ctr">
            <a:noAutofit/>
          </a:bodyPr>
          <a:lstStyle/>
          <a:p>
            <a:pPr defTabSz="914378">
              <a:buClr>
                <a:srgbClr val="000000"/>
              </a:buClr>
              <a:defRPr/>
            </a:pPr>
            <a:r>
              <a:rPr lang="en-US" sz="800" kern="0">
                <a:solidFill>
                  <a:srgbClr val="545859"/>
                </a:solidFill>
                <a:latin typeface="Gene Sans Light"/>
                <a:cs typeface="Arial"/>
                <a:sym typeface="Arial"/>
              </a:rPr>
              <a:t>= Inhibitor</a:t>
            </a:r>
            <a:endParaRPr lang="en-US" sz="800" kern="0" baseline="30000" dirty="0">
              <a:solidFill>
                <a:srgbClr val="545859"/>
              </a:solidFill>
              <a:latin typeface="Gene Sans Light"/>
              <a:cs typeface="Arial"/>
              <a:sym typeface="Arial"/>
            </a:endParaRPr>
          </a:p>
        </p:txBody>
      </p:sp>
      <p:sp>
        <p:nvSpPr>
          <p:cNvPr id="125" name="Freeform 18"/>
          <p:cNvSpPr>
            <a:spLocks/>
          </p:cNvSpPr>
          <p:nvPr/>
        </p:nvSpPr>
        <p:spPr bwMode="auto">
          <a:xfrm>
            <a:off x="450074" y="4392443"/>
            <a:ext cx="254147" cy="131645"/>
          </a:xfrm>
          <a:custGeom>
            <a:avLst/>
            <a:gdLst>
              <a:gd name="T0" fmla="*/ 118 w 118"/>
              <a:gd name="T1" fmla="*/ 24 h 61"/>
              <a:gd name="T2" fmla="*/ 36 w 118"/>
              <a:gd name="T3" fmla="*/ 24 h 61"/>
              <a:gd name="T4" fmla="*/ 7 w 118"/>
              <a:gd name="T5" fmla="*/ 0 h 61"/>
              <a:gd name="T6" fmla="*/ 0 w 118"/>
              <a:gd name="T7" fmla="*/ 7 h 61"/>
              <a:gd name="T8" fmla="*/ 7 w 118"/>
              <a:gd name="T9" fmla="*/ 14 h 61"/>
              <a:gd name="T10" fmla="*/ 23 w 118"/>
              <a:gd name="T11" fmla="*/ 31 h 61"/>
              <a:gd name="T12" fmla="*/ 7 w 118"/>
              <a:gd name="T13" fmla="*/ 47 h 61"/>
              <a:gd name="T14" fmla="*/ 0 w 118"/>
              <a:gd name="T15" fmla="*/ 54 h 61"/>
              <a:gd name="T16" fmla="*/ 7 w 118"/>
              <a:gd name="T17" fmla="*/ 61 h 61"/>
              <a:gd name="T18" fmla="*/ 36 w 118"/>
              <a:gd name="T19" fmla="*/ 37 h 61"/>
              <a:gd name="T20" fmla="*/ 118 w 118"/>
              <a:gd name="T21" fmla="*/ 37 h 61"/>
              <a:gd name="T22" fmla="*/ 118 w 118"/>
              <a:gd name="T23" fmla="*/ 2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61">
                <a:moveTo>
                  <a:pt x="118" y="24"/>
                </a:moveTo>
                <a:cubicBezTo>
                  <a:pt x="36" y="24"/>
                  <a:pt x="36" y="24"/>
                  <a:pt x="36" y="24"/>
                </a:cubicBezTo>
                <a:cubicBezTo>
                  <a:pt x="33" y="11"/>
                  <a:pt x="21" y="0"/>
                  <a:pt x="7" y="0"/>
                </a:cubicBezTo>
                <a:cubicBezTo>
                  <a:pt x="3" y="0"/>
                  <a:pt x="0" y="4"/>
                  <a:pt x="0" y="7"/>
                </a:cubicBezTo>
                <a:cubicBezTo>
                  <a:pt x="0" y="11"/>
                  <a:pt x="3" y="14"/>
                  <a:pt x="7" y="14"/>
                </a:cubicBezTo>
                <a:cubicBezTo>
                  <a:pt x="16" y="14"/>
                  <a:pt x="23" y="22"/>
                  <a:pt x="23" y="31"/>
                </a:cubicBezTo>
                <a:cubicBezTo>
                  <a:pt x="23" y="40"/>
                  <a:pt x="16" y="47"/>
                  <a:pt x="7" y="47"/>
                </a:cubicBezTo>
                <a:cubicBezTo>
                  <a:pt x="3" y="47"/>
                  <a:pt x="0" y="50"/>
                  <a:pt x="0" y="54"/>
                </a:cubicBezTo>
                <a:cubicBezTo>
                  <a:pt x="0" y="58"/>
                  <a:pt x="3" y="61"/>
                  <a:pt x="7" y="61"/>
                </a:cubicBezTo>
                <a:cubicBezTo>
                  <a:pt x="21" y="61"/>
                  <a:pt x="33" y="51"/>
                  <a:pt x="36" y="37"/>
                </a:cubicBezTo>
                <a:cubicBezTo>
                  <a:pt x="118" y="37"/>
                  <a:pt x="118" y="37"/>
                  <a:pt x="118" y="37"/>
                </a:cubicBezTo>
                <a:lnTo>
                  <a:pt x="118" y="24"/>
                </a:lnTo>
                <a:close/>
              </a:path>
            </a:pathLst>
          </a:custGeom>
          <a:solidFill>
            <a:srgbClr val="FF0000"/>
          </a:solidFill>
          <a:ln>
            <a:noFill/>
          </a:ln>
          <a:effectLst/>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126" name="TextBox 125"/>
          <p:cNvSpPr txBox="1"/>
          <p:nvPr/>
        </p:nvSpPr>
        <p:spPr>
          <a:xfrm>
            <a:off x="631184" y="2209054"/>
            <a:ext cx="1428445" cy="484748"/>
          </a:xfrm>
          <a:prstGeom prst="rect">
            <a:avLst/>
          </a:prstGeom>
          <a:noFill/>
        </p:spPr>
        <p:txBody>
          <a:bodyPr wrap="square" rtlCol="0">
            <a:spAutoFit/>
          </a:bodyPr>
          <a:lstStyle/>
          <a:p>
            <a:pPr defTabSz="914378">
              <a:buClr>
                <a:srgbClr val="000000"/>
              </a:buClr>
              <a:defRPr/>
            </a:pPr>
            <a:r>
              <a:rPr lang="en-US" sz="900" kern="0" dirty="0">
                <a:solidFill>
                  <a:srgbClr val="545859"/>
                </a:solidFill>
                <a:latin typeface="Gene Sans Light"/>
                <a:cs typeface="Arial"/>
                <a:sym typeface="Arial"/>
              </a:rPr>
              <a:t>Cytokines </a:t>
            </a:r>
          </a:p>
          <a:p>
            <a:pPr defTabSz="914378">
              <a:buClr>
                <a:srgbClr val="000000"/>
              </a:buClr>
              <a:defRPr/>
            </a:pPr>
            <a:r>
              <a:rPr lang="en-US" sz="825" kern="0" dirty="0">
                <a:solidFill>
                  <a:srgbClr val="545859"/>
                </a:solidFill>
                <a:latin typeface="Gene Sans Light"/>
                <a:cs typeface="Arial"/>
                <a:sym typeface="Arial"/>
              </a:rPr>
              <a:t>(e.g., IL-2, IFN, and IL-21; may act through APCs)</a:t>
            </a:r>
            <a:r>
              <a:rPr lang="en-US" sz="825" kern="0" baseline="30000" dirty="0">
                <a:solidFill>
                  <a:srgbClr val="545859"/>
                </a:solidFill>
                <a:latin typeface="Gene Sans Light"/>
                <a:cs typeface="Arial"/>
                <a:sym typeface="Arial"/>
              </a:rPr>
              <a:t>2,3</a:t>
            </a:r>
          </a:p>
        </p:txBody>
      </p:sp>
      <p:pic>
        <p:nvPicPr>
          <p:cNvPr id="138" name="Picture 13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2803307">
            <a:off x="2198083" y="3659700"/>
            <a:ext cx="385908" cy="385908"/>
          </a:xfrm>
          <a:prstGeom prst="rect">
            <a:avLst/>
          </a:prstGeom>
          <a:effectLst/>
        </p:spPr>
      </p:pic>
      <p:grpSp>
        <p:nvGrpSpPr>
          <p:cNvPr id="139" name="Group 175"/>
          <p:cNvGrpSpPr>
            <a:grpSpLocks noChangeAspect="1"/>
          </p:cNvGrpSpPr>
          <p:nvPr/>
        </p:nvGrpSpPr>
        <p:grpSpPr>
          <a:xfrm rot="16832612">
            <a:off x="2563282" y="3665202"/>
            <a:ext cx="235478" cy="218441"/>
            <a:chOff x="8690364" y="2184970"/>
            <a:chExt cx="297770" cy="276225"/>
          </a:xfrm>
        </p:grpSpPr>
        <p:sp>
          <p:nvSpPr>
            <p:cNvPr id="140" name="Freeform 5"/>
            <p:cNvSpPr>
              <a:spLocks/>
            </p:cNvSpPr>
            <p:nvPr/>
          </p:nvSpPr>
          <p:spPr bwMode="auto">
            <a:xfrm rot="6918353">
              <a:off x="8686858" y="2223649"/>
              <a:ext cx="215900" cy="198438"/>
            </a:xfrm>
            <a:custGeom>
              <a:avLst/>
              <a:gdLst/>
              <a:ahLst/>
              <a:cxnLst>
                <a:cxn ang="0">
                  <a:pos x="0" y="125"/>
                </a:cxn>
                <a:cxn ang="0">
                  <a:pos x="43" y="44"/>
                </a:cxn>
                <a:cxn ang="0">
                  <a:pos x="136" y="0"/>
                </a:cxn>
              </a:cxnLst>
              <a:rect l="0" t="0" r="r" b="b"/>
              <a:pathLst>
                <a:path w="136" h="125">
                  <a:moveTo>
                    <a:pt x="0" y="125"/>
                  </a:moveTo>
                  <a:lnTo>
                    <a:pt x="43" y="44"/>
                  </a:lnTo>
                  <a:lnTo>
                    <a:pt x="136" y="0"/>
                  </a:lnTo>
                </a:path>
              </a:pathLst>
            </a:cu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141" name="Line 6"/>
            <p:cNvSpPr>
              <a:spLocks noChangeShapeType="1"/>
            </p:cNvSpPr>
            <p:nvPr/>
          </p:nvSpPr>
          <p:spPr bwMode="auto">
            <a:xfrm rot="6918353" flipV="1">
              <a:off x="8717351" y="2207513"/>
              <a:ext cx="60325" cy="114300"/>
            </a:xfrm>
            <a:prstGeom prst="line">
              <a:avLst/>
            </a:pr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142" name="Freeform 7"/>
            <p:cNvSpPr>
              <a:spLocks/>
            </p:cNvSpPr>
            <p:nvPr/>
          </p:nvSpPr>
          <p:spPr bwMode="auto">
            <a:xfrm rot="6918353">
              <a:off x="8777552" y="2288158"/>
              <a:ext cx="276225" cy="69850"/>
            </a:xfrm>
            <a:custGeom>
              <a:avLst/>
              <a:gdLst/>
              <a:ahLst/>
              <a:cxnLst>
                <a:cxn ang="0">
                  <a:pos x="0" y="21"/>
                </a:cxn>
                <a:cxn ang="0">
                  <a:pos x="81" y="44"/>
                </a:cxn>
                <a:cxn ang="0">
                  <a:pos x="174" y="0"/>
                </a:cxn>
              </a:cxnLst>
              <a:rect l="0" t="0" r="r" b="b"/>
              <a:pathLst>
                <a:path w="174" h="44">
                  <a:moveTo>
                    <a:pt x="0" y="21"/>
                  </a:moveTo>
                  <a:lnTo>
                    <a:pt x="81" y="44"/>
                  </a:lnTo>
                  <a:lnTo>
                    <a:pt x="174" y="0"/>
                  </a:lnTo>
                </a:path>
              </a:pathLst>
            </a:cu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sp>
          <p:nvSpPr>
            <p:cNvPr id="143" name="Line 8"/>
            <p:cNvSpPr>
              <a:spLocks noChangeShapeType="1"/>
            </p:cNvSpPr>
            <p:nvPr/>
          </p:nvSpPr>
          <p:spPr bwMode="auto">
            <a:xfrm rot="6918353">
              <a:off x="8914315" y="2261703"/>
              <a:ext cx="112713" cy="34925"/>
            </a:xfrm>
            <a:prstGeom prst="line">
              <a:avLst/>
            </a:prstGeom>
            <a:noFill/>
            <a:ln w="19050" cap="rnd">
              <a:solidFill>
                <a:srgbClr val="C00000"/>
              </a:solidFill>
              <a:prstDash val="solid"/>
              <a:round/>
              <a:headEnd/>
              <a:tailEnd/>
            </a:ln>
          </p:spPr>
          <p:txBody>
            <a:bodyPr vert="horz" wrap="square" lIns="68580" tIns="34290" rIns="68580" bIns="34290" numCol="1" anchor="t" anchorCtr="0" compatLnSpc="1">
              <a:prstTxWarp prst="textNoShape">
                <a:avLst/>
              </a:prstTxWarp>
            </a:bodyPr>
            <a:lstStyle/>
            <a:p>
              <a:pPr defTabSz="914378">
                <a:buClr>
                  <a:srgbClr val="000000"/>
                </a:buClr>
                <a:defRPr/>
              </a:pPr>
              <a:endParaRPr lang="en-US" sz="1500" kern="0" dirty="0">
                <a:solidFill>
                  <a:srgbClr val="545859"/>
                </a:solidFill>
                <a:latin typeface="Gene Sans Light"/>
                <a:cs typeface="Arial"/>
                <a:sym typeface="Arial"/>
              </a:endParaRPr>
            </a:p>
          </p:txBody>
        </p:sp>
      </p:grpSp>
      <p:sp>
        <p:nvSpPr>
          <p:cNvPr id="134" name="Oval 133"/>
          <p:cNvSpPr/>
          <p:nvPr/>
        </p:nvSpPr>
        <p:spPr>
          <a:xfrm>
            <a:off x="1860185" y="2854987"/>
            <a:ext cx="166081" cy="166081"/>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78">
              <a:buClr>
                <a:srgbClr val="000000"/>
              </a:buClr>
              <a:defRPr/>
            </a:pPr>
            <a:r>
              <a:rPr lang="en-US" sz="800" kern="0" dirty="0">
                <a:solidFill>
                  <a:srgbClr val="FFFFFF"/>
                </a:solidFill>
                <a:latin typeface="Gene Sans Light"/>
                <a:sym typeface="Arial"/>
              </a:rPr>
              <a:t>8</a:t>
            </a:r>
          </a:p>
        </p:txBody>
      </p:sp>
      <p:sp>
        <p:nvSpPr>
          <p:cNvPr id="127" name="Oval 126"/>
          <p:cNvSpPr/>
          <p:nvPr/>
        </p:nvSpPr>
        <p:spPr>
          <a:xfrm>
            <a:off x="1893547" y="2162402"/>
            <a:ext cx="166081" cy="166081"/>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78">
              <a:buClr>
                <a:srgbClr val="000000"/>
              </a:buClr>
              <a:defRPr/>
            </a:pPr>
            <a:r>
              <a:rPr lang="en-US" sz="800" kern="0" dirty="0">
                <a:solidFill>
                  <a:srgbClr val="FFFFFF"/>
                </a:solidFill>
                <a:latin typeface="Gene Sans Light"/>
                <a:sym typeface="Arial"/>
              </a:rPr>
              <a:t>1</a:t>
            </a:r>
          </a:p>
        </p:txBody>
      </p:sp>
      <p:sp>
        <p:nvSpPr>
          <p:cNvPr id="129" name="Oval 128"/>
          <p:cNvSpPr/>
          <p:nvPr/>
        </p:nvSpPr>
        <p:spPr>
          <a:xfrm>
            <a:off x="3008986" y="1880838"/>
            <a:ext cx="166081" cy="166081"/>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78">
              <a:buClr>
                <a:srgbClr val="000000"/>
              </a:buClr>
              <a:defRPr/>
            </a:pPr>
            <a:r>
              <a:rPr lang="en-US" sz="800" kern="0" dirty="0">
                <a:solidFill>
                  <a:srgbClr val="FFFFFF"/>
                </a:solidFill>
                <a:latin typeface="Gene Sans Light"/>
                <a:sym typeface="Arial"/>
              </a:rPr>
              <a:t>3</a:t>
            </a:r>
          </a:p>
        </p:txBody>
      </p:sp>
      <p:sp>
        <p:nvSpPr>
          <p:cNvPr id="130" name="Oval 129"/>
          <p:cNvSpPr/>
          <p:nvPr/>
        </p:nvSpPr>
        <p:spPr>
          <a:xfrm>
            <a:off x="3461457" y="2262570"/>
            <a:ext cx="166081" cy="166081"/>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78">
              <a:buClr>
                <a:srgbClr val="000000"/>
              </a:buClr>
              <a:defRPr/>
            </a:pPr>
            <a:r>
              <a:rPr lang="en-US" sz="800" kern="0" dirty="0">
                <a:solidFill>
                  <a:srgbClr val="FFFFFF"/>
                </a:solidFill>
                <a:latin typeface="Gene Sans Light"/>
                <a:sym typeface="Arial"/>
              </a:rPr>
              <a:t>4</a:t>
            </a:r>
          </a:p>
        </p:txBody>
      </p:sp>
      <p:sp>
        <p:nvSpPr>
          <p:cNvPr id="131" name="Oval 130"/>
          <p:cNvSpPr/>
          <p:nvPr/>
        </p:nvSpPr>
        <p:spPr>
          <a:xfrm>
            <a:off x="3437980" y="2911446"/>
            <a:ext cx="166081" cy="166081"/>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78">
              <a:buClr>
                <a:srgbClr val="000000"/>
              </a:buClr>
              <a:defRPr/>
            </a:pPr>
            <a:r>
              <a:rPr lang="en-US" sz="800" kern="0" dirty="0">
                <a:solidFill>
                  <a:srgbClr val="FFFFFF"/>
                </a:solidFill>
                <a:latin typeface="Gene Sans Light"/>
                <a:sym typeface="Arial"/>
              </a:rPr>
              <a:t>5</a:t>
            </a:r>
          </a:p>
        </p:txBody>
      </p:sp>
      <p:sp>
        <p:nvSpPr>
          <p:cNvPr id="132" name="Oval 131"/>
          <p:cNvSpPr/>
          <p:nvPr/>
        </p:nvSpPr>
        <p:spPr>
          <a:xfrm>
            <a:off x="3188117" y="3251595"/>
            <a:ext cx="166081" cy="166081"/>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78">
              <a:buClr>
                <a:srgbClr val="000000"/>
              </a:buClr>
              <a:defRPr/>
            </a:pPr>
            <a:r>
              <a:rPr lang="en-US" sz="800" kern="0" dirty="0">
                <a:solidFill>
                  <a:srgbClr val="FFFFFF"/>
                </a:solidFill>
                <a:latin typeface="Gene Sans Light"/>
                <a:sym typeface="Arial"/>
              </a:rPr>
              <a:t>6</a:t>
            </a:r>
          </a:p>
        </p:txBody>
      </p:sp>
      <p:sp>
        <p:nvSpPr>
          <p:cNvPr id="133" name="Oval 132"/>
          <p:cNvSpPr/>
          <p:nvPr/>
        </p:nvSpPr>
        <p:spPr>
          <a:xfrm>
            <a:off x="2410385" y="3357179"/>
            <a:ext cx="166081" cy="166081"/>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78">
              <a:buClr>
                <a:srgbClr val="000000"/>
              </a:buClr>
              <a:defRPr/>
            </a:pPr>
            <a:r>
              <a:rPr lang="en-US" sz="800" kern="0" dirty="0">
                <a:solidFill>
                  <a:srgbClr val="FFFFFF"/>
                </a:solidFill>
                <a:latin typeface="Gene Sans Light"/>
                <a:sym typeface="Arial"/>
              </a:rPr>
              <a:t>7</a:t>
            </a:r>
          </a:p>
        </p:txBody>
      </p:sp>
      <p:sp>
        <p:nvSpPr>
          <p:cNvPr id="152" name="Oval 151"/>
          <p:cNvSpPr/>
          <p:nvPr/>
        </p:nvSpPr>
        <p:spPr>
          <a:xfrm>
            <a:off x="2280094" y="1876192"/>
            <a:ext cx="166081" cy="166081"/>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78">
              <a:buClr>
                <a:srgbClr val="000000"/>
              </a:buClr>
              <a:defRPr/>
            </a:pPr>
            <a:r>
              <a:rPr lang="en-US" sz="800" kern="0" dirty="0">
                <a:solidFill>
                  <a:srgbClr val="FFFFFF"/>
                </a:solidFill>
                <a:latin typeface="Gene Sans Light"/>
                <a:sym typeface="Arial"/>
              </a:rPr>
              <a:t>2</a:t>
            </a:r>
          </a:p>
        </p:txBody>
      </p:sp>
      <p:grpSp>
        <p:nvGrpSpPr>
          <p:cNvPr id="116" name="Google Shape;342;p4">
            <a:extLst>
              <a:ext uri="{FF2B5EF4-FFF2-40B4-BE49-F238E27FC236}">
                <a16:creationId xmlns:a16="http://schemas.microsoft.com/office/drawing/2014/main" id="{49825179-B44E-4BA8-A1D9-32A66AE45BEE}"/>
              </a:ext>
            </a:extLst>
          </p:cNvPr>
          <p:cNvGrpSpPr/>
          <p:nvPr/>
        </p:nvGrpSpPr>
        <p:grpSpPr>
          <a:xfrm>
            <a:off x="8849668" y="55416"/>
            <a:ext cx="238916" cy="228628"/>
            <a:chOff x="11619274" y="118751"/>
            <a:chExt cx="432689" cy="414056"/>
          </a:xfrm>
        </p:grpSpPr>
        <p:sp>
          <p:nvSpPr>
            <p:cNvPr id="117" name="Google Shape;343;p4">
              <a:hlinkClick r:id="rId9" action="ppaction://hlinksldjump"/>
              <a:extLst>
                <a:ext uri="{FF2B5EF4-FFF2-40B4-BE49-F238E27FC236}">
                  <a16:creationId xmlns:a16="http://schemas.microsoft.com/office/drawing/2014/main" id="{D4DAA334-EB66-4FBA-94F2-DCEB5D8BB3BE}"/>
                </a:ext>
              </a:extLst>
            </p:cNvPr>
            <p:cNvSpPr/>
            <p:nvPr/>
          </p:nvSpPr>
          <p:spPr>
            <a:xfrm>
              <a:off x="11619274" y="118751"/>
              <a:ext cx="432689" cy="414056"/>
            </a:xfrm>
            <a:prstGeom prst="roundRect">
              <a:avLst>
                <a:gd name="adj" fmla="val 16667"/>
              </a:avLst>
            </a:prstGeom>
            <a:solidFill>
              <a:schemeClr val="accent2"/>
            </a:solidFill>
            <a:ln>
              <a:noFill/>
            </a:ln>
          </p:spPr>
          <p:txBody>
            <a:bodyPr spcFirstLastPara="1" wrap="square" lIns="68550" tIns="34275" rIns="68550" bIns="34275" anchor="ctr" anchorCtr="0">
              <a:noAutofit/>
            </a:bodyPr>
            <a:lstStyle/>
            <a:p>
              <a:pPr algn="ctr" defTabSz="914378">
                <a:buClr>
                  <a:srgbClr val="000000"/>
                </a:buClr>
              </a:pPr>
              <a:endParaRPr lang="en-US" sz="825" kern="0" dirty="0">
                <a:solidFill>
                  <a:srgbClr val="FFFFFF"/>
                </a:solidFill>
                <a:latin typeface="Arial"/>
                <a:ea typeface="Arial"/>
                <a:cs typeface="Arial"/>
                <a:sym typeface="Arial"/>
              </a:endParaRPr>
            </a:p>
          </p:txBody>
        </p:sp>
        <p:pic>
          <p:nvPicPr>
            <p:cNvPr id="118" name="Google Shape;344;p4">
              <a:hlinkClick r:id="rId9" action="ppaction://hlinksldjump"/>
              <a:extLst>
                <a:ext uri="{FF2B5EF4-FFF2-40B4-BE49-F238E27FC236}">
                  <a16:creationId xmlns:a16="http://schemas.microsoft.com/office/drawing/2014/main" id="{E12C47C4-698F-482C-B47C-A979FA30A104}"/>
                </a:ext>
              </a:extLst>
            </p:cNvPr>
            <p:cNvPicPr preferRelativeResize="0"/>
            <p:nvPr/>
          </p:nvPicPr>
          <p:blipFill rotWithShape="1">
            <a:blip r:embed="rId10">
              <a:alphaModFix/>
            </a:blip>
            <a:srcRect/>
            <a:stretch/>
          </p:blipFill>
          <p:spPr>
            <a:xfrm>
              <a:off x="11681971" y="162551"/>
              <a:ext cx="307293" cy="307293"/>
            </a:xfrm>
            <a:prstGeom prst="rect">
              <a:avLst/>
            </a:prstGeom>
            <a:noFill/>
            <a:ln>
              <a:noFill/>
            </a:ln>
          </p:spPr>
        </p:pic>
      </p:grpSp>
    </p:spTree>
    <p:extLst>
      <p:ext uri="{BB962C8B-B14F-4D97-AF65-F5344CB8AC3E}">
        <p14:creationId xmlns:p14="http://schemas.microsoft.com/office/powerpoint/2010/main" val="1513988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ancer Immunity Cycle</a:t>
            </a:r>
          </a:p>
        </p:txBody>
      </p:sp>
      <p:sp>
        <p:nvSpPr>
          <p:cNvPr id="3" name="Text Placeholder 2">
            <a:extLst>
              <a:ext uri="{FF2B5EF4-FFF2-40B4-BE49-F238E27FC236}">
                <a16:creationId xmlns:a16="http://schemas.microsoft.com/office/drawing/2014/main" id="{3633F728-5577-4D49-A010-A029196684C5}"/>
              </a:ext>
            </a:extLst>
          </p:cNvPr>
          <p:cNvSpPr>
            <a:spLocks noGrp="1"/>
          </p:cNvSpPr>
          <p:nvPr>
            <p:ph type="body" idx="1"/>
          </p:nvPr>
        </p:nvSpPr>
        <p:spPr/>
        <p:txBody>
          <a:bodyPr/>
          <a:lstStyle/>
          <a:p>
            <a:endParaRPr lang="en-IN"/>
          </a:p>
        </p:txBody>
      </p:sp>
      <p:grpSp>
        <p:nvGrpSpPr>
          <p:cNvPr id="4" name="Google Shape;342;p4">
            <a:extLst>
              <a:ext uri="{FF2B5EF4-FFF2-40B4-BE49-F238E27FC236}">
                <a16:creationId xmlns:a16="http://schemas.microsoft.com/office/drawing/2014/main" id="{B4486A78-04F9-47AA-A584-07163EE5CC2F}"/>
              </a:ext>
            </a:extLst>
          </p:cNvPr>
          <p:cNvGrpSpPr/>
          <p:nvPr/>
        </p:nvGrpSpPr>
        <p:grpSpPr>
          <a:xfrm>
            <a:off x="8849668" y="55416"/>
            <a:ext cx="238916" cy="228628"/>
            <a:chOff x="11619274" y="118751"/>
            <a:chExt cx="432689" cy="414056"/>
          </a:xfrm>
        </p:grpSpPr>
        <p:sp>
          <p:nvSpPr>
            <p:cNvPr id="5" name="Google Shape;343;p4">
              <a:hlinkClick r:id="rId3" action="ppaction://hlinksldjump"/>
              <a:extLst>
                <a:ext uri="{FF2B5EF4-FFF2-40B4-BE49-F238E27FC236}">
                  <a16:creationId xmlns:a16="http://schemas.microsoft.com/office/drawing/2014/main" id="{D7534145-0FAD-47E8-B1A7-A9EEE54CDE32}"/>
                </a:ext>
              </a:extLst>
            </p:cNvPr>
            <p:cNvSpPr/>
            <p:nvPr/>
          </p:nvSpPr>
          <p:spPr>
            <a:xfrm>
              <a:off x="11619274" y="118751"/>
              <a:ext cx="432689" cy="414056"/>
            </a:xfrm>
            <a:prstGeom prst="roundRect">
              <a:avLst>
                <a:gd name="adj" fmla="val 16667"/>
              </a:avLst>
            </a:prstGeom>
            <a:solidFill>
              <a:schemeClr val="accent2"/>
            </a:solidFill>
            <a:ln>
              <a:noFill/>
            </a:ln>
          </p:spPr>
          <p:txBody>
            <a:bodyPr spcFirstLastPara="1" wrap="square" lIns="68550" tIns="34275" rIns="68550" bIns="34275" anchor="ctr" anchorCtr="0">
              <a:noAutofit/>
            </a:bodyPr>
            <a:lstStyle/>
            <a:p>
              <a:pPr algn="ctr" defTabSz="914378">
                <a:buClr>
                  <a:srgbClr val="000000"/>
                </a:buClr>
              </a:pPr>
              <a:endParaRPr lang="en-US" sz="825" kern="0" dirty="0">
                <a:solidFill>
                  <a:srgbClr val="FFFFFF"/>
                </a:solidFill>
                <a:latin typeface="Arial"/>
                <a:ea typeface="Arial"/>
                <a:cs typeface="Arial"/>
                <a:sym typeface="Arial"/>
              </a:endParaRPr>
            </a:p>
          </p:txBody>
        </p:sp>
        <p:pic>
          <p:nvPicPr>
            <p:cNvPr id="6" name="Google Shape;344;p4">
              <a:hlinkClick r:id="rId3" action="ppaction://hlinksldjump"/>
              <a:extLst>
                <a:ext uri="{FF2B5EF4-FFF2-40B4-BE49-F238E27FC236}">
                  <a16:creationId xmlns:a16="http://schemas.microsoft.com/office/drawing/2014/main" id="{8E74560A-31E6-4090-981D-473CCB79E802}"/>
                </a:ext>
              </a:extLst>
            </p:cNvPr>
            <p:cNvPicPr preferRelativeResize="0"/>
            <p:nvPr/>
          </p:nvPicPr>
          <p:blipFill rotWithShape="1">
            <a:blip r:embed="rId4">
              <a:alphaModFix/>
            </a:blip>
            <a:srcRect/>
            <a:stretch/>
          </p:blipFill>
          <p:spPr>
            <a:xfrm>
              <a:off x="11681971" y="162551"/>
              <a:ext cx="307293" cy="307293"/>
            </a:xfrm>
            <a:prstGeom prst="rect">
              <a:avLst/>
            </a:prstGeom>
            <a:noFill/>
            <a:ln>
              <a:noFill/>
            </a:ln>
          </p:spPr>
        </p:pic>
      </p:grpSp>
    </p:spTree>
    <p:extLst>
      <p:ext uri="{BB962C8B-B14F-4D97-AF65-F5344CB8AC3E}">
        <p14:creationId xmlns:p14="http://schemas.microsoft.com/office/powerpoint/2010/main" val="2004123974"/>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44A739C6-19FA-4F88-A7B3-70CAFFEF30FB}"/>
              </a:ext>
            </a:extLst>
          </p:cNvPr>
          <p:cNvSpPr>
            <a:spLocks noGrp="1"/>
          </p:cNvSpPr>
          <p:nvPr>
            <p:ph type="body" idx="2"/>
          </p:nvPr>
        </p:nvSpPr>
        <p:spPr/>
        <p:txBody>
          <a:bodyPr/>
          <a:lstStyle/>
          <a:p>
            <a:r>
              <a:rPr lang="en-US" dirty="0"/>
              <a:t>Cancer Immunity Cycle</a:t>
            </a:r>
          </a:p>
        </p:txBody>
      </p:sp>
      <p:sp>
        <p:nvSpPr>
          <p:cNvPr id="19" name="Text Placeholder 18">
            <a:extLst>
              <a:ext uri="{FF2B5EF4-FFF2-40B4-BE49-F238E27FC236}">
                <a16:creationId xmlns:a16="http://schemas.microsoft.com/office/drawing/2014/main" id="{16A20747-AAE8-474D-B45C-034F07E788E3}"/>
              </a:ext>
            </a:extLst>
          </p:cNvPr>
          <p:cNvSpPr>
            <a:spLocks noGrp="1"/>
          </p:cNvSpPr>
          <p:nvPr>
            <p:ph type="body" idx="3"/>
          </p:nvPr>
        </p:nvSpPr>
        <p:spPr/>
        <p:txBody>
          <a:bodyPr/>
          <a:lstStyle/>
          <a:p>
            <a:r>
              <a:rPr lang="en-US" altLang="zh-CN" dirty="0"/>
              <a:t>APC, antigen-presenting cell; CTL, cytotoxic T lymphocyte. </a:t>
            </a:r>
            <a:r>
              <a:rPr lang="en-US" altLang="en-US" dirty="0"/>
              <a:t>Chen DS, </a:t>
            </a:r>
            <a:r>
              <a:rPr lang="en-US" altLang="en-US" dirty="0" err="1"/>
              <a:t>Mellman</a:t>
            </a:r>
            <a:r>
              <a:rPr lang="en-US" altLang="en-US" dirty="0"/>
              <a:t> I. </a:t>
            </a:r>
            <a:r>
              <a:rPr lang="en-US" altLang="en-US" i="1" dirty="0"/>
              <a:t>Immunity. </a:t>
            </a:r>
            <a:r>
              <a:rPr lang="en-US" altLang="en-US" dirty="0"/>
              <a:t>2013;39:1-10.</a:t>
            </a:r>
          </a:p>
        </p:txBody>
      </p:sp>
      <p:sp>
        <p:nvSpPr>
          <p:cNvPr id="2" name="Title 1"/>
          <p:cNvSpPr>
            <a:spLocks noGrp="1"/>
          </p:cNvSpPr>
          <p:nvPr>
            <p:ph type="title"/>
          </p:nvPr>
        </p:nvSpPr>
        <p:spPr/>
        <p:txBody>
          <a:bodyPr/>
          <a:lstStyle/>
          <a:p>
            <a:r>
              <a:rPr lang="en-US" dirty="0"/>
              <a:t>Overview</a:t>
            </a:r>
          </a:p>
        </p:txBody>
      </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6082" t="1482" r="19794" b="910"/>
          <a:stretch/>
        </p:blipFill>
        <p:spPr bwMode="auto">
          <a:xfrm>
            <a:off x="2483754" y="1871330"/>
            <a:ext cx="4180838" cy="2770980"/>
          </a:xfrm>
          <a:prstGeom prst="roundRect">
            <a:avLst>
              <a:gd name="adj" fmla="val 5024"/>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Content Placeholder 2">
            <a:extLst>
              <a:ext uri="{FF2B5EF4-FFF2-40B4-BE49-F238E27FC236}">
                <a16:creationId xmlns:a16="http://schemas.microsoft.com/office/drawing/2014/main" id="{76FA69C7-CDD0-4744-89FE-E79CB79F06F3}"/>
              </a:ext>
            </a:extLst>
          </p:cNvPr>
          <p:cNvSpPr txBox="1">
            <a:spLocks/>
          </p:cNvSpPr>
          <p:nvPr/>
        </p:nvSpPr>
        <p:spPr>
          <a:xfrm>
            <a:off x="381648" y="1134615"/>
            <a:ext cx="8385048" cy="646331"/>
          </a:xfrm>
          <a:prstGeom prst="rect">
            <a:avLst/>
          </a:prstGeom>
        </p:spPr>
        <p:txBody>
          <a:bodyPr vert="horz" lIns="0" tIns="0" rIns="0" bIns="0" numCol="1" rtlCol="0">
            <a:noAutofit/>
          </a:bodyPr>
          <a:lstStyle>
            <a:defPPr marR="0" lvl="0" algn="l" rtl="0">
              <a:lnSpc>
                <a:spcPct val="100000"/>
              </a:lnSpc>
              <a:spcBef>
                <a:spcPts val="0"/>
              </a:spcBef>
              <a:spcAft>
                <a:spcPts val="0"/>
              </a:spcAft>
            </a:defPPr>
            <a:lvl1pPr marL="173736" marR="0" lvl="0" indent="-173736" algn="l" rtl="0">
              <a:lnSpc>
                <a:spcPct val="100000"/>
              </a:lnSpc>
              <a:spcBef>
                <a:spcPts val="0"/>
              </a:spcBef>
              <a:spcAft>
                <a:spcPts val="0"/>
              </a:spcAft>
              <a:buClr>
                <a:schemeClr val="tx1"/>
              </a:buClr>
              <a:buFont typeface="Arial" panose="020B0604020202020204" pitchFamily="34" charset="0"/>
              <a:buChar char="•"/>
              <a:defRPr lang="en-US" sz="1600" b="0" i="0" u="none" strike="noStrike" kern="1200" cap="none">
                <a:solidFill>
                  <a:schemeClr val="tx1"/>
                </a:solidFill>
                <a:latin typeface="+mn-lt"/>
                <a:ea typeface="+mn-ea"/>
                <a:cs typeface="+mn-cs"/>
                <a:sym typeface="Arial"/>
              </a:defRPr>
            </a:lvl1pPr>
            <a:lvl2pPr marL="347472" marR="0" lvl="1" indent="-173736" algn="l" rtl="0">
              <a:lnSpc>
                <a:spcPct val="90000"/>
              </a:lnSpc>
              <a:spcBef>
                <a:spcPts val="600"/>
              </a:spcBef>
              <a:spcAft>
                <a:spcPts val="0"/>
              </a:spcAft>
              <a:buClr>
                <a:schemeClr val="tx1"/>
              </a:buClr>
              <a:buFont typeface="Gene Sans Light" panose="00000400000000000000" pitchFamily="50" charset="0"/>
              <a:buChar char="–"/>
              <a:defRPr lang="en-US" sz="1400" b="0" i="0" u="none" strike="noStrike" kern="1200" cap="none">
                <a:solidFill>
                  <a:schemeClr val="tx1"/>
                </a:solidFill>
                <a:latin typeface="+mn-lt"/>
                <a:ea typeface="+mn-ea"/>
                <a:cs typeface="+mn-cs"/>
                <a:sym typeface="Arial"/>
              </a:defRPr>
            </a:lvl2pPr>
            <a:lvl3pPr marL="521208" marR="0" lvl="2" indent="-173736" algn="l" rtl="0">
              <a:lnSpc>
                <a:spcPct val="90000"/>
              </a:lnSpc>
              <a:spcBef>
                <a:spcPts val="600"/>
              </a:spcBef>
              <a:spcAft>
                <a:spcPts val="0"/>
              </a:spcAft>
              <a:buClr>
                <a:schemeClr val="tx1"/>
              </a:buClr>
              <a:buFont typeface="Wingdings" panose="05000000000000000000" pitchFamily="2" charset="2"/>
              <a:buChar char="§"/>
              <a:defRPr lang="en-US" sz="1100" b="0" i="0" u="none" strike="noStrike" kern="1200" cap="none">
                <a:solidFill>
                  <a:schemeClr val="tx1"/>
                </a:solidFill>
                <a:latin typeface="+mn-lt"/>
                <a:ea typeface="+mn-ea"/>
                <a:cs typeface="+mn-cs"/>
                <a:sym typeface="Arial"/>
              </a:defRPr>
            </a:lvl3pPr>
            <a:lvl4pPr marL="694944" marR="0" lvl="3" indent="-173736" algn="l" rtl="0">
              <a:lnSpc>
                <a:spcPct val="90000"/>
              </a:lnSpc>
              <a:spcBef>
                <a:spcPts val="600"/>
              </a:spcBef>
              <a:spcAft>
                <a:spcPts val="0"/>
              </a:spcAft>
              <a:buClr>
                <a:schemeClr val="tx1"/>
              </a:buClr>
              <a:buFont typeface="Arial" panose="020B0604020202020204" pitchFamily="34" charset="0"/>
              <a:buChar char="•"/>
              <a:defRPr lang="en-US" sz="1050" b="0" i="0" u="none" strike="noStrike" kern="1200" cap="none">
                <a:solidFill>
                  <a:schemeClr val="tx1"/>
                </a:solidFill>
                <a:latin typeface="+mn-lt"/>
                <a:ea typeface="+mn-ea"/>
                <a:cs typeface="+mn-cs"/>
                <a:sym typeface="Arial"/>
              </a:defRPr>
            </a:lvl4pPr>
            <a:lvl5pPr marL="868680" marR="0" lvl="4" indent="-173736" algn="l" rtl="0">
              <a:lnSpc>
                <a:spcPct val="90000"/>
              </a:lnSpc>
              <a:spcBef>
                <a:spcPts val="600"/>
              </a:spcBef>
              <a:spcAft>
                <a:spcPts val="0"/>
              </a:spcAft>
              <a:buClr>
                <a:schemeClr val="tx1"/>
              </a:buClr>
              <a:buFont typeface="Arial" panose="020B0604020202020204" pitchFamily="34" charset="0"/>
              <a:buChar char="•"/>
              <a:defRPr lang="en-US" sz="1050" b="0" i="0" u="none" strike="noStrike" kern="1200" cap="none">
                <a:solidFill>
                  <a:schemeClr val="tx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173732" indent="-173732" defTabSz="914378">
              <a:buClr>
                <a:srgbClr val="545859"/>
              </a:buClr>
            </a:pPr>
            <a:r>
              <a:rPr lang="en-US" sz="1400" dirty="0">
                <a:solidFill>
                  <a:srgbClr val="545859"/>
                </a:solidFill>
                <a:latin typeface="Gene Sans Light"/>
              </a:rPr>
              <a:t>A series of stepwise events occur and expand iteratively for a successful antitumor immune response</a:t>
            </a:r>
          </a:p>
          <a:p>
            <a:pPr marL="173732" indent="-173732" defTabSz="914378">
              <a:buClr>
                <a:srgbClr val="545859"/>
              </a:buClr>
            </a:pPr>
            <a:r>
              <a:rPr lang="en-US" sz="1400" dirty="0">
                <a:solidFill>
                  <a:srgbClr val="545859"/>
                </a:solidFill>
                <a:latin typeface="Gene Sans Light"/>
              </a:rPr>
              <a:t>Each step of this cycle helps to balance stimulatory factors that promote the immune response against cancer </a:t>
            </a:r>
            <a:r>
              <a:rPr lang="en-US" sz="1400">
                <a:solidFill>
                  <a:srgbClr val="545859"/>
                </a:solidFill>
                <a:latin typeface="Gene Sans Light"/>
              </a:rPr>
              <a:t>and inhibitory </a:t>
            </a:r>
            <a:r>
              <a:rPr lang="en-US" sz="1400" dirty="0">
                <a:solidFill>
                  <a:srgbClr val="545859"/>
                </a:solidFill>
                <a:latin typeface="Gene Sans Light"/>
              </a:rPr>
              <a:t>factors that prevent autoimmunity</a:t>
            </a:r>
          </a:p>
        </p:txBody>
      </p:sp>
      <p:grpSp>
        <p:nvGrpSpPr>
          <p:cNvPr id="7" name="Google Shape;342;p4">
            <a:extLst>
              <a:ext uri="{FF2B5EF4-FFF2-40B4-BE49-F238E27FC236}">
                <a16:creationId xmlns:a16="http://schemas.microsoft.com/office/drawing/2014/main" id="{76A0C4D9-9CDB-4DFC-90DA-66CC7BB986FA}"/>
              </a:ext>
            </a:extLst>
          </p:cNvPr>
          <p:cNvGrpSpPr/>
          <p:nvPr/>
        </p:nvGrpSpPr>
        <p:grpSpPr>
          <a:xfrm>
            <a:off x="8849668" y="55416"/>
            <a:ext cx="238916" cy="228628"/>
            <a:chOff x="11619274" y="118751"/>
            <a:chExt cx="432689" cy="414056"/>
          </a:xfrm>
        </p:grpSpPr>
        <p:sp>
          <p:nvSpPr>
            <p:cNvPr id="8" name="Google Shape;343;p4">
              <a:hlinkClick r:id="rId4" action="ppaction://hlinksldjump"/>
              <a:extLst>
                <a:ext uri="{FF2B5EF4-FFF2-40B4-BE49-F238E27FC236}">
                  <a16:creationId xmlns:a16="http://schemas.microsoft.com/office/drawing/2014/main" id="{76DC5705-3B24-41F4-B573-D967A1692A95}"/>
                </a:ext>
              </a:extLst>
            </p:cNvPr>
            <p:cNvSpPr/>
            <p:nvPr/>
          </p:nvSpPr>
          <p:spPr>
            <a:xfrm>
              <a:off x="11619274" y="118751"/>
              <a:ext cx="432689" cy="414056"/>
            </a:xfrm>
            <a:prstGeom prst="roundRect">
              <a:avLst>
                <a:gd name="adj" fmla="val 16667"/>
              </a:avLst>
            </a:prstGeom>
            <a:solidFill>
              <a:schemeClr val="accent2"/>
            </a:solidFill>
            <a:ln>
              <a:noFill/>
            </a:ln>
          </p:spPr>
          <p:txBody>
            <a:bodyPr spcFirstLastPara="1" wrap="square" lIns="68550" tIns="34275" rIns="68550" bIns="34275" anchor="ctr" anchorCtr="0">
              <a:noAutofit/>
            </a:bodyPr>
            <a:lstStyle/>
            <a:p>
              <a:pPr algn="ctr" defTabSz="914378">
                <a:buClr>
                  <a:srgbClr val="000000"/>
                </a:buClr>
              </a:pPr>
              <a:endParaRPr lang="en-US" sz="825" kern="0" dirty="0">
                <a:solidFill>
                  <a:srgbClr val="FFFFFF"/>
                </a:solidFill>
                <a:latin typeface="Arial"/>
                <a:ea typeface="Arial"/>
                <a:cs typeface="Arial"/>
                <a:sym typeface="Arial"/>
              </a:endParaRPr>
            </a:p>
          </p:txBody>
        </p:sp>
        <p:pic>
          <p:nvPicPr>
            <p:cNvPr id="9" name="Google Shape;344;p4">
              <a:hlinkClick r:id="rId4" action="ppaction://hlinksldjump"/>
              <a:extLst>
                <a:ext uri="{FF2B5EF4-FFF2-40B4-BE49-F238E27FC236}">
                  <a16:creationId xmlns:a16="http://schemas.microsoft.com/office/drawing/2014/main" id="{026973CE-7EC7-4BBB-A690-C550A7E7B862}"/>
                </a:ext>
              </a:extLst>
            </p:cNvPr>
            <p:cNvPicPr preferRelativeResize="0"/>
            <p:nvPr/>
          </p:nvPicPr>
          <p:blipFill rotWithShape="1">
            <a:blip r:embed="rId5">
              <a:alphaModFix/>
            </a:blip>
            <a:srcRect/>
            <a:stretch/>
          </p:blipFill>
          <p:spPr>
            <a:xfrm>
              <a:off x="11681971" y="162551"/>
              <a:ext cx="307293" cy="307293"/>
            </a:xfrm>
            <a:prstGeom prst="rect">
              <a:avLst/>
            </a:prstGeom>
            <a:noFill/>
            <a:ln>
              <a:noFill/>
            </a:ln>
          </p:spPr>
        </p:pic>
      </p:grpSp>
    </p:spTree>
    <p:extLst>
      <p:ext uri="{BB962C8B-B14F-4D97-AF65-F5344CB8AC3E}">
        <p14:creationId xmlns:p14="http://schemas.microsoft.com/office/powerpoint/2010/main" val="1051508744"/>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F2DF84C-D919-47F0-94FA-5BED13C5110B}"/>
              </a:ext>
            </a:extLst>
          </p:cNvPr>
          <p:cNvSpPr>
            <a:spLocks noGrp="1"/>
          </p:cNvSpPr>
          <p:nvPr>
            <p:ph type="body" idx="2"/>
          </p:nvPr>
        </p:nvSpPr>
        <p:spPr/>
        <p:txBody>
          <a:bodyPr/>
          <a:lstStyle/>
          <a:p>
            <a:r>
              <a:rPr lang="en-US" dirty="0"/>
              <a:t>Cancer Immunity Cycle</a:t>
            </a:r>
          </a:p>
        </p:txBody>
      </p:sp>
      <p:sp>
        <p:nvSpPr>
          <p:cNvPr id="13" name="Text Placeholder 12">
            <a:extLst>
              <a:ext uri="{FF2B5EF4-FFF2-40B4-BE49-F238E27FC236}">
                <a16:creationId xmlns:a16="http://schemas.microsoft.com/office/drawing/2014/main" id="{2F485941-F180-46E1-9F7A-54BA6942C966}"/>
              </a:ext>
            </a:extLst>
          </p:cNvPr>
          <p:cNvSpPr>
            <a:spLocks noGrp="1"/>
          </p:cNvSpPr>
          <p:nvPr>
            <p:ph type="body" idx="3"/>
          </p:nvPr>
        </p:nvSpPr>
        <p:spPr/>
        <p:txBody>
          <a:bodyPr/>
          <a:lstStyle/>
          <a:p>
            <a:r>
              <a:rPr lang="en-US" altLang="zh-CN" dirty="0"/>
              <a:t>CTLA4, cytotoxic T lymphocyte–associated protein 4; IDO, </a:t>
            </a:r>
            <a:r>
              <a:rPr lang="en-US" altLang="zh-CN" dirty="0" err="1"/>
              <a:t>indoleamine</a:t>
            </a:r>
            <a:r>
              <a:rPr lang="en-US" altLang="zh-CN" dirty="0"/>
              <a:t> 2,3-dioxygenase; </a:t>
            </a:r>
            <a:r>
              <a:rPr lang="en-US" altLang="zh-CN" dirty="0" err="1"/>
              <a:t>pMHC</a:t>
            </a:r>
            <a:r>
              <a:rPr lang="en-US" altLang="zh-CN" dirty="0"/>
              <a:t>, </a:t>
            </a:r>
            <a:r>
              <a:rPr lang="en-US" altLang="zh-CN"/>
              <a:t>peptide-major histocompatibility </a:t>
            </a:r>
            <a:r>
              <a:rPr lang="en-US" altLang="zh-CN" dirty="0"/>
              <a:t>complex; TLR, toll-like receptor. </a:t>
            </a:r>
            <a:r>
              <a:rPr lang="en-US" altLang="en-US" dirty="0"/>
              <a:t>Chen DS, </a:t>
            </a:r>
            <a:r>
              <a:rPr lang="en-US" altLang="en-US" dirty="0" err="1"/>
              <a:t>Mellman</a:t>
            </a:r>
            <a:r>
              <a:rPr lang="en-US" altLang="en-US" dirty="0"/>
              <a:t> I. </a:t>
            </a:r>
            <a:r>
              <a:rPr lang="en-US" altLang="en-US" i="1" dirty="0"/>
              <a:t>Immunity. </a:t>
            </a:r>
            <a:r>
              <a:rPr lang="en-US" altLang="en-US" dirty="0"/>
              <a:t>2013;39:1-10. </a:t>
            </a:r>
            <a:r>
              <a:rPr lang="en-US" dirty="0" err="1"/>
              <a:t>Mellman</a:t>
            </a:r>
            <a:r>
              <a:rPr lang="en-US" dirty="0"/>
              <a:t> I, et al. </a:t>
            </a:r>
            <a:r>
              <a:rPr lang="en-US" i="1" dirty="0"/>
              <a:t>Nature. </a:t>
            </a:r>
            <a:r>
              <a:rPr lang="en-US" dirty="0"/>
              <a:t>2011;480:480-489.</a:t>
            </a:r>
            <a:endParaRPr lang="en-US" altLang="en-US" dirty="0"/>
          </a:p>
        </p:txBody>
      </p:sp>
      <p:sp>
        <p:nvSpPr>
          <p:cNvPr id="2" name="Title 1"/>
          <p:cNvSpPr>
            <a:spLocks noGrp="1"/>
          </p:cNvSpPr>
          <p:nvPr>
            <p:ph type="title"/>
          </p:nvPr>
        </p:nvSpPr>
        <p:spPr>
          <a:xfrm>
            <a:off x="381648" y="585796"/>
            <a:ext cx="8384400" cy="652455"/>
          </a:xfrm>
        </p:spPr>
        <p:txBody>
          <a:bodyPr/>
          <a:lstStyle/>
          <a:p>
            <a:r>
              <a:rPr lang="en-US" noProof="0" dirty="0"/>
              <a:t>Stimulatory </a:t>
            </a:r>
            <a:r>
              <a:rPr lang="en-US" noProof="0"/>
              <a:t>and Inhibitory </a:t>
            </a:r>
            <a:r>
              <a:rPr lang="en-US" noProof="0" dirty="0"/>
              <a:t>Factors</a:t>
            </a:r>
          </a:p>
        </p:txBody>
      </p:sp>
      <p:pic>
        <p:nvPicPr>
          <p:cNvPr id="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001" y="1359942"/>
            <a:ext cx="2785484" cy="2686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3" name="TextBox 82"/>
          <p:cNvSpPr txBox="1"/>
          <p:nvPr/>
        </p:nvSpPr>
        <p:spPr>
          <a:xfrm>
            <a:off x="381649" y="1125562"/>
            <a:ext cx="1446998" cy="123111"/>
          </a:xfrm>
          <a:prstGeom prst="rect">
            <a:avLst/>
          </a:prstGeom>
          <a:noFill/>
        </p:spPr>
        <p:txBody>
          <a:bodyPr wrap="square" lIns="0" tIns="0" rIns="0" bIns="0" rtlCol="0" anchor="b">
            <a:noAutofit/>
          </a:bodyPr>
          <a:lstStyle/>
          <a:p>
            <a:pPr defTabSz="914378">
              <a:buClr>
                <a:srgbClr val="000000"/>
              </a:buClr>
              <a:defRPr/>
            </a:pPr>
            <a:r>
              <a:rPr lang="en-US" sz="800" b="1" kern="0" dirty="0">
                <a:solidFill>
                  <a:srgbClr val="545859"/>
                </a:solidFill>
                <a:latin typeface="Gene Sans Light"/>
                <a:cs typeface="Arial"/>
                <a:sym typeface="Arial"/>
              </a:rPr>
              <a:t>Priming and activation</a:t>
            </a:r>
          </a:p>
        </p:txBody>
      </p:sp>
      <p:sp>
        <p:nvSpPr>
          <p:cNvPr id="84" name="TextBox 83"/>
          <p:cNvSpPr txBox="1"/>
          <p:nvPr/>
        </p:nvSpPr>
        <p:spPr>
          <a:xfrm>
            <a:off x="381649" y="1291171"/>
            <a:ext cx="1597898" cy="984885"/>
          </a:xfrm>
          <a:prstGeom prst="rect">
            <a:avLst/>
          </a:prstGeom>
          <a:noFill/>
        </p:spPr>
        <p:txBody>
          <a:bodyPr wrap="square" lIns="0" tIns="0" rIns="0" bIns="0" numCol="2" rtlCol="0" anchor="b">
            <a:noAutofit/>
          </a:bodyPr>
          <a:lstStyle/>
          <a:p>
            <a:pPr defTabSz="914378">
              <a:buClr>
                <a:srgbClr val="000000"/>
              </a:buClr>
              <a:defRPr/>
            </a:pPr>
            <a:r>
              <a:rPr lang="en-US" sz="800" kern="0" dirty="0">
                <a:solidFill>
                  <a:srgbClr val="00B050"/>
                </a:solidFill>
                <a:latin typeface="Gene Sans Light"/>
                <a:cs typeface="Arial"/>
                <a:sym typeface="Arial"/>
              </a:rPr>
              <a:t>CD28/B7.1</a:t>
            </a:r>
          </a:p>
          <a:p>
            <a:pPr defTabSz="914378">
              <a:buClr>
                <a:srgbClr val="000000"/>
              </a:buClr>
              <a:defRPr/>
            </a:pPr>
            <a:r>
              <a:rPr lang="en-US" sz="800" kern="0" dirty="0">
                <a:solidFill>
                  <a:srgbClr val="00B050"/>
                </a:solidFill>
                <a:latin typeface="Gene Sans Light"/>
                <a:cs typeface="Arial"/>
                <a:sym typeface="Arial"/>
              </a:rPr>
              <a:t>CD137/CD137L</a:t>
            </a:r>
          </a:p>
          <a:p>
            <a:pPr defTabSz="914378">
              <a:buClr>
                <a:srgbClr val="000000"/>
              </a:buClr>
              <a:defRPr/>
            </a:pPr>
            <a:r>
              <a:rPr lang="en-US" sz="800" kern="0" dirty="0">
                <a:solidFill>
                  <a:srgbClr val="00B050"/>
                </a:solidFill>
                <a:latin typeface="Gene Sans Light"/>
                <a:cs typeface="Arial"/>
                <a:sym typeface="Arial"/>
              </a:rPr>
              <a:t>OX40/OX40L</a:t>
            </a:r>
          </a:p>
          <a:p>
            <a:pPr defTabSz="914378">
              <a:buClr>
                <a:srgbClr val="000000"/>
              </a:buClr>
              <a:defRPr/>
            </a:pPr>
            <a:r>
              <a:rPr lang="en-US" sz="800" kern="0" dirty="0">
                <a:solidFill>
                  <a:srgbClr val="00B050"/>
                </a:solidFill>
                <a:latin typeface="Gene Sans Light"/>
                <a:cs typeface="Arial"/>
                <a:sym typeface="Arial"/>
              </a:rPr>
              <a:t>CD27/CD70</a:t>
            </a:r>
          </a:p>
          <a:p>
            <a:pPr defTabSz="914378">
              <a:buClr>
                <a:srgbClr val="000000"/>
              </a:buClr>
              <a:defRPr/>
            </a:pPr>
            <a:r>
              <a:rPr lang="en-US" sz="800" kern="0" dirty="0">
                <a:solidFill>
                  <a:srgbClr val="00B050"/>
                </a:solidFill>
                <a:latin typeface="Gene Sans Light"/>
                <a:cs typeface="Arial"/>
                <a:sym typeface="Arial"/>
              </a:rPr>
              <a:t>HVEM</a:t>
            </a:r>
          </a:p>
          <a:p>
            <a:pPr defTabSz="914378">
              <a:buClr>
                <a:srgbClr val="000000"/>
              </a:buClr>
              <a:defRPr/>
            </a:pPr>
            <a:r>
              <a:rPr lang="en-US" sz="800" kern="0" dirty="0">
                <a:solidFill>
                  <a:srgbClr val="00B050"/>
                </a:solidFill>
                <a:latin typeface="Gene Sans Light"/>
                <a:cs typeface="Arial"/>
                <a:sym typeface="Arial"/>
              </a:rPr>
              <a:t>GITR</a:t>
            </a:r>
          </a:p>
          <a:p>
            <a:pPr defTabSz="914378">
              <a:buClr>
                <a:srgbClr val="000000"/>
              </a:buClr>
              <a:defRPr/>
            </a:pPr>
            <a:r>
              <a:rPr lang="en-US" sz="800" kern="0" dirty="0">
                <a:solidFill>
                  <a:srgbClr val="00B050"/>
                </a:solidFill>
                <a:latin typeface="Gene Sans Light"/>
                <a:cs typeface="Arial"/>
                <a:sym typeface="Arial"/>
              </a:rPr>
              <a:t>IL-2</a:t>
            </a:r>
          </a:p>
          <a:p>
            <a:pPr defTabSz="914378">
              <a:buClr>
                <a:srgbClr val="000000"/>
              </a:buClr>
              <a:defRPr/>
            </a:pPr>
            <a:r>
              <a:rPr lang="en-US" sz="800" kern="0" dirty="0">
                <a:solidFill>
                  <a:srgbClr val="00B050"/>
                </a:solidFill>
                <a:latin typeface="Gene Sans Light"/>
                <a:cs typeface="Arial"/>
                <a:sym typeface="Arial"/>
              </a:rPr>
              <a:t>IL-12</a:t>
            </a:r>
          </a:p>
          <a:p>
            <a:pPr defTabSz="914378">
              <a:spcBef>
                <a:spcPts val="225"/>
              </a:spcBef>
              <a:buClr>
                <a:srgbClr val="000000"/>
              </a:buClr>
              <a:defRPr/>
            </a:pPr>
            <a:r>
              <a:rPr lang="en-US" sz="800" kern="0" dirty="0">
                <a:solidFill>
                  <a:srgbClr val="FF0000"/>
                </a:solidFill>
                <a:latin typeface="Gene Sans Light"/>
                <a:cs typeface="Arial"/>
                <a:sym typeface="Arial"/>
              </a:rPr>
              <a:t>CTLA4/B7.1</a:t>
            </a:r>
          </a:p>
          <a:p>
            <a:pPr defTabSz="914378">
              <a:buClr>
                <a:srgbClr val="000000"/>
              </a:buClr>
              <a:defRPr/>
            </a:pPr>
            <a:r>
              <a:rPr lang="en-US" sz="800" kern="0" dirty="0">
                <a:solidFill>
                  <a:srgbClr val="FF0000"/>
                </a:solidFill>
                <a:latin typeface="Gene Sans Light"/>
                <a:cs typeface="Arial"/>
                <a:sym typeface="Arial"/>
              </a:rPr>
              <a:t>PD-L1/PD-1</a:t>
            </a:r>
          </a:p>
          <a:p>
            <a:pPr defTabSz="914378">
              <a:buClr>
                <a:srgbClr val="000000"/>
              </a:buClr>
              <a:defRPr/>
            </a:pPr>
            <a:r>
              <a:rPr lang="en-US" sz="800" kern="0" dirty="0">
                <a:solidFill>
                  <a:srgbClr val="FF0000"/>
                </a:solidFill>
                <a:latin typeface="Gene Sans Light"/>
                <a:cs typeface="Arial"/>
                <a:sym typeface="Arial"/>
              </a:rPr>
              <a:t>PD-L1/B7.1</a:t>
            </a:r>
          </a:p>
          <a:p>
            <a:pPr defTabSz="914378">
              <a:buClr>
                <a:srgbClr val="000000"/>
              </a:buClr>
              <a:defRPr/>
            </a:pPr>
            <a:r>
              <a:rPr lang="en-US" sz="800" kern="0" dirty="0">
                <a:solidFill>
                  <a:srgbClr val="FF0000"/>
                </a:solidFill>
                <a:latin typeface="Gene Sans Light"/>
                <a:cs typeface="Arial"/>
                <a:sym typeface="Arial"/>
              </a:rPr>
              <a:t>Prostaglandins</a:t>
            </a:r>
          </a:p>
        </p:txBody>
      </p:sp>
      <p:sp>
        <p:nvSpPr>
          <p:cNvPr id="85" name="TextBox 84"/>
          <p:cNvSpPr txBox="1"/>
          <p:nvPr/>
        </p:nvSpPr>
        <p:spPr>
          <a:xfrm>
            <a:off x="381648" y="2458143"/>
            <a:ext cx="857250" cy="246221"/>
          </a:xfrm>
          <a:prstGeom prst="rect">
            <a:avLst/>
          </a:prstGeom>
          <a:noFill/>
        </p:spPr>
        <p:txBody>
          <a:bodyPr wrap="square" lIns="0" tIns="0" rIns="0" bIns="0" rtlCol="0" anchor="b">
            <a:noAutofit/>
          </a:bodyPr>
          <a:lstStyle/>
          <a:p>
            <a:pPr defTabSz="914378">
              <a:buClr>
                <a:srgbClr val="000000"/>
              </a:buClr>
              <a:defRPr/>
            </a:pPr>
            <a:r>
              <a:rPr lang="en-US" sz="800" b="1" kern="0" dirty="0">
                <a:solidFill>
                  <a:srgbClr val="545859"/>
                </a:solidFill>
                <a:latin typeface="Gene Sans Light"/>
                <a:cs typeface="Arial"/>
                <a:sym typeface="Arial"/>
              </a:rPr>
              <a:t>Cancer antigen presentation</a:t>
            </a:r>
          </a:p>
        </p:txBody>
      </p:sp>
      <p:sp>
        <p:nvSpPr>
          <p:cNvPr id="86" name="TextBox 85"/>
          <p:cNvSpPr txBox="1"/>
          <p:nvPr/>
        </p:nvSpPr>
        <p:spPr>
          <a:xfrm>
            <a:off x="381648" y="2743390"/>
            <a:ext cx="1143000" cy="1379865"/>
          </a:xfrm>
          <a:prstGeom prst="rect">
            <a:avLst/>
          </a:prstGeom>
          <a:noFill/>
        </p:spPr>
        <p:txBody>
          <a:bodyPr wrap="square" lIns="0" tIns="0" rIns="0" bIns="0" rtlCol="0">
            <a:noAutofit/>
          </a:bodyPr>
          <a:lstStyle/>
          <a:p>
            <a:pPr defTabSz="914378">
              <a:buClr>
                <a:srgbClr val="000000"/>
              </a:buClr>
              <a:defRPr/>
            </a:pPr>
            <a:r>
              <a:rPr lang="en-US" sz="800" kern="0" dirty="0">
                <a:solidFill>
                  <a:srgbClr val="00B050"/>
                </a:solidFill>
                <a:latin typeface="Gene Sans Light"/>
                <a:cs typeface="Arial"/>
                <a:sym typeface="Arial"/>
              </a:rPr>
              <a:t>TNF-α</a:t>
            </a:r>
          </a:p>
          <a:p>
            <a:pPr defTabSz="914378">
              <a:buClr>
                <a:srgbClr val="000000"/>
              </a:buClr>
              <a:defRPr/>
            </a:pPr>
            <a:r>
              <a:rPr lang="en-US" sz="800" kern="0" dirty="0">
                <a:solidFill>
                  <a:srgbClr val="00B050"/>
                </a:solidFill>
                <a:latin typeface="Gene Sans Light"/>
                <a:cs typeface="Arial"/>
                <a:sym typeface="Arial"/>
              </a:rPr>
              <a:t>IL-1</a:t>
            </a:r>
          </a:p>
          <a:p>
            <a:pPr defTabSz="914378">
              <a:buClr>
                <a:srgbClr val="000000"/>
              </a:buClr>
              <a:defRPr/>
            </a:pPr>
            <a:r>
              <a:rPr lang="en-US" sz="800" kern="0" dirty="0">
                <a:solidFill>
                  <a:srgbClr val="00B050"/>
                </a:solidFill>
                <a:latin typeface="Gene Sans Light"/>
                <a:cs typeface="Arial"/>
                <a:sym typeface="Arial"/>
              </a:rPr>
              <a:t>IFN-α</a:t>
            </a:r>
          </a:p>
          <a:p>
            <a:pPr defTabSz="914378">
              <a:buClr>
                <a:srgbClr val="000000"/>
              </a:buClr>
              <a:defRPr/>
            </a:pPr>
            <a:r>
              <a:rPr lang="en-US" sz="800" kern="0" dirty="0">
                <a:solidFill>
                  <a:srgbClr val="00B050"/>
                </a:solidFill>
                <a:latin typeface="Gene Sans Light"/>
                <a:cs typeface="Arial"/>
                <a:sym typeface="Arial"/>
              </a:rPr>
              <a:t>CD40L/CD40</a:t>
            </a:r>
          </a:p>
          <a:p>
            <a:pPr defTabSz="914378">
              <a:buClr>
                <a:srgbClr val="000000"/>
              </a:buClr>
              <a:defRPr/>
            </a:pPr>
            <a:r>
              <a:rPr lang="en-US" sz="800" kern="0" dirty="0">
                <a:solidFill>
                  <a:srgbClr val="00B050"/>
                </a:solidFill>
                <a:latin typeface="Gene Sans Light"/>
                <a:cs typeface="Arial"/>
                <a:sym typeface="Arial"/>
              </a:rPr>
              <a:t>CDN</a:t>
            </a:r>
          </a:p>
          <a:p>
            <a:pPr defTabSz="914378">
              <a:buClr>
                <a:srgbClr val="000000"/>
              </a:buClr>
              <a:defRPr/>
            </a:pPr>
            <a:r>
              <a:rPr lang="en-US" sz="800" kern="0" dirty="0">
                <a:solidFill>
                  <a:srgbClr val="00B050"/>
                </a:solidFill>
                <a:latin typeface="Gene Sans Light"/>
                <a:cs typeface="Arial"/>
                <a:sym typeface="Arial"/>
              </a:rPr>
              <a:t>ATP</a:t>
            </a:r>
          </a:p>
          <a:p>
            <a:pPr defTabSz="914378">
              <a:buClr>
                <a:srgbClr val="000000"/>
              </a:buClr>
              <a:defRPr/>
            </a:pPr>
            <a:r>
              <a:rPr lang="en-US" sz="800" kern="0" dirty="0">
                <a:solidFill>
                  <a:srgbClr val="00B050"/>
                </a:solidFill>
                <a:latin typeface="Gene Sans Light"/>
                <a:cs typeface="Arial"/>
                <a:sym typeface="Arial"/>
              </a:rPr>
              <a:t>HMGB1</a:t>
            </a:r>
          </a:p>
          <a:p>
            <a:pPr defTabSz="914378">
              <a:buClr>
                <a:srgbClr val="000000"/>
              </a:buClr>
              <a:defRPr/>
            </a:pPr>
            <a:r>
              <a:rPr lang="en-US" sz="800" kern="0" dirty="0">
                <a:solidFill>
                  <a:srgbClr val="00B050"/>
                </a:solidFill>
                <a:latin typeface="Gene Sans Light"/>
                <a:cs typeface="Arial"/>
                <a:sym typeface="Arial"/>
              </a:rPr>
              <a:t>TLR</a:t>
            </a:r>
          </a:p>
          <a:p>
            <a:pPr defTabSz="914378">
              <a:spcBef>
                <a:spcPts val="225"/>
              </a:spcBef>
              <a:buClr>
                <a:srgbClr val="000000"/>
              </a:buClr>
              <a:defRPr/>
            </a:pPr>
            <a:r>
              <a:rPr lang="en-US" sz="800" kern="0" dirty="0">
                <a:solidFill>
                  <a:srgbClr val="FF0000"/>
                </a:solidFill>
                <a:latin typeface="Gene Sans Light"/>
                <a:cs typeface="Arial"/>
                <a:sym typeface="Arial"/>
              </a:rPr>
              <a:t>IL-10</a:t>
            </a:r>
          </a:p>
          <a:p>
            <a:pPr defTabSz="914378">
              <a:buClr>
                <a:srgbClr val="000000"/>
              </a:buClr>
              <a:defRPr/>
            </a:pPr>
            <a:r>
              <a:rPr lang="en-US" sz="800" kern="0" dirty="0">
                <a:solidFill>
                  <a:srgbClr val="FF0000"/>
                </a:solidFill>
                <a:latin typeface="Gene Sans Light"/>
                <a:cs typeface="Arial"/>
                <a:sym typeface="Arial"/>
              </a:rPr>
              <a:t>IL-4</a:t>
            </a:r>
          </a:p>
          <a:p>
            <a:pPr defTabSz="914378">
              <a:buClr>
                <a:srgbClr val="000000"/>
              </a:buClr>
              <a:defRPr/>
            </a:pPr>
            <a:r>
              <a:rPr lang="en-US" sz="800" kern="0" dirty="0">
                <a:solidFill>
                  <a:srgbClr val="FF0000"/>
                </a:solidFill>
                <a:latin typeface="Gene Sans Light"/>
                <a:cs typeface="Arial"/>
                <a:sym typeface="Arial"/>
              </a:rPr>
              <a:t>IL-13</a:t>
            </a:r>
          </a:p>
        </p:txBody>
      </p:sp>
      <p:sp>
        <p:nvSpPr>
          <p:cNvPr id="91" name="TextBox 90"/>
          <p:cNvSpPr txBox="1">
            <a:spLocks/>
          </p:cNvSpPr>
          <p:nvPr/>
        </p:nvSpPr>
        <p:spPr>
          <a:xfrm>
            <a:off x="1067913" y="3872531"/>
            <a:ext cx="1143000" cy="246221"/>
          </a:xfrm>
          <a:prstGeom prst="rect">
            <a:avLst/>
          </a:prstGeom>
          <a:noFill/>
        </p:spPr>
        <p:txBody>
          <a:bodyPr wrap="square" lIns="0" tIns="0" rIns="0" bIns="0" rtlCol="0">
            <a:noAutofit/>
          </a:bodyPr>
          <a:lstStyle/>
          <a:p>
            <a:pPr defTabSz="914378">
              <a:buClr>
                <a:srgbClr val="000000"/>
              </a:buClr>
              <a:defRPr/>
            </a:pPr>
            <a:r>
              <a:rPr lang="en-US" sz="800" b="1" kern="0" dirty="0">
                <a:solidFill>
                  <a:srgbClr val="545859"/>
                </a:solidFill>
                <a:latin typeface="Gene Sans Light"/>
                <a:cs typeface="Arial"/>
                <a:sym typeface="Arial"/>
              </a:rPr>
              <a:t>Release of </a:t>
            </a:r>
            <a:br>
              <a:rPr lang="en-US" sz="800" b="1" kern="0" dirty="0">
                <a:solidFill>
                  <a:srgbClr val="545859"/>
                </a:solidFill>
                <a:latin typeface="Gene Sans Light"/>
                <a:cs typeface="Arial"/>
                <a:sym typeface="Arial"/>
              </a:rPr>
            </a:br>
            <a:r>
              <a:rPr lang="en-US" sz="800" b="1" kern="0" dirty="0">
                <a:solidFill>
                  <a:srgbClr val="545859"/>
                </a:solidFill>
                <a:latin typeface="Gene Sans Light"/>
                <a:cs typeface="Arial"/>
                <a:sym typeface="Arial"/>
              </a:rPr>
              <a:t>cancer cell antigens</a:t>
            </a:r>
          </a:p>
        </p:txBody>
      </p:sp>
      <p:sp>
        <p:nvSpPr>
          <p:cNvPr id="92" name="TextBox 91"/>
          <p:cNvSpPr txBox="1">
            <a:spLocks/>
          </p:cNvSpPr>
          <p:nvPr/>
        </p:nvSpPr>
        <p:spPr>
          <a:xfrm>
            <a:off x="1067912" y="4171466"/>
            <a:ext cx="1143000" cy="271869"/>
          </a:xfrm>
          <a:prstGeom prst="rect">
            <a:avLst/>
          </a:prstGeom>
          <a:noFill/>
        </p:spPr>
        <p:txBody>
          <a:bodyPr wrap="square" lIns="0" tIns="0" rIns="0" bIns="0" rtlCol="0">
            <a:noAutofit/>
          </a:bodyPr>
          <a:lstStyle/>
          <a:p>
            <a:pPr defTabSz="914378">
              <a:buClr>
                <a:srgbClr val="000000"/>
              </a:buClr>
              <a:defRPr/>
            </a:pPr>
            <a:r>
              <a:rPr lang="en-US" sz="800" kern="0" dirty="0">
                <a:solidFill>
                  <a:srgbClr val="00B050"/>
                </a:solidFill>
                <a:latin typeface="Gene Sans Light"/>
                <a:cs typeface="Arial"/>
                <a:sym typeface="Arial"/>
              </a:rPr>
              <a:t>Immunogenic cell death</a:t>
            </a:r>
          </a:p>
          <a:p>
            <a:pPr defTabSz="914378">
              <a:spcBef>
                <a:spcPts val="225"/>
              </a:spcBef>
              <a:buClr>
                <a:srgbClr val="000000"/>
              </a:buClr>
              <a:defRPr/>
            </a:pPr>
            <a:r>
              <a:rPr lang="en-US" sz="800" kern="0" dirty="0">
                <a:solidFill>
                  <a:srgbClr val="FF0000"/>
                </a:solidFill>
                <a:latin typeface="Gene Sans Light"/>
                <a:cs typeface="Arial"/>
                <a:sym typeface="Arial"/>
              </a:rPr>
              <a:t>Tolerogenic cell death</a:t>
            </a:r>
          </a:p>
        </p:txBody>
      </p:sp>
      <p:sp>
        <p:nvSpPr>
          <p:cNvPr id="93" name="TextBox 92"/>
          <p:cNvSpPr txBox="1"/>
          <p:nvPr/>
        </p:nvSpPr>
        <p:spPr>
          <a:xfrm>
            <a:off x="3510094" y="3420521"/>
            <a:ext cx="1484672" cy="123111"/>
          </a:xfrm>
          <a:prstGeom prst="rect">
            <a:avLst/>
          </a:prstGeom>
          <a:noFill/>
        </p:spPr>
        <p:txBody>
          <a:bodyPr wrap="square" lIns="0" tIns="0" rIns="0" bIns="0" rtlCol="0" anchor="b">
            <a:noAutofit/>
          </a:bodyPr>
          <a:lstStyle/>
          <a:p>
            <a:pPr defTabSz="914378">
              <a:buClr>
                <a:srgbClr val="000000"/>
              </a:buClr>
              <a:defRPr/>
            </a:pPr>
            <a:r>
              <a:rPr lang="en-US" sz="800" b="1" kern="0" dirty="0">
                <a:solidFill>
                  <a:srgbClr val="545859"/>
                </a:solidFill>
                <a:latin typeface="Gene Sans Light"/>
                <a:cs typeface="Arial"/>
                <a:sym typeface="Arial"/>
              </a:rPr>
              <a:t>Killing of cancer cells</a:t>
            </a:r>
          </a:p>
        </p:txBody>
      </p:sp>
      <p:sp>
        <p:nvSpPr>
          <p:cNvPr id="94" name="TextBox 93"/>
          <p:cNvSpPr txBox="1"/>
          <p:nvPr/>
        </p:nvSpPr>
        <p:spPr>
          <a:xfrm>
            <a:off x="3520034" y="3549441"/>
            <a:ext cx="1750396" cy="1010533"/>
          </a:xfrm>
          <a:prstGeom prst="rect">
            <a:avLst/>
          </a:prstGeom>
          <a:noFill/>
        </p:spPr>
        <p:txBody>
          <a:bodyPr wrap="square" lIns="0" tIns="0" rIns="0" bIns="0" rtlCol="0">
            <a:noAutofit/>
          </a:bodyPr>
          <a:lstStyle/>
          <a:p>
            <a:pPr defTabSz="914378">
              <a:buClr>
                <a:srgbClr val="000000"/>
              </a:buClr>
              <a:defRPr/>
            </a:pPr>
            <a:r>
              <a:rPr lang="en-US" sz="800" kern="0" dirty="0">
                <a:solidFill>
                  <a:srgbClr val="00B050"/>
                </a:solidFill>
                <a:latin typeface="Gene Sans Light"/>
                <a:cs typeface="Arial"/>
                <a:sym typeface="Arial"/>
              </a:rPr>
              <a:t>IFN-γ</a:t>
            </a:r>
          </a:p>
          <a:p>
            <a:pPr defTabSz="914378">
              <a:buClr>
                <a:srgbClr val="000000"/>
              </a:buClr>
              <a:defRPr/>
            </a:pPr>
            <a:r>
              <a:rPr lang="en-US" sz="800" kern="0" dirty="0">
                <a:solidFill>
                  <a:srgbClr val="00B050"/>
                </a:solidFill>
                <a:latin typeface="Gene Sans Light"/>
                <a:cs typeface="Arial"/>
                <a:sym typeface="Arial"/>
              </a:rPr>
              <a:t>T-cell granule content</a:t>
            </a:r>
          </a:p>
          <a:p>
            <a:pPr defTabSz="914378">
              <a:spcBef>
                <a:spcPts val="225"/>
              </a:spcBef>
              <a:buClr>
                <a:srgbClr val="000000"/>
              </a:buClr>
              <a:tabLst>
                <a:tab pos="429795" algn="l"/>
                <a:tab pos="901259" algn="l"/>
              </a:tabLst>
              <a:defRPr/>
            </a:pPr>
            <a:r>
              <a:rPr lang="en-US" sz="800" kern="0" dirty="0">
                <a:solidFill>
                  <a:srgbClr val="FF0000"/>
                </a:solidFill>
                <a:latin typeface="Gene Sans Light"/>
                <a:cs typeface="Arial"/>
                <a:sym typeface="Arial"/>
              </a:rPr>
              <a:t>PD-L1/PD-1	LAG-3</a:t>
            </a:r>
          </a:p>
          <a:p>
            <a:pPr defTabSz="914378">
              <a:buClr>
                <a:srgbClr val="000000"/>
              </a:buClr>
              <a:tabLst>
                <a:tab pos="429795" algn="l"/>
                <a:tab pos="901259" algn="l"/>
              </a:tabLst>
              <a:defRPr/>
            </a:pPr>
            <a:r>
              <a:rPr lang="en-US" sz="800" kern="0" dirty="0">
                <a:solidFill>
                  <a:srgbClr val="FF0000"/>
                </a:solidFill>
                <a:latin typeface="Gene Sans Light"/>
                <a:cs typeface="Arial"/>
                <a:sym typeface="Arial"/>
              </a:rPr>
              <a:t>PD-L1/B7.1	Arginase</a:t>
            </a:r>
          </a:p>
          <a:p>
            <a:pPr defTabSz="914378">
              <a:buClr>
                <a:srgbClr val="000000"/>
              </a:buClr>
              <a:tabLst>
                <a:tab pos="429795" algn="l"/>
                <a:tab pos="901259" algn="l"/>
              </a:tabLst>
              <a:defRPr/>
            </a:pPr>
            <a:r>
              <a:rPr lang="en-US" sz="800" kern="0" dirty="0">
                <a:solidFill>
                  <a:srgbClr val="FF0000"/>
                </a:solidFill>
                <a:latin typeface="Gene Sans Light"/>
                <a:cs typeface="Arial"/>
                <a:sym typeface="Arial"/>
              </a:rPr>
              <a:t>IDO		MICA/MICB</a:t>
            </a:r>
          </a:p>
          <a:p>
            <a:pPr defTabSz="914378">
              <a:buClr>
                <a:srgbClr val="000000"/>
              </a:buClr>
              <a:tabLst>
                <a:tab pos="429795" algn="l"/>
                <a:tab pos="901259" algn="l"/>
              </a:tabLst>
              <a:defRPr/>
            </a:pPr>
            <a:r>
              <a:rPr lang="en-US" sz="800" kern="0" dirty="0">
                <a:solidFill>
                  <a:srgbClr val="FF0000"/>
                </a:solidFill>
                <a:latin typeface="Gene Sans Light"/>
                <a:cs typeface="Arial"/>
                <a:sym typeface="Arial"/>
              </a:rPr>
              <a:t>TGF-β		B7-H4</a:t>
            </a:r>
          </a:p>
          <a:p>
            <a:pPr defTabSz="914378">
              <a:buClr>
                <a:srgbClr val="000000"/>
              </a:buClr>
              <a:tabLst>
                <a:tab pos="429795" algn="l"/>
                <a:tab pos="901259" algn="l"/>
              </a:tabLst>
              <a:defRPr/>
            </a:pPr>
            <a:r>
              <a:rPr lang="en-US" sz="800" kern="0" dirty="0">
                <a:solidFill>
                  <a:srgbClr val="FF0000"/>
                </a:solidFill>
                <a:latin typeface="Gene Sans Light"/>
                <a:cs typeface="Arial"/>
                <a:sym typeface="Arial"/>
              </a:rPr>
              <a:t>BTLA		VISTA</a:t>
            </a:r>
          </a:p>
          <a:p>
            <a:pPr defTabSz="914378">
              <a:buClr>
                <a:srgbClr val="000000"/>
              </a:buClr>
              <a:tabLst>
                <a:tab pos="429795" algn="l"/>
              </a:tabLst>
              <a:defRPr/>
            </a:pPr>
            <a:r>
              <a:rPr lang="en-US" sz="800" kern="0" dirty="0">
                <a:solidFill>
                  <a:srgbClr val="FF0000"/>
                </a:solidFill>
                <a:latin typeface="Gene Sans Light"/>
                <a:cs typeface="Arial"/>
                <a:sym typeface="Arial"/>
              </a:rPr>
              <a:t>TIM-3/phospholipids</a:t>
            </a:r>
          </a:p>
        </p:txBody>
      </p:sp>
      <p:sp>
        <p:nvSpPr>
          <p:cNvPr id="95" name="TextBox 94"/>
          <p:cNvSpPr txBox="1"/>
          <p:nvPr/>
        </p:nvSpPr>
        <p:spPr>
          <a:xfrm>
            <a:off x="4006454" y="2640037"/>
            <a:ext cx="1090707" cy="246221"/>
          </a:xfrm>
          <a:prstGeom prst="rect">
            <a:avLst/>
          </a:prstGeom>
          <a:noFill/>
        </p:spPr>
        <p:txBody>
          <a:bodyPr wrap="square" lIns="0" tIns="0" rIns="0" bIns="0" rtlCol="0" anchor="b">
            <a:noAutofit/>
          </a:bodyPr>
          <a:lstStyle/>
          <a:p>
            <a:pPr defTabSz="914378">
              <a:buClr>
                <a:srgbClr val="000000"/>
              </a:buClr>
              <a:defRPr/>
            </a:pPr>
            <a:r>
              <a:rPr lang="en-US" sz="800" b="1" kern="0" dirty="0">
                <a:solidFill>
                  <a:srgbClr val="545859"/>
                </a:solidFill>
                <a:latin typeface="Gene Sans Light"/>
                <a:cs typeface="Arial"/>
                <a:sym typeface="Arial"/>
              </a:rPr>
              <a:t>Recognition of cancer cells by T cells</a:t>
            </a:r>
          </a:p>
        </p:txBody>
      </p:sp>
      <p:sp>
        <p:nvSpPr>
          <p:cNvPr id="96" name="TextBox 95"/>
          <p:cNvSpPr txBox="1"/>
          <p:nvPr/>
        </p:nvSpPr>
        <p:spPr>
          <a:xfrm>
            <a:off x="4006456" y="2900976"/>
            <a:ext cx="1143000" cy="394980"/>
          </a:xfrm>
          <a:prstGeom prst="rect">
            <a:avLst/>
          </a:prstGeom>
          <a:noFill/>
        </p:spPr>
        <p:txBody>
          <a:bodyPr wrap="square" lIns="0" tIns="0" rIns="0" bIns="0" rtlCol="0">
            <a:noAutofit/>
          </a:bodyPr>
          <a:lstStyle/>
          <a:p>
            <a:pPr defTabSz="914378">
              <a:buClr>
                <a:srgbClr val="000000"/>
              </a:buClr>
              <a:defRPr/>
            </a:pPr>
            <a:r>
              <a:rPr lang="en-US" sz="800" kern="0" dirty="0">
                <a:solidFill>
                  <a:srgbClr val="00B050"/>
                </a:solidFill>
                <a:latin typeface="Gene Sans Light"/>
                <a:cs typeface="Arial"/>
                <a:sym typeface="Arial"/>
              </a:rPr>
              <a:t>T-cell receptor</a:t>
            </a:r>
          </a:p>
          <a:p>
            <a:pPr defTabSz="914378">
              <a:spcBef>
                <a:spcPts val="225"/>
              </a:spcBef>
              <a:buClr>
                <a:srgbClr val="000000"/>
              </a:buClr>
              <a:defRPr/>
            </a:pPr>
            <a:r>
              <a:rPr lang="en-US" sz="800" kern="0" dirty="0">
                <a:solidFill>
                  <a:srgbClr val="FF0000"/>
                </a:solidFill>
                <a:latin typeface="Gene Sans Light"/>
                <a:cs typeface="Arial"/>
                <a:sym typeface="Arial"/>
              </a:rPr>
              <a:t>Reduced pMHC on cancer cells</a:t>
            </a:r>
          </a:p>
        </p:txBody>
      </p:sp>
      <p:sp>
        <p:nvSpPr>
          <p:cNvPr id="97" name="TextBox 96"/>
          <p:cNvSpPr txBox="1"/>
          <p:nvPr/>
        </p:nvSpPr>
        <p:spPr>
          <a:xfrm>
            <a:off x="3689089" y="1544654"/>
            <a:ext cx="1274120" cy="246221"/>
          </a:xfrm>
          <a:prstGeom prst="rect">
            <a:avLst/>
          </a:prstGeom>
          <a:noFill/>
        </p:spPr>
        <p:txBody>
          <a:bodyPr wrap="square" lIns="0" tIns="0" rIns="0" bIns="0" rtlCol="0" anchor="b">
            <a:noAutofit/>
          </a:bodyPr>
          <a:lstStyle/>
          <a:p>
            <a:pPr defTabSz="914378">
              <a:buClr>
                <a:srgbClr val="000000"/>
              </a:buClr>
              <a:defRPr/>
            </a:pPr>
            <a:r>
              <a:rPr lang="en-US" sz="800" b="1" kern="0" dirty="0">
                <a:solidFill>
                  <a:srgbClr val="545859"/>
                </a:solidFill>
                <a:latin typeface="Gene Sans Light"/>
                <a:cs typeface="Arial"/>
                <a:sym typeface="Arial"/>
              </a:rPr>
              <a:t>Infiltration of T cells </a:t>
            </a:r>
            <a:br>
              <a:rPr lang="en-US" sz="800" b="1" kern="0" dirty="0">
                <a:solidFill>
                  <a:srgbClr val="545859"/>
                </a:solidFill>
                <a:latin typeface="Gene Sans Light"/>
                <a:cs typeface="Arial"/>
                <a:sym typeface="Arial"/>
              </a:rPr>
            </a:br>
            <a:r>
              <a:rPr lang="en-US" sz="800" b="1" kern="0" dirty="0">
                <a:solidFill>
                  <a:srgbClr val="545859"/>
                </a:solidFill>
                <a:latin typeface="Gene Sans Light"/>
                <a:cs typeface="Arial"/>
                <a:sym typeface="Arial"/>
              </a:rPr>
              <a:t>into tumors</a:t>
            </a:r>
          </a:p>
        </p:txBody>
      </p:sp>
      <p:sp>
        <p:nvSpPr>
          <p:cNvPr id="98" name="TextBox 97"/>
          <p:cNvSpPr txBox="1"/>
          <p:nvPr/>
        </p:nvSpPr>
        <p:spPr>
          <a:xfrm>
            <a:off x="3695053" y="1809984"/>
            <a:ext cx="857250" cy="641201"/>
          </a:xfrm>
          <a:prstGeom prst="rect">
            <a:avLst/>
          </a:prstGeom>
          <a:noFill/>
        </p:spPr>
        <p:txBody>
          <a:bodyPr wrap="square" lIns="0" tIns="0" rIns="0" bIns="0" rtlCol="0" anchor="b">
            <a:noAutofit/>
          </a:bodyPr>
          <a:lstStyle/>
          <a:p>
            <a:pPr defTabSz="914378">
              <a:buClr>
                <a:srgbClr val="000000"/>
              </a:buClr>
              <a:defRPr/>
            </a:pPr>
            <a:r>
              <a:rPr lang="en-US" sz="800" kern="0" dirty="0">
                <a:solidFill>
                  <a:srgbClr val="00B050"/>
                </a:solidFill>
                <a:latin typeface="Gene Sans Light"/>
                <a:cs typeface="Arial"/>
                <a:sym typeface="Arial"/>
              </a:rPr>
              <a:t>LFA1/1CAM1</a:t>
            </a:r>
          </a:p>
          <a:p>
            <a:pPr defTabSz="914378">
              <a:buClr>
                <a:srgbClr val="000000"/>
              </a:buClr>
              <a:defRPr/>
            </a:pPr>
            <a:r>
              <a:rPr lang="en-US" sz="800" kern="0" dirty="0">
                <a:solidFill>
                  <a:srgbClr val="00B050"/>
                </a:solidFill>
                <a:latin typeface="Gene Sans Light"/>
                <a:cs typeface="Arial"/>
                <a:sym typeface="Arial"/>
              </a:rPr>
              <a:t>Selectins</a:t>
            </a:r>
          </a:p>
          <a:p>
            <a:pPr defTabSz="914378">
              <a:spcBef>
                <a:spcPts val="225"/>
              </a:spcBef>
              <a:buClr>
                <a:srgbClr val="000000"/>
              </a:buClr>
              <a:defRPr/>
            </a:pPr>
            <a:r>
              <a:rPr lang="en-US" sz="800" kern="0" dirty="0">
                <a:solidFill>
                  <a:srgbClr val="FF0000"/>
                </a:solidFill>
                <a:latin typeface="Gene Sans Light"/>
                <a:cs typeface="Arial"/>
                <a:sym typeface="Arial"/>
              </a:rPr>
              <a:t>VEGF</a:t>
            </a:r>
          </a:p>
          <a:p>
            <a:pPr defTabSz="914378">
              <a:buClr>
                <a:srgbClr val="000000"/>
              </a:buClr>
              <a:defRPr/>
            </a:pPr>
            <a:r>
              <a:rPr lang="en-US" sz="800" kern="0" dirty="0">
                <a:solidFill>
                  <a:srgbClr val="FF0000"/>
                </a:solidFill>
                <a:latin typeface="Gene Sans Light"/>
                <a:cs typeface="Arial"/>
                <a:sym typeface="Arial"/>
              </a:rPr>
              <a:t>Endothelin B receptor</a:t>
            </a:r>
          </a:p>
        </p:txBody>
      </p:sp>
      <p:sp>
        <p:nvSpPr>
          <p:cNvPr id="99" name="TextBox 98"/>
          <p:cNvSpPr txBox="1"/>
          <p:nvPr/>
        </p:nvSpPr>
        <p:spPr>
          <a:xfrm>
            <a:off x="2172205" y="1059514"/>
            <a:ext cx="1173365" cy="246221"/>
          </a:xfrm>
          <a:prstGeom prst="rect">
            <a:avLst/>
          </a:prstGeom>
          <a:noFill/>
        </p:spPr>
        <p:txBody>
          <a:bodyPr wrap="square" lIns="0" tIns="0" rIns="0" bIns="0" rtlCol="0" anchor="t">
            <a:noAutofit/>
          </a:bodyPr>
          <a:lstStyle/>
          <a:p>
            <a:pPr defTabSz="914378">
              <a:buClr>
                <a:srgbClr val="000000"/>
              </a:buClr>
              <a:defRPr/>
            </a:pPr>
            <a:r>
              <a:rPr lang="en-US" sz="800" b="1" kern="0" dirty="0">
                <a:solidFill>
                  <a:srgbClr val="545859"/>
                </a:solidFill>
                <a:latin typeface="Gene Sans Light"/>
                <a:cs typeface="Arial"/>
                <a:sym typeface="Arial"/>
              </a:rPr>
              <a:t>Trafficking of </a:t>
            </a:r>
          </a:p>
          <a:p>
            <a:pPr defTabSz="914378">
              <a:buClr>
                <a:srgbClr val="000000"/>
              </a:buClr>
              <a:defRPr/>
            </a:pPr>
            <a:r>
              <a:rPr lang="en-US" sz="800" b="1" kern="0" dirty="0">
                <a:solidFill>
                  <a:srgbClr val="545859"/>
                </a:solidFill>
                <a:latin typeface="Gene Sans Light"/>
                <a:cs typeface="Arial"/>
                <a:sym typeface="Arial"/>
              </a:rPr>
              <a:t>T cells to tumors</a:t>
            </a:r>
          </a:p>
        </p:txBody>
      </p:sp>
      <p:sp>
        <p:nvSpPr>
          <p:cNvPr id="100" name="TextBox 99"/>
          <p:cNvSpPr txBox="1"/>
          <p:nvPr/>
        </p:nvSpPr>
        <p:spPr>
          <a:xfrm>
            <a:off x="3164794" y="1059513"/>
            <a:ext cx="857250" cy="492443"/>
          </a:xfrm>
          <a:prstGeom prst="rect">
            <a:avLst/>
          </a:prstGeom>
          <a:noFill/>
        </p:spPr>
        <p:txBody>
          <a:bodyPr wrap="square" lIns="0" tIns="0" rIns="0" bIns="0" rtlCol="0" anchor="t">
            <a:noAutofit/>
          </a:bodyPr>
          <a:lstStyle/>
          <a:p>
            <a:pPr defTabSz="914378">
              <a:buClr>
                <a:srgbClr val="000000"/>
              </a:buClr>
              <a:defRPr/>
            </a:pPr>
            <a:r>
              <a:rPr lang="en-US" sz="800" kern="0" dirty="0">
                <a:solidFill>
                  <a:srgbClr val="00B050"/>
                </a:solidFill>
                <a:latin typeface="Gene Sans Light"/>
                <a:cs typeface="Arial"/>
                <a:sym typeface="Arial"/>
              </a:rPr>
              <a:t>CX3CL1</a:t>
            </a:r>
          </a:p>
          <a:p>
            <a:pPr defTabSz="914378">
              <a:buClr>
                <a:srgbClr val="000000"/>
              </a:buClr>
              <a:defRPr/>
            </a:pPr>
            <a:r>
              <a:rPr lang="en-US" sz="800" kern="0" dirty="0">
                <a:solidFill>
                  <a:srgbClr val="00B050"/>
                </a:solidFill>
                <a:latin typeface="Gene Sans Light"/>
                <a:cs typeface="Arial"/>
                <a:sym typeface="Arial"/>
              </a:rPr>
              <a:t>CXCL9</a:t>
            </a:r>
          </a:p>
          <a:p>
            <a:pPr defTabSz="914378">
              <a:buClr>
                <a:srgbClr val="000000"/>
              </a:buClr>
              <a:defRPr/>
            </a:pPr>
            <a:r>
              <a:rPr lang="en-US" sz="800" kern="0" dirty="0">
                <a:solidFill>
                  <a:srgbClr val="00B050"/>
                </a:solidFill>
                <a:latin typeface="Gene Sans Light"/>
                <a:cs typeface="Arial"/>
                <a:sym typeface="Arial"/>
              </a:rPr>
              <a:t>CXCL10</a:t>
            </a:r>
          </a:p>
          <a:p>
            <a:pPr defTabSz="914378">
              <a:buClr>
                <a:srgbClr val="000000"/>
              </a:buClr>
              <a:defRPr/>
            </a:pPr>
            <a:r>
              <a:rPr lang="en-US" sz="800" kern="0" dirty="0">
                <a:solidFill>
                  <a:srgbClr val="00B050"/>
                </a:solidFill>
                <a:latin typeface="Gene Sans Light"/>
                <a:cs typeface="Arial"/>
                <a:sym typeface="Arial"/>
              </a:rPr>
              <a:t>CCL5</a:t>
            </a:r>
          </a:p>
        </p:txBody>
      </p:sp>
      <p:sp>
        <p:nvSpPr>
          <p:cNvPr id="32" name="Rounded Rectangle 26">
            <a:extLst>
              <a:ext uri="{FF2B5EF4-FFF2-40B4-BE49-F238E27FC236}">
                <a16:creationId xmlns:a16="http://schemas.microsoft.com/office/drawing/2014/main" id="{78AF9467-60CC-4924-83C5-5012F92B9019}"/>
              </a:ext>
            </a:extLst>
          </p:cNvPr>
          <p:cNvSpPr/>
          <p:nvPr/>
        </p:nvSpPr>
        <p:spPr bwMode="auto">
          <a:xfrm>
            <a:off x="5479314" y="1114559"/>
            <a:ext cx="3286736" cy="335099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noAutofit/>
          </a:bodyPr>
          <a:lstStyle/>
          <a:p>
            <a:pPr marL="170252" indent="-170252" defTabSz="914378">
              <a:spcBef>
                <a:spcPts val="225"/>
              </a:spcBef>
              <a:buClr>
                <a:srgbClr val="545859"/>
              </a:buClr>
              <a:buSzPct val="100000"/>
              <a:buFont typeface="Arial" panose="020B0604020202020204" pitchFamily="34" charset="0"/>
              <a:buChar char="•"/>
              <a:defRPr/>
            </a:pPr>
            <a:r>
              <a:rPr lang="en-US" sz="1200" kern="0" dirty="0">
                <a:solidFill>
                  <a:srgbClr val="545859"/>
                </a:solidFill>
                <a:latin typeface="Gene Sans Light"/>
                <a:cs typeface="Arial" charset="0"/>
                <a:sym typeface="Arial"/>
              </a:rPr>
              <a:t>Each step requires a coordination of </a:t>
            </a:r>
            <a:r>
              <a:rPr lang="en-US" sz="1200" kern="0" dirty="0">
                <a:solidFill>
                  <a:srgbClr val="00B050"/>
                </a:solidFill>
                <a:latin typeface="Gene Sans Light"/>
                <a:cs typeface="Arial" charset="0"/>
                <a:sym typeface="Arial"/>
              </a:rPr>
              <a:t>stimulatory</a:t>
            </a:r>
            <a:r>
              <a:rPr lang="en-US" sz="1200" kern="0" dirty="0">
                <a:solidFill>
                  <a:srgbClr val="545859"/>
                </a:solidFill>
                <a:latin typeface="Gene Sans Light"/>
                <a:cs typeface="Arial" charset="0"/>
                <a:sym typeface="Arial"/>
              </a:rPr>
              <a:t> </a:t>
            </a:r>
            <a:r>
              <a:rPr lang="en-US" sz="1200" kern="0">
                <a:solidFill>
                  <a:srgbClr val="545859"/>
                </a:solidFill>
                <a:latin typeface="Gene Sans Light"/>
                <a:cs typeface="Arial" charset="0"/>
                <a:sym typeface="Arial"/>
              </a:rPr>
              <a:t>and </a:t>
            </a:r>
            <a:r>
              <a:rPr lang="en-US" sz="1200" kern="0">
                <a:solidFill>
                  <a:srgbClr val="FF0000"/>
                </a:solidFill>
                <a:latin typeface="Gene Sans Light"/>
                <a:cs typeface="Arial" charset="0"/>
                <a:sym typeface="Arial"/>
              </a:rPr>
              <a:t>inhibitory</a:t>
            </a:r>
            <a:r>
              <a:rPr lang="en-US" sz="1200" kern="0">
                <a:solidFill>
                  <a:srgbClr val="545859"/>
                </a:solidFill>
                <a:latin typeface="Gene Sans Light"/>
                <a:cs typeface="Arial" charset="0"/>
                <a:sym typeface="Arial"/>
              </a:rPr>
              <a:t> </a:t>
            </a:r>
            <a:r>
              <a:rPr lang="en-US" sz="1200" kern="0" dirty="0">
                <a:solidFill>
                  <a:srgbClr val="545859"/>
                </a:solidFill>
                <a:latin typeface="Gene Sans Light"/>
                <a:cs typeface="Arial" charset="0"/>
                <a:sym typeface="Arial"/>
              </a:rPr>
              <a:t>factors</a:t>
            </a:r>
          </a:p>
          <a:p>
            <a:pPr marL="170252" indent="-170252" defTabSz="914378">
              <a:spcBef>
                <a:spcPts val="225"/>
              </a:spcBef>
              <a:buClr>
                <a:srgbClr val="545859"/>
              </a:buClr>
              <a:buSzPct val="100000"/>
              <a:buFont typeface="Arial" panose="020B0604020202020204" pitchFamily="34" charset="0"/>
              <a:buChar char="•"/>
              <a:defRPr/>
            </a:pPr>
            <a:r>
              <a:rPr lang="en-US" sz="1200" kern="0" dirty="0">
                <a:solidFill>
                  <a:srgbClr val="545859"/>
                </a:solidFill>
                <a:latin typeface="Gene Sans Light"/>
                <a:cs typeface="Arial" charset="0"/>
                <a:sym typeface="Arial"/>
              </a:rPr>
              <a:t>Stimulators promote immunity. For example</a:t>
            </a:r>
          </a:p>
          <a:p>
            <a:pPr marL="348657" indent="-171446" defTabSz="914378">
              <a:spcBef>
                <a:spcPts val="225"/>
              </a:spcBef>
              <a:buClr>
                <a:srgbClr val="545859"/>
              </a:buClr>
              <a:buSzPct val="100000"/>
              <a:buFont typeface="Arial" panose="020B0604020202020204" pitchFamily="34" charset="0"/>
              <a:buChar char="‒"/>
              <a:defRPr/>
            </a:pPr>
            <a:r>
              <a:rPr lang="en-US" sz="1100" kern="0" dirty="0">
                <a:solidFill>
                  <a:srgbClr val="545859"/>
                </a:solidFill>
                <a:latin typeface="Gene Sans Light"/>
                <a:cs typeface="Arial" charset="0"/>
                <a:sym typeface="Arial"/>
              </a:rPr>
              <a:t>In lymph nodes, CD28 interaction with B7.1 promotes T-cell development / proliferation</a:t>
            </a:r>
          </a:p>
          <a:p>
            <a:pPr marL="170252" indent="-170252" defTabSz="914378">
              <a:spcBef>
                <a:spcPts val="225"/>
              </a:spcBef>
              <a:buClr>
                <a:srgbClr val="545859"/>
              </a:buClr>
              <a:buSzPct val="100000"/>
              <a:buFont typeface="Arial" panose="020B0604020202020204" pitchFamily="34" charset="0"/>
              <a:buChar char="•"/>
              <a:defRPr/>
            </a:pPr>
            <a:r>
              <a:rPr lang="en-US" sz="1200" kern="0">
                <a:solidFill>
                  <a:srgbClr val="545859"/>
                </a:solidFill>
                <a:latin typeface="Gene Sans Light"/>
                <a:cs typeface="Arial" charset="0"/>
                <a:sym typeface="Arial"/>
              </a:rPr>
              <a:t>Inhibitors </a:t>
            </a:r>
            <a:r>
              <a:rPr lang="en-US" sz="1200" kern="0" dirty="0">
                <a:solidFill>
                  <a:srgbClr val="545859"/>
                </a:solidFill>
                <a:latin typeface="Gene Sans Light"/>
                <a:cs typeface="Arial" charset="0"/>
                <a:sym typeface="Arial"/>
              </a:rPr>
              <a:t>keep the process in check to reduce immune activity and prevent autoimmunity. For example</a:t>
            </a:r>
          </a:p>
          <a:p>
            <a:pPr marL="348657" indent="-171446" defTabSz="914378">
              <a:spcBef>
                <a:spcPts val="225"/>
              </a:spcBef>
              <a:buClr>
                <a:srgbClr val="545859"/>
              </a:buClr>
              <a:buSzPct val="100000"/>
              <a:buFont typeface="Arial" panose="020B0604020202020204" pitchFamily="34" charset="0"/>
              <a:buChar char="‒"/>
              <a:defRPr/>
            </a:pPr>
            <a:r>
              <a:rPr lang="en-US" sz="1100" kern="0" dirty="0">
                <a:solidFill>
                  <a:srgbClr val="545859"/>
                </a:solidFill>
                <a:latin typeface="Gene Sans Light"/>
                <a:cs typeface="Arial" charset="0"/>
                <a:sym typeface="Arial"/>
              </a:rPr>
              <a:t>In lymph nodes, CTLA4 interaction with </a:t>
            </a:r>
            <a:r>
              <a:rPr lang="en-US" sz="1100" kern="0">
                <a:solidFill>
                  <a:srgbClr val="545859"/>
                </a:solidFill>
                <a:latin typeface="Gene Sans Light"/>
                <a:cs typeface="Arial" charset="0"/>
                <a:sym typeface="Arial"/>
              </a:rPr>
              <a:t>B7.1 inhibits </a:t>
            </a:r>
            <a:r>
              <a:rPr lang="en-US" sz="1100" kern="0" dirty="0">
                <a:solidFill>
                  <a:srgbClr val="545859"/>
                </a:solidFill>
                <a:latin typeface="Gene Sans Light"/>
                <a:cs typeface="Arial" charset="0"/>
                <a:sym typeface="Arial"/>
              </a:rPr>
              <a:t>T-cell development / proliferation </a:t>
            </a:r>
          </a:p>
          <a:p>
            <a:pPr marL="348657" indent="-171446" defTabSz="914378">
              <a:spcBef>
                <a:spcPts val="225"/>
              </a:spcBef>
              <a:buClr>
                <a:srgbClr val="545859"/>
              </a:buClr>
              <a:buSzPct val="100000"/>
              <a:buFont typeface="Arial" panose="020B0604020202020204" pitchFamily="34" charset="0"/>
              <a:buChar char="‒"/>
              <a:defRPr/>
            </a:pPr>
            <a:r>
              <a:rPr lang="en-US" sz="1100" kern="0" dirty="0">
                <a:solidFill>
                  <a:srgbClr val="545859"/>
                </a:solidFill>
                <a:latin typeface="Gene Sans Light"/>
                <a:cs typeface="Arial" charset="0"/>
                <a:sym typeface="Arial"/>
              </a:rPr>
              <a:t>In the tumor bed, PD-L1 interaction with PD-1 or B7.1 modulates an active immune response</a:t>
            </a:r>
          </a:p>
        </p:txBody>
      </p:sp>
      <p:grpSp>
        <p:nvGrpSpPr>
          <p:cNvPr id="21" name="Google Shape;342;p4">
            <a:extLst>
              <a:ext uri="{FF2B5EF4-FFF2-40B4-BE49-F238E27FC236}">
                <a16:creationId xmlns:a16="http://schemas.microsoft.com/office/drawing/2014/main" id="{2334F27D-C590-455C-B1B9-B194C3E560CF}"/>
              </a:ext>
            </a:extLst>
          </p:cNvPr>
          <p:cNvGrpSpPr/>
          <p:nvPr/>
        </p:nvGrpSpPr>
        <p:grpSpPr>
          <a:xfrm>
            <a:off x="8849668" y="55416"/>
            <a:ext cx="238916" cy="228628"/>
            <a:chOff x="11619274" y="118751"/>
            <a:chExt cx="432689" cy="414056"/>
          </a:xfrm>
        </p:grpSpPr>
        <p:sp>
          <p:nvSpPr>
            <p:cNvPr id="22" name="Google Shape;343;p4">
              <a:hlinkClick r:id="rId4" action="ppaction://hlinksldjump"/>
              <a:extLst>
                <a:ext uri="{FF2B5EF4-FFF2-40B4-BE49-F238E27FC236}">
                  <a16:creationId xmlns:a16="http://schemas.microsoft.com/office/drawing/2014/main" id="{1D8D3587-FFF5-4C99-83B9-E6F86C7AD6B9}"/>
                </a:ext>
              </a:extLst>
            </p:cNvPr>
            <p:cNvSpPr/>
            <p:nvPr/>
          </p:nvSpPr>
          <p:spPr>
            <a:xfrm>
              <a:off x="11619274" y="118751"/>
              <a:ext cx="432689" cy="414056"/>
            </a:xfrm>
            <a:prstGeom prst="roundRect">
              <a:avLst>
                <a:gd name="adj" fmla="val 16667"/>
              </a:avLst>
            </a:prstGeom>
            <a:solidFill>
              <a:schemeClr val="accent2"/>
            </a:solidFill>
            <a:ln>
              <a:noFill/>
            </a:ln>
          </p:spPr>
          <p:txBody>
            <a:bodyPr spcFirstLastPara="1" wrap="square" lIns="68550" tIns="34275" rIns="68550" bIns="34275" anchor="ctr" anchorCtr="0">
              <a:noAutofit/>
            </a:bodyPr>
            <a:lstStyle/>
            <a:p>
              <a:pPr algn="ctr" defTabSz="914378">
                <a:buClr>
                  <a:srgbClr val="000000"/>
                </a:buClr>
              </a:pPr>
              <a:endParaRPr lang="en-US" sz="825" kern="0" dirty="0">
                <a:solidFill>
                  <a:srgbClr val="FFFFFF"/>
                </a:solidFill>
                <a:latin typeface="Arial"/>
                <a:ea typeface="Arial"/>
                <a:cs typeface="Arial"/>
                <a:sym typeface="Arial"/>
              </a:endParaRPr>
            </a:p>
          </p:txBody>
        </p:sp>
        <p:pic>
          <p:nvPicPr>
            <p:cNvPr id="23" name="Google Shape;344;p4">
              <a:hlinkClick r:id="rId4" action="ppaction://hlinksldjump"/>
              <a:extLst>
                <a:ext uri="{FF2B5EF4-FFF2-40B4-BE49-F238E27FC236}">
                  <a16:creationId xmlns:a16="http://schemas.microsoft.com/office/drawing/2014/main" id="{38F31728-B0BE-44DF-864A-3184E4E3B760}"/>
                </a:ext>
              </a:extLst>
            </p:cNvPr>
            <p:cNvPicPr preferRelativeResize="0"/>
            <p:nvPr/>
          </p:nvPicPr>
          <p:blipFill rotWithShape="1">
            <a:blip r:embed="rId5">
              <a:alphaModFix/>
            </a:blip>
            <a:srcRect/>
            <a:stretch/>
          </p:blipFill>
          <p:spPr>
            <a:xfrm>
              <a:off x="11681971" y="162551"/>
              <a:ext cx="307293" cy="307293"/>
            </a:xfrm>
            <a:prstGeom prst="rect">
              <a:avLst/>
            </a:prstGeom>
            <a:noFill/>
            <a:ln>
              <a:noFill/>
            </a:ln>
          </p:spPr>
        </p:pic>
      </p:grpSp>
    </p:spTree>
    <p:extLst>
      <p:ext uri="{BB962C8B-B14F-4D97-AF65-F5344CB8AC3E}">
        <p14:creationId xmlns:p14="http://schemas.microsoft.com/office/powerpoint/2010/main" val="1722066830"/>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FE7869BA-A06A-429D-89B3-AE14D772B7E8}"/>
              </a:ext>
            </a:extLst>
          </p:cNvPr>
          <p:cNvSpPr>
            <a:spLocks noGrp="1"/>
          </p:cNvSpPr>
          <p:nvPr>
            <p:ph type="body" idx="2"/>
          </p:nvPr>
        </p:nvSpPr>
        <p:spPr/>
        <p:txBody>
          <a:bodyPr/>
          <a:lstStyle/>
          <a:p>
            <a:r>
              <a:rPr lang="en-US" dirty="0"/>
              <a:t>Cancer Immunity Cycle</a:t>
            </a:r>
          </a:p>
        </p:txBody>
      </p:sp>
      <p:sp>
        <p:nvSpPr>
          <p:cNvPr id="21" name="Text Placeholder 20">
            <a:extLst>
              <a:ext uri="{FF2B5EF4-FFF2-40B4-BE49-F238E27FC236}">
                <a16:creationId xmlns:a16="http://schemas.microsoft.com/office/drawing/2014/main" id="{F0E0AC32-5BFB-4153-9B4F-590E119EBEA9}"/>
              </a:ext>
            </a:extLst>
          </p:cNvPr>
          <p:cNvSpPr>
            <a:spLocks noGrp="1"/>
          </p:cNvSpPr>
          <p:nvPr>
            <p:ph type="body" idx="3"/>
          </p:nvPr>
        </p:nvSpPr>
        <p:spPr/>
        <p:txBody>
          <a:bodyPr/>
          <a:lstStyle/>
          <a:p>
            <a:r>
              <a:rPr lang="en-US" altLang="zh-CN" dirty="0"/>
              <a:t>APC, antigen-presenting cell; CTL, cytotoxic T lymphocyte; MHC, </a:t>
            </a:r>
            <a:r>
              <a:rPr lang="en-US" altLang="zh-CN"/>
              <a:t>major histocompatibility </a:t>
            </a:r>
            <a:r>
              <a:rPr lang="en-US" altLang="zh-CN" dirty="0"/>
              <a:t>complex. a CD4+ and CD8+ cells. </a:t>
            </a:r>
            <a:r>
              <a:rPr lang="en-US" altLang="en-US" dirty="0"/>
              <a:t>1. Chen DS, </a:t>
            </a:r>
            <a:r>
              <a:rPr lang="en-US" altLang="en-US" dirty="0" err="1"/>
              <a:t>Mellman</a:t>
            </a:r>
            <a:r>
              <a:rPr lang="en-US" altLang="en-US" dirty="0"/>
              <a:t> I. </a:t>
            </a:r>
            <a:r>
              <a:rPr lang="en-US" altLang="en-US" i="1" dirty="0"/>
              <a:t>Immunity</a:t>
            </a:r>
            <a:r>
              <a:rPr lang="en-US" altLang="en-US" dirty="0"/>
              <a:t>. 2013;39:1-10. 2. </a:t>
            </a:r>
            <a:r>
              <a:rPr lang="en-US" altLang="en-US" dirty="0" err="1"/>
              <a:t>Mellman</a:t>
            </a:r>
            <a:r>
              <a:rPr lang="en-US" altLang="en-US" dirty="0"/>
              <a:t> I, et al. </a:t>
            </a:r>
            <a:r>
              <a:rPr lang="en-US" altLang="en-US" i="1" dirty="0"/>
              <a:t>Nature</a:t>
            </a:r>
            <a:r>
              <a:rPr lang="en-US" altLang="en-US" dirty="0"/>
              <a:t>. 2011;480:480-489. 3. Tsushima F, et al. </a:t>
            </a:r>
            <a:r>
              <a:rPr lang="en-US" altLang="en-US" i="1" dirty="0"/>
              <a:t>Blood</a:t>
            </a:r>
            <a:r>
              <a:rPr lang="en-US" altLang="en-US" dirty="0"/>
              <a:t>. 2007;110:180-185. 4. </a:t>
            </a:r>
            <a:r>
              <a:rPr lang="en-US" altLang="en-US" dirty="0" err="1"/>
              <a:t>Portt</a:t>
            </a:r>
            <a:r>
              <a:rPr lang="en-US" altLang="en-US" dirty="0"/>
              <a:t> L, et al. </a:t>
            </a:r>
            <a:r>
              <a:rPr lang="en-US" altLang="en-US" i="1" dirty="0" err="1"/>
              <a:t>Biochim</a:t>
            </a:r>
            <a:r>
              <a:rPr lang="en-US" altLang="en-US" i="1" dirty="0"/>
              <a:t> </a:t>
            </a:r>
            <a:r>
              <a:rPr lang="en-US" altLang="en-US" i="1" dirty="0" err="1"/>
              <a:t>Biophys</a:t>
            </a:r>
            <a:r>
              <a:rPr lang="en-US" altLang="en-US" i="1" dirty="0"/>
              <a:t> </a:t>
            </a:r>
            <a:r>
              <a:rPr lang="en-US" altLang="en-US" i="1" dirty="0" err="1"/>
              <a:t>Acta</a:t>
            </a:r>
            <a:r>
              <a:rPr lang="en-US" altLang="en-US" dirty="0"/>
              <a:t>. 2011;1813:238-259. </a:t>
            </a:r>
          </a:p>
        </p:txBody>
      </p:sp>
      <p:sp>
        <p:nvSpPr>
          <p:cNvPr id="5" name="Title 4"/>
          <p:cNvSpPr>
            <a:spLocks noGrp="1"/>
          </p:cNvSpPr>
          <p:nvPr>
            <p:ph type="title"/>
          </p:nvPr>
        </p:nvSpPr>
        <p:spPr>
          <a:xfrm>
            <a:off x="381648" y="585796"/>
            <a:ext cx="8384400" cy="652455"/>
          </a:xfrm>
        </p:spPr>
        <p:txBody>
          <a:bodyPr/>
          <a:lstStyle/>
          <a:p>
            <a:r>
              <a:rPr lang="en-US" dirty="0"/>
              <a:t>Mechanisms of Escape From Immune Control in Cancer – </a:t>
            </a:r>
            <a:br>
              <a:rPr lang="en-US" dirty="0"/>
            </a:br>
            <a:r>
              <a:rPr lang="en-US" dirty="0"/>
              <a:t>Direct Mechanisms </a:t>
            </a:r>
          </a:p>
        </p:txBody>
      </p:sp>
      <p:pic>
        <p:nvPicPr>
          <p:cNvPr id="3076" name="Picture 4"/>
          <p:cNvPicPr>
            <a:picLocks noChangeArrowheads="1"/>
          </p:cNvPicPr>
          <p:nvPr/>
        </p:nvPicPr>
        <p:blipFill rotWithShape="1">
          <a:blip r:embed="rId3">
            <a:extLst>
              <a:ext uri="{28A0092B-C50C-407E-A947-70E740481C1C}">
                <a14:useLocalDpi xmlns:a14="http://schemas.microsoft.com/office/drawing/2010/main" val="0"/>
              </a:ext>
            </a:extLst>
          </a:blip>
          <a:srcRect l="-3466" r="-3745"/>
          <a:stretch/>
        </p:blipFill>
        <p:spPr bwMode="auto">
          <a:xfrm>
            <a:off x="377952" y="1503708"/>
            <a:ext cx="4927327" cy="2962526"/>
          </a:xfrm>
          <a:prstGeom prst="rect">
            <a:avLst/>
          </a:prstGeom>
          <a:ln w="3175">
            <a:noFill/>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6" name="Rectangle 275"/>
          <p:cNvSpPr>
            <a:spLocks/>
          </p:cNvSpPr>
          <p:nvPr/>
        </p:nvSpPr>
        <p:spPr>
          <a:xfrm>
            <a:off x="5479314" y="1114559"/>
            <a:ext cx="3286736" cy="226216"/>
          </a:xfrm>
          <a:prstGeom prst="rect">
            <a:avLst/>
          </a:prstGeom>
          <a:noFill/>
          <a:ln>
            <a:noFill/>
          </a:ln>
          <a:scene3d>
            <a:camera prst="orthographicFront"/>
            <a:lightRig rig="threePt" dir="t"/>
          </a:scene3d>
          <a:sp3d>
            <a:bevelT/>
          </a:sp3d>
        </p:spPr>
        <p:txBody>
          <a:bodyPr wrap="square" lIns="0" tIns="0" rIns="0" bIns="0">
            <a:noAutofit/>
          </a:bodyPr>
          <a:lstStyle/>
          <a:p>
            <a:pPr algn="ctr" defTabSz="685766">
              <a:spcBef>
                <a:spcPct val="0"/>
              </a:spcBef>
              <a:buClr>
                <a:srgbClr val="000000"/>
              </a:buClr>
              <a:defRPr/>
            </a:pPr>
            <a:r>
              <a:rPr lang="en-US" sz="1200" kern="0" dirty="0">
                <a:solidFill>
                  <a:srgbClr val="004677"/>
                </a:solidFill>
                <a:latin typeface="Gene Sans Light"/>
                <a:ea typeface="ＭＳ Ｐゴシック" pitchFamily="34" charset="-128"/>
                <a:cs typeface="Arial" charset="0"/>
                <a:sym typeface="Arial"/>
              </a:rPr>
              <a:t>Direct Mechanisms of Escape</a:t>
            </a:r>
          </a:p>
        </p:txBody>
      </p:sp>
      <p:sp>
        <p:nvSpPr>
          <p:cNvPr id="9" name="Rectangle 8"/>
          <p:cNvSpPr>
            <a:spLocks/>
          </p:cNvSpPr>
          <p:nvPr/>
        </p:nvSpPr>
        <p:spPr>
          <a:xfrm>
            <a:off x="377952" y="1264140"/>
            <a:ext cx="4927327" cy="226216"/>
          </a:xfrm>
          <a:prstGeom prst="rect">
            <a:avLst/>
          </a:prstGeom>
          <a:noFill/>
          <a:ln>
            <a:noFill/>
          </a:ln>
          <a:scene3d>
            <a:camera prst="orthographicFront"/>
            <a:lightRig rig="threePt" dir="t"/>
          </a:scene3d>
          <a:sp3d>
            <a:bevelT/>
          </a:sp3d>
        </p:spPr>
        <p:txBody>
          <a:bodyPr wrap="square" lIns="0" tIns="0" rIns="0" bIns="0">
            <a:noAutofit/>
          </a:bodyPr>
          <a:lstStyle/>
          <a:p>
            <a:pPr algn="ctr" defTabSz="685766">
              <a:spcBef>
                <a:spcPct val="0"/>
              </a:spcBef>
              <a:buClr>
                <a:srgbClr val="000000"/>
              </a:buClr>
              <a:defRPr/>
            </a:pPr>
            <a:r>
              <a:rPr lang="en-US" sz="1200" kern="0" dirty="0">
                <a:solidFill>
                  <a:srgbClr val="004677"/>
                </a:solidFill>
                <a:latin typeface="Gene Sans Light"/>
                <a:ea typeface="ＭＳ Ｐゴシック" pitchFamily="34" charset="-128"/>
                <a:cs typeface="Arial" charset="0"/>
                <a:sym typeface="Arial"/>
              </a:rPr>
              <a:t>The Cancer Immunity Cycle</a:t>
            </a:r>
            <a:r>
              <a:rPr lang="en-US" sz="1200" kern="0" baseline="30000" dirty="0">
                <a:solidFill>
                  <a:srgbClr val="004677"/>
                </a:solidFill>
                <a:latin typeface="Gene Sans Light"/>
                <a:ea typeface="ＭＳ Ｐゴシック" pitchFamily="34" charset="-128"/>
                <a:cs typeface="Arial" charset="0"/>
                <a:sym typeface="Arial"/>
              </a:rPr>
              <a:t>1</a:t>
            </a:r>
          </a:p>
        </p:txBody>
      </p:sp>
      <p:sp>
        <p:nvSpPr>
          <p:cNvPr id="25" name="Rounded Rectangle 26">
            <a:extLst>
              <a:ext uri="{FF2B5EF4-FFF2-40B4-BE49-F238E27FC236}">
                <a16:creationId xmlns:a16="http://schemas.microsoft.com/office/drawing/2014/main" id="{2F15B181-CCB5-48F6-896C-4D4FB856C58D}"/>
              </a:ext>
            </a:extLst>
          </p:cNvPr>
          <p:cNvSpPr>
            <a:spLocks/>
          </p:cNvSpPr>
          <p:nvPr/>
        </p:nvSpPr>
        <p:spPr bwMode="auto">
          <a:xfrm>
            <a:off x="5479314" y="1340775"/>
            <a:ext cx="3286736" cy="3124783"/>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noAutofit/>
          </a:bodyPr>
          <a:lstStyle/>
          <a:p>
            <a:pPr marL="170252" indent="-170252" defTabSz="914378">
              <a:spcBef>
                <a:spcPts val="225"/>
              </a:spcBef>
              <a:buClr>
                <a:srgbClr val="000000"/>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Step 1 </a:t>
            </a:r>
          </a:p>
          <a:p>
            <a:pPr marL="170252" indent="-170252" defTabSz="914378">
              <a:spcBef>
                <a:spcPts val="400"/>
              </a:spcBef>
              <a:buClr>
                <a:srgbClr val="545859"/>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Downregulation of antigen presentation by antigen loss; decreased expansion of MHC class I and antigen-processing machineries</a:t>
            </a:r>
            <a:r>
              <a:rPr lang="en-US" sz="950" kern="0" baseline="30000" dirty="0">
                <a:solidFill>
                  <a:srgbClr val="545859"/>
                </a:solidFill>
                <a:latin typeface="Gene Sans Light"/>
                <a:cs typeface="Arial" charset="0"/>
                <a:sym typeface="Arial"/>
              </a:rPr>
              <a:t>2</a:t>
            </a:r>
          </a:p>
          <a:p>
            <a:pPr marL="170252" indent="-170252" defTabSz="914378">
              <a:spcBef>
                <a:spcPts val="600"/>
              </a:spcBef>
              <a:buClr>
                <a:srgbClr val="000000"/>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Step 6</a:t>
            </a:r>
          </a:p>
          <a:p>
            <a:pPr marL="170252" indent="-170252" defTabSz="914378">
              <a:spcBef>
                <a:spcPts val="225"/>
              </a:spcBef>
              <a:buClr>
                <a:srgbClr val="545859"/>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Lowered expression of MHC class I molecules</a:t>
            </a:r>
            <a:r>
              <a:rPr lang="en-US" sz="950" kern="0" baseline="30000" dirty="0">
                <a:solidFill>
                  <a:srgbClr val="545859"/>
                </a:solidFill>
                <a:latin typeface="Gene Sans Light"/>
                <a:cs typeface="Arial" charset="0"/>
                <a:sym typeface="Arial"/>
              </a:rPr>
              <a:t>1,2</a:t>
            </a:r>
          </a:p>
          <a:p>
            <a:pPr marL="170252" indent="-170252" defTabSz="914378">
              <a:spcBef>
                <a:spcPts val="600"/>
              </a:spcBef>
              <a:buClr>
                <a:srgbClr val="000000"/>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Step 7 </a:t>
            </a:r>
          </a:p>
          <a:p>
            <a:pPr marL="170252" indent="-170252" defTabSz="914378">
              <a:spcBef>
                <a:spcPts val="225"/>
              </a:spcBef>
              <a:buClr>
                <a:srgbClr val="545859"/>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PD-L1 expressed on tumor cells binds to PD-1 receptors on tumor-specific T cellsa</a:t>
            </a:r>
            <a:r>
              <a:rPr lang="en-US" sz="950" kern="0">
                <a:solidFill>
                  <a:srgbClr val="545859"/>
                </a:solidFill>
                <a:latin typeface="Gene Sans Light"/>
                <a:cs typeface="Arial" charset="0"/>
                <a:sym typeface="Arial"/>
              </a:rPr>
              <a:t>, inhibiting </a:t>
            </a:r>
            <a:r>
              <a:rPr lang="en-US" sz="950" kern="0" dirty="0">
                <a:solidFill>
                  <a:srgbClr val="545859"/>
                </a:solidFill>
                <a:latin typeface="Gene Sans Light"/>
                <a:cs typeface="Arial" charset="0"/>
                <a:sym typeface="Arial"/>
              </a:rPr>
              <a:t>activation of the T cell and protecting the tumor cell from destruction</a:t>
            </a:r>
            <a:r>
              <a:rPr lang="en-US" sz="950" kern="0" baseline="30000" dirty="0">
                <a:solidFill>
                  <a:srgbClr val="545859"/>
                </a:solidFill>
                <a:latin typeface="Gene Sans Light"/>
                <a:cs typeface="Arial" charset="0"/>
                <a:sym typeface="Arial"/>
              </a:rPr>
              <a:t>1-3 </a:t>
            </a:r>
          </a:p>
          <a:p>
            <a:pPr marL="170252" indent="-170252" defTabSz="914378">
              <a:spcBef>
                <a:spcPts val="225"/>
              </a:spcBef>
              <a:buClr>
                <a:srgbClr val="545859"/>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Expression/overexpression of key molecules</a:t>
            </a:r>
            <a:r>
              <a:rPr lang="en-US" sz="950" kern="0" baseline="30000" dirty="0">
                <a:solidFill>
                  <a:srgbClr val="545859"/>
                </a:solidFill>
                <a:latin typeface="Gene Sans Light"/>
                <a:cs typeface="Arial" charset="0"/>
                <a:sym typeface="Arial"/>
              </a:rPr>
              <a:t>4</a:t>
            </a:r>
          </a:p>
          <a:p>
            <a:pPr marL="348657" indent="-171446" defTabSz="914378">
              <a:spcBef>
                <a:spcPts val="225"/>
              </a:spcBef>
              <a:buClr>
                <a:srgbClr val="545859"/>
              </a:buClr>
              <a:buSzPct val="100000"/>
              <a:buFont typeface="Arial" panose="020B0604020202020204" pitchFamily="34" charset="0"/>
              <a:buChar char="‒"/>
              <a:defRPr/>
            </a:pPr>
            <a:r>
              <a:rPr lang="en-US" sz="900" kern="0" dirty="0">
                <a:solidFill>
                  <a:srgbClr val="545859"/>
                </a:solidFill>
                <a:latin typeface="Gene Sans Light"/>
                <a:cs typeface="Arial" charset="0"/>
                <a:sym typeface="Arial"/>
              </a:rPr>
              <a:t>Anti-apoptotic molecules</a:t>
            </a:r>
          </a:p>
          <a:p>
            <a:pPr marL="348657" indent="-171446" defTabSz="914378">
              <a:spcBef>
                <a:spcPts val="225"/>
              </a:spcBef>
              <a:buClr>
                <a:srgbClr val="545859"/>
              </a:buClr>
              <a:buSzPct val="100000"/>
              <a:buFont typeface="Arial" panose="020B0604020202020204" pitchFamily="34" charset="0"/>
              <a:buChar char="‒"/>
              <a:defRPr/>
            </a:pPr>
            <a:r>
              <a:rPr lang="en-US" sz="900" kern="0" dirty="0">
                <a:solidFill>
                  <a:srgbClr val="545859"/>
                </a:solidFill>
                <a:latin typeface="Gene Sans Light"/>
                <a:cs typeface="Arial" charset="0"/>
                <a:sym typeface="Arial"/>
              </a:rPr>
              <a:t>Cytotoxic-protective molecules</a:t>
            </a:r>
          </a:p>
          <a:p>
            <a:pPr marL="348657" indent="-171446" defTabSz="914378">
              <a:spcBef>
                <a:spcPts val="225"/>
              </a:spcBef>
              <a:buClr>
                <a:srgbClr val="545859"/>
              </a:buClr>
              <a:buSzPct val="100000"/>
              <a:buFont typeface="Arial" panose="020B0604020202020204" pitchFamily="34" charset="0"/>
              <a:buChar char="‒"/>
              <a:defRPr/>
            </a:pPr>
            <a:r>
              <a:rPr lang="en-US" sz="900" kern="0">
                <a:solidFill>
                  <a:srgbClr val="545859"/>
                </a:solidFill>
                <a:latin typeface="Gene Sans Light"/>
                <a:cs typeface="Arial" charset="0"/>
                <a:sym typeface="Arial"/>
              </a:rPr>
              <a:t>Inhibitory </a:t>
            </a:r>
            <a:r>
              <a:rPr lang="en-US" sz="900" kern="0" dirty="0">
                <a:solidFill>
                  <a:srgbClr val="545859"/>
                </a:solidFill>
                <a:latin typeface="Gene Sans Light"/>
                <a:cs typeface="Arial" charset="0"/>
                <a:sym typeface="Arial"/>
              </a:rPr>
              <a:t>receptors</a:t>
            </a:r>
          </a:p>
          <a:p>
            <a:pPr marL="170252" indent="-170252" defTabSz="914378">
              <a:spcBef>
                <a:spcPts val="225"/>
              </a:spcBef>
              <a:buClr>
                <a:srgbClr val="545859"/>
              </a:buClr>
              <a:buSzPct val="100000"/>
              <a:buFont typeface="Arial" panose="020B0604020202020204" pitchFamily="34" charset="0"/>
              <a:buChar char="•"/>
              <a:defRPr/>
            </a:pPr>
            <a:r>
              <a:rPr lang="en-US" sz="950" kern="0" dirty="0">
                <a:solidFill>
                  <a:srgbClr val="545859"/>
                </a:solidFill>
                <a:latin typeface="Gene Sans Light"/>
                <a:cs typeface="Arial" charset="0"/>
                <a:sym typeface="Arial"/>
              </a:rPr>
              <a:t>Mutations in death receptor signaling pathways (e.g., FAS, TRAIL)</a:t>
            </a:r>
            <a:r>
              <a:rPr lang="en-US" sz="950" kern="0" baseline="30000" dirty="0">
                <a:solidFill>
                  <a:srgbClr val="545859"/>
                </a:solidFill>
                <a:latin typeface="Gene Sans Light"/>
                <a:cs typeface="Arial" charset="0"/>
                <a:sym typeface="Arial"/>
              </a:rPr>
              <a:t>4</a:t>
            </a:r>
          </a:p>
        </p:txBody>
      </p:sp>
      <p:sp>
        <p:nvSpPr>
          <p:cNvPr id="27" name="TextBox 26">
            <a:extLst>
              <a:ext uri="{FF2B5EF4-FFF2-40B4-BE49-F238E27FC236}">
                <a16:creationId xmlns:a16="http://schemas.microsoft.com/office/drawing/2014/main" id="{23DF5EA2-4D67-4B9E-AF95-87B98FA863D7}"/>
              </a:ext>
            </a:extLst>
          </p:cNvPr>
          <p:cNvSpPr txBox="1"/>
          <p:nvPr/>
        </p:nvSpPr>
        <p:spPr>
          <a:xfrm>
            <a:off x="5479314" y="2043890"/>
            <a:ext cx="1643368" cy="201168"/>
          </a:xfrm>
          <a:prstGeom prst="rect">
            <a:avLst/>
          </a:prstGeom>
          <a:solidFill>
            <a:schemeClr val="tx2"/>
          </a:solidFill>
          <a:ln>
            <a:noFill/>
          </a:ln>
        </p:spPr>
        <p:txBody>
          <a:bodyPr wrap="square" tIns="20574" bIns="20574" anchor="ctr">
            <a:noAutofit/>
          </a:bodyPr>
          <a:lstStyle>
            <a:defPPr>
              <a:defRPr lang="en-US"/>
            </a:defPPr>
            <a:lvl1pPr defTabSz="914400">
              <a:spcBef>
                <a:spcPct val="0"/>
              </a:spcBef>
              <a:defRPr sz="1450" b="1">
                <a:solidFill>
                  <a:schemeClr val="bg1"/>
                </a:solidFill>
                <a:latin typeface="Arial" charset="0"/>
                <a:ea typeface="ＭＳ Ｐゴシック" pitchFamily="34" charset="-128"/>
                <a:cs typeface="Arial" charset="0"/>
              </a:defRPr>
            </a:lvl1pPr>
          </a:lstStyle>
          <a:p>
            <a:pPr defTabSz="685766">
              <a:buClr>
                <a:srgbClr val="000000"/>
              </a:buClr>
              <a:defRPr/>
            </a:pPr>
            <a:r>
              <a:rPr lang="en-US" sz="1000" b="0" kern="0" dirty="0">
                <a:solidFill>
                  <a:prstClr val="white"/>
                </a:solidFill>
                <a:latin typeface="Gene Sans Light"/>
                <a:sym typeface="Arial"/>
              </a:rPr>
              <a:t>Step 6</a:t>
            </a:r>
          </a:p>
        </p:txBody>
      </p:sp>
      <p:sp>
        <p:nvSpPr>
          <p:cNvPr id="28" name="TextBox 27">
            <a:extLst>
              <a:ext uri="{FF2B5EF4-FFF2-40B4-BE49-F238E27FC236}">
                <a16:creationId xmlns:a16="http://schemas.microsoft.com/office/drawing/2014/main" id="{CBDE40BC-AFDD-40B3-A454-19C4347FC9A3}"/>
              </a:ext>
            </a:extLst>
          </p:cNvPr>
          <p:cNvSpPr txBox="1"/>
          <p:nvPr/>
        </p:nvSpPr>
        <p:spPr>
          <a:xfrm>
            <a:off x="5479314" y="2439661"/>
            <a:ext cx="1643368" cy="201168"/>
          </a:xfrm>
          <a:prstGeom prst="rect">
            <a:avLst/>
          </a:prstGeom>
          <a:solidFill>
            <a:schemeClr val="tx2"/>
          </a:solidFill>
          <a:ln>
            <a:noFill/>
          </a:ln>
        </p:spPr>
        <p:txBody>
          <a:bodyPr wrap="square" tIns="20574" bIns="20574" anchor="ctr">
            <a:noAutofit/>
          </a:bodyPr>
          <a:lstStyle>
            <a:defPPr>
              <a:defRPr lang="en-US"/>
            </a:defPPr>
            <a:lvl1pPr defTabSz="914400">
              <a:spcBef>
                <a:spcPct val="0"/>
              </a:spcBef>
              <a:defRPr sz="1450" b="1">
                <a:solidFill>
                  <a:schemeClr val="bg1"/>
                </a:solidFill>
                <a:latin typeface="Arial" charset="0"/>
                <a:ea typeface="ＭＳ Ｐゴシック" pitchFamily="34" charset="-128"/>
                <a:cs typeface="Arial" charset="0"/>
              </a:defRPr>
            </a:lvl1pPr>
          </a:lstStyle>
          <a:p>
            <a:pPr defTabSz="685766">
              <a:buClr>
                <a:srgbClr val="000000"/>
              </a:buClr>
              <a:defRPr/>
            </a:pPr>
            <a:r>
              <a:rPr lang="en-US" sz="1000" b="0" kern="0" dirty="0">
                <a:solidFill>
                  <a:prstClr val="white"/>
                </a:solidFill>
                <a:latin typeface="Gene Sans Light"/>
                <a:sym typeface="Arial"/>
              </a:rPr>
              <a:t>Step 7</a:t>
            </a:r>
          </a:p>
        </p:txBody>
      </p:sp>
      <p:sp>
        <p:nvSpPr>
          <p:cNvPr id="29" name="TextBox 28">
            <a:extLst>
              <a:ext uri="{FF2B5EF4-FFF2-40B4-BE49-F238E27FC236}">
                <a16:creationId xmlns:a16="http://schemas.microsoft.com/office/drawing/2014/main" id="{2BC2C3DE-7E51-40D5-9F70-C630EB951EE2}"/>
              </a:ext>
            </a:extLst>
          </p:cNvPr>
          <p:cNvSpPr txBox="1">
            <a:spLocks/>
          </p:cNvSpPr>
          <p:nvPr/>
        </p:nvSpPr>
        <p:spPr>
          <a:xfrm>
            <a:off x="5479314" y="1340774"/>
            <a:ext cx="1643368" cy="201168"/>
          </a:xfrm>
          <a:prstGeom prst="rect">
            <a:avLst/>
          </a:prstGeom>
          <a:solidFill>
            <a:schemeClr val="tx2"/>
          </a:solidFill>
          <a:ln>
            <a:noFill/>
          </a:ln>
        </p:spPr>
        <p:txBody>
          <a:bodyPr wrap="square" tIns="20574" bIns="20574" anchor="ctr">
            <a:noAutofit/>
          </a:bodyPr>
          <a:lstStyle>
            <a:defPPr>
              <a:defRPr lang="en-US"/>
            </a:defPPr>
            <a:lvl1pPr defTabSz="914400">
              <a:spcBef>
                <a:spcPct val="0"/>
              </a:spcBef>
              <a:defRPr sz="1450" b="1">
                <a:solidFill>
                  <a:schemeClr val="bg1"/>
                </a:solidFill>
                <a:latin typeface="Arial" charset="0"/>
                <a:ea typeface="ＭＳ Ｐゴシック" pitchFamily="34" charset="-128"/>
                <a:cs typeface="Arial" charset="0"/>
              </a:defRPr>
            </a:lvl1pPr>
          </a:lstStyle>
          <a:p>
            <a:pPr defTabSz="685766">
              <a:buClr>
                <a:srgbClr val="000000"/>
              </a:buClr>
              <a:defRPr/>
            </a:pPr>
            <a:r>
              <a:rPr lang="en-US" sz="1000" b="0" kern="0" dirty="0">
                <a:solidFill>
                  <a:prstClr val="white"/>
                </a:solidFill>
                <a:latin typeface="Gene Sans Light"/>
                <a:sym typeface="Arial"/>
              </a:rPr>
              <a:t>Step 1</a:t>
            </a:r>
          </a:p>
        </p:txBody>
      </p:sp>
      <p:grpSp>
        <p:nvGrpSpPr>
          <p:cNvPr id="12" name="Google Shape;342;p4">
            <a:extLst>
              <a:ext uri="{FF2B5EF4-FFF2-40B4-BE49-F238E27FC236}">
                <a16:creationId xmlns:a16="http://schemas.microsoft.com/office/drawing/2014/main" id="{5815AB3B-5814-476A-A308-561AC61F1749}"/>
              </a:ext>
            </a:extLst>
          </p:cNvPr>
          <p:cNvGrpSpPr/>
          <p:nvPr/>
        </p:nvGrpSpPr>
        <p:grpSpPr>
          <a:xfrm>
            <a:off x="8849668" y="55416"/>
            <a:ext cx="238916" cy="228628"/>
            <a:chOff x="11619274" y="118751"/>
            <a:chExt cx="432689" cy="414056"/>
          </a:xfrm>
        </p:grpSpPr>
        <p:sp>
          <p:nvSpPr>
            <p:cNvPr id="13" name="Google Shape;343;p4">
              <a:hlinkClick r:id="rId4" action="ppaction://hlinksldjump"/>
              <a:extLst>
                <a:ext uri="{FF2B5EF4-FFF2-40B4-BE49-F238E27FC236}">
                  <a16:creationId xmlns:a16="http://schemas.microsoft.com/office/drawing/2014/main" id="{DF9BC798-0026-44CB-846E-EC2D394EAEAA}"/>
                </a:ext>
              </a:extLst>
            </p:cNvPr>
            <p:cNvSpPr/>
            <p:nvPr/>
          </p:nvSpPr>
          <p:spPr>
            <a:xfrm>
              <a:off x="11619274" y="118751"/>
              <a:ext cx="432689" cy="414056"/>
            </a:xfrm>
            <a:prstGeom prst="roundRect">
              <a:avLst>
                <a:gd name="adj" fmla="val 16667"/>
              </a:avLst>
            </a:prstGeom>
            <a:solidFill>
              <a:schemeClr val="accent2"/>
            </a:solidFill>
            <a:ln>
              <a:noFill/>
            </a:ln>
          </p:spPr>
          <p:txBody>
            <a:bodyPr spcFirstLastPara="1" wrap="square" lIns="68550" tIns="34275" rIns="68550" bIns="34275" anchor="ctr" anchorCtr="0">
              <a:noAutofit/>
            </a:bodyPr>
            <a:lstStyle/>
            <a:p>
              <a:pPr algn="ctr" defTabSz="914378">
                <a:buClr>
                  <a:srgbClr val="000000"/>
                </a:buClr>
              </a:pPr>
              <a:endParaRPr lang="en-US" sz="825" kern="0" dirty="0">
                <a:solidFill>
                  <a:srgbClr val="FFFFFF"/>
                </a:solidFill>
                <a:latin typeface="Arial"/>
                <a:ea typeface="Arial"/>
                <a:cs typeface="Arial"/>
                <a:sym typeface="Arial"/>
              </a:endParaRPr>
            </a:p>
          </p:txBody>
        </p:sp>
        <p:pic>
          <p:nvPicPr>
            <p:cNvPr id="14" name="Google Shape;344;p4">
              <a:hlinkClick r:id="rId4" action="ppaction://hlinksldjump"/>
              <a:extLst>
                <a:ext uri="{FF2B5EF4-FFF2-40B4-BE49-F238E27FC236}">
                  <a16:creationId xmlns:a16="http://schemas.microsoft.com/office/drawing/2014/main" id="{E43DCAF5-8C20-4F5C-99DA-7165B01E00FE}"/>
                </a:ext>
              </a:extLst>
            </p:cNvPr>
            <p:cNvPicPr preferRelativeResize="0"/>
            <p:nvPr/>
          </p:nvPicPr>
          <p:blipFill rotWithShape="1">
            <a:blip r:embed="rId5">
              <a:alphaModFix/>
            </a:blip>
            <a:srcRect/>
            <a:stretch/>
          </p:blipFill>
          <p:spPr>
            <a:xfrm>
              <a:off x="11681971" y="162551"/>
              <a:ext cx="307293" cy="307293"/>
            </a:xfrm>
            <a:prstGeom prst="rect">
              <a:avLst/>
            </a:prstGeom>
            <a:noFill/>
            <a:ln>
              <a:noFill/>
            </a:ln>
          </p:spPr>
        </p:pic>
      </p:grpSp>
    </p:spTree>
    <p:extLst>
      <p:ext uri="{BB962C8B-B14F-4D97-AF65-F5344CB8AC3E}">
        <p14:creationId xmlns:p14="http://schemas.microsoft.com/office/powerpoint/2010/main" val="898997856"/>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nentech PPT Template">
  <a:themeElements>
    <a:clrScheme name="Custom 18">
      <a:dk1>
        <a:srgbClr val="545859"/>
      </a:dk1>
      <a:lt1>
        <a:srgbClr val="FFFFFF"/>
      </a:lt1>
      <a:dk2>
        <a:srgbClr val="D0D3D4"/>
      </a:dk2>
      <a:lt2>
        <a:srgbClr val="004677"/>
      </a:lt2>
      <a:accent1>
        <a:srgbClr val="13294B"/>
      </a:accent1>
      <a:accent2>
        <a:srgbClr val="004677"/>
      </a:accent2>
      <a:accent3>
        <a:srgbClr val="003087"/>
      </a:accent3>
      <a:accent4>
        <a:srgbClr val="0066CC"/>
      </a:accent4>
      <a:accent5>
        <a:srgbClr val="00A3E0"/>
      </a:accent5>
      <a:accent6>
        <a:srgbClr val="8DC8E8"/>
      </a:accent6>
      <a:hlink>
        <a:srgbClr val="00A3E0"/>
      </a:hlink>
      <a:folHlink>
        <a:srgbClr val="9EA2A2"/>
      </a:folHlink>
    </a:clrScheme>
    <a:fontScheme name="Custom 4">
      <a:majorFont>
        <a:latin typeface="Gene Sans"/>
        <a:ea typeface=""/>
        <a:cs typeface=""/>
      </a:majorFont>
      <a:minorFont>
        <a:latin typeface="Gene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2700">
          <a:solidFill>
            <a:schemeClr val="accent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004D99"/>
          </a:solidFill>
          <a:prstDash val="solid"/>
          <a:miter lim="800000"/>
          <a:headEnd type="none" w="sm" len="sm"/>
          <a:tailEnd type="none" w="sm" len="sm"/>
        </a:ln>
      </a:spPr>
      <a:bodyPr/>
      <a:lstStyle/>
    </a:lnDef>
  </a:objectDefaults>
  <a:extraClrSchemeLst/>
</a:theme>
</file>

<file path=ppt/theme/theme2.xml><?xml version="1.0" encoding="utf-8"?>
<a:theme xmlns:a="http://schemas.openxmlformats.org/drawingml/2006/main" name="1_Genentech PPT Template">
  <a:themeElements>
    <a:clrScheme name="Custom 18">
      <a:dk1>
        <a:srgbClr val="545859"/>
      </a:dk1>
      <a:lt1>
        <a:srgbClr val="FFFFFF"/>
      </a:lt1>
      <a:dk2>
        <a:srgbClr val="D0D3D4"/>
      </a:dk2>
      <a:lt2>
        <a:srgbClr val="004677"/>
      </a:lt2>
      <a:accent1>
        <a:srgbClr val="13294B"/>
      </a:accent1>
      <a:accent2>
        <a:srgbClr val="004677"/>
      </a:accent2>
      <a:accent3>
        <a:srgbClr val="003087"/>
      </a:accent3>
      <a:accent4>
        <a:srgbClr val="0066CC"/>
      </a:accent4>
      <a:accent5>
        <a:srgbClr val="00A3E0"/>
      </a:accent5>
      <a:accent6>
        <a:srgbClr val="8DC8E8"/>
      </a:accent6>
      <a:hlink>
        <a:srgbClr val="00A3E0"/>
      </a:hlink>
      <a:folHlink>
        <a:srgbClr val="9EA2A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Genentech PPT Template">
  <a:themeElements>
    <a:clrScheme name="Custom 18">
      <a:dk1>
        <a:srgbClr val="545859"/>
      </a:dk1>
      <a:lt1>
        <a:srgbClr val="FFFFFF"/>
      </a:lt1>
      <a:dk2>
        <a:srgbClr val="D0D3D4"/>
      </a:dk2>
      <a:lt2>
        <a:srgbClr val="004677"/>
      </a:lt2>
      <a:accent1>
        <a:srgbClr val="13294B"/>
      </a:accent1>
      <a:accent2>
        <a:srgbClr val="004677"/>
      </a:accent2>
      <a:accent3>
        <a:srgbClr val="003087"/>
      </a:accent3>
      <a:accent4>
        <a:srgbClr val="0066CC"/>
      </a:accent4>
      <a:accent5>
        <a:srgbClr val="00A3E0"/>
      </a:accent5>
      <a:accent6>
        <a:srgbClr val="8DC8E8"/>
      </a:accent6>
      <a:hlink>
        <a:srgbClr val="00A3E0"/>
      </a:hlink>
      <a:folHlink>
        <a:srgbClr val="9EA2A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Genentech PPT Template">
  <a:themeElements>
    <a:clrScheme name="Custom 18">
      <a:dk1>
        <a:srgbClr val="545859"/>
      </a:dk1>
      <a:lt1>
        <a:srgbClr val="FFFFFF"/>
      </a:lt1>
      <a:dk2>
        <a:srgbClr val="D0D3D4"/>
      </a:dk2>
      <a:lt2>
        <a:srgbClr val="004677"/>
      </a:lt2>
      <a:accent1>
        <a:srgbClr val="13294B"/>
      </a:accent1>
      <a:accent2>
        <a:srgbClr val="004677"/>
      </a:accent2>
      <a:accent3>
        <a:srgbClr val="003087"/>
      </a:accent3>
      <a:accent4>
        <a:srgbClr val="0066CC"/>
      </a:accent4>
      <a:accent5>
        <a:srgbClr val="00A3E0"/>
      </a:accent5>
      <a:accent6>
        <a:srgbClr val="8DC8E8"/>
      </a:accent6>
      <a:hlink>
        <a:srgbClr val="00A3E0"/>
      </a:hlink>
      <a:folHlink>
        <a:srgbClr val="9EA2A2"/>
      </a:folHlink>
    </a:clrScheme>
    <a:fontScheme name="Custom 4">
      <a:majorFont>
        <a:latin typeface="Gene Sans"/>
        <a:ea typeface=""/>
        <a:cs typeface=""/>
      </a:majorFont>
      <a:minorFont>
        <a:latin typeface="Gene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2700">
          <a:solidFill>
            <a:schemeClr val="accent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cap="flat" cmpd="sng">
          <a:solidFill>
            <a:srgbClr val="004D99"/>
          </a:solidFill>
          <a:prstDash val="solid"/>
          <a:miter lim="800000"/>
          <a:headEnd type="none" w="sm" len="sm"/>
          <a:tailEnd type="none" w="sm" len="sm"/>
        </a:ln>
      </a:spPr>
      <a:bodyPr/>
      <a:lst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594</TotalTime>
  <Words>7629</Words>
  <Application>Microsoft Macintosh PowerPoint</Application>
  <PresentationFormat>On-screen Show (16:9)</PresentationFormat>
  <Paragraphs>1363</Paragraphs>
  <Slides>46</Slides>
  <Notes>31</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46</vt:i4>
      </vt:variant>
    </vt:vector>
  </HeadingPairs>
  <TitlesOfParts>
    <vt:vector size="62" baseType="lpstr">
      <vt:lpstr>Arial</vt:lpstr>
      <vt:lpstr>Calibri</vt:lpstr>
      <vt:lpstr>Gene Sans</vt:lpstr>
      <vt:lpstr>Gene Sans Light</vt:lpstr>
      <vt:lpstr>Gene Serif Light</vt:lpstr>
      <vt:lpstr>Georgia</vt:lpstr>
      <vt:lpstr>Imago</vt:lpstr>
      <vt:lpstr>Libre Franklin</vt:lpstr>
      <vt:lpstr>Noto Sans Symbols</vt:lpstr>
      <vt:lpstr>Roboto</vt:lpstr>
      <vt:lpstr>Wingdings</vt:lpstr>
      <vt:lpstr>Genentech PPT Template</vt:lpstr>
      <vt:lpstr>1_Genentech PPT Template</vt:lpstr>
      <vt:lpstr>2_Genentech PPT Template</vt:lpstr>
      <vt:lpstr>3_Genentech PPT Template</vt:lpstr>
      <vt:lpstr>think-cell Slide</vt:lpstr>
      <vt:lpstr>Immunotherapies and Immune-related Toxicities</vt:lpstr>
      <vt:lpstr>PowerPoint Presentation</vt:lpstr>
      <vt:lpstr>Targeting the Immune System in Cancer</vt:lpstr>
      <vt:lpstr>Normal Adaptive Immunity and Tolerance</vt:lpstr>
      <vt:lpstr>Immunotherapy Targets the Antitumor Immune Response Through Active and Passive Strategies1-4</vt:lpstr>
      <vt:lpstr>Cancer Immunity Cycle</vt:lpstr>
      <vt:lpstr>Overview</vt:lpstr>
      <vt:lpstr>Stimulatory and Inhibitory Factors</vt:lpstr>
      <vt:lpstr>Mechanisms of Escape From Immune Control in Cancer –  Direct Mechanisms </vt:lpstr>
      <vt:lpstr>Mechanisms of Escape From Immune Control in Cancer –  Indirect Mechanisms </vt:lpstr>
      <vt:lpstr>Several Targets in the Cancer Immune Cycle Are Currently  Under Evaluation</vt:lpstr>
      <vt:lpstr>Targeting the PD-L1/PD-1 Axis</vt:lpstr>
      <vt:lpstr>Adaptive PD-L1 Expression by Tumors </vt:lpstr>
      <vt:lpstr>Adaptive PD-L1 Expression by Tumors (cont.)</vt:lpstr>
      <vt:lpstr>Adaptive PD-L1 Expression by Tumors (cont.)</vt:lpstr>
      <vt:lpstr>PD-L1/PD-1 Are Involved in a Range of Complex Immune Interactions</vt:lpstr>
      <vt:lpstr>Immune-Related Adverse Events With Checkpoint  Inhibitors</vt:lpstr>
      <vt:lpstr>Objectives</vt:lpstr>
      <vt:lpstr>The Cancer–Immune Set Point:  Multivariate Factors Influence Tolerance and Immunity</vt:lpstr>
      <vt:lpstr>Immune Checkpoint Blockade: CTLA-4, PD-L1, PD-1</vt:lpstr>
      <vt:lpstr>Spectrum of Immune-Related Toxicities</vt:lpstr>
      <vt:lpstr>Frequencies of ICI - Induced irAEs</vt:lpstr>
      <vt:lpstr>PowerPoint Presentation</vt:lpstr>
      <vt:lpstr>PowerPoint Presentation</vt:lpstr>
      <vt:lpstr>Kinetics of ICI - Induced irAEs</vt:lpstr>
      <vt:lpstr>Clinical Course of Pneumonitis With Anti–PD-1/PD-L1 Therapy1</vt:lpstr>
      <vt:lpstr>Association Between irAEs and Outcomes</vt:lpstr>
      <vt:lpstr>PowerPoint Presentation</vt:lpstr>
      <vt:lpstr>Association Between irAEs and Outcomes</vt:lpstr>
      <vt:lpstr>Association Between irAEs and Outcomes</vt:lpstr>
      <vt:lpstr>Association Between irAEs and Outcomes</vt:lpstr>
      <vt:lpstr>Association Between Use of Corticosteroids and Outcomes</vt:lpstr>
      <vt:lpstr>Association Between irAEs and Outcomes</vt:lpstr>
      <vt:lpstr>Effect of Baseline Corticosteroid Use on Outcome with ICIs</vt:lpstr>
      <vt:lpstr>Effect of Baseline Corticosteroid Use on Outcome with ICIs</vt:lpstr>
      <vt:lpstr>Effect of Baseline Corticosteroid Use on Outcome with ICIs</vt:lpstr>
      <vt:lpstr>Association Between Use of Corticosteroids and Outcomes</vt:lpstr>
      <vt:lpstr>Association Between Use of Corticosteroids and Outcomes</vt:lpstr>
      <vt:lpstr>Treatment Considerations</vt:lpstr>
      <vt:lpstr>Personalized Treatment of irAEs1</vt:lpstr>
      <vt:lpstr>Comparison of Consensus Guidelines</vt:lpstr>
      <vt:lpstr>Comparison of Consensus Guidelines (cont.)</vt:lpstr>
      <vt:lpstr>Treatment of Patients With Pre-Existing Rheumatic Diseases</vt:lpstr>
      <vt:lpstr>CPI Treatment in Patients With HIV</vt:lpstr>
      <vt:lpstr>Summary</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munotherapies and Immune-related Toxicities</dc:title>
  <dc:subject/>
  <dc:creator>Smith, Matthew {MNAE~South San Francisco}</dc:creator>
  <cp:keywords/>
  <dc:description/>
  <cp:lastModifiedBy>Smith, Matthew {MNAE~South San Francisco}</cp:lastModifiedBy>
  <cp:revision>3</cp:revision>
  <dcterms:created xsi:type="dcterms:W3CDTF">2022-02-28T13:16:19Z</dcterms:created>
  <dcterms:modified xsi:type="dcterms:W3CDTF">2022-03-18T01:19:24Z</dcterms:modified>
  <cp:category/>
</cp:coreProperties>
</file>